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26"/>
  </p:notesMasterIdLst>
  <p:sldIdLst>
    <p:sldId id="543" r:id="rId6"/>
    <p:sldId id="272" r:id="rId7"/>
    <p:sldId id="350" r:id="rId8"/>
    <p:sldId id="443" r:id="rId9"/>
    <p:sldId id="605" r:id="rId10"/>
    <p:sldId id="544" r:id="rId11"/>
    <p:sldId id="444" r:id="rId12"/>
    <p:sldId id="389" r:id="rId13"/>
    <p:sldId id="392" r:id="rId14"/>
    <p:sldId id="450" r:id="rId15"/>
    <p:sldId id="567" r:id="rId16"/>
    <p:sldId id="601" r:id="rId17"/>
    <p:sldId id="549" r:id="rId18"/>
    <p:sldId id="577" r:id="rId19"/>
    <p:sldId id="603" r:id="rId20"/>
    <p:sldId id="583" r:id="rId21"/>
    <p:sldId id="578" r:id="rId22"/>
    <p:sldId id="570" r:id="rId23"/>
    <p:sldId id="604" r:id="rId24"/>
    <p:sldId id="262"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708"/>
  </p:normalViewPr>
  <p:slideViewPr>
    <p:cSldViewPr snapToGrid="0">
      <p:cViewPr varScale="1">
        <p:scale>
          <a:sx n="136" d="100"/>
          <a:sy n="136" d="100"/>
        </p:scale>
        <p:origin x="216" y="200"/>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iocko\Documents\EDF%20Projects\Methane%20Research\O&amp;G%20Mit\GMTAnalysis_v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krobinson\AppData\Local\Microsoft\Windows\INetCache\Content.Outlook\Y77RTCOT\Chart%20summary.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krobinson\AppData\Local\Microsoft\Windows\INetCache\Content.Outlook\Y77RTCOT\Chart%20summary.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krobinson\AppData\Local\Microsoft\Windows\INetCache\Content.Outlook\Y77RTCOT\Chart%20summary.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krobinson\AppData\Local\Microsoft\Windows\INetCache\Content.Outlook\Y77RTCOT\Chart%20summ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612288073831429"/>
          <c:y val="3.9273973010519853E-2"/>
          <c:w val="0.65939766309237868"/>
          <c:h val="0.8758943893863802"/>
        </c:manualLayout>
      </c:layout>
      <c:lineChart>
        <c:grouping val="standard"/>
        <c:varyColors val="0"/>
        <c:ser>
          <c:idx val="0"/>
          <c:order val="0"/>
          <c:tx>
            <c:strRef>
              <c:f>'Emissions figs'!$B$3</c:f>
              <c:strCache>
                <c:ptCount val="1"/>
                <c:pt idx="0">
                  <c:v>No action O&amp;G</c:v>
                </c:pt>
              </c:strCache>
            </c:strRef>
          </c:tx>
          <c:spPr>
            <a:ln w="38100" cap="rnd">
              <a:solidFill>
                <a:schemeClr val="accent5"/>
              </a:solidFill>
              <a:round/>
            </a:ln>
            <a:effectLst/>
          </c:spPr>
          <c:marker>
            <c:symbol val="none"/>
          </c:marker>
          <c:cat>
            <c:numRef>
              <c:f>'Emissions figs'!$A$4:$A$10</c:f>
              <c:numCache>
                <c:formatCode>General</c:formatCode>
                <c:ptCount val="7"/>
                <c:pt idx="0">
                  <c:v>2020</c:v>
                </c:pt>
                <c:pt idx="1">
                  <c:v>2025</c:v>
                </c:pt>
                <c:pt idx="2">
                  <c:v>2030</c:v>
                </c:pt>
                <c:pt idx="3">
                  <c:v>2035</c:v>
                </c:pt>
                <c:pt idx="4">
                  <c:v>2040</c:v>
                </c:pt>
                <c:pt idx="5">
                  <c:v>2045</c:v>
                </c:pt>
                <c:pt idx="6">
                  <c:v>2050</c:v>
                </c:pt>
              </c:numCache>
            </c:numRef>
          </c:cat>
          <c:val>
            <c:numRef>
              <c:f>'Emissions figs'!$B$4:$B$10</c:f>
              <c:numCache>
                <c:formatCode>0</c:formatCode>
                <c:ptCount val="7"/>
                <c:pt idx="0">
                  <c:v>80.774463900108174</c:v>
                </c:pt>
                <c:pt idx="1">
                  <c:v>90.350694033277463</c:v>
                </c:pt>
                <c:pt idx="2">
                  <c:v>98.017332009463715</c:v>
                </c:pt>
                <c:pt idx="3">
                  <c:v>106.23134616619863</c:v>
                </c:pt>
                <c:pt idx="4">
                  <c:v>112.49327174341632</c:v>
                </c:pt>
                <c:pt idx="5">
                  <c:v>118.69167335312343</c:v>
                </c:pt>
                <c:pt idx="6">
                  <c:v>125.2102695082404</c:v>
                </c:pt>
              </c:numCache>
            </c:numRef>
          </c:val>
          <c:smooth val="0"/>
          <c:extLst>
            <c:ext xmlns:c16="http://schemas.microsoft.com/office/drawing/2014/chart" uri="{C3380CC4-5D6E-409C-BE32-E72D297353CC}">
              <c16:uniqueId val="{00000000-F1B4-4D4E-93DA-D0965971150B}"/>
            </c:ext>
          </c:extLst>
        </c:ser>
        <c:ser>
          <c:idx val="1"/>
          <c:order val="1"/>
          <c:tx>
            <c:strRef>
              <c:f>'Emissions figs'!$C$3</c:f>
              <c:strCache>
                <c:ptCount val="1"/>
                <c:pt idx="0">
                  <c:v>Ambitious decarb energy sector only</c:v>
                </c:pt>
              </c:strCache>
            </c:strRef>
          </c:tx>
          <c:spPr>
            <a:ln w="38100" cap="rnd">
              <a:solidFill>
                <a:schemeClr val="accent4"/>
              </a:solidFill>
              <a:round/>
            </a:ln>
            <a:effectLst/>
          </c:spPr>
          <c:marker>
            <c:symbol val="none"/>
          </c:marker>
          <c:cat>
            <c:numRef>
              <c:f>'Emissions figs'!$A$4:$A$10</c:f>
              <c:numCache>
                <c:formatCode>General</c:formatCode>
                <c:ptCount val="7"/>
                <c:pt idx="0">
                  <c:v>2020</c:v>
                </c:pt>
                <c:pt idx="1">
                  <c:v>2025</c:v>
                </c:pt>
                <c:pt idx="2">
                  <c:v>2030</c:v>
                </c:pt>
                <c:pt idx="3">
                  <c:v>2035</c:v>
                </c:pt>
                <c:pt idx="4">
                  <c:v>2040</c:v>
                </c:pt>
                <c:pt idx="5">
                  <c:v>2045</c:v>
                </c:pt>
                <c:pt idx="6">
                  <c:v>2050</c:v>
                </c:pt>
              </c:numCache>
            </c:numRef>
          </c:cat>
          <c:val>
            <c:numRef>
              <c:f>'Emissions figs'!$C$4:$C$10</c:f>
              <c:numCache>
                <c:formatCode>0</c:formatCode>
                <c:ptCount val="7"/>
                <c:pt idx="0">
                  <c:v>79.121666331287329</c:v>
                </c:pt>
                <c:pt idx="1">
                  <c:v>86.158968908121778</c:v>
                </c:pt>
                <c:pt idx="2">
                  <c:v>85.964272113186468</c:v>
                </c:pt>
                <c:pt idx="3">
                  <c:v>82.109893657980237</c:v>
                </c:pt>
                <c:pt idx="4">
                  <c:v>76.112268705050397</c:v>
                </c:pt>
                <c:pt idx="5">
                  <c:v>70.568305118132074</c:v>
                </c:pt>
                <c:pt idx="6">
                  <c:v>65.125819634022051</c:v>
                </c:pt>
              </c:numCache>
            </c:numRef>
          </c:val>
          <c:smooth val="0"/>
          <c:extLst>
            <c:ext xmlns:c16="http://schemas.microsoft.com/office/drawing/2014/chart" uri="{C3380CC4-5D6E-409C-BE32-E72D297353CC}">
              <c16:uniqueId val="{00000001-F1B4-4D4E-93DA-D0965971150B}"/>
            </c:ext>
          </c:extLst>
        </c:ser>
        <c:ser>
          <c:idx val="5"/>
          <c:order val="2"/>
          <c:tx>
            <c:strRef>
              <c:f>'Emissions figs'!$G$3</c:f>
              <c:strCache>
                <c:ptCount val="1"/>
                <c:pt idx="0">
                  <c:v>Decarb + Methane Action 75%</c:v>
                </c:pt>
              </c:strCache>
            </c:strRef>
          </c:tx>
          <c:spPr>
            <a:ln w="38100" cap="rnd">
              <a:solidFill>
                <a:schemeClr val="accent6"/>
              </a:solidFill>
              <a:round/>
            </a:ln>
            <a:effectLst/>
          </c:spPr>
          <c:marker>
            <c:symbol val="none"/>
          </c:marker>
          <c:cat>
            <c:numRef>
              <c:f>'Emissions figs'!$A$4:$A$10</c:f>
              <c:numCache>
                <c:formatCode>General</c:formatCode>
                <c:ptCount val="7"/>
                <c:pt idx="0">
                  <c:v>2020</c:v>
                </c:pt>
                <c:pt idx="1">
                  <c:v>2025</c:v>
                </c:pt>
                <c:pt idx="2">
                  <c:v>2030</c:v>
                </c:pt>
                <c:pt idx="3">
                  <c:v>2035</c:v>
                </c:pt>
                <c:pt idx="4">
                  <c:v>2040</c:v>
                </c:pt>
                <c:pt idx="5">
                  <c:v>2045</c:v>
                </c:pt>
                <c:pt idx="6">
                  <c:v>2050</c:v>
                </c:pt>
              </c:numCache>
            </c:numRef>
          </c:cat>
          <c:val>
            <c:numRef>
              <c:f>'Emissions figs'!$G$4:$G$10</c:f>
              <c:numCache>
                <c:formatCode>0</c:formatCode>
                <c:ptCount val="7"/>
                <c:pt idx="0">
                  <c:v>79.121666331287344</c:v>
                </c:pt>
                <c:pt idx="1">
                  <c:v>49.971891883787492</c:v>
                </c:pt>
                <c:pt idx="2">
                  <c:v>25.460456715166245</c:v>
                </c:pt>
                <c:pt idx="3">
                  <c:v>23.841461287098529</c:v>
                </c:pt>
                <c:pt idx="4">
                  <c:v>21.407421615038999</c:v>
                </c:pt>
                <c:pt idx="5">
                  <c:v>19.321390009056479</c:v>
                </c:pt>
                <c:pt idx="6">
                  <c:v>17.352573147375683</c:v>
                </c:pt>
              </c:numCache>
            </c:numRef>
          </c:val>
          <c:smooth val="0"/>
          <c:extLst>
            <c:ext xmlns:c16="http://schemas.microsoft.com/office/drawing/2014/chart" uri="{C3380CC4-5D6E-409C-BE32-E72D297353CC}">
              <c16:uniqueId val="{00000002-F1B4-4D4E-93DA-D0965971150B}"/>
            </c:ext>
          </c:extLst>
        </c:ser>
        <c:dLbls>
          <c:showLegendKey val="0"/>
          <c:showVal val="0"/>
          <c:showCatName val="0"/>
          <c:showSerName val="0"/>
          <c:showPercent val="0"/>
          <c:showBubbleSize val="0"/>
        </c:dLbls>
        <c:smooth val="0"/>
        <c:axId val="2115336864"/>
        <c:axId val="1489262336"/>
      </c:lineChart>
      <c:catAx>
        <c:axId val="211533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bg1">
                    <a:lumMod val="75000"/>
                  </a:schemeClr>
                </a:solidFill>
                <a:latin typeface="Calibri" panose="020F0502020204030204" pitchFamily="34" charset="0"/>
                <a:ea typeface="+mn-ea"/>
                <a:cs typeface="Calibri" panose="020F0502020204030204" pitchFamily="34" charset="0"/>
              </a:defRPr>
            </a:pPr>
            <a:endParaRPr lang="en-US"/>
          </a:p>
        </c:txPr>
        <c:crossAx val="1489262336"/>
        <c:crosses val="autoZero"/>
        <c:auto val="1"/>
        <c:lblAlgn val="ctr"/>
        <c:lblOffset val="100"/>
        <c:noMultiLvlLbl val="0"/>
      </c:catAx>
      <c:valAx>
        <c:axId val="1489262336"/>
        <c:scaling>
          <c:orientation val="minMax"/>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defRPr>
                </a:pPr>
                <a:r>
                  <a:rPr lang="en-US" sz="1200" b="1">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Methane</a:t>
                </a:r>
                <a:r>
                  <a:rPr lang="en-US" sz="1200" b="1"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 Emissions from </a:t>
                </a:r>
              </a:p>
              <a:p>
                <a:pPr>
                  <a:defRPr sz="1200" b="1">
                    <a:solidFill>
                      <a:schemeClr val="bg1">
                        <a:lumMod val="75000"/>
                      </a:schemeClr>
                    </a:solidFill>
                    <a:latin typeface="Roboto" panose="02000000000000000000" pitchFamily="2" charset="0"/>
                    <a:ea typeface="Roboto" panose="02000000000000000000" pitchFamily="2" charset="0"/>
                    <a:cs typeface="Calibri" panose="020F0502020204030204" pitchFamily="34" charset="0"/>
                  </a:defRPr>
                </a:pPr>
                <a:r>
                  <a:rPr lang="en-US" sz="1200" b="1"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Oil &amp; Gas Sector (</a:t>
                </a:r>
                <a:r>
                  <a:rPr lang="en-US" sz="1200" b="1" baseline="0" err="1">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MMt</a:t>
                </a:r>
                <a:r>
                  <a:rPr lang="en-US" sz="1200" b="1"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a:t>
                </a:r>
                <a:r>
                  <a:rPr lang="en-US" sz="1200" b="1" baseline="0" err="1">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yr</a:t>
                </a:r>
                <a:r>
                  <a:rPr lang="en-US" sz="1200" b="1"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rPr>
                  <a:t>)</a:t>
                </a:r>
                <a:endParaRPr lang="en-US" sz="1200" b="1">
                  <a:solidFill>
                    <a:schemeClr val="bg1">
                      <a:lumMod val="75000"/>
                    </a:schemeClr>
                  </a:solidFill>
                  <a:latin typeface="Roboto" panose="02000000000000000000" pitchFamily="2" charset="0"/>
                  <a:ea typeface="Roboto" panose="02000000000000000000" pitchFamily="2" charset="0"/>
                  <a:cs typeface="Calibri" panose="020F0502020204030204" pitchFamily="34" charset="0"/>
                </a:endParaRPr>
              </a:p>
            </c:rich>
          </c:tx>
          <c:layout>
            <c:manualLayout>
              <c:xMode val="edge"/>
              <c:yMode val="edge"/>
              <c:x val="5.2289724661800867E-2"/>
              <c:y val="0.14513038881369125"/>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bg1">
                      <a:lumMod val="75000"/>
                    </a:schemeClr>
                  </a:solidFill>
                  <a:latin typeface="Roboto" panose="02000000000000000000" pitchFamily="2" charset="0"/>
                  <a:ea typeface="Roboto" panose="02000000000000000000" pitchFamily="2" charset="0"/>
                  <a:cs typeface="Calibri" panose="020F0502020204030204" pitchFamily="34" charset="0"/>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lumMod val="75000"/>
                  </a:schemeClr>
                </a:solidFill>
                <a:latin typeface="Calibri" panose="020F0502020204030204" pitchFamily="34" charset="0"/>
                <a:ea typeface="+mn-ea"/>
                <a:cs typeface="Calibri" panose="020F0502020204030204" pitchFamily="34" charset="0"/>
              </a:defRPr>
            </a:pPr>
            <a:endParaRPr lang="en-US"/>
          </a:p>
        </c:txPr>
        <c:crossAx val="2115336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3DE-4669-881D-556F69E66561}"/>
              </c:ext>
            </c:extLst>
          </c:dPt>
          <c:dPt>
            <c:idx val="1"/>
            <c:invertIfNegative val="0"/>
            <c:bubble3D val="0"/>
            <c:spPr>
              <a:solidFill>
                <a:srgbClr val="92D050"/>
              </a:solidFill>
              <a:ln>
                <a:noFill/>
              </a:ln>
              <a:effectLst/>
            </c:spPr>
            <c:extLst>
              <c:ext xmlns:c16="http://schemas.microsoft.com/office/drawing/2014/chart" uri="{C3380CC4-5D6E-409C-BE32-E72D297353CC}">
                <c16:uniqueId val="{00000003-B3DE-4669-881D-556F69E66561}"/>
              </c:ext>
            </c:extLst>
          </c:dPt>
          <c:val>
            <c:numRef>
              <c:f>Sheet1!$B$3:$C$3</c:f>
              <c:numCache>
                <c:formatCode>General</c:formatCode>
                <c:ptCount val="2"/>
                <c:pt idx="0">
                  <c:v>7.6</c:v>
                </c:pt>
                <c:pt idx="1">
                  <c:v>3.5</c:v>
                </c:pt>
              </c:numCache>
            </c:numRef>
          </c:val>
          <c:extLst>
            <c:ext xmlns:c16="http://schemas.microsoft.com/office/drawing/2014/chart" uri="{C3380CC4-5D6E-409C-BE32-E72D297353CC}">
              <c16:uniqueId val="{00000004-B3DE-4669-881D-556F69E66561}"/>
            </c:ext>
          </c:extLst>
        </c:ser>
        <c:dLbls>
          <c:showLegendKey val="0"/>
          <c:showVal val="0"/>
          <c:showCatName val="0"/>
          <c:showSerName val="0"/>
          <c:showPercent val="0"/>
          <c:showBubbleSize val="0"/>
        </c:dLbls>
        <c:gapWidth val="16"/>
        <c:overlap val="-27"/>
        <c:axId val="187133152"/>
        <c:axId val="187133712"/>
      </c:barChart>
      <c:catAx>
        <c:axId val="187133152"/>
        <c:scaling>
          <c:orientation val="minMax"/>
        </c:scaling>
        <c:delete val="1"/>
        <c:axPos val="b"/>
        <c:majorTickMark val="none"/>
        <c:minorTickMark val="none"/>
        <c:tickLblPos val="nextTo"/>
        <c:crossAx val="187133712"/>
        <c:crosses val="autoZero"/>
        <c:auto val="1"/>
        <c:lblAlgn val="ctr"/>
        <c:lblOffset val="100"/>
        <c:noMultiLvlLbl val="0"/>
      </c:catAx>
      <c:valAx>
        <c:axId val="187133712"/>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87133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1"/>
        <c:ser>
          <c:idx val="0"/>
          <c:order val="0"/>
          <c:spPr>
            <a:solidFill>
              <a:srgbClr val="00338D"/>
            </a:solidFill>
          </c:spPr>
          <c:invertIfNegative val="0"/>
          <c:dPt>
            <c:idx val="0"/>
            <c:invertIfNegative val="0"/>
            <c:bubble3D val="0"/>
            <c:spPr>
              <a:solidFill>
                <a:srgbClr val="00338D"/>
              </a:solidFill>
              <a:ln>
                <a:noFill/>
              </a:ln>
              <a:effectLst/>
            </c:spPr>
            <c:extLst>
              <c:ext xmlns:c16="http://schemas.microsoft.com/office/drawing/2014/chart" uri="{C3380CC4-5D6E-409C-BE32-E72D297353CC}">
                <c16:uniqueId val="{00000001-6F34-4906-809A-15775415E93E}"/>
              </c:ext>
            </c:extLst>
          </c:dPt>
          <c:dPt>
            <c:idx val="1"/>
            <c:invertIfNegative val="0"/>
            <c:bubble3D val="0"/>
            <c:spPr>
              <a:solidFill>
                <a:srgbClr val="92D050"/>
              </a:solidFill>
              <a:ln>
                <a:noFill/>
              </a:ln>
              <a:effectLst/>
            </c:spPr>
            <c:extLst>
              <c:ext xmlns:c16="http://schemas.microsoft.com/office/drawing/2014/chart" uri="{C3380CC4-5D6E-409C-BE32-E72D297353CC}">
                <c16:uniqueId val="{00000003-6F34-4906-809A-15775415E93E}"/>
              </c:ext>
            </c:extLst>
          </c:dPt>
          <c:val>
            <c:numRef>
              <c:f>Sheet1!$B$6:$C$6</c:f>
              <c:numCache>
                <c:formatCode>General</c:formatCode>
                <c:ptCount val="2"/>
                <c:pt idx="0">
                  <c:v>3.3200000000000003</c:v>
                </c:pt>
                <c:pt idx="1">
                  <c:v>2.7399999999999998</c:v>
                </c:pt>
              </c:numCache>
            </c:numRef>
          </c:val>
          <c:extLst>
            <c:ext xmlns:c16="http://schemas.microsoft.com/office/drawing/2014/chart" uri="{C3380CC4-5D6E-409C-BE32-E72D297353CC}">
              <c16:uniqueId val="{00000004-6F34-4906-809A-15775415E93E}"/>
            </c:ext>
          </c:extLst>
        </c:ser>
        <c:dLbls>
          <c:showLegendKey val="0"/>
          <c:showVal val="0"/>
          <c:showCatName val="0"/>
          <c:showSerName val="0"/>
          <c:showPercent val="0"/>
          <c:showBubbleSize val="0"/>
        </c:dLbls>
        <c:gapWidth val="16"/>
        <c:overlap val="-27"/>
        <c:axId val="187135952"/>
        <c:axId val="187136512"/>
      </c:barChart>
      <c:catAx>
        <c:axId val="187135952"/>
        <c:scaling>
          <c:orientation val="minMax"/>
        </c:scaling>
        <c:delete val="1"/>
        <c:axPos val="b"/>
        <c:majorTickMark val="none"/>
        <c:minorTickMark val="none"/>
        <c:tickLblPos val="nextTo"/>
        <c:crossAx val="187136512"/>
        <c:crosses val="autoZero"/>
        <c:auto val="1"/>
        <c:lblAlgn val="ctr"/>
        <c:lblOffset val="100"/>
        <c:noMultiLvlLbl val="0"/>
      </c:catAx>
      <c:valAx>
        <c:axId val="187136512"/>
        <c:scaling>
          <c:orientation val="minMax"/>
          <c:max val="8"/>
          <c:min val="0"/>
        </c:scaling>
        <c:delete val="1"/>
        <c:axPos val="l"/>
        <c:majorGridlines>
          <c:spPr>
            <a:ln w="9525" cap="flat" cmpd="sng" algn="ctr">
              <a:noFill/>
              <a:round/>
            </a:ln>
            <a:effectLst/>
          </c:spPr>
        </c:majorGridlines>
        <c:numFmt formatCode="General" sourceLinked="1"/>
        <c:majorTickMark val="none"/>
        <c:minorTickMark val="none"/>
        <c:tickLblPos val="nextTo"/>
        <c:crossAx val="187135952"/>
        <c:crosses val="autoZero"/>
        <c:crossBetween val="between"/>
      </c:valAx>
      <c:spPr>
        <a:noFill/>
        <a:ln>
          <a:noFill/>
        </a:ln>
        <a:effectLst/>
      </c:spPr>
    </c:plotArea>
    <c:plotVisOnly val="1"/>
    <c:dispBlanksAs val="gap"/>
    <c:showDLblsOverMax val="0"/>
  </c:chart>
  <c:spPr>
    <a:noFill/>
    <a:ln>
      <a:noFill/>
    </a:ln>
    <a:effectLst/>
  </c:spPr>
  <c:txPr>
    <a:bodyPr/>
    <a:lstStyle/>
    <a:p>
      <a:pPr>
        <a:defRPr sz="2400" baseline="0"/>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9890040839653228"/>
          <c:w val="0.8756874121269288"/>
          <c:h val="0.80109985940308603"/>
        </c:manualLayout>
      </c:layout>
      <c:barChart>
        <c:barDir val="col"/>
        <c:grouping val="clustered"/>
        <c:varyColors val="1"/>
        <c:ser>
          <c:idx val="0"/>
          <c:order val="0"/>
          <c:invertIfNegative val="0"/>
          <c:dPt>
            <c:idx val="0"/>
            <c:invertIfNegative val="0"/>
            <c:bubble3D val="0"/>
            <c:spPr>
              <a:solidFill>
                <a:srgbClr val="00338D"/>
              </a:solidFill>
              <a:ln>
                <a:noFill/>
              </a:ln>
              <a:effectLst/>
            </c:spPr>
            <c:extLst>
              <c:ext xmlns:c16="http://schemas.microsoft.com/office/drawing/2014/chart" uri="{C3380CC4-5D6E-409C-BE32-E72D297353CC}">
                <c16:uniqueId val="{00000001-1291-400D-B4B0-909B296F1D00}"/>
              </c:ext>
            </c:extLst>
          </c:dPt>
          <c:dPt>
            <c:idx val="1"/>
            <c:invertIfNegative val="0"/>
            <c:bubble3D val="0"/>
            <c:spPr>
              <a:solidFill>
                <a:srgbClr val="92D050"/>
              </a:solidFill>
              <a:ln>
                <a:noFill/>
              </a:ln>
              <a:effectLst/>
            </c:spPr>
            <c:extLst>
              <c:ext xmlns:c16="http://schemas.microsoft.com/office/drawing/2014/chart" uri="{C3380CC4-5D6E-409C-BE32-E72D297353CC}">
                <c16:uniqueId val="{00000003-1291-400D-B4B0-909B296F1D00}"/>
              </c:ext>
            </c:extLst>
          </c:dPt>
          <c:val>
            <c:numRef>
              <c:f>Sheet1!$B$7:$C$7</c:f>
              <c:numCache>
                <c:formatCode>General</c:formatCode>
                <c:ptCount val="2"/>
                <c:pt idx="0">
                  <c:v>1.8</c:v>
                </c:pt>
                <c:pt idx="1">
                  <c:v>1.4</c:v>
                </c:pt>
              </c:numCache>
            </c:numRef>
          </c:val>
          <c:extLst>
            <c:ext xmlns:c16="http://schemas.microsoft.com/office/drawing/2014/chart" uri="{C3380CC4-5D6E-409C-BE32-E72D297353CC}">
              <c16:uniqueId val="{00000004-1291-400D-B4B0-909B296F1D00}"/>
            </c:ext>
          </c:extLst>
        </c:ser>
        <c:dLbls>
          <c:showLegendKey val="0"/>
          <c:showVal val="0"/>
          <c:showCatName val="0"/>
          <c:showSerName val="0"/>
          <c:showPercent val="0"/>
          <c:showBubbleSize val="0"/>
        </c:dLbls>
        <c:gapWidth val="16"/>
        <c:overlap val="-27"/>
        <c:axId val="190285728"/>
        <c:axId val="190286288"/>
      </c:barChart>
      <c:catAx>
        <c:axId val="190285728"/>
        <c:scaling>
          <c:orientation val="minMax"/>
        </c:scaling>
        <c:delete val="1"/>
        <c:axPos val="b"/>
        <c:majorTickMark val="none"/>
        <c:minorTickMark val="none"/>
        <c:tickLblPos val="nextTo"/>
        <c:crossAx val="190286288"/>
        <c:crosses val="autoZero"/>
        <c:auto val="1"/>
        <c:lblAlgn val="ctr"/>
        <c:lblOffset val="100"/>
        <c:noMultiLvlLbl val="0"/>
      </c:catAx>
      <c:valAx>
        <c:axId val="190286288"/>
        <c:scaling>
          <c:orientation val="minMax"/>
          <c:max val="8"/>
          <c:min val="0"/>
        </c:scaling>
        <c:delete val="1"/>
        <c:axPos val="l"/>
        <c:majorGridlines>
          <c:spPr>
            <a:ln w="9525" cap="flat" cmpd="sng" algn="ctr">
              <a:noFill/>
              <a:round/>
            </a:ln>
            <a:effectLst/>
          </c:spPr>
        </c:majorGridlines>
        <c:numFmt formatCode="General" sourceLinked="1"/>
        <c:majorTickMark val="none"/>
        <c:minorTickMark val="none"/>
        <c:tickLblPos val="nextTo"/>
        <c:crossAx val="190285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555627217026768E-2"/>
          <c:y val="8.2556457570684486E-2"/>
          <c:w val="0.94444444444444442"/>
          <c:h val="0.91087340901140035"/>
        </c:manualLayout>
      </c:layout>
      <c:barChart>
        <c:barDir val="col"/>
        <c:grouping val="clustered"/>
        <c:varyColors val="1"/>
        <c:ser>
          <c:idx val="0"/>
          <c:order val="0"/>
          <c:invertIfNegative val="0"/>
          <c:dPt>
            <c:idx val="0"/>
            <c:invertIfNegative val="0"/>
            <c:bubble3D val="0"/>
            <c:spPr>
              <a:solidFill>
                <a:srgbClr val="00338D"/>
              </a:solidFill>
              <a:ln>
                <a:noFill/>
              </a:ln>
              <a:effectLst/>
            </c:spPr>
            <c:extLst>
              <c:ext xmlns:c16="http://schemas.microsoft.com/office/drawing/2014/chart" uri="{C3380CC4-5D6E-409C-BE32-E72D297353CC}">
                <c16:uniqueId val="{00000001-1063-4054-BBFA-7B24F0406195}"/>
              </c:ext>
            </c:extLst>
          </c:dPt>
          <c:dPt>
            <c:idx val="1"/>
            <c:invertIfNegative val="0"/>
            <c:bubble3D val="0"/>
            <c:spPr>
              <a:solidFill>
                <a:srgbClr val="92D050"/>
              </a:solidFill>
              <a:ln>
                <a:noFill/>
              </a:ln>
              <a:effectLst/>
            </c:spPr>
            <c:extLst>
              <c:ext xmlns:c16="http://schemas.microsoft.com/office/drawing/2014/chart" uri="{C3380CC4-5D6E-409C-BE32-E72D297353CC}">
                <c16:uniqueId val="{00000003-1063-4054-BBFA-7B24F0406195}"/>
              </c:ext>
            </c:extLst>
          </c:dPt>
          <c:val>
            <c:numRef>
              <c:f>Sheet1!$B$8:$C$8</c:f>
              <c:numCache>
                <c:formatCode>General</c:formatCode>
                <c:ptCount val="2"/>
                <c:pt idx="0">
                  <c:v>0.44</c:v>
                </c:pt>
                <c:pt idx="1">
                  <c:v>0.44</c:v>
                </c:pt>
              </c:numCache>
            </c:numRef>
          </c:val>
          <c:extLst>
            <c:ext xmlns:c16="http://schemas.microsoft.com/office/drawing/2014/chart" uri="{C3380CC4-5D6E-409C-BE32-E72D297353CC}">
              <c16:uniqueId val="{00000004-1063-4054-BBFA-7B24F0406195}"/>
            </c:ext>
          </c:extLst>
        </c:ser>
        <c:dLbls>
          <c:showLegendKey val="0"/>
          <c:showVal val="0"/>
          <c:showCatName val="0"/>
          <c:showSerName val="0"/>
          <c:showPercent val="0"/>
          <c:showBubbleSize val="0"/>
        </c:dLbls>
        <c:gapWidth val="16"/>
        <c:overlap val="-27"/>
        <c:axId val="190288528"/>
        <c:axId val="190289088"/>
      </c:barChart>
      <c:catAx>
        <c:axId val="190288528"/>
        <c:scaling>
          <c:orientation val="minMax"/>
        </c:scaling>
        <c:delete val="1"/>
        <c:axPos val="b"/>
        <c:majorTickMark val="none"/>
        <c:minorTickMark val="none"/>
        <c:tickLblPos val="nextTo"/>
        <c:crossAx val="190289088"/>
        <c:crosses val="autoZero"/>
        <c:auto val="1"/>
        <c:lblAlgn val="ctr"/>
        <c:lblOffset val="100"/>
        <c:noMultiLvlLbl val="0"/>
      </c:catAx>
      <c:valAx>
        <c:axId val="190289088"/>
        <c:scaling>
          <c:orientation val="minMax"/>
          <c:max val="8"/>
          <c:min val="0"/>
        </c:scaling>
        <c:delete val="1"/>
        <c:axPos val="l"/>
        <c:majorGridlines>
          <c:spPr>
            <a:ln w="9525" cap="flat" cmpd="sng" algn="ctr">
              <a:noFill/>
              <a:round/>
            </a:ln>
            <a:effectLst/>
          </c:spPr>
        </c:majorGridlines>
        <c:numFmt formatCode="General" sourceLinked="1"/>
        <c:majorTickMark val="none"/>
        <c:minorTickMark val="none"/>
        <c:tickLblPos val="nextTo"/>
        <c:crossAx val="190288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31FCD7-8C34-4E48-805E-8F9A69843E36}" type="datetimeFigureOut">
              <a:rPr lang="en-US" smtClean="0"/>
              <a:t>9/15/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76CB38-ADFE-D040-B3C1-E2D73706C149}" type="slidenum">
              <a:rPr lang="en-US" smtClean="0"/>
              <a:t>‹#›</a:t>
            </a:fld>
            <a:endParaRPr lang="en-US"/>
          </a:p>
        </p:txBody>
      </p:sp>
    </p:spTree>
    <p:extLst>
      <p:ext uri="{BB962C8B-B14F-4D97-AF65-F5344CB8AC3E}">
        <p14:creationId xmlns:p14="http://schemas.microsoft.com/office/powerpoint/2010/main" val="35475302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548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9080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61B9B0D-89F4-4992-939B-839CDAC06ACE}" type="slidenum">
              <a:rPr lang="en-US" smtClean="0"/>
              <a:t>17</a:t>
            </a:fld>
            <a:endParaRPr lang="en-US"/>
          </a:p>
        </p:txBody>
      </p:sp>
    </p:spTree>
    <p:extLst>
      <p:ext uri="{BB962C8B-B14F-4D97-AF65-F5344CB8AC3E}">
        <p14:creationId xmlns:p14="http://schemas.microsoft.com/office/powerpoint/2010/main" val="33840742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ing Points:</a:t>
            </a:r>
          </a:p>
          <a:p>
            <a:endParaRPr lang="en-US" b="1"/>
          </a:p>
          <a:p>
            <a:pPr marL="171450" indent="-171450">
              <a:buFont typeface="Arial" panose="020B0604020202020204" pitchFamily="34" charset="0"/>
              <a:buChar char="•"/>
            </a:pPr>
            <a:r>
              <a:rPr lang="en-US" b="0"/>
              <a:t>One of the most important components of this year’s annual report is the analysis of the first year of OGMP 2.0 reporting. </a:t>
            </a:r>
            <a:br>
              <a:rPr lang="en-US" b="0"/>
            </a:br>
            <a:endParaRPr lang="en-US" b="0"/>
          </a:p>
          <a:p>
            <a:pPr marL="171450" indent="-171450">
              <a:buFont typeface="Arial" panose="020B0604020202020204" pitchFamily="34" charset="0"/>
              <a:buChar char="•"/>
            </a:pPr>
            <a:r>
              <a:rPr lang="en-US" b="0"/>
              <a:t>This was the first year member companies reported in the new framework through the new reporting levels on the way to achieving Gold Standard.</a:t>
            </a:r>
            <a:br>
              <a:rPr lang="en-US" b="0"/>
            </a:br>
            <a:endParaRPr lang="en-US" b="0"/>
          </a:p>
          <a:p>
            <a:pPr marL="171450" indent="-171450">
              <a:buFont typeface="Arial" panose="020B0604020202020204" pitchFamily="34" charset="0"/>
              <a:buChar char="•"/>
            </a:pPr>
            <a:r>
              <a:rPr lang="en-US" b="0">
                <a:highlight>
                  <a:srgbClr val="FFFF00"/>
                </a:highlight>
              </a:rPr>
              <a:t>Companies achieve Gold Standard reporting when the majority of their assets are reported at Level 4/5 (INCORRECT – THIS NEEDS TO BE UPDATED). </a:t>
            </a:r>
            <a:br>
              <a:rPr lang="en-US" b="0">
                <a:highlight>
                  <a:srgbClr val="FFFF00"/>
                </a:highlight>
              </a:rPr>
            </a:br>
            <a:endParaRPr lang="en-US" b="0">
              <a:highlight>
                <a:srgbClr val="FFFF00"/>
              </a:highlight>
            </a:endParaRPr>
          </a:p>
          <a:p>
            <a:pPr marL="171450" indent="-171450">
              <a:buFont typeface="Arial" panose="020B0604020202020204" pitchFamily="34" charset="0"/>
              <a:buChar char="•"/>
            </a:pPr>
            <a:r>
              <a:rPr lang="en-US" b="0"/>
              <a:t>This year, member companies submitted implementation plans to detail how they will reach Gold Standard Reporting. A Gold Standard pathway status was awarded to companies that submitted a credible and explicit pat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A9D40B-E861-40FB-AA76-CF34322A05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998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3311DB-C32A-CC46-90F4-CE205A9DE9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50406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phasize clearly that while we don’t know everything we know enough to act toda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284C3B-D8F2-491A-BF09-31694F351A1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733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92024" indent="-194310">
              <a:spcAft>
                <a:spcPts val="600"/>
              </a:spcAft>
              <a:buFont typeface="Arial" panose="020B0604020202020204" pitchFamily="34" charset="0"/>
              <a:buChar char="•"/>
            </a:pPr>
            <a:r>
              <a:rPr lang="en-US" sz="1200" dirty="0"/>
              <a:t>The main differences are </a:t>
            </a:r>
            <a:r>
              <a:rPr lang="en-US" sz="1200" b="1" dirty="0"/>
              <a:t>scale, precision, and data usage</a:t>
            </a:r>
          </a:p>
          <a:p>
            <a:pPr marL="192024" indent="-194310">
              <a:spcAft>
                <a:spcPts val="600"/>
              </a:spcAft>
              <a:buFont typeface="Arial" panose="020B0604020202020204" pitchFamily="34" charset="0"/>
              <a:buChar char="•"/>
            </a:pPr>
            <a:r>
              <a:rPr lang="en-US" sz="1200" b="1" dirty="0" err="1"/>
              <a:t>GHGSat’s</a:t>
            </a:r>
            <a:r>
              <a:rPr lang="en-US" sz="1200" b="1" dirty="0"/>
              <a:t> small swath </a:t>
            </a:r>
            <a:r>
              <a:rPr lang="en-US" sz="1200" dirty="0"/>
              <a:t>is well-suited to allow governments or companies to monitor specific facilities for compliance</a:t>
            </a:r>
            <a:endParaRPr lang="en-US" sz="1200" b="1" dirty="0"/>
          </a:p>
          <a:p>
            <a:pPr marL="192024" indent="-194310">
              <a:spcAft>
                <a:spcPts val="600"/>
              </a:spcAft>
              <a:buFont typeface="Arial" panose="020B0604020202020204" pitchFamily="34" charset="0"/>
              <a:buChar char="•"/>
            </a:pPr>
            <a:r>
              <a:rPr lang="en-US" sz="1200" b="1" dirty="0"/>
              <a:t>TROPOMI has a large swath</a:t>
            </a:r>
            <a:r>
              <a:rPr lang="en-US" sz="1200" dirty="0"/>
              <a:t>, but less resolution and a higher detection limit; useful for data on large emissions sources</a:t>
            </a:r>
          </a:p>
          <a:p>
            <a:pPr marL="192024" indent="-194310">
              <a:spcAft>
                <a:spcPts val="600"/>
              </a:spcAft>
              <a:buFont typeface="Arial" panose="020B0604020202020204" pitchFamily="34" charset="0"/>
              <a:buChar char="•"/>
            </a:pPr>
            <a:r>
              <a:rPr lang="en-US" sz="1200" b="1" dirty="0" err="1"/>
              <a:t>MethaneSAT</a:t>
            </a:r>
            <a:r>
              <a:rPr lang="en-US" sz="1200" b="1" dirty="0"/>
              <a:t> combines a wide swath </a:t>
            </a:r>
            <a:r>
              <a:rPr lang="en-US" sz="1200" dirty="0"/>
              <a:t>with a low resolution limit so that we can capture almost all emissions specific to oil and gas operations, allowing us to see the full picture of global emissions</a:t>
            </a:r>
          </a:p>
          <a:p>
            <a:endParaRPr lang="en-US" b="0" dirty="0"/>
          </a:p>
        </p:txBody>
      </p:sp>
      <p:sp>
        <p:nvSpPr>
          <p:cNvPr id="4" name="Slide Number Placeholder 3"/>
          <p:cNvSpPr>
            <a:spLocks noGrp="1"/>
          </p:cNvSpPr>
          <p:nvPr>
            <p:ph type="sldNum" sz="quarter" idx="5"/>
          </p:nvPr>
        </p:nvSpPr>
        <p:spPr/>
        <p:txBody>
          <a:bodyPr/>
          <a:lstStyle/>
          <a:p>
            <a:fld id="{2A92D0DD-0417-8E47-A971-9ADD60642C52}"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2266999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have new company logos to add – would be good to create a bigger slide that we can then screenshot and add here</a:t>
            </a:r>
          </a:p>
          <a:p>
            <a:r>
              <a:rPr lang="en-US"/>
              <a:t>Replace Obama with Ban Ki Moon?</a:t>
            </a:r>
          </a:p>
        </p:txBody>
      </p:sp>
      <p:sp>
        <p:nvSpPr>
          <p:cNvPr id="4" name="Slide Number Placeholder 3"/>
          <p:cNvSpPr>
            <a:spLocks noGrp="1"/>
          </p:cNvSpPr>
          <p:nvPr>
            <p:ph type="sldNum" sz="quarter" idx="5"/>
          </p:nvPr>
        </p:nvSpPr>
        <p:spPr/>
        <p:txBody>
          <a:bodyPr/>
          <a:lstStyle/>
          <a:p>
            <a:fld id="{52D8032D-1279-4304-B0AB-B1B755A888DA}" type="slidenum">
              <a:rPr lang="fr-FR" smtClean="0"/>
              <a:t>11</a:t>
            </a:fld>
            <a:endParaRPr lang="fr-FR"/>
          </a:p>
        </p:txBody>
      </p:sp>
    </p:spTree>
    <p:extLst>
      <p:ext uri="{BB962C8B-B14F-4D97-AF65-F5344CB8AC3E}">
        <p14:creationId xmlns:p14="http://schemas.microsoft.com/office/powerpoint/2010/main" val="342009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51ED7-8084-5345-A101-23B4B1E925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6012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ing Points: </a:t>
            </a:r>
          </a:p>
          <a:p>
            <a:endParaRPr lang="en-US" b="1"/>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a:solidFill>
                  <a:schemeClr val="tx1"/>
                </a:solidFill>
                <a:effectLst/>
                <a:latin typeface="+mn-lt"/>
                <a:ea typeface="+mn-ea"/>
                <a:cs typeface="+mn-cs"/>
              </a:rPr>
              <a:t>Early-stage work has started on other regions with limited data and high production (i.e., West Africa, Caspian Sea) as well as global sources with significant uncertainty such as abandoned wells. The Observatory will expand this work and will start sponsoring studies over the next six months. IMEO is currently scoping projects in South America Middle East, North and West Africa, and South East Asia. As well as looking at sectors (e.g., urban methane budget) and sources (e.g., flaring) with high uncertainty.</a:t>
            </a:r>
            <a:endParaRPr lang="en-US" sz="1200" kern="1200">
              <a:solidFill>
                <a:schemeClr val="tx1"/>
              </a:solidFill>
              <a:effectLst/>
              <a:latin typeface="+mn-lt"/>
              <a:ea typeface="+mn-ea"/>
              <a:cs typeface="+mn-cs"/>
            </a:endParaRPr>
          </a:p>
          <a:p>
            <a:pPr marL="171450" indent="-171450">
              <a:buFont typeface="Arial" panose="020B0604020202020204" pitchFamily="34" charset="0"/>
              <a:buChar char="•"/>
            </a:pPr>
            <a:endParaRPr lang="en-US" b="1"/>
          </a:p>
        </p:txBody>
      </p:sp>
      <p:sp>
        <p:nvSpPr>
          <p:cNvPr id="4" name="Slide Number Placeholder 3"/>
          <p:cNvSpPr>
            <a:spLocks noGrp="1"/>
          </p:cNvSpPr>
          <p:nvPr>
            <p:ph type="sldNum" sz="quarter" idx="5"/>
          </p:nvPr>
        </p:nvSpPr>
        <p:spPr/>
        <p:txBody>
          <a:bodyPr/>
          <a:lstStyle/>
          <a:p>
            <a:fld id="{C9A9D40B-E861-40FB-AA76-CF34322A059B}" type="slidenum">
              <a:rPr lang="en-US" smtClean="0"/>
              <a:t>13</a:t>
            </a:fld>
            <a:endParaRPr lang="en-US"/>
          </a:p>
        </p:txBody>
      </p:sp>
    </p:spTree>
    <p:extLst>
      <p:ext uri="{BB962C8B-B14F-4D97-AF65-F5344CB8AC3E}">
        <p14:creationId xmlns:p14="http://schemas.microsoft.com/office/powerpoint/2010/main" val="4214434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044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1B9B0D-89F4-4992-939B-839CDAC06A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316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10D47-F07E-FA45-A672-023E251369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C06EB1-60D9-524D-B9F7-EEDE10427A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8C82FFF-5501-3B4D-B902-8DF46337816F}"/>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711B2D85-8E0D-3845-ACB0-EB957B74D3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02633A-7F56-7B4A-9899-C38983F12CF2}"/>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30235227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A2A24-C153-8C43-BA70-96B97F4D5D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6233AEF-BFAE-2B4B-B804-091FB4838E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9E9B04-0004-4542-A6B5-FF9CB504CD3C}"/>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731CC6F9-A67D-C942-A071-48BF472A21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C93261-7055-1743-A7ED-4028D4134FF2}"/>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24838923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0D496B-E36B-4144-84D1-684FB89E381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A00787-B89B-F147-AEF2-518DEA851B0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8DDFE1-8203-8149-8FA2-2C725D9BD0E2}"/>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0142D4B4-B536-ED4A-988A-2323D79B50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92DFE3-FDAD-114F-AC09-B0CCA456109E}"/>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35292846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l">
              <a:defRPr>
                <a:latin typeface="Roboto Regular"/>
                <a:cs typeface="Roboto Regular"/>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tx1">
                    <a:tint val="75000"/>
                  </a:schemeClr>
                </a:solidFill>
                <a:latin typeface="Roboto Regular"/>
                <a:cs typeface="Roboto Regula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l">
              <a:defRPr>
                <a:latin typeface="Roboto Regular"/>
                <a:cs typeface="Roboto Regular"/>
              </a:defRPr>
            </a:lvl1pPr>
          </a:lstStyle>
          <a:p>
            <a:fld id="{F4A98793-534D-485A-9EEF-74BE1458AF75}" type="datetime1">
              <a:rPr lang="en-US" smtClean="0"/>
              <a:t>9/15/21</a:t>
            </a:fld>
            <a:endParaRPr lang="en-US"/>
          </a:p>
        </p:txBody>
      </p:sp>
      <p:sp>
        <p:nvSpPr>
          <p:cNvPr id="5" name="Footer Placeholder 4"/>
          <p:cNvSpPr>
            <a:spLocks noGrp="1"/>
          </p:cNvSpPr>
          <p:nvPr>
            <p:ph type="ftr" sz="quarter" idx="11"/>
          </p:nvPr>
        </p:nvSpPr>
        <p:spPr/>
        <p:txBody>
          <a:bodyPr/>
          <a:lstStyle>
            <a:lvl1pPr algn="l">
              <a:defRPr>
                <a:latin typeface="Roboto Regular"/>
                <a:cs typeface="Roboto Regular"/>
              </a:defRPr>
            </a:lvl1pPr>
          </a:lstStyle>
          <a:p>
            <a:endParaRPr lang="en-US"/>
          </a:p>
        </p:txBody>
      </p:sp>
      <p:sp>
        <p:nvSpPr>
          <p:cNvPr id="6" name="Slide Number Placeholder 5"/>
          <p:cNvSpPr>
            <a:spLocks noGrp="1"/>
          </p:cNvSpPr>
          <p:nvPr>
            <p:ph type="sldNum" sz="quarter" idx="12"/>
          </p:nvPr>
        </p:nvSpPr>
        <p:spPr/>
        <p:txBody>
          <a:bodyPr/>
          <a:lstStyle>
            <a:lvl1pPr algn="l">
              <a:defRPr>
                <a:latin typeface="Roboto Regular"/>
                <a:cs typeface="Roboto Regular"/>
              </a:defRPr>
            </a:lvl1pPr>
          </a:lstStyle>
          <a:p>
            <a:fld id="{80E39091-E0D1-CF46-954B-4EBC67CDBED6}" type="slidenum">
              <a:rPr lang="en-US" smtClean="0"/>
              <a:pPr/>
              <a:t>‹#›</a:t>
            </a:fld>
            <a:endParaRPr lang="en-US"/>
          </a:p>
        </p:txBody>
      </p:sp>
    </p:spTree>
    <p:extLst>
      <p:ext uri="{BB962C8B-B14F-4D97-AF65-F5344CB8AC3E}">
        <p14:creationId xmlns:p14="http://schemas.microsoft.com/office/powerpoint/2010/main" val="286582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F717FF-06CD-45B2-A592-ECFF96167F0E}" type="datetime1">
              <a:rPr lang="en-US" smtClean="0"/>
              <a:t>9/15/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168743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F4E8EE9-4835-4784-B9A9-B67FE1828328}" type="datetime1">
              <a:rPr lang="en-US" smtClean="0"/>
              <a:t>9/15/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105723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5A88A3C-489B-4C89-B328-80F8A9C098CB}" type="datetime1">
              <a:rPr lang="en-US" smtClean="0"/>
              <a:t>9/15/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9677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C0DD4F3-E432-460D-9089-D5C05D1A8534}" type="datetime1">
              <a:rPr lang="en-US" smtClean="0"/>
              <a:t>9/15/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56244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115C4BB-EFB2-4272-B708-01F7C0D561F2}" type="datetime1">
              <a:rPr lang="en-US" smtClean="0"/>
              <a:t>9/15/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214826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444C72-2061-447F-8DAE-7AA0A26BD257}" type="datetime1">
              <a:rPr lang="en-US" smtClean="0"/>
              <a:t>9/15/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245415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BA3CAC-5A79-4C75-9A64-CC5B4B9A2041}" type="datetime1">
              <a:rPr lang="en-US" smtClean="0"/>
              <a:t>9/15/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5576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534A6-4AF3-E049-863A-E31F320D32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236A50-00F3-EB4A-9FBB-8F8F9EA0A4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8C2600-592B-FC42-A2AD-25795FDC12F8}"/>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1F0A4B5A-462C-114B-88B1-F22D8418E4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7AAF06-EE1D-744E-B03B-B81B05A192E4}"/>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29127108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D84D365-8EEC-4840-ACEA-2BD9FB33D15A}" type="datetime1">
              <a:rPr lang="en-US" smtClean="0"/>
              <a:t>9/15/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E39091-E0D1-CF46-954B-4EBC67CDBED6}" type="slidenum">
              <a:rPr lang="en-US" smtClean="0"/>
              <a:t>‹#›</a:t>
            </a:fld>
            <a:endParaRPr lang="en-US"/>
          </a:p>
        </p:txBody>
      </p:sp>
    </p:spTree>
    <p:extLst>
      <p:ext uri="{BB962C8B-B14F-4D97-AF65-F5344CB8AC3E}">
        <p14:creationId xmlns:p14="http://schemas.microsoft.com/office/powerpoint/2010/main" val="272310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ar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9088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4C89B-F1E1-1F4F-8293-8E419D54FD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7FEBE1D-411C-8643-A994-6029C38A10A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1D506BC-DC80-FB42-A1E3-00240A109882}"/>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565DA4A9-A5D5-034E-97A1-E5C8A0BA9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935E0E-C85A-0D49-AC39-C59D4D48C9DB}"/>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1013823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7C5E9-FF6A-F841-A2DE-7044766E52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3E067D-0903-5444-B8D8-EDAD567468C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9FFF6B-D517-5043-835E-C47390202A5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5B847B-D299-AA4F-9C15-DEB97C0BCF0F}"/>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6" name="Footer Placeholder 5">
            <a:extLst>
              <a:ext uri="{FF2B5EF4-FFF2-40B4-BE49-F238E27FC236}">
                <a16:creationId xmlns:a16="http://schemas.microsoft.com/office/drawing/2014/main" id="{FB8B5843-32DD-CB46-9F90-0F27674E06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4BFA78-B3F3-EE44-B99A-7F026147C70C}"/>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2218448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78A8FE-A84D-6843-ABCF-DB2EED45CA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C5AD52-23AF-DE42-BC5E-3B525D957E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D60447-451E-6D4F-9378-AA892AD060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EFE73A-67DA-104F-ACAE-18E1366D47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22E6CC4-B239-0548-8C8E-96695FC24A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D098EBC-1C74-C440-A927-C935F8A1640D}"/>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8" name="Footer Placeholder 7">
            <a:extLst>
              <a:ext uri="{FF2B5EF4-FFF2-40B4-BE49-F238E27FC236}">
                <a16:creationId xmlns:a16="http://schemas.microsoft.com/office/drawing/2014/main" id="{39A9E7A7-6159-FE49-A9F1-3901337D0D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745DF6-5428-E949-B274-A226C9D3F4A4}"/>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3998657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EC627-6EBE-4847-8C96-5C4E7F0F2C2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0BAE73-A870-EC4C-87C9-3094A07627D8}"/>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4" name="Footer Placeholder 3">
            <a:extLst>
              <a:ext uri="{FF2B5EF4-FFF2-40B4-BE49-F238E27FC236}">
                <a16:creationId xmlns:a16="http://schemas.microsoft.com/office/drawing/2014/main" id="{4F524AFA-AADC-0A45-8425-81E3E56031A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C5E5CF-6B2E-6549-8DC8-72A4E89333C4}"/>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582666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91AC79-94A9-4945-A8FD-EAB8CFA8E9A3}"/>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3" name="Footer Placeholder 2">
            <a:extLst>
              <a:ext uri="{FF2B5EF4-FFF2-40B4-BE49-F238E27FC236}">
                <a16:creationId xmlns:a16="http://schemas.microsoft.com/office/drawing/2014/main" id="{58AEC5D8-C442-6A46-AAC2-D4E37F07FA6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C67848-DA58-F845-AB2B-D4FF4E8A9971}"/>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39735400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44261-241E-3B4F-890A-097A7E07BA9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146BB9E-9397-1E40-A161-5B66BACEE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30C26D8-97AD-E34B-A7A0-72C285EE2E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499D17-A81B-3046-AAE7-AD5227D8CCAC}"/>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6" name="Footer Placeholder 5">
            <a:extLst>
              <a:ext uri="{FF2B5EF4-FFF2-40B4-BE49-F238E27FC236}">
                <a16:creationId xmlns:a16="http://schemas.microsoft.com/office/drawing/2014/main" id="{066F4A20-EAA3-3C46-9873-943EB75758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451981-7304-0546-8E54-0F5579E81DD7}"/>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2186913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D5906-2280-7547-A0AC-91A70CE6FD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8F72A8F-04F8-1C4E-9800-9AC3FF63CA4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5FE0EBA-A8D0-F941-90A7-6BC0DB9C6C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12FE7A-80AE-2943-890E-F551498623F2}"/>
              </a:ext>
            </a:extLst>
          </p:cNvPr>
          <p:cNvSpPr>
            <a:spLocks noGrp="1"/>
          </p:cNvSpPr>
          <p:nvPr>
            <p:ph type="dt" sz="half" idx="10"/>
          </p:nvPr>
        </p:nvSpPr>
        <p:spPr/>
        <p:txBody>
          <a:bodyPr/>
          <a:lstStyle/>
          <a:p>
            <a:fld id="{D131B90F-FB34-164A-9EAA-6457B30DBC53}" type="datetimeFigureOut">
              <a:rPr lang="en-US" smtClean="0"/>
              <a:t>9/15/21</a:t>
            </a:fld>
            <a:endParaRPr lang="en-US"/>
          </a:p>
        </p:txBody>
      </p:sp>
      <p:sp>
        <p:nvSpPr>
          <p:cNvPr id="6" name="Footer Placeholder 5">
            <a:extLst>
              <a:ext uri="{FF2B5EF4-FFF2-40B4-BE49-F238E27FC236}">
                <a16:creationId xmlns:a16="http://schemas.microsoft.com/office/drawing/2014/main" id="{00A17BD8-7A0B-E743-8099-581D5A147C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9DC3DE-3B3B-5C40-9E57-37DBF1A56A56}"/>
              </a:ext>
            </a:extLst>
          </p:cNvPr>
          <p:cNvSpPr>
            <a:spLocks noGrp="1"/>
          </p:cNvSpPr>
          <p:nvPr>
            <p:ph type="sldNum" sz="quarter" idx="12"/>
          </p:nvPr>
        </p:nvSpPr>
        <p:spPr/>
        <p:txBody>
          <a:bodyPr/>
          <a:lstStyle/>
          <a:p>
            <a:fld id="{9C957919-7FE2-5E4F-A20B-7E35DD6F7481}" type="slidenum">
              <a:rPr lang="en-US" smtClean="0"/>
              <a:t>‹#›</a:t>
            </a:fld>
            <a:endParaRPr lang="en-US"/>
          </a:p>
        </p:txBody>
      </p:sp>
    </p:spTree>
    <p:extLst>
      <p:ext uri="{BB962C8B-B14F-4D97-AF65-F5344CB8AC3E}">
        <p14:creationId xmlns:p14="http://schemas.microsoft.com/office/powerpoint/2010/main" val="60886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vmlDrawing" Target="../drawings/vmlDrawing1.v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E71206-B6A1-1640-B9B2-EE1C5FEAC0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D3D5FC2-2823-9E4B-B23F-3ADB20901C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699AE2-79D8-D848-B09D-16ACD3857B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31B90F-FB34-164A-9EAA-6457B30DBC53}" type="datetimeFigureOut">
              <a:rPr lang="en-US" smtClean="0"/>
              <a:t>9/15/21</a:t>
            </a:fld>
            <a:endParaRPr lang="en-US"/>
          </a:p>
        </p:txBody>
      </p:sp>
      <p:sp>
        <p:nvSpPr>
          <p:cNvPr id="5" name="Footer Placeholder 4">
            <a:extLst>
              <a:ext uri="{FF2B5EF4-FFF2-40B4-BE49-F238E27FC236}">
                <a16:creationId xmlns:a16="http://schemas.microsoft.com/office/drawing/2014/main" id="{65413217-B27E-CE46-8757-FD29D08800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D6E9A45-EA80-0E44-B9B8-9040B465F1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957919-7FE2-5E4F-A20B-7E35DD6F7481}" type="slidenum">
              <a:rPr lang="en-US" smtClean="0"/>
              <a:t>‹#›</a:t>
            </a:fld>
            <a:endParaRPr lang="en-US"/>
          </a:p>
        </p:txBody>
      </p:sp>
    </p:spTree>
    <p:extLst>
      <p:ext uri="{BB962C8B-B14F-4D97-AF65-F5344CB8AC3E}">
        <p14:creationId xmlns:p14="http://schemas.microsoft.com/office/powerpoint/2010/main" val="24008499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5" imgW="471" imgH="472" progId="TCLayout.ActiveDocument.1">
                  <p:embed/>
                </p:oleObj>
              </mc:Choice>
              <mc:Fallback>
                <p:oleObj name="think-cell Slide" r:id="rId15" imgW="471" imgH="472" progId="TCLayout.ActiveDocument.1">
                  <p:embed/>
                  <p:pic>
                    <p:nvPicPr>
                      <p:cNvPr id="8" name="Object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4400" b="0" i="0" baseline="0">
              <a:latin typeface="Roboto Regular"/>
              <a:ea typeface="+mj-ea"/>
              <a:sym typeface="Roboto Regular"/>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sjdlf</a:t>
            </a:r>
            <a:endParaRPr lang="en-US"/>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Roboto Regular"/>
                <a:cs typeface="Roboto Regular"/>
              </a:defRPr>
            </a:lvl1pPr>
          </a:lstStyle>
          <a:p>
            <a:fld id="{BB1C7003-912B-4C3B-84C3-9C25DC3A2524}" type="datetime1">
              <a:rPr lang="en-US" smtClean="0"/>
              <a:t>9/15/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l">
              <a:defRPr sz="1200">
                <a:solidFill>
                  <a:schemeClr val="tx1">
                    <a:tint val="75000"/>
                  </a:schemeClr>
                </a:solidFill>
                <a:latin typeface="Roboto Regular"/>
                <a:cs typeface="Roboto Regular"/>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l">
              <a:defRPr sz="1200">
                <a:solidFill>
                  <a:schemeClr val="tx1">
                    <a:tint val="75000"/>
                  </a:schemeClr>
                </a:solidFill>
                <a:latin typeface="Roboto Regular"/>
                <a:cs typeface="Roboto Regular"/>
              </a:defRPr>
            </a:lvl1pPr>
          </a:lstStyle>
          <a:p>
            <a:fld id="{80E39091-E0D1-CF46-954B-4EBC67CDBED6}" type="slidenum">
              <a:rPr lang="en-US" smtClean="0"/>
              <a:pPr/>
              <a:t>‹#›</a:t>
            </a:fld>
            <a:endParaRPr lang="en-US"/>
          </a:p>
        </p:txBody>
      </p:sp>
    </p:spTree>
    <p:extLst>
      <p:ext uri="{BB962C8B-B14F-4D97-AF65-F5344CB8AC3E}">
        <p14:creationId xmlns:p14="http://schemas.microsoft.com/office/powerpoint/2010/main" val="6433650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4400" kern="1200">
          <a:solidFill>
            <a:schemeClr val="tx1"/>
          </a:solidFill>
          <a:latin typeface="Roboto Regular"/>
          <a:ea typeface="+mj-ea"/>
          <a:cs typeface="Roboto Regular"/>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Roboto Regular"/>
          <a:ea typeface="+mn-ea"/>
          <a:cs typeface="Roboto Regular"/>
        </a:defRPr>
      </a:lvl1pPr>
      <a:lvl2pPr marL="742950" indent="-285750" algn="l" defTabSz="457200" rtl="0" eaLnBrk="1" latinLnBrk="0" hangingPunct="1">
        <a:spcBef>
          <a:spcPct val="20000"/>
        </a:spcBef>
        <a:buFont typeface="Arial"/>
        <a:buChar char="–"/>
        <a:defRPr sz="2800" kern="1200">
          <a:solidFill>
            <a:schemeClr val="tx1"/>
          </a:solidFill>
          <a:latin typeface="Roboto Regular"/>
          <a:ea typeface="+mn-ea"/>
          <a:cs typeface="Roboto Regular"/>
        </a:defRPr>
      </a:lvl2pPr>
      <a:lvl3pPr marL="1143000" indent="-228600" algn="l" defTabSz="457200" rtl="0" eaLnBrk="1" latinLnBrk="0" hangingPunct="1">
        <a:spcBef>
          <a:spcPct val="20000"/>
        </a:spcBef>
        <a:buFont typeface="Arial"/>
        <a:buChar char="•"/>
        <a:defRPr sz="2400" kern="1200">
          <a:solidFill>
            <a:schemeClr val="tx1"/>
          </a:solidFill>
          <a:latin typeface="Roboto Regular"/>
          <a:ea typeface="+mn-ea"/>
          <a:cs typeface="Roboto Regular"/>
        </a:defRPr>
      </a:lvl3pPr>
      <a:lvl4pPr marL="1600200" indent="-228600" algn="l" defTabSz="457200" rtl="0" eaLnBrk="1" latinLnBrk="0" hangingPunct="1">
        <a:spcBef>
          <a:spcPct val="20000"/>
        </a:spcBef>
        <a:buFont typeface="Arial"/>
        <a:buChar char="–"/>
        <a:defRPr sz="2000" kern="1200">
          <a:solidFill>
            <a:schemeClr val="tx1"/>
          </a:solidFill>
          <a:latin typeface="Roboto Regular"/>
          <a:ea typeface="+mn-ea"/>
          <a:cs typeface="Roboto Regular"/>
        </a:defRPr>
      </a:lvl4pPr>
      <a:lvl5pPr marL="2171700" indent="-342900" algn="l" defTabSz="457200" rtl="0" eaLnBrk="1" latinLnBrk="0" hangingPunct="1">
        <a:spcBef>
          <a:spcPct val="20000"/>
        </a:spcBef>
        <a:buFont typeface="Wingdings" charset="2"/>
        <a:buChar char="v"/>
        <a:defRPr sz="2000" kern="1200">
          <a:solidFill>
            <a:schemeClr val="tx1"/>
          </a:solidFill>
          <a:latin typeface="Roboto Regular"/>
          <a:ea typeface="+mn-ea"/>
          <a:cs typeface="Roboto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6" Type="http://schemas.openxmlformats.org/officeDocument/2006/relationships/image" Target="../media/image47.png"/><Relationship Id="rId21" Type="http://schemas.openxmlformats.org/officeDocument/2006/relationships/image" Target="../media/image42.png"/><Relationship Id="rId42" Type="http://schemas.openxmlformats.org/officeDocument/2006/relationships/image" Target="../media/image63.png"/><Relationship Id="rId47" Type="http://schemas.openxmlformats.org/officeDocument/2006/relationships/image" Target="../media/image68.png"/><Relationship Id="rId63" Type="http://schemas.openxmlformats.org/officeDocument/2006/relationships/image" Target="../media/image84.png"/><Relationship Id="rId68" Type="http://schemas.openxmlformats.org/officeDocument/2006/relationships/image" Target="../media/image89.png"/><Relationship Id="rId16" Type="http://schemas.openxmlformats.org/officeDocument/2006/relationships/image" Target="../media/image37.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8" Type="http://schemas.openxmlformats.org/officeDocument/2006/relationships/image" Target="../media/image79.png"/><Relationship Id="rId66" Type="http://schemas.openxmlformats.org/officeDocument/2006/relationships/image" Target="../media/image87.jpeg"/><Relationship Id="rId74" Type="http://schemas.openxmlformats.org/officeDocument/2006/relationships/image" Target="../media/image95.png"/><Relationship Id="rId79" Type="http://schemas.openxmlformats.org/officeDocument/2006/relationships/image" Target="../media/image100.jpeg"/><Relationship Id="rId5" Type="http://schemas.openxmlformats.org/officeDocument/2006/relationships/image" Target="../media/image26.png"/><Relationship Id="rId61" Type="http://schemas.openxmlformats.org/officeDocument/2006/relationships/image" Target="../media/image82.png"/><Relationship Id="rId19" Type="http://schemas.openxmlformats.org/officeDocument/2006/relationships/image" Target="../media/image4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64" Type="http://schemas.openxmlformats.org/officeDocument/2006/relationships/image" Target="../media/image85.png"/><Relationship Id="rId69" Type="http://schemas.openxmlformats.org/officeDocument/2006/relationships/image" Target="../media/image90.png"/><Relationship Id="rId77" Type="http://schemas.openxmlformats.org/officeDocument/2006/relationships/image" Target="../media/image98.jpeg"/><Relationship Id="rId8" Type="http://schemas.openxmlformats.org/officeDocument/2006/relationships/image" Target="../media/image29.png"/><Relationship Id="rId51" Type="http://schemas.openxmlformats.org/officeDocument/2006/relationships/image" Target="../media/image72.png"/><Relationship Id="rId72" Type="http://schemas.openxmlformats.org/officeDocument/2006/relationships/image" Target="../media/image93.png"/><Relationship Id="rId80" Type="http://schemas.openxmlformats.org/officeDocument/2006/relationships/image" Target="../media/image101.jpeg"/><Relationship Id="rId3" Type="http://schemas.openxmlformats.org/officeDocument/2006/relationships/image" Target="../media/image24.png"/><Relationship Id="rId12" Type="http://schemas.openxmlformats.org/officeDocument/2006/relationships/image" Target="../media/image33.jpe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80.png"/><Relationship Id="rId67" Type="http://schemas.openxmlformats.org/officeDocument/2006/relationships/image" Target="../media/image88.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62" Type="http://schemas.openxmlformats.org/officeDocument/2006/relationships/image" Target="../media/image83.png"/><Relationship Id="rId70" Type="http://schemas.openxmlformats.org/officeDocument/2006/relationships/image" Target="../media/image91.png"/><Relationship Id="rId75" Type="http://schemas.openxmlformats.org/officeDocument/2006/relationships/image" Target="../media/image96.png"/><Relationship Id="rId1" Type="http://schemas.openxmlformats.org/officeDocument/2006/relationships/slideLayout" Target="../slideLayouts/slideLayout12.xml"/><Relationship Id="rId6" Type="http://schemas.openxmlformats.org/officeDocument/2006/relationships/image" Target="../media/image27.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57" Type="http://schemas.openxmlformats.org/officeDocument/2006/relationships/image" Target="../media/image78.png"/><Relationship Id="rId10" Type="http://schemas.openxmlformats.org/officeDocument/2006/relationships/image" Target="../media/image31.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60" Type="http://schemas.openxmlformats.org/officeDocument/2006/relationships/image" Target="../media/image81.png"/><Relationship Id="rId65" Type="http://schemas.openxmlformats.org/officeDocument/2006/relationships/image" Target="../media/image86.png"/><Relationship Id="rId73" Type="http://schemas.openxmlformats.org/officeDocument/2006/relationships/image" Target="../media/image94.png"/><Relationship Id="rId78" Type="http://schemas.openxmlformats.org/officeDocument/2006/relationships/image" Target="../media/image99.png"/><Relationship Id="rId4" Type="http://schemas.openxmlformats.org/officeDocument/2006/relationships/image" Target="../media/image25.jpeg"/><Relationship Id="rId9" Type="http://schemas.openxmlformats.org/officeDocument/2006/relationships/image" Target="../media/image30.png"/><Relationship Id="rId13" Type="http://schemas.openxmlformats.org/officeDocument/2006/relationships/image" Target="../media/image34.png"/><Relationship Id="rId18" Type="http://schemas.openxmlformats.org/officeDocument/2006/relationships/image" Target="../media/image39.png"/><Relationship Id="rId39" Type="http://schemas.openxmlformats.org/officeDocument/2006/relationships/image" Target="../media/image60.png"/><Relationship Id="rId34" Type="http://schemas.openxmlformats.org/officeDocument/2006/relationships/image" Target="../media/image55.png"/><Relationship Id="rId50" Type="http://schemas.openxmlformats.org/officeDocument/2006/relationships/image" Target="../media/image71.png"/><Relationship Id="rId55" Type="http://schemas.openxmlformats.org/officeDocument/2006/relationships/image" Target="../media/image76.png"/><Relationship Id="rId76" Type="http://schemas.openxmlformats.org/officeDocument/2006/relationships/image" Target="../media/image97.jpeg"/><Relationship Id="rId7" Type="http://schemas.openxmlformats.org/officeDocument/2006/relationships/image" Target="../media/image28.png"/><Relationship Id="rId71" Type="http://schemas.openxmlformats.org/officeDocument/2006/relationships/image" Target="../media/image92.jpeg"/><Relationship Id="rId2" Type="http://schemas.openxmlformats.org/officeDocument/2006/relationships/notesSlide" Target="../notesSlides/notesSlide5.xml"/><Relationship Id="rId29"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image" Target="../media/image104.jpeg"/><Relationship Id="rId4" Type="http://schemas.openxmlformats.org/officeDocument/2006/relationships/image" Target="../media/image103.jpeg"/></Relationships>
</file>

<file path=ppt/slides/_rels/slide1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image" Target="../media/image106.svg"/></Relationships>
</file>

<file path=ppt/slides/_rels/slide15.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sv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3.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s>
</file>

<file path=ppt/slides/_rels/slide16.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5.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4.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110.svg"/><Relationship Id="rId11" Type="http://schemas.openxmlformats.org/officeDocument/2006/relationships/image" Target="../media/image113.png"/><Relationship Id="rId5" Type="http://schemas.openxmlformats.org/officeDocument/2006/relationships/image" Target="../media/image109.png"/><Relationship Id="rId15" Type="http://schemas.openxmlformats.org/officeDocument/2006/relationships/image" Target="../media/image3.png"/><Relationship Id="rId10" Type="http://schemas.openxmlformats.org/officeDocument/2006/relationships/image" Target="../media/image118.svg"/><Relationship Id="rId4" Type="http://schemas.openxmlformats.org/officeDocument/2006/relationships/image" Target="../media/image108.svg"/><Relationship Id="rId9" Type="http://schemas.openxmlformats.org/officeDocument/2006/relationships/image" Target="../media/image117.png"/><Relationship Id="rId14" Type="http://schemas.openxmlformats.org/officeDocument/2006/relationships/image" Target="../media/image116.svg"/></Relationships>
</file>

<file path=ppt/slides/_rels/slide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doi.org/10.5194/acp-21-6605-2021" TargetMode="External"/><Relationship Id="rId2" Type="http://schemas.openxmlformats.org/officeDocument/2006/relationships/image" Target="../media/image119.pn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microsoft.com/office/2007/relationships/hdphoto" Target="../media/hdphoto1.wdp"/><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6.jpeg"/><Relationship Id="rId5" Type="http://schemas.microsoft.com/office/2007/relationships/hdphoto" Target="../media/hdphoto2.wdp"/><Relationship Id="rId4" Type="http://schemas.openxmlformats.org/officeDocument/2006/relationships/image" Target="../media/image5.pn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emf"/><Relationship Id="rId7"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3.png"/><Relationship Id="rId4" Type="http://schemas.openxmlformats.org/officeDocument/2006/relationships/image" Target="../media/image12.png"/><Relationship Id="rId9" Type="http://schemas.openxmlformats.org/officeDocument/2006/relationships/image" Target="../media/image17.svg"/></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chart" Target="../charts/chart2.xml"/><Relationship Id="rId7" Type="http://schemas.openxmlformats.org/officeDocument/2006/relationships/chart" Target="../charts/chart4.xml"/><Relationship Id="rId2" Type="http://schemas.openxmlformats.org/officeDocument/2006/relationships/image" Target="../media/image18.jpeg"/><Relationship Id="rId1" Type="http://schemas.openxmlformats.org/officeDocument/2006/relationships/slideLayout" Target="../slideLayouts/slideLayout6.xml"/><Relationship Id="rId6" Type="http://schemas.openxmlformats.org/officeDocument/2006/relationships/image" Target="../media/image20.jpeg"/><Relationship Id="rId5" Type="http://schemas.openxmlformats.org/officeDocument/2006/relationships/chart" Target="../charts/chart3.xml"/><Relationship Id="rId4" Type="http://schemas.openxmlformats.org/officeDocument/2006/relationships/image" Target="../media/image19.jpeg"/><Relationship Id="rId9" Type="http://schemas.openxmlformats.org/officeDocument/2006/relationships/chart" Target="../charts/chart5.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Ein Bild, das draußen, Himmel, Sonnenuntergang, Wolken enthält.&#10;&#10;Automatisch generierte Beschreibung">
            <a:extLst>
              <a:ext uri="{FF2B5EF4-FFF2-40B4-BE49-F238E27FC236}">
                <a16:creationId xmlns:a16="http://schemas.microsoft.com/office/drawing/2014/main" id="{6BFDC720-0FE6-D143-BB40-9044DC232010}"/>
              </a:ext>
            </a:extLst>
          </p:cNvPr>
          <p:cNvPicPr>
            <a:picLocks noChangeAspect="1"/>
          </p:cNvPicPr>
          <p:nvPr/>
        </p:nvPicPr>
        <p:blipFill rotWithShape="1">
          <a:blip r:embed="rId3">
            <a:extLst>
              <a:ext uri="{28A0092B-C50C-407E-A947-70E740481C1C}">
                <a14:useLocalDpi xmlns:a14="http://schemas.microsoft.com/office/drawing/2010/main" val="0"/>
              </a:ext>
            </a:extLst>
          </a:blip>
          <a:srcRect t="12564" b="5054"/>
          <a:stretch/>
        </p:blipFill>
        <p:spPr>
          <a:xfrm>
            <a:off x="-3795" y="0"/>
            <a:ext cx="12199590" cy="5649897"/>
          </a:xfrm>
          <a:prstGeom prst="rect">
            <a:avLst/>
          </a:prstGeom>
        </p:spPr>
      </p:pic>
      <p:sp>
        <p:nvSpPr>
          <p:cNvPr id="2" name="Title 1">
            <a:extLst>
              <a:ext uri="{FF2B5EF4-FFF2-40B4-BE49-F238E27FC236}">
                <a16:creationId xmlns:a16="http://schemas.microsoft.com/office/drawing/2014/main" id="{E00B4897-87C8-4530-8568-7937744BC5FB}"/>
              </a:ext>
            </a:extLst>
          </p:cNvPr>
          <p:cNvSpPr>
            <a:spLocks noGrp="1"/>
          </p:cNvSpPr>
          <p:nvPr>
            <p:ph type="ctrTitle"/>
          </p:nvPr>
        </p:nvSpPr>
        <p:spPr>
          <a:xfrm>
            <a:off x="515741" y="671203"/>
            <a:ext cx="10214676" cy="2757797"/>
          </a:xfrm>
        </p:spPr>
        <p:txBody>
          <a:bodyPr>
            <a:normAutofit fontScale="90000"/>
          </a:bodyPr>
          <a:lstStyle/>
          <a:p>
            <a:r>
              <a:rPr lang="en-US" b="1" dirty="0">
                <a:solidFill>
                  <a:schemeClr val="bg1"/>
                </a:solidFill>
                <a:latin typeface="Roboto" panose="02000000000000000000" pitchFamily="2" charset="0"/>
                <a:ea typeface="Roboto" panose="02000000000000000000" pitchFamily="2" charset="0"/>
                <a:cs typeface="Roboto" panose="02000000000000000000" pitchFamily="2" charset="0"/>
              </a:rPr>
              <a:t>International Methane Emissions Observatory (IMEO)</a:t>
            </a:r>
            <a:br>
              <a:rPr lang="en-US"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b="1" dirty="0">
                <a:solidFill>
                  <a:schemeClr val="bg1"/>
                </a:solidFill>
                <a:latin typeface="Roboto" panose="02000000000000000000" pitchFamily="2" charset="0"/>
                <a:ea typeface="Roboto" panose="02000000000000000000" pitchFamily="2" charset="0"/>
                <a:cs typeface="Roboto" panose="02000000000000000000" pitchFamily="2" charset="0"/>
              </a:rPr>
            </a:br>
            <a:r>
              <a:rPr lang="en-US" sz="3200" b="1" dirty="0">
                <a:solidFill>
                  <a:schemeClr val="bg1"/>
                </a:solidFill>
                <a:latin typeface="Roboto" panose="02000000000000000000" pitchFamily="2" charset="0"/>
                <a:ea typeface="Roboto" panose="02000000000000000000" pitchFamily="2" charset="0"/>
                <a:cs typeface="Roboto" panose="02000000000000000000" pitchFamily="2" charset="0"/>
              </a:rPr>
              <a:t>Opportunity to catalyze and accelerate emissions reductions</a:t>
            </a:r>
            <a:br>
              <a:rPr lang="en-US" b="1" dirty="0">
                <a:solidFill>
                  <a:schemeClr val="bg1"/>
                </a:solidFill>
                <a:latin typeface="Roboto" panose="02000000000000000000" pitchFamily="2" charset="0"/>
                <a:ea typeface="Roboto" panose="02000000000000000000" pitchFamily="2" charset="0"/>
                <a:cs typeface="Roboto" panose="02000000000000000000" pitchFamily="2" charset="0"/>
              </a:rPr>
            </a:br>
            <a:br>
              <a:rPr lang="en-US" b="1" dirty="0">
                <a:solidFill>
                  <a:schemeClr val="bg1"/>
                </a:solidFill>
                <a:latin typeface="Roboto" panose="02000000000000000000" pitchFamily="2" charset="0"/>
                <a:ea typeface="Roboto" panose="02000000000000000000" pitchFamily="2" charset="0"/>
                <a:cs typeface="Roboto" panose="02000000000000000000" pitchFamily="2" charset="0"/>
              </a:rPr>
            </a:br>
            <a:endParaRPr lang="en-US"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pic>
        <p:nvPicPr>
          <p:cNvPr id="7" name="Picture 6" descr="Text, logo&#10;&#10;Description automatically generated">
            <a:extLst>
              <a:ext uri="{FF2B5EF4-FFF2-40B4-BE49-F238E27FC236}">
                <a16:creationId xmlns:a16="http://schemas.microsoft.com/office/drawing/2014/main" id="{AE54C33C-A3D3-414C-B049-B67324493190}"/>
              </a:ext>
            </a:extLst>
          </p:cNvPr>
          <p:cNvPicPr>
            <a:picLocks noChangeAspect="1"/>
          </p:cNvPicPr>
          <p:nvPr/>
        </p:nvPicPr>
        <p:blipFill>
          <a:blip r:embed="rId4">
            <a:alphaModFix amt="50000"/>
          </a:blip>
          <a:stretch>
            <a:fillRect/>
          </a:stretch>
        </p:blipFill>
        <p:spPr>
          <a:xfrm>
            <a:off x="10453751" y="5763956"/>
            <a:ext cx="1639608" cy="796492"/>
          </a:xfrm>
          <a:prstGeom prst="rect">
            <a:avLst/>
          </a:prstGeom>
        </p:spPr>
      </p:pic>
      <p:sp>
        <p:nvSpPr>
          <p:cNvPr id="8" name="TextBox 7">
            <a:extLst>
              <a:ext uri="{FF2B5EF4-FFF2-40B4-BE49-F238E27FC236}">
                <a16:creationId xmlns:a16="http://schemas.microsoft.com/office/drawing/2014/main" id="{105DD452-83DF-EB44-A49E-7FCA7CEFDECA}"/>
              </a:ext>
            </a:extLst>
          </p:cNvPr>
          <p:cNvSpPr txBox="1"/>
          <p:nvPr/>
        </p:nvSpPr>
        <p:spPr>
          <a:xfrm>
            <a:off x="4014952" y="3867807"/>
            <a:ext cx="5376344" cy="830997"/>
          </a:xfrm>
          <a:prstGeom prst="rect">
            <a:avLst/>
          </a:prstGeom>
          <a:noFill/>
        </p:spPr>
        <p:txBody>
          <a:bodyPr wrap="none" rtlCol="0">
            <a:spAutoFit/>
          </a:bodyPr>
          <a:lstStyle/>
          <a:p>
            <a:r>
              <a:rPr lang="en-US" sz="2400" dirty="0">
                <a:solidFill>
                  <a:schemeClr val="bg1"/>
                </a:solidFill>
              </a:rPr>
              <a:t>Steven Hamburg</a:t>
            </a:r>
          </a:p>
          <a:p>
            <a:r>
              <a:rPr lang="en-US" sz="2400" dirty="0">
                <a:solidFill>
                  <a:schemeClr val="bg1"/>
                </a:solidFill>
              </a:rPr>
              <a:t>Chair, IMEO Science Oversight Committee</a:t>
            </a:r>
          </a:p>
        </p:txBody>
      </p:sp>
    </p:spTree>
    <p:extLst>
      <p:ext uri="{BB962C8B-B14F-4D97-AF65-F5344CB8AC3E}">
        <p14:creationId xmlns:p14="http://schemas.microsoft.com/office/powerpoint/2010/main" val="333263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C53BA50-FCBD-46D7-BA54-F3AE6E8DC549}"/>
              </a:ext>
            </a:extLst>
          </p:cNvPr>
          <p:cNvSpPr txBox="1"/>
          <p:nvPr/>
        </p:nvSpPr>
        <p:spPr>
          <a:xfrm>
            <a:off x="4627445" y="6211233"/>
            <a:ext cx="6882293" cy="400110"/>
          </a:xfrm>
          <a:prstGeom prst="rect">
            <a:avLst/>
          </a:prstGeom>
          <a:solidFill>
            <a:schemeClr val="bg1"/>
          </a:solidFill>
        </p:spPr>
        <p:txBody>
          <a:bodyPr wrap="square" rtlCol="0">
            <a:spAutoFit/>
          </a:bodyPr>
          <a:lstStyle/>
          <a:p>
            <a:pPr algn="r"/>
            <a:r>
              <a:rPr lang="en-US" sz="2000" dirty="0">
                <a:latin typeface="Calibri"/>
              </a:rPr>
              <a:t>* Gradient measured over 10 – 100 km length scales</a:t>
            </a:r>
            <a:r>
              <a:rPr lang="en-US" sz="1867" dirty="0">
                <a:solidFill>
                  <a:srgbClr val="E06826"/>
                </a:solidFill>
                <a:latin typeface="Calibri"/>
              </a:rPr>
              <a:t>.</a:t>
            </a:r>
          </a:p>
        </p:txBody>
      </p:sp>
      <p:sp>
        <p:nvSpPr>
          <p:cNvPr id="2" name="Title 1"/>
          <p:cNvSpPr>
            <a:spLocks noGrp="1"/>
          </p:cNvSpPr>
          <p:nvPr>
            <p:ph type="title"/>
          </p:nvPr>
        </p:nvSpPr>
        <p:spPr>
          <a:xfrm>
            <a:off x="772584" y="90672"/>
            <a:ext cx="11419416" cy="685800"/>
          </a:xfrm>
        </p:spPr>
        <p:txBody>
          <a:bodyPr>
            <a:noAutofit/>
          </a:bodyPr>
          <a:lstStyle/>
          <a:p>
            <a:r>
              <a:rPr lang="en-US" sz="3733" b="1" dirty="0">
                <a:solidFill>
                  <a:prstClr val="black"/>
                </a:solidFill>
                <a:latin typeface="Calibri"/>
              </a:rPr>
              <a:t>Satellites Are </a:t>
            </a:r>
            <a:r>
              <a:rPr lang="en-US" sz="3733" b="1" i="1" dirty="0">
                <a:solidFill>
                  <a:prstClr val="black"/>
                </a:solidFill>
                <a:latin typeface="Calibri"/>
              </a:rPr>
              <a:t>Complementary</a:t>
            </a:r>
            <a:r>
              <a:rPr lang="en-US" sz="3733" b="1" dirty="0">
                <a:solidFill>
                  <a:prstClr val="black"/>
                </a:solidFill>
                <a:latin typeface="Calibri"/>
              </a:rPr>
              <a:t> </a:t>
            </a:r>
            <a:br>
              <a:rPr lang="en-US" sz="3733" b="1" dirty="0">
                <a:solidFill>
                  <a:prstClr val="black"/>
                </a:solidFill>
                <a:latin typeface="Calibri"/>
              </a:rPr>
            </a:br>
            <a:r>
              <a:rPr lang="en-US" sz="3733" b="1" dirty="0">
                <a:solidFill>
                  <a:prstClr val="black"/>
                </a:solidFill>
                <a:latin typeface="Calibri"/>
              </a:rPr>
              <a:t>For Tackling Global Methane Emissions</a:t>
            </a:r>
            <a:endParaRPr lang="en-US" sz="3733" dirty="0"/>
          </a:p>
        </p:txBody>
      </p:sp>
      <p:sp>
        <p:nvSpPr>
          <p:cNvPr id="13" name="TextBox 12">
            <a:extLst>
              <a:ext uri="{FF2B5EF4-FFF2-40B4-BE49-F238E27FC236}">
                <a16:creationId xmlns:a16="http://schemas.microsoft.com/office/drawing/2014/main" id="{5C8ABE29-5A54-BB4E-AB8E-8F8EE2497B1A}"/>
              </a:ext>
            </a:extLst>
          </p:cNvPr>
          <p:cNvSpPr txBox="1"/>
          <p:nvPr/>
        </p:nvSpPr>
        <p:spPr>
          <a:xfrm>
            <a:off x="4806122" y="5672174"/>
            <a:ext cx="6882293" cy="379656"/>
          </a:xfrm>
          <a:prstGeom prst="rect">
            <a:avLst/>
          </a:prstGeom>
          <a:solidFill>
            <a:schemeClr val="bg1"/>
          </a:solidFill>
        </p:spPr>
        <p:txBody>
          <a:bodyPr wrap="square" rtlCol="0">
            <a:spAutoFit/>
          </a:bodyPr>
          <a:lstStyle/>
          <a:p>
            <a:pPr algn="r"/>
            <a:r>
              <a:rPr lang="en-US" sz="1867" dirty="0">
                <a:solidFill>
                  <a:srgbClr val="E06826"/>
                </a:solidFill>
                <a:latin typeface="Calibri"/>
              </a:rPr>
              <a:t>* Gradient measured over 10 – 100 km length scales.</a:t>
            </a:r>
          </a:p>
        </p:txBody>
      </p:sp>
      <p:graphicFrame>
        <p:nvGraphicFramePr>
          <p:cNvPr id="9" name="Table 8">
            <a:extLst>
              <a:ext uri="{FF2B5EF4-FFF2-40B4-BE49-F238E27FC236}">
                <a16:creationId xmlns:a16="http://schemas.microsoft.com/office/drawing/2014/main" id="{50CAD52B-8550-BC44-B5C8-42A6134DF1DD}"/>
              </a:ext>
            </a:extLst>
          </p:cNvPr>
          <p:cNvGraphicFramePr>
            <a:graphicFrameLocks noGrp="1"/>
          </p:cNvGraphicFramePr>
          <p:nvPr>
            <p:extLst>
              <p:ext uri="{D42A27DB-BD31-4B8C-83A1-F6EECF244321}">
                <p14:modId xmlns:p14="http://schemas.microsoft.com/office/powerpoint/2010/main" val="2623345530"/>
              </p:ext>
            </p:extLst>
          </p:nvPr>
        </p:nvGraphicFramePr>
        <p:xfrm>
          <a:off x="772584" y="1128620"/>
          <a:ext cx="10832966" cy="4930520"/>
        </p:xfrm>
        <a:graphic>
          <a:graphicData uri="http://schemas.openxmlformats.org/drawingml/2006/table">
            <a:tbl>
              <a:tblPr firstRow="1" bandRow="1">
                <a:effectLst/>
                <a:tableStyleId>{5C22544A-7EE6-4342-B048-85BDC9FD1C3A}</a:tableStyleId>
              </a:tblPr>
              <a:tblGrid>
                <a:gridCol w="2415500">
                  <a:extLst>
                    <a:ext uri="{9D8B030D-6E8A-4147-A177-3AD203B41FA5}">
                      <a16:colId xmlns:a16="http://schemas.microsoft.com/office/drawing/2014/main" val="20000"/>
                    </a:ext>
                  </a:extLst>
                </a:gridCol>
                <a:gridCol w="1610264">
                  <a:extLst>
                    <a:ext uri="{9D8B030D-6E8A-4147-A177-3AD203B41FA5}">
                      <a16:colId xmlns:a16="http://schemas.microsoft.com/office/drawing/2014/main" val="20001"/>
                    </a:ext>
                  </a:extLst>
                </a:gridCol>
                <a:gridCol w="3519991">
                  <a:extLst>
                    <a:ext uri="{9D8B030D-6E8A-4147-A177-3AD203B41FA5}">
                      <a16:colId xmlns:a16="http://schemas.microsoft.com/office/drawing/2014/main" val="20003"/>
                    </a:ext>
                  </a:extLst>
                </a:gridCol>
                <a:gridCol w="1701524">
                  <a:extLst>
                    <a:ext uri="{9D8B030D-6E8A-4147-A177-3AD203B41FA5}">
                      <a16:colId xmlns:a16="http://schemas.microsoft.com/office/drawing/2014/main" val="20004"/>
                    </a:ext>
                  </a:extLst>
                </a:gridCol>
                <a:gridCol w="1585687">
                  <a:extLst>
                    <a:ext uri="{9D8B030D-6E8A-4147-A177-3AD203B41FA5}">
                      <a16:colId xmlns:a16="http://schemas.microsoft.com/office/drawing/2014/main" val="20005"/>
                    </a:ext>
                  </a:extLst>
                </a:gridCol>
              </a:tblGrid>
              <a:tr h="1053463">
                <a:tc>
                  <a:txBody>
                    <a:bodyPr/>
                    <a:lstStyle/>
                    <a:p>
                      <a:pPr algn="ctr"/>
                      <a:r>
                        <a:rPr lang="en-US" sz="2700" dirty="0">
                          <a:solidFill>
                            <a:schemeClr val="bg1"/>
                          </a:solidFill>
                        </a:rPr>
                        <a:t>Instrument</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6826"/>
                    </a:solidFill>
                  </a:tcPr>
                </a:tc>
                <a:tc>
                  <a:txBody>
                    <a:bodyPr/>
                    <a:lstStyle/>
                    <a:p>
                      <a:pPr algn="ctr"/>
                      <a:r>
                        <a:rPr lang="en-US" sz="2700" dirty="0">
                          <a:solidFill>
                            <a:schemeClr val="bg1"/>
                          </a:solidFill>
                        </a:rPr>
                        <a:t>Dates </a:t>
                      </a:r>
                      <a:r>
                        <a:rPr lang="en-US" sz="2100" b="0" dirty="0">
                          <a:solidFill>
                            <a:schemeClr val="bg1"/>
                          </a:solidFill>
                        </a:rPr>
                        <a:t>operational</a:t>
                      </a:r>
                      <a:endParaRPr lang="en-US" sz="2700" b="0" dirty="0">
                        <a:solidFill>
                          <a:schemeClr val="bg1"/>
                        </a:solidFill>
                      </a:endParaRP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6826"/>
                    </a:solidFill>
                  </a:tcPr>
                </a:tc>
                <a:tc>
                  <a:txBody>
                    <a:bodyPr/>
                    <a:lstStyle/>
                    <a:p>
                      <a:pPr algn="ctr"/>
                      <a:r>
                        <a:rPr lang="en-US" sz="2700" dirty="0">
                          <a:solidFill>
                            <a:schemeClr val="bg1"/>
                          </a:solidFill>
                        </a:rPr>
                        <a:t>Grid  size </a:t>
                      </a:r>
                      <a:br>
                        <a:rPr lang="en-US" sz="2700" dirty="0">
                          <a:solidFill>
                            <a:schemeClr val="bg1"/>
                          </a:solidFill>
                        </a:rPr>
                      </a:br>
                      <a:r>
                        <a:rPr lang="en-US" sz="2100" b="0" kern="1200" dirty="0">
                          <a:solidFill>
                            <a:schemeClr val="bg1"/>
                          </a:solidFill>
                          <a:latin typeface="+mn-lt"/>
                          <a:ea typeface="+mn-ea"/>
                          <a:cs typeface="+mn-cs"/>
                        </a:rPr>
                        <a:t>(</a:t>
                      </a:r>
                      <a:r>
                        <a:rPr lang="en-US" sz="2100" b="0" kern="1200" dirty="0" err="1">
                          <a:solidFill>
                            <a:schemeClr val="bg1"/>
                          </a:solidFill>
                          <a:latin typeface="+mn-lt"/>
                          <a:ea typeface="+mn-ea"/>
                          <a:cs typeface="+mn-cs"/>
                        </a:rPr>
                        <a:t>subgrid</a:t>
                      </a:r>
                      <a:r>
                        <a:rPr lang="en-US" sz="2100" b="0" kern="1200" dirty="0">
                          <a:solidFill>
                            <a:schemeClr val="bg1"/>
                          </a:solidFill>
                          <a:latin typeface="+mn-lt"/>
                          <a:ea typeface="+mn-ea"/>
                          <a:cs typeface="+mn-cs"/>
                        </a:rPr>
                        <a:t> pixel) (km2)</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6826"/>
                    </a:solidFill>
                  </a:tcPr>
                </a:tc>
                <a:tc>
                  <a:txBody>
                    <a:bodyPr/>
                    <a:lstStyle/>
                    <a:p>
                      <a:pPr algn="ctr"/>
                      <a:r>
                        <a:rPr lang="en-US" sz="2700" dirty="0">
                          <a:solidFill>
                            <a:schemeClr val="bg1"/>
                          </a:solidFill>
                        </a:rPr>
                        <a:t>Swath</a:t>
                      </a:r>
                    </a:p>
                    <a:p>
                      <a:pPr algn="ctr"/>
                      <a:r>
                        <a:rPr lang="en-US" sz="2100" b="0" kern="1200" dirty="0">
                          <a:solidFill>
                            <a:schemeClr val="bg1"/>
                          </a:solidFill>
                          <a:latin typeface="+mn-lt"/>
                          <a:ea typeface="+mn-ea"/>
                          <a:cs typeface="+mn-cs"/>
                        </a:rPr>
                        <a:t>(km)</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6826"/>
                    </a:solidFill>
                  </a:tcPr>
                </a:tc>
                <a:tc>
                  <a:txBody>
                    <a:bodyPr/>
                    <a:lstStyle/>
                    <a:p>
                      <a:pPr algn="ctr"/>
                      <a:r>
                        <a:rPr lang="en-US" sz="2700" baseline="0" dirty="0">
                          <a:solidFill>
                            <a:schemeClr val="bg1"/>
                          </a:solidFill>
                        </a:rPr>
                        <a:t>Precision </a:t>
                      </a:r>
                      <a:r>
                        <a:rPr lang="en-US" sz="2100" b="0" kern="1200" dirty="0">
                          <a:solidFill>
                            <a:schemeClr val="bg1"/>
                          </a:solidFill>
                          <a:latin typeface="+mn-lt"/>
                          <a:ea typeface="+mn-ea"/>
                          <a:cs typeface="+mn-cs"/>
                        </a:rPr>
                        <a:t>(ppbv)</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06826"/>
                    </a:solidFill>
                  </a:tcPr>
                </a:tc>
                <a:extLst>
                  <a:ext uri="{0D108BD9-81ED-4DB2-BD59-A6C34878D82A}">
                    <a16:rowId xmlns:a16="http://schemas.microsoft.com/office/drawing/2014/main" val="10000"/>
                  </a:ext>
                </a:extLst>
              </a:tr>
              <a:tr h="688703">
                <a:tc>
                  <a:txBody>
                    <a:bodyPr/>
                    <a:lstStyle/>
                    <a:p>
                      <a:r>
                        <a:rPr lang="en-US" sz="2400" b="0" dirty="0" err="1">
                          <a:solidFill>
                            <a:schemeClr val="tx1"/>
                          </a:solidFill>
                        </a:rPr>
                        <a:t>MethaneSAT</a:t>
                      </a:r>
                      <a:endParaRPr lang="en-US" sz="2400" b="0" dirty="0">
                        <a:solidFill>
                          <a:schemeClr val="tx1"/>
                        </a:solidFill>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400" b="0" dirty="0">
                          <a:solidFill>
                            <a:schemeClr val="tx1"/>
                          </a:solidFill>
                        </a:rPr>
                        <a:t>2022</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1.4 × 1.4  (&lt;</a:t>
                      </a:r>
                      <a:r>
                        <a:rPr lang="en-US" sz="2400" b="0" baseline="0" dirty="0">
                          <a:solidFill>
                            <a:schemeClr val="tx1"/>
                          </a:solidFill>
                        </a:rPr>
                        <a:t> 1 km raw</a:t>
                      </a:r>
                      <a:r>
                        <a:rPr lang="en-US" sz="2400" b="0" dirty="0">
                          <a:solidFill>
                            <a:schemeClr val="tx1"/>
                          </a:solidFill>
                        </a:rPr>
                        <a:t>)</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baseline="0" dirty="0">
                          <a:solidFill>
                            <a:schemeClr val="tx1"/>
                          </a:solidFill>
                        </a:rPr>
                        <a:t>200±</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400" b="0" dirty="0">
                          <a:solidFill>
                            <a:schemeClr val="tx1"/>
                          </a:solidFill>
                        </a:rPr>
                        <a:t>2-3*</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32355">
                <a:tc>
                  <a:txBody>
                    <a:bodyPr/>
                    <a:lstStyle/>
                    <a:p>
                      <a:r>
                        <a:rPr lang="en-US" sz="2400" b="0" dirty="0">
                          <a:solidFill>
                            <a:schemeClr val="tx1"/>
                          </a:solidFill>
                        </a:rPr>
                        <a:t>GOSAT </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2009 -</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10 km</a:t>
                      </a:r>
                      <a:r>
                        <a:rPr lang="en-US" sz="2400" b="0" baseline="30000" dirty="0">
                          <a:solidFill>
                            <a:schemeClr val="tx1"/>
                          </a:solidFill>
                        </a:rPr>
                        <a:t> </a:t>
                      </a:r>
                      <a:r>
                        <a:rPr lang="en-US" sz="2400" b="0" baseline="0" dirty="0">
                          <a:solidFill>
                            <a:schemeClr val="tx1"/>
                          </a:solidFill>
                        </a:rPr>
                        <a:t>dia., single</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Sparse</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13</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3"/>
                  </a:ext>
                </a:extLst>
              </a:tr>
              <a:tr h="529861">
                <a:tc>
                  <a:txBody>
                    <a:bodyPr/>
                    <a:lstStyle/>
                    <a:p>
                      <a:r>
                        <a:rPr lang="en-US" sz="2400" b="0" dirty="0" err="1">
                          <a:solidFill>
                            <a:schemeClr val="tx1"/>
                          </a:solidFill>
                        </a:rPr>
                        <a:t>GHGSat</a:t>
                      </a:r>
                      <a:r>
                        <a:rPr lang="en-US" sz="2400" b="0" dirty="0">
                          <a:solidFill>
                            <a:schemeClr val="tx1"/>
                          </a:solidFill>
                        </a:rPr>
                        <a:t> </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algn="ctr" defTabSz="914400" rtl="0" eaLnBrk="1" latinLnBrk="0" hangingPunct="1"/>
                      <a:r>
                        <a:rPr lang="en-US" sz="2400" b="0" kern="1200" dirty="0">
                          <a:solidFill>
                            <a:schemeClr val="tx1"/>
                          </a:solidFill>
                          <a:latin typeface="+mn-lt"/>
                          <a:ea typeface="+mn-ea"/>
                          <a:cs typeface="+mn-cs"/>
                        </a:rPr>
                        <a:t>2016 -</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0.05 x 0.05</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12 x 12</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50</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4"/>
                  </a:ext>
                </a:extLst>
              </a:tr>
              <a:tr h="529861">
                <a:tc>
                  <a:txBody>
                    <a:bodyPr/>
                    <a:lstStyle/>
                    <a:p>
                      <a:r>
                        <a:rPr lang="en-US" sz="2400" b="0" dirty="0">
                          <a:solidFill>
                            <a:schemeClr val="tx1"/>
                          </a:solidFill>
                        </a:rPr>
                        <a:t>TROPOMI</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algn="ctr" defTabSz="914400" rtl="0" eaLnBrk="1" latinLnBrk="0" hangingPunct="1"/>
                      <a:r>
                        <a:rPr lang="en-US" sz="2400" b="0" kern="1200" dirty="0">
                          <a:solidFill>
                            <a:schemeClr val="tx1"/>
                          </a:solidFill>
                          <a:latin typeface="+mn-lt"/>
                          <a:ea typeface="+mn-ea"/>
                          <a:cs typeface="+mn-cs"/>
                        </a:rPr>
                        <a:t>2017-</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7 × 7</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2600</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11</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5"/>
                  </a:ext>
                </a:extLst>
              </a:tr>
              <a:tr h="529861">
                <a:tc>
                  <a:txBody>
                    <a:bodyPr/>
                    <a:lstStyle/>
                    <a:p>
                      <a:r>
                        <a:rPr lang="en-US" sz="2400" b="0" dirty="0">
                          <a:solidFill>
                            <a:schemeClr val="tx1"/>
                          </a:solidFill>
                        </a:rPr>
                        <a:t>GOSAT-2</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2018 -</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10 km </a:t>
                      </a:r>
                      <a:r>
                        <a:rPr lang="en-US" sz="2400" b="0" baseline="0" dirty="0">
                          <a:solidFill>
                            <a:schemeClr val="tx1"/>
                          </a:solidFill>
                        </a:rPr>
                        <a:t>dia., single</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Sparse</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8</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6"/>
                  </a:ext>
                </a:extLst>
              </a:tr>
              <a:tr h="533208">
                <a:tc>
                  <a:txBody>
                    <a:bodyPr/>
                    <a:lstStyle/>
                    <a:p>
                      <a:r>
                        <a:rPr lang="en-US" sz="2400" b="0" dirty="0">
                          <a:solidFill>
                            <a:schemeClr val="tx1"/>
                          </a:solidFill>
                        </a:rPr>
                        <a:t>GeoCARB</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2022 -</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dirty="0">
                          <a:solidFill>
                            <a:schemeClr val="tx1"/>
                          </a:solidFill>
                        </a:rPr>
                        <a:t>3 × 6</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baseline="0" dirty="0">
                          <a:solidFill>
                            <a:schemeClr val="tx1"/>
                          </a:solidFill>
                        </a:rPr>
                        <a:t>2800</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18</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533208">
                <a:tc>
                  <a:txBody>
                    <a:bodyPr/>
                    <a:lstStyle/>
                    <a:p>
                      <a:r>
                        <a:rPr lang="en-US" sz="2400" b="0" dirty="0">
                          <a:solidFill>
                            <a:schemeClr val="tx1"/>
                          </a:solidFill>
                        </a:rPr>
                        <a:t>Carbon Mapper</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2023 - </a:t>
                      </a:r>
                    </a:p>
                  </a:txBody>
                  <a:tcPr marL="18288" marR="18288"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a:solidFill>
                            <a:schemeClr val="tx1"/>
                          </a:solidFill>
                        </a:rPr>
                        <a:t>0.03 x 0.03</a:t>
                      </a:r>
                      <a:endParaRPr lang="en-US" sz="2400" b="0" dirty="0">
                        <a:solidFill>
                          <a:schemeClr val="tx1"/>
                        </a:solidFill>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baseline="0" dirty="0">
                          <a:solidFill>
                            <a:schemeClr val="tx1"/>
                          </a:solidFill>
                        </a:rPr>
                        <a:t>18km</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a:r>
                        <a:rPr lang="en-US" sz="2400" b="0" dirty="0">
                          <a:solidFill>
                            <a:schemeClr val="tx1"/>
                          </a:solidFill>
                        </a:rPr>
                        <a:t>~30</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538555044"/>
                  </a:ext>
                </a:extLst>
              </a:tr>
            </a:tbl>
          </a:graphicData>
        </a:graphic>
      </p:graphicFrame>
    </p:spTree>
    <p:extLst>
      <p:ext uri="{BB962C8B-B14F-4D97-AF65-F5344CB8AC3E}">
        <p14:creationId xmlns:p14="http://schemas.microsoft.com/office/powerpoint/2010/main" val="383972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6">
            <a:extLst>
              <a:ext uri="{FF2B5EF4-FFF2-40B4-BE49-F238E27FC236}">
                <a16:creationId xmlns:a16="http://schemas.microsoft.com/office/drawing/2014/main" id="{40342A09-51D4-4279-982F-BDBD654C180A}"/>
              </a:ext>
            </a:extLst>
          </p:cNvPr>
          <p:cNvPicPr>
            <a:picLocks noChangeAspect="1"/>
          </p:cNvPicPr>
          <p:nvPr/>
        </p:nvPicPr>
        <p:blipFill>
          <a:blip r:embed="rId3"/>
          <a:stretch>
            <a:fillRect/>
          </a:stretch>
        </p:blipFill>
        <p:spPr>
          <a:xfrm>
            <a:off x="3467379" y="1569344"/>
            <a:ext cx="769129" cy="447188"/>
          </a:xfrm>
          <a:prstGeom prst="rect">
            <a:avLst/>
          </a:prstGeom>
        </p:spPr>
      </p:pic>
      <p:pic>
        <p:nvPicPr>
          <p:cNvPr id="18" name="Picture 21" descr="Logo, company name&#10;&#10;Description automatically generated">
            <a:extLst>
              <a:ext uri="{FF2B5EF4-FFF2-40B4-BE49-F238E27FC236}">
                <a16:creationId xmlns:a16="http://schemas.microsoft.com/office/drawing/2014/main" id="{D20C041F-B2B4-4536-81E0-5073D4658914}"/>
              </a:ext>
            </a:extLst>
          </p:cNvPr>
          <p:cNvPicPr>
            <a:picLocks noChangeAspect="1"/>
          </p:cNvPicPr>
          <p:nvPr/>
        </p:nvPicPr>
        <p:blipFill>
          <a:blip r:embed="rId4"/>
          <a:stretch>
            <a:fillRect/>
          </a:stretch>
        </p:blipFill>
        <p:spPr>
          <a:xfrm>
            <a:off x="3527901" y="2141190"/>
            <a:ext cx="676162" cy="495917"/>
          </a:xfrm>
          <a:prstGeom prst="rect">
            <a:avLst/>
          </a:prstGeom>
        </p:spPr>
      </p:pic>
      <p:pic>
        <p:nvPicPr>
          <p:cNvPr id="2" name="Picture 6" descr="Logo&#10;&#10;Description automatically generated">
            <a:extLst>
              <a:ext uri="{FF2B5EF4-FFF2-40B4-BE49-F238E27FC236}">
                <a16:creationId xmlns:a16="http://schemas.microsoft.com/office/drawing/2014/main" id="{DA715D16-8BC7-4A24-A6A5-4EE332C0342C}"/>
              </a:ext>
            </a:extLst>
          </p:cNvPr>
          <p:cNvPicPr>
            <a:picLocks noChangeAspect="1"/>
          </p:cNvPicPr>
          <p:nvPr/>
        </p:nvPicPr>
        <p:blipFill>
          <a:blip r:embed="rId5"/>
          <a:stretch>
            <a:fillRect/>
          </a:stretch>
        </p:blipFill>
        <p:spPr>
          <a:xfrm>
            <a:off x="4884927" y="2193794"/>
            <a:ext cx="1408310" cy="1043028"/>
          </a:xfrm>
          <a:prstGeom prst="rect">
            <a:avLst/>
          </a:prstGeom>
        </p:spPr>
      </p:pic>
      <p:pic>
        <p:nvPicPr>
          <p:cNvPr id="3" name="Picture 2">
            <a:extLst>
              <a:ext uri="{FF2B5EF4-FFF2-40B4-BE49-F238E27FC236}">
                <a16:creationId xmlns:a16="http://schemas.microsoft.com/office/drawing/2014/main" id="{0FCFA4C3-5DEB-4BAE-8658-77794B9E4DA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82666" y="458229"/>
            <a:ext cx="644913" cy="833939"/>
          </a:xfrm>
          <a:prstGeom prst="rect">
            <a:avLst/>
          </a:prstGeom>
        </p:spPr>
      </p:pic>
      <p:cxnSp>
        <p:nvCxnSpPr>
          <p:cNvPr id="8" name="Connecteur droit 7">
            <a:extLst>
              <a:ext uri="{FF2B5EF4-FFF2-40B4-BE49-F238E27FC236}">
                <a16:creationId xmlns:a16="http://schemas.microsoft.com/office/drawing/2014/main" id="{73B22828-09C6-4BF6-8091-FA56F8A5D4CC}"/>
              </a:ext>
            </a:extLst>
          </p:cNvPr>
          <p:cNvCxnSpPr>
            <a:cxnSpLocks/>
          </p:cNvCxnSpPr>
          <p:nvPr/>
        </p:nvCxnSpPr>
        <p:spPr>
          <a:xfrm>
            <a:off x="1772515" y="4544250"/>
            <a:ext cx="8244256"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FCDCC096-2DA2-483D-8223-C451F0BD3EFF}"/>
              </a:ext>
            </a:extLst>
          </p:cNvPr>
          <p:cNvSpPr/>
          <p:nvPr/>
        </p:nvSpPr>
        <p:spPr>
          <a:xfrm>
            <a:off x="1686688" y="4407648"/>
            <a:ext cx="273204" cy="273204"/>
          </a:xfrm>
          <a:prstGeom prst="ellipse">
            <a:avLst/>
          </a:prstGeom>
          <a:solidFill>
            <a:schemeClr val="bg1"/>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Ellipse 9">
            <a:extLst>
              <a:ext uri="{FF2B5EF4-FFF2-40B4-BE49-F238E27FC236}">
                <a16:creationId xmlns:a16="http://schemas.microsoft.com/office/drawing/2014/main" id="{7DB5C028-C005-4370-AA66-DB9800D083B8}"/>
              </a:ext>
            </a:extLst>
          </p:cNvPr>
          <p:cNvSpPr/>
          <p:nvPr/>
        </p:nvSpPr>
        <p:spPr>
          <a:xfrm>
            <a:off x="4375939" y="4382664"/>
            <a:ext cx="273204" cy="273204"/>
          </a:xfrm>
          <a:prstGeom prst="ellipse">
            <a:avLst/>
          </a:prstGeom>
          <a:solidFill>
            <a:schemeClr val="bg1"/>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Ellipse 10">
            <a:extLst>
              <a:ext uri="{FF2B5EF4-FFF2-40B4-BE49-F238E27FC236}">
                <a16:creationId xmlns:a16="http://schemas.microsoft.com/office/drawing/2014/main" id="{67235C5D-6C2A-4A80-B859-D6D9178A852D}"/>
              </a:ext>
            </a:extLst>
          </p:cNvPr>
          <p:cNvSpPr/>
          <p:nvPr/>
        </p:nvSpPr>
        <p:spPr>
          <a:xfrm>
            <a:off x="7227584" y="4407648"/>
            <a:ext cx="273204" cy="273204"/>
          </a:xfrm>
          <a:prstGeom prst="ellipse">
            <a:avLst/>
          </a:prstGeom>
          <a:solidFill>
            <a:schemeClr val="bg1"/>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Ellipse 14">
            <a:extLst>
              <a:ext uri="{FF2B5EF4-FFF2-40B4-BE49-F238E27FC236}">
                <a16:creationId xmlns:a16="http://schemas.microsoft.com/office/drawing/2014/main" id="{D39F55A1-5C21-4B8A-9FB5-770BFCC920D5}"/>
              </a:ext>
            </a:extLst>
          </p:cNvPr>
          <p:cNvSpPr/>
          <p:nvPr/>
        </p:nvSpPr>
        <p:spPr>
          <a:xfrm>
            <a:off x="9941820" y="4407648"/>
            <a:ext cx="273204" cy="273204"/>
          </a:xfrm>
          <a:prstGeom prst="ellipse">
            <a:avLst/>
          </a:prstGeom>
          <a:solidFill>
            <a:schemeClr val="bg1"/>
          </a:solidFill>
          <a:ln w="381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D7EFABDA-1ACA-4FED-AAA7-11CE31BE489E}"/>
              </a:ext>
            </a:extLst>
          </p:cNvPr>
          <p:cNvSpPr/>
          <p:nvPr/>
        </p:nvSpPr>
        <p:spPr>
          <a:xfrm>
            <a:off x="147735" y="3416297"/>
            <a:ext cx="3594284" cy="984885"/>
          </a:xfrm>
          <a:prstGeom prst="rect">
            <a:avLst/>
          </a:prstGeom>
        </p:spPr>
        <p:txBody>
          <a:bodyPr wrap="square" lIns="0" tIns="0" rIns="0" bIns="0">
            <a:spAutoFit/>
          </a:bodyPr>
          <a:lstStyle/>
          <a:p>
            <a:r>
              <a:rPr lang="en-GB" sz="1600">
                <a:latin typeface="Roboto" panose="02000000000000000000" pitchFamily="2" charset="0"/>
                <a:ea typeface="Roboto" panose="02000000000000000000" pitchFamily="2" charset="0"/>
              </a:rPr>
              <a:t>The Oil &amp; Gas Methane Partnership was launched at the UN Secretary General’s Climate Summit in New York </a:t>
            </a:r>
            <a:br>
              <a:rPr lang="en-GB" sz="1600">
                <a:latin typeface="Roboto" panose="02000000000000000000" pitchFamily="2" charset="0"/>
                <a:ea typeface="Roboto" panose="02000000000000000000" pitchFamily="2" charset="0"/>
              </a:rPr>
            </a:br>
            <a:r>
              <a:rPr lang="en-GB" sz="1600">
                <a:latin typeface="Roboto" panose="02000000000000000000" pitchFamily="2" charset="0"/>
                <a:ea typeface="Roboto" panose="02000000000000000000" pitchFamily="2" charset="0"/>
              </a:rPr>
              <a:t>in September 2014</a:t>
            </a:r>
          </a:p>
        </p:txBody>
      </p:sp>
      <p:sp>
        <p:nvSpPr>
          <p:cNvPr id="21" name="Rectangle 20">
            <a:extLst>
              <a:ext uri="{FF2B5EF4-FFF2-40B4-BE49-F238E27FC236}">
                <a16:creationId xmlns:a16="http://schemas.microsoft.com/office/drawing/2014/main" id="{49EFD5A8-608F-4191-BAD8-A377602B5790}"/>
              </a:ext>
            </a:extLst>
          </p:cNvPr>
          <p:cNvSpPr/>
          <p:nvPr/>
        </p:nvSpPr>
        <p:spPr>
          <a:xfrm>
            <a:off x="1367475" y="4943762"/>
            <a:ext cx="1176604" cy="738664"/>
          </a:xfrm>
          <a:prstGeom prst="rect">
            <a:avLst/>
          </a:prstGeom>
        </p:spPr>
        <p:txBody>
          <a:bodyPr wrap="none" lIns="0" tIns="0" rIns="0" bIns="0">
            <a:spAutoFit/>
          </a:bodyPr>
          <a:lstStyle/>
          <a:p>
            <a:r>
              <a:rPr lang="en-GB" sz="1600">
                <a:latin typeface="Roboto" panose="02000000000000000000" pitchFamily="2" charset="0"/>
                <a:ea typeface="Roboto" panose="02000000000000000000" pitchFamily="2" charset="0"/>
              </a:rPr>
              <a:t>6 companies</a:t>
            </a:r>
          </a:p>
          <a:p>
            <a:endParaRPr lang="en-GB" sz="1600">
              <a:latin typeface="Roboto" panose="02000000000000000000" pitchFamily="2" charset="0"/>
              <a:ea typeface="Roboto" panose="02000000000000000000" pitchFamily="2" charset="0"/>
            </a:endParaRPr>
          </a:p>
          <a:p>
            <a:r>
              <a:rPr lang="en-GB" sz="1600">
                <a:latin typeface="Roboto" panose="02000000000000000000" pitchFamily="2" charset="0"/>
                <a:ea typeface="Roboto" panose="02000000000000000000" pitchFamily="2" charset="0"/>
              </a:rPr>
              <a:t>USA</a:t>
            </a:r>
          </a:p>
        </p:txBody>
      </p:sp>
      <p:sp>
        <p:nvSpPr>
          <p:cNvPr id="23" name="Rectangle 22">
            <a:extLst>
              <a:ext uri="{FF2B5EF4-FFF2-40B4-BE49-F238E27FC236}">
                <a16:creationId xmlns:a16="http://schemas.microsoft.com/office/drawing/2014/main" id="{86CA5BF7-4ABE-4962-91F8-BA036B0ED31F}"/>
              </a:ext>
            </a:extLst>
          </p:cNvPr>
          <p:cNvSpPr/>
          <p:nvPr/>
        </p:nvSpPr>
        <p:spPr>
          <a:xfrm>
            <a:off x="4375939" y="4866174"/>
            <a:ext cx="941426" cy="892552"/>
          </a:xfrm>
          <a:prstGeom prst="rect">
            <a:avLst/>
          </a:prstGeom>
        </p:spPr>
        <p:txBody>
          <a:bodyPr wrap="square" lIns="0" tIns="0" rIns="0" bIns="0">
            <a:spAutoFit/>
          </a:bodyPr>
          <a:lstStyle/>
          <a:p>
            <a:pPr>
              <a:spcBef>
                <a:spcPts val="600"/>
              </a:spcBef>
            </a:pPr>
            <a:r>
              <a:rPr lang="en-GB" sz="1600">
                <a:latin typeface="Roboto" panose="02000000000000000000" pitchFamily="2" charset="0"/>
                <a:ea typeface="Roboto" panose="02000000000000000000" pitchFamily="2" charset="0"/>
              </a:rPr>
              <a:t>Norway</a:t>
            </a:r>
          </a:p>
          <a:p>
            <a:pPr>
              <a:spcBef>
                <a:spcPts val="600"/>
              </a:spcBef>
            </a:pPr>
            <a:r>
              <a:rPr lang="en-GB" sz="1600">
                <a:latin typeface="Roboto" panose="02000000000000000000" pitchFamily="2" charset="0"/>
                <a:ea typeface="Roboto" panose="02000000000000000000" pitchFamily="2" charset="0"/>
              </a:rPr>
              <a:t>and</a:t>
            </a:r>
          </a:p>
          <a:p>
            <a:pPr>
              <a:spcBef>
                <a:spcPts val="600"/>
              </a:spcBef>
            </a:pPr>
            <a:r>
              <a:rPr lang="en-GB" sz="1600">
                <a:latin typeface="Roboto" panose="02000000000000000000" pitchFamily="2" charset="0"/>
                <a:ea typeface="Roboto" panose="02000000000000000000" pitchFamily="2" charset="0"/>
              </a:rPr>
              <a:t>UK joined</a:t>
            </a:r>
          </a:p>
        </p:txBody>
      </p:sp>
      <p:sp>
        <p:nvSpPr>
          <p:cNvPr id="24" name="Rectangle 23">
            <a:extLst>
              <a:ext uri="{FF2B5EF4-FFF2-40B4-BE49-F238E27FC236}">
                <a16:creationId xmlns:a16="http://schemas.microsoft.com/office/drawing/2014/main" id="{42629E72-A39A-4B50-8F26-63E980A635F9}"/>
              </a:ext>
            </a:extLst>
          </p:cNvPr>
          <p:cNvSpPr/>
          <p:nvPr/>
        </p:nvSpPr>
        <p:spPr>
          <a:xfrm>
            <a:off x="7227584" y="4935314"/>
            <a:ext cx="1319272" cy="738664"/>
          </a:xfrm>
          <a:prstGeom prst="rect">
            <a:avLst/>
          </a:prstGeom>
        </p:spPr>
        <p:txBody>
          <a:bodyPr wrap="square" lIns="0" tIns="0" rIns="0" bIns="0">
            <a:spAutoFit/>
          </a:bodyPr>
          <a:lstStyle/>
          <a:p>
            <a:r>
              <a:rPr lang="en-GB" sz="1600">
                <a:latin typeface="Roboto" panose="02000000000000000000" pitchFamily="2" charset="0"/>
                <a:ea typeface="Roboto" panose="02000000000000000000" pitchFamily="2" charset="0"/>
              </a:rPr>
              <a:t>European Commission joined</a:t>
            </a:r>
          </a:p>
        </p:txBody>
      </p:sp>
      <p:sp>
        <p:nvSpPr>
          <p:cNvPr id="25" name="Rectangle 24">
            <a:extLst>
              <a:ext uri="{FF2B5EF4-FFF2-40B4-BE49-F238E27FC236}">
                <a16:creationId xmlns:a16="http://schemas.microsoft.com/office/drawing/2014/main" id="{62F87287-9FBB-440E-99A8-A5407509E1D2}"/>
              </a:ext>
            </a:extLst>
          </p:cNvPr>
          <p:cNvSpPr/>
          <p:nvPr/>
        </p:nvSpPr>
        <p:spPr>
          <a:xfrm>
            <a:off x="8855215" y="4919466"/>
            <a:ext cx="2747089" cy="246221"/>
          </a:xfrm>
          <a:prstGeom prst="rect">
            <a:avLst/>
          </a:prstGeom>
        </p:spPr>
        <p:txBody>
          <a:bodyPr wrap="square" lIns="0" tIns="0" rIns="0" bIns="0" anchor="t">
            <a:spAutoFit/>
          </a:bodyPr>
          <a:lstStyle/>
          <a:p>
            <a:pPr>
              <a:spcBef>
                <a:spcPts val="600"/>
              </a:spcBef>
            </a:pPr>
            <a:r>
              <a:rPr lang="en-GB" sz="1600">
                <a:latin typeface="Roboto"/>
                <a:ea typeface="Roboto"/>
              </a:rPr>
              <a:t>74 companies</a:t>
            </a:r>
            <a:endParaRPr lang="en-GB" sz="1600">
              <a:latin typeface="Roboto" panose="02000000000000000000" pitchFamily="2" charset="0"/>
              <a:ea typeface="Roboto" panose="02000000000000000000" pitchFamily="2" charset="0"/>
            </a:endParaRPr>
          </a:p>
        </p:txBody>
      </p:sp>
      <p:sp>
        <p:nvSpPr>
          <p:cNvPr id="29" name="Rectangle 28">
            <a:extLst>
              <a:ext uri="{FF2B5EF4-FFF2-40B4-BE49-F238E27FC236}">
                <a16:creationId xmlns:a16="http://schemas.microsoft.com/office/drawing/2014/main" id="{BDF95FB6-DB33-44F6-BBE5-77FF9F07ED03}"/>
              </a:ext>
            </a:extLst>
          </p:cNvPr>
          <p:cNvSpPr/>
          <p:nvPr/>
        </p:nvSpPr>
        <p:spPr>
          <a:xfrm>
            <a:off x="8479825" y="3854217"/>
            <a:ext cx="2062910" cy="492443"/>
          </a:xfrm>
          <a:prstGeom prst="rect">
            <a:avLst/>
          </a:prstGeom>
        </p:spPr>
        <p:txBody>
          <a:bodyPr wrap="square" lIns="0" tIns="0" rIns="0" bIns="0" anchor="t">
            <a:spAutoFit/>
          </a:bodyPr>
          <a:lstStyle/>
          <a:p>
            <a:r>
              <a:rPr lang="en-GB" sz="1600">
                <a:latin typeface="Roboto"/>
                <a:ea typeface="Roboto" panose="02000000000000000000" pitchFamily="2" charset="0"/>
              </a:rPr>
              <a:t>OGMP 2.0 launched on 23 November 2020</a:t>
            </a:r>
          </a:p>
        </p:txBody>
      </p:sp>
      <p:pic>
        <p:nvPicPr>
          <p:cNvPr id="31" name="Image 30">
            <a:extLst>
              <a:ext uri="{FF2B5EF4-FFF2-40B4-BE49-F238E27FC236}">
                <a16:creationId xmlns:a16="http://schemas.microsoft.com/office/drawing/2014/main" id="{F7CA25C8-DBBB-4560-814F-42E0C6854F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2399" y="4952400"/>
            <a:ext cx="681834" cy="477284"/>
          </a:xfrm>
          <a:prstGeom prst="rect">
            <a:avLst/>
          </a:prstGeom>
        </p:spPr>
      </p:pic>
      <p:pic>
        <p:nvPicPr>
          <p:cNvPr id="32" name="Image 31">
            <a:extLst>
              <a:ext uri="{FF2B5EF4-FFF2-40B4-BE49-F238E27FC236}">
                <a16:creationId xmlns:a16="http://schemas.microsoft.com/office/drawing/2014/main" id="{792867EA-BA72-4A76-B058-15BBE3F587E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625036" y="4830218"/>
            <a:ext cx="629026" cy="457093"/>
          </a:xfrm>
          <a:prstGeom prst="rect">
            <a:avLst/>
          </a:prstGeom>
        </p:spPr>
      </p:pic>
      <p:pic>
        <p:nvPicPr>
          <p:cNvPr id="33" name="Image 32">
            <a:extLst>
              <a:ext uri="{FF2B5EF4-FFF2-40B4-BE49-F238E27FC236}">
                <a16:creationId xmlns:a16="http://schemas.microsoft.com/office/drawing/2014/main" id="{48C3A4F3-538A-4C5C-ACE6-B582D8DBA891}"/>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3554565" y="5559358"/>
            <a:ext cx="720000" cy="360000"/>
          </a:xfrm>
          <a:prstGeom prst="rect">
            <a:avLst/>
          </a:prstGeom>
        </p:spPr>
      </p:pic>
      <p:pic>
        <p:nvPicPr>
          <p:cNvPr id="34" name="Image 33">
            <a:extLst>
              <a:ext uri="{FF2B5EF4-FFF2-40B4-BE49-F238E27FC236}">
                <a16:creationId xmlns:a16="http://schemas.microsoft.com/office/drawing/2014/main" id="{5DBDDA89-08FC-411B-95B4-5B4F4F091BA1}"/>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19478" y="5190510"/>
            <a:ext cx="723802" cy="381202"/>
          </a:xfrm>
          <a:prstGeom prst="rect">
            <a:avLst/>
          </a:prstGeom>
        </p:spPr>
      </p:pic>
      <p:pic>
        <p:nvPicPr>
          <p:cNvPr id="39" name="Image 38">
            <a:extLst>
              <a:ext uri="{FF2B5EF4-FFF2-40B4-BE49-F238E27FC236}">
                <a16:creationId xmlns:a16="http://schemas.microsoft.com/office/drawing/2014/main" id="{BC9B5C4F-9457-48A5-9BD8-4553AD81E6E4}"/>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0328580" y="4384301"/>
            <a:ext cx="1297369" cy="432282"/>
          </a:xfrm>
          <a:prstGeom prst="rect">
            <a:avLst/>
          </a:prstGeom>
        </p:spPr>
      </p:pic>
      <p:grpSp>
        <p:nvGrpSpPr>
          <p:cNvPr id="69" name="Groupe 68">
            <a:extLst>
              <a:ext uri="{FF2B5EF4-FFF2-40B4-BE49-F238E27FC236}">
                <a16:creationId xmlns:a16="http://schemas.microsoft.com/office/drawing/2014/main" id="{61BD0ECB-5292-4D3A-978F-353816AE2F97}"/>
              </a:ext>
            </a:extLst>
          </p:cNvPr>
          <p:cNvGrpSpPr/>
          <p:nvPr/>
        </p:nvGrpSpPr>
        <p:grpSpPr>
          <a:xfrm>
            <a:off x="4041495" y="3700020"/>
            <a:ext cx="8097992" cy="671070"/>
            <a:chOff x="6616700" y="3273652"/>
            <a:chExt cx="5322049" cy="671070"/>
          </a:xfrm>
        </p:grpSpPr>
        <p:cxnSp>
          <p:nvCxnSpPr>
            <p:cNvPr id="47" name="Connecteur droit 46">
              <a:extLst>
                <a:ext uri="{FF2B5EF4-FFF2-40B4-BE49-F238E27FC236}">
                  <a16:creationId xmlns:a16="http://schemas.microsoft.com/office/drawing/2014/main" id="{3ED4268F-5151-4931-AAF5-FFC8E37FA4F3}"/>
                </a:ext>
              </a:extLst>
            </p:cNvPr>
            <p:cNvCxnSpPr>
              <a:cxnSpLocks/>
            </p:cNvCxnSpPr>
            <p:nvPr/>
          </p:nvCxnSpPr>
          <p:spPr>
            <a:xfrm>
              <a:off x="6616700" y="3273652"/>
              <a:ext cx="4387010" cy="25596"/>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38C1F3F0-2062-4E43-9C0F-DBFF2C74200D}"/>
                </a:ext>
              </a:extLst>
            </p:cNvPr>
            <p:cNvCxnSpPr>
              <a:cxnSpLocks/>
            </p:cNvCxnSpPr>
            <p:nvPr/>
          </p:nvCxnSpPr>
          <p:spPr>
            <a:xfrm>
              <a:off x="11003711" y="3291114"/>
              <a:ext cx="0" cy="653608"/>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171BA9CE-304A-456A-914D-B91134D86041}"/>
                </a:ext>
              </a:extLst>
            </p:cNvPr>
            <p:cNvCxnSpPr>
              <a:cxnSpLocks/>
            </p:cNvCxnSpPr>
            <p:nvPr/>
          </p:nvCxnSpPr>
          <p:spPr>
            <a:xfrm flipH="1">
              <a:off x="11003711" y="3291114"/>
              <a:ext cx="228600" cy="652871"/>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0" name="Connecteur droit 59">
              <a:extLst>
                <a:ext uri="{FF2B5EF4-FFF2-40B4-BE49-F238E27FC236}">
                  <a16:creationId xmlns:a16="http://schemas.microsoft.com/office/drawing/2014/main" id="{2A18B227-0220-46A0-9C65-CD3169A57DFF}"/>
                </a:ext>
              </a:extLst>
            </p:cNvPr>
            <p:cNvCxnSpPr>
              <a:cxnSpLocks/>
            </p:cNvCxnSpPr>
            <p:nvPr/>
          </p:nvCxnSpPr>
          <p:spPr>
            <a:xfrm>
              <a:off x="11227550" y="3297604"/>
              <a:ext cx="711199"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pic>
        <p:nvPicPr>
          <p:cNvPr id="4" name="Picture 3">
            <a:extLst>
              <a:ext uri="{FF2B5EF4-FFF2-40B4-BE49-F238E27FC236}">
                <a16:creationId xmlns:a16="http://schemas.microsoft.com/office/drawing/2014/main" id="{8948C275-0421-4794-A90D-6A26ABB3227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45279" y="1657180"/>
            <a:ext cx="1680609" cy="1600074"/>
          </a:xfrm>
          <a:prstGeom prst="ellipse">
            <a:avLst/>
          </a:prstGeom>
        </p:spPr>
      </p:pic>
      <p:pic>
        <p:nvPicPr>
          <p:cNvPr id="37" name="Content Placeholder 332">
            <a:extLst>
              <a:ext uri="{FF2B5EF4-FFF2-40B4-BE49-F238E27FC236}">
                <a16:creationId xmlns:a16="http://schemas.microsoft.com/office/drawing/2014/main" id="{894E7534-83F5-446D-B21A-D06068D1B1B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H="1">
            <a:off x="5137980" y="135726"/>
            <a:ext cx="395826" cy="553490"/>
          </a:xfrm>
          <a:prstGeom prst="rect">
            <a:avLst/>
          </a:prstGeom>
          <a:scene3d>
            <a:camera prst="orthographicFront">
              <a:rot lat="0" lon="11099999" rev="0"/>
            </a:camera>
            <a:lightRig rig="threePt" dir="t"/>
          </a:scene3d>
        </p:spPr>
      </p:pic>
      <p:pic>
        <p:nvPicPr>
          <p:cNvPr id="38" name="Picture 37">
            <a:extLst>
              <a:ext uri="{FF2B5EF4-FFF2-40B4-BE49-F238E27FC236}">
                <a16:creationId xmlns:a16="http://schemas.microsoft.com/office/drawing/2014/main" id="{B1F80A0C-57A9-4BFC-BFFE-9477004E83A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17590" y="339788"/>
            <a:ext cx="825166" cy="202991"/>
          </a:xfrm>
          <a:prstGeom prst="rect">
            <a:avLst/>
          </a:prstGeom>
        </p:spPr>
      </p:pic>
      <p:pic>
        <p:nvPicPr>
          <p:cNvPr id="40" name="Picture 39">
            <a:extLst>
              <a:ext uri="{FF2B5EF4-FFF2-40B4-BE49-F238E27FC236}">
                <a16:creationId xmlns:a16="http://schemas.microsoft.com/office/drawing/2014/main" id="{12E52477-66BC-49A4-8DDA-72F5867CD6A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593814" y="227677"/>
            <a:ext cx="785461" cy="249777"/>
          </a:xfrm>
          <a:prstGeom prst="rect">
            <a:avLst/>
          </a:prstGeom>
        </p:spPr>
      </p:pic>
      <p:pic>
        <p:nvPicPr>
          <p:cNvPr id="41" name="Picture 40">
            <a:extLst>
              <a:ext uri="{FF2B5EF4-FFF2-40B4-BE49-F238E27FC236}">
                <a16:creationId xmlns:a16="http://schemas.microsoft.com/office/drawing/2014/main" id="{B6024CFB-B748-4BAF-8D9D-AB08ACCF181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779639" y="101291"/>
            <a:ext cx="624568" cy="442194"/>
          </a:xfrm>
          <a:prstGeom prst="rect">
            <a:avLst/>
          </a:prstGeom>
        </p:spPr>
      </p:pic>
      <p:pic>
        <p:nvPicPr>
          <p:cNvPr id="43" name="Picture 42">
            <a:extLst>
              <a:ext uri="{FF2B5EF4-FFF2-40B4-BE49-F238E27FC236}">
                <a16:creationId xmlns:a16="http://schemas.microsoft.com/office/drawing/2014/main" id="{ACDA73E7-23D5-419C-ACCE-60C6728E4C7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575077" y="366334"/>
            <a:ext cx="710364" cy="115957"/>
          </a:xfrm>
          <a:prstGeom prst="rect">
            <a:avLst/>
          </a:prstGeom>
        </p:spPr>
      </p:pic>
      <p:pic>
        <p:nvPicPr>
          <p:cNvPr id="44" name="Picture 43">
            <a:extLst>
              <a:ext uri="{FF2B5EF4-FFF2-40B4-BE49-F238E27FC236}">
                <a16:creationId xmlns:a16="http://schemas.microsoft.com/office/drawing/2014/main" id="{EA0ECCBF-0B07-49D7-98CF-48B02E6F299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348005" y="71659"/>
            <a:ext cx="416402" cy="556687"/>
          </a:xfrm>
          <a:prstGeom prst="rect">
            <a:avLst/>
          </a:prstGeom>
        </p:spPr>
      </p:pic>
      <p:pic>
        <p:nvPicPr>
          <p:cNvPr id="45" name="Picture 44">
            <a:extLst>
              <a:ext uri="{FF2B5EF4-FFF2-40B4-BE49-F238E27FC236}">
                <a16:creationId xmlns:a16="http://schemas.microsoft.com/office/drawing/2014/main" id="{62DFE5F3-2A0A-45C5-83AE-B617E5B0B10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888229" y="297158"/>
            <a:ext cx="631542" cy="231144"/>
          </a:xfrm>
          <a:prstGeom prst="rect">
            <a:avLst/>
          </a:prstGeom>
        </p:spPr>
      </p:pic>
      <p:pic>
        <p:nvPicPr>
          <p:cNvPr id="6" name="Picture 5">
            <a:extLst>
              <a:ext uri="{FF2B5EF4-FFF2-40B4-BE49-F238E27FC236}">
                <a16:creationId xmlns:a16="http://schemas.microsoft.com/office/drawing/2014/main" id="{9F55D7D1-CB33-429D-876A-060401B4F7A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217547" y="752709"/>
            <a:ext cx="786775" cy="283239"/>
          </a:xfrm>
          <a:prstGeom prst="rect">
            <a:avLst/>
          </a:prstGeom>
        </p:spPr>
      </p:pic>
      <p:pic>
        <p:nvPicPr>
          <p:cNvPr id="12" name="Picture 11">
            <a:extLst>
              <a:ext uri="{FF2B5EF4-FFF2-40B4-BE49-F238E27FC236}">
                <a16:creationId xmlns:a16="http://schemas.microsoft.com/office/drawing/2014/main" id="{3DA1C5C7-9403-4EDD-BF1D-8DA9CF1B9F4F}"/>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204455" y="683059"/>
            <a:ext cx="959041" cy="349091"/>
          </a:xfrm>
          <a:prstGeom prst="rect">
            <a:avLst/>
          </a:prstGeom>
        </p:spPr>
      </p:pic>
      <p:pic>
        <p:nvPicPr>
          <p:cNvPr id="14" name="Picture 13">
            <a:extLst>
              <a:ext uri="{FF2B5EF4-FFF2-40B4-BE49-F238E27FC236}">
                <a16:creationId xmlns:a16="http://schemas.microsoft.com/office/drawing/2014/main" id="{35EB4C3A-C8E6-48C0-AB4B-61FF13323E4C}"/>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361577" y="684939"/>
            <a:ext cx="979906" cy="270996"/>
          </a:xfrm>
          <a:prstGeom prst="rect">
            <a:avLst/>
          </a:prstGeom>
        </p:spPr>
      </p:pic>
      <p:pic>
        <p:nvPicPr>
          <p:cNvPr id="17" name="Picture 16">
            <a:extLst>
              <a:ext uri="{FF2B5EF4-FFF2-40B4-BE49-F238E27FC236}">
                <a16:creationId xmlns:a16="http://schemas.microsoft.com/office/drawing/2014/main" id="{77E441D7-FAC4-46F3-AF96-2486350B2765}"/>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613757" y="737657"/>
            <a:ext cx="907095" cy="257754"/>
          </a:xfrm>
          <a:prstGeom prst="rect">
            <a:avLst/>
          </a:prstGeom>
        </p:spPr>
      </p:pic>
      <p:pic>
        <p:nvPicPr>
          <p:cNvPr id="20" name="Picture 19">
            <a:extLst>
              <a:ext uri="{FF2B5EF4-FFF2-40B4-BE49-F238E27FC236}">
                <a16:creationId xmlns:a16="http://schemas.microsoft.com/office/drawing/2014/main" id="{3F7B41CE-2E14-46A6-A963-FEF64BA46B1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017899" y="186547"/>
            <a:ext cx="514328" cy="401176"/>
          </a:xfrm>
          <a:prstGeom prst="rect">
            <a:avLst/>
          </a:prstGeom>
        </p:spPr>
      </p:pic>
      <p:pic>
        <p:nvPicPr>
          <p:cNvPr id="26" name="Picture 25">
            <a:extLst>
              <a:ext uri="{FF2B5EF4-FFF2-40B4-BE49-F238E27FC236}">
                <a16:creationId xmlns:a16="http://schemas.microsoft.com/office/drawing/2014/main" id="{8A2381B0-709F-4599-975E-B6D1EC080AD7}"/>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rot="10800000" flipH="1" flipV="1">
            <a:off x="5131202" y="1154985"/>
            <a:ext cx="939360" cy="307412"/>
          </a:xfrm>
          <a:prstGeom prst="rect">
            <a:avLst/>
          </a:prstGeom>
        </p:spPr>
      </p:pic>
      <p:pic>
        <p:nvPicPr>
          <p:cNvPr id="28" name="Picture 27">
            <a:extLst>
              <a:ext uri="{FF2B5EF4-FFF2-40B4-BE49-F238E27FC236}">
                <a16:creationId xmlns:a16="http://schemas.microsoft.com/office/drawing/2014/main" id="{EEC34A60-9233-40D4-8457-DE3C50ED757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8095213" y="1152593"/>
            <a:ext cx="444389" cy="444389"/>
          </a:xfrm>
          <a:prstGeom prst="rect">
            <a:avLst/>
          </a:prstGeom>
        </p:spPr>
      </p:pic>
      <p:pic>
        <p:nvPicPr>
          <p:cNvPr id="49" name="Picture 48">
            <a:extLst>
              <a:ext uri="{FF2B5EF4-FFF2-40B4-BE49-F238E27FC236}">
                <a16:creationId xmlns:a16="http://schemas.microsoft.com/office/drawing/2014/main" id="{DFB95330-0DDB-4EB5-B6CD-45E1D5C182CF}"/>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7154811" y="1291387"/>
            <a:ext cx="735919" cy="160430"/>
          </a:xfrm>
          <a:prstGeom prst="rect">
            <a:avLst/>
          </a:prstGeom>
        </p:spPr>
      </p:pic>
      <p:pic>
        <p:nvPicPr>
          <p:cNvPr id="52" name="Picture 51">
            <a:extLst>
              <a:ext uri="{FF2B5EF4-FFF2-40B4-BE49-F238E27FC236}">
                <a16:creationId xmlns:a16="http://schemas.microsoft.com/office/drawing/2014/main" id="{D6743B03-6184-4D40-86E7-7590E5231C03}"/>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0486999" y="132026"/>
            <a:ext cx="396621" cy="484867"/>
          </a:xfrm>
          <a:prstGeom prst="rect">
            <a:avLst/>
          </a:prstGeom>
        </p:spPr>
      </p:pic>
      <p:pic>
        <p:nvPicPr>
          <p:cNvPr id="54" name="Picture 53">
            <a:extLst>
              <a:ext uri="{FF2B5EF4-FFF2-40B4-BE49-F238E27FC236}">
                <a16:creationId xmlns:a16="http://schemas.microsoft.com/office/drawing/2014/main" id="{A115C662-63F6-4AD0-A9A1-C8ED91E58518}"/>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0956727" y="702437"/>
            <a:ext cx="543468" cy="453252"/>
          </a:xfrm>
          <a:prstGeom prst="rect">
            <a:avLst/>
          </a:prstGeom>
        </p:spPr>
      </p:pic>
      <p:pic>
        <p:nvPicPr>
          <p:cNvPr id="57" name="Picture 56">
            <a:extLst>
              <a:ext uri="{FF2B5EF4-FFF2-40B4-BE49-F238E27FC236}">
                <a16:creationId xmlns:a16="http://schemas.microsoft.com/office/drawing/2014/main" id="{E89315A4-BE1B-44A6-BB85-B536E29F6573}"/>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06141" y="775579"/>
            <a:ext cx="559815" cy="216089"/>
          </a:xfrm>
          <a:prstGeom prst="rect">
            <a:avLst/>
          </a:prstGeom>
        </p:spPr>
      </p:pic>
      <p:pic>
        <p:nvPicPr>
          <p:cNvPr id="59" name="Picture 58">
            <a:extLst>
              <a:ext uri="{FF2B5EF4-FFF2-40B4-BE49-F238E27FC236}">
                <a16:creationId xmlns:a16="http://schemas.microsoft.com/office/drawing/2014/main" id="{CC487B3C-5306-4BBC-A287-CD843EB6A5DE}"/>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778291" y="1180990"/>
            <a:ext cx="673681" cy="317977"/>
          </a:xfrm>
          <a:prstGeom prst="rect">
            <a:avLst/>
          </a:prstGeom>
        </p:spPr>
      </p:pic>
      <p:pic>
        <p:nvPicPr>
          <p:cNvPr id="62" name="Picture 61">
            <a:extLst>
              <a:ext uri="{FF2B5EF4-FFF2-40B4-BE49-F238E27FC236}">
                <a16:creationId xmlns:a16="http://schemas.microsoft.com/office/drawing/2014/main" id="{53F15481-179B-4018-A388-E8084E442545}"/>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5237617" y="1687593"/>
            <a:ext cx="803660" cy="205737"/>
          </a:xfrm>
          <a:prstGeom prst="rect">
            <a:avLst/>
          </a:prstGeom>
        </p:spPr>
      </p:pic>
      <p:pic>
        <p:nvPicPr>
          <p:cNvPr id="64" name="Picture 63">
            <a:extLst>
              <a:ext uri="{FF2B5EF4-FFF2-40B4-BE49-F238E27FC236}">
                <a16:creationId xmlns:a16="http://schemas.microsoft.com/office/drawing/2014/main" id="{AC362705-B189-4524-8661-AF70C8953839}"/>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206154" y="1195681"/>
            <a:ext cx="830843" cy="217681"/>
          </a:xfrm>
          <a:prstGeom prst="rect">
            <a:avLst/>
          </a:prstGeom>
        </p:spPr>
      </p:pic>
      <p:pic>
        <p:nvPicPr>
          <p:cNvPr id="66" name="Picture 65">
            <a:extLst>
              <a:ext uri="{FF2B5EF4-FFF2-40B4-BE49-F238E27FC236}">
                <a16:creationId xmlns:a16="http://schemas.microsoft.com/office/drawing/2014/main" id="{4A0BA476-9FAA-4679-AE6F-FBCA359086EC}"/>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9675692" y="1253804"/>
            <a:ext cx="343903" cy="330835"/>
          </a:xfrm>
          <a:prstGeom prst="rect">
            <a:avLst/>
          </a:prstGeom>
        </p:spPr>
      </p:pic>
      <p:pic>
        <p:nvPicPr>
          <p:cNvPr id="68" name="Picture 67">
            <a:extLst>
              <a:ext uri="{FF2B5EF4-FFF2-40B4-BE49-F238E27FC236}">
                <a16:creationId xmlns:a16="http://schemas.microsoft.com/office/drawing/2014/main" id="{52D2EF63-4430-4990-A682-E78518BC31A3}"/>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0300996" y="915019"/>
            <a:ext cx="514328" cy="262307"/>
          </a:xfrm>
          <a:prstGeom prst="rect">
            <a:avLst/>
          </a:prstGeom>
        </p:spPr>
      </p:pic>
      <p:pic>
        <p:nvPicPr>
          <p:cNvPr id="71" name="Picture 70">
            <a:extLst>
              <a:ext uri="{FF2B5EF4-FFF2-40B4-BE49-F238E27FC236}">
                <a16:creationId xmlns:a16="http://schemas.microsoft.com/office/drawing/2014/main" id="{827D0A44-4F41-4692-9D40-F7F76D9EAA35}"/>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0176079" y="1344282"/>
            <a:ext cx="572504" cy="247321"/>
          </a:xfrm>
          <a:prstGeom prst="rect">
            <a:avLst/>
          </a:prstGeom>
        </p:spPr>
      </p:pic>
      <p:pic>
        <p:nvPicPr>
          <p:cNvPr id="73" name="Picture 72">
            <a:extLst>
              <a:ext uri="{FF2B5EF4-FFF2-40B4-BE49-F238E27FC236}">
                <a16:creationId xmlns:a16="http://schemas.microsoft.com/office/drawing/2014/main" id="{7A732922-0D1A-41B4-95D7-87B76B938E30}"/>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280212" y="2102481"/>
            <a:ext cx="474274" cy="474274"/>
          </a:xfrm>
          <a:prstGeom prst="rect">
            <a:avLst/>
          </a:prstGeom>
        </p:spPr>
      </p:pic>
      <p:pic>
        <p:nvPicPr>
          <p:cNvPr id="75" name="Picture 74">
            <a:extLst>
              <a:ext uri="{FF2B5EF4-FFF2-40B4-BE49-F238E27FC236}">
                <a16:creationId xmlns:a16="http://schemas.microsoft.com/office/drawing/2014/main" id="{1DB55DDC-F162-4DE8-B411-05E1A0183E1F}"/>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6217077" y="1696246"/>
            <a:ext cx="931834" cy="260296"/>
          </a:xfrm>
          <a:prstGeom prst="rect">
            <a:avLst/>
          </a:prstGeom>
        </p:spPr>
      </p:pic>
      <p:pic>
        <p:nvPicPr>
          <p:cNvPr id="77" name="Picture 76">
            <a:extLst>
              <a:ext uri="{FF2B5EF4-FFF2-40B4-BE49-F238E27FC236}">
                <a16:creationId xmlns:a16="http://schemas.microsoft.com/office/drawing/2014/main" id="{2D386349-ACF6-4EB8-85A5-60F146125D7B}"/>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11598102" y="827188"/>
            <a:ext cx="526210" cy="345194"/>
          </a:xfrm>
          <a:prstGeom prst="rect">
            <a:avLst/>
          </a:prstGeom>
        </p:spPr>
      </p:pic>
      <p:pic>
        <p:nvPicPr>
          <p:cNvPr id="79" name="Picture 78">
            <a:extLst>
              <a:ext uri="{FF2B5EF4-FFF2-40B4-BE49-F238E27FC236}">
                <a16:creationId xmlns:a16="http://schemas.microsoft.com/office/drawing/2014/main" id="{23A6587C-DBA5-4358-8949-F13D927053DB}"/>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7265904" y="1665510"/>
            <a:ext cx="1188278" cy="318222"/>
          </a:xfrm>
          <a:prstGeom prst="rect">
            <a:avLst/>
          </a:prstGeom>
        </p:spPr>
      </p:pic>
      <p:pic>
        <p:nvPicPr>
          <p:cNvPr id="81" name="Picture 80">
            <a:extLst>
              <a:ext uri="{FF2B5EF4-FFF2-40B4-BE49-F238E27FC236}">
                <a16:creationId xmlns:a16="http://schemas.microsoft.com/office/drawing/2014/main" id="{3BC874C4-8D94-48F5-BA49-BA28FCB345D1}"/>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8450211" y="1627226"/>
            <a:ext cx="953653" cy="440588"/>
          </a:xfrm>
          <a:prstGeom prst="rect">
            <a:avLst/>
          </a:prstGeom>
        </p:spPr>
      </p:pic>
      <p:pic>
        <p:nvPicPr>
          <p:cNvPr id="83" name="Picture 82">
            <a:extLst>
              <a:ext uri="{FF2B5EF4-FFF2-40B4-BE49-F238E27FC236}">
                <a16:creationId xmlns:a16="http://schemas.microsoft.com/office/drawing/2014/main" id="{53925D0B-C6AE-42D4-A3E8-2E6ECC2A8E0C}"/>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10883530" y="1248150"/>
            <a:ext cx="673681" cy="440588"/>
          </a:xfrm>
          <a:prstGeom prst="rect">
            <a:avLst/>
          </a:prstGeom>
        </p:spPr>
      </p:pic>
      <p:pic>
        <p:nvPicPr>
          <p:cNvPr id="85" name="Picture 84">
            <a:extLst>
              <a:ext uri="{FF2B5EF4-FFF2-40B4-BE49-F238E27FC236}">
                <a16:creationId xmlns:a16="http://schemas.microsoft.com/office/drawing/2014/main" id="{E5C99BC4-00C1-4849-8433-D0CC7E78B1DF}"/>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8481342" y="2062668"/>
            <a:ext cx="561231" cy="496128"/>
          </a:xfrm>
          <a:prstGeom prst="rect">
            <a:avLst/>
          </a:prstGeom>
        </p:spPr>
      </p:pic>
      <p:pic>
        <p:nvPicPr>
          <p:cNvPr id="99" name="Picture 98">
            <a:extLst>
              <a:ext uri="{FF2B5EF4-FFF2-40B4-BE49-F238E27FC236}">
                <a16:creationId xmlns:a16="http://schemas.microsoft.com/office/drawing/2014/main" id="{1C13418E-76C0-475A-B478-EA07DF43023B}"/>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1416794" y="1761926"/>
            <a:ext cx="775206" cy="353494"/>
          </a:xfrm>
          <a:prstGeom prst="rect">
            <a:avLst/>
          </a:prstGeom>
        </p:spPr>
      </p:pic>
      <p:pic>
        <p:nvPicPr>
          <p:cNvPr id="101" name="Picture 100">
            <a:extLst>
              <a:ext uri="{FF2B5EF4-FFF2-40B4-BE49-F238E27FC236}">
                <a16:creationId xmlns:a16="http://schemas.microsoft.com/office/drawing/2014/main" id="{89A26960-BDF5-4706-BCBF-0CEDC5C1B61D}"/>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1602304" y="1386782"/>
            <a:ext cx="559815" cy="201533"/>
          </a:xfrm>
          <a:prstGeom prst="rect">
            <a:avLst/>
          </a:prstGeom>
        </p:spPr>
      </p:pic>
      <p:pic>
        <p:nvPicPr>
          <p:cNvPr id="103" name="Picture 102">
            <a:extLst>
              <a:ext uri="{FF2B5EF4-FFF2-40B4-BE49-F238E27FC236}">
                <a16:creationId xmlns:a16="http://schemas.microsoft.com/office/drawing/2014/main" id="{2600C8CA-3D5A-4BE6-9F0D-54147D4C2217}"/>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10338340" y="1794202"/>
            <a:ext cx="961986" cy="273204"/>
          </a:xfrm>
          <a:prstGeom prst="rect">
            <a:avLst/>
          </a:prstGeom>
        </p:spPr>
      </p:pic>
      <p:pic>
        <p:nvPicPr>
          <p:cNvPr id="105" name="Picture 104">
            <a:extLst>
              <a:ext uri="{FF2B5EF4-FFF2-40B4-BE49-F238E27FC236}">
                <a16:creationId xmlns:a16="http://schemas.microsoft.com/office/drawing/2014/main" id="{D2741B39-A78B-4EFE-9184-9CE293412BFD}"/>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4819139" y="3189093"/>
            <a:ext cx="444389" cy="444389"/>
          </a:xfrm>
          <a:prstGeom prst="rect">
            <a:avLst/>
          </a:prstGeom>
        </p:spPr>
      </p:pic>
      <p:pic>
        <p:nvPicPr>
          <p:cNvPr id="107" name="Picture 106">
            <a:extLst>
              <a:ext uri="{FF2B5EF4-FFF2-40B4-BE49-F238E27FC236}">
                <a16:creationId xmlns:a16="http://schemas.microsoft.com/office/drawing/2014/main" id="{E3D016FC-6DE3-4520-A56F-D5330891A7A5}"/>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flipV="1">
            <a:off x="9476486" y="1717918"/>
            <a:ext cx="691661" cy="214415"/>
          </a:xfrm>
          <a:prstGeom prst="rect">
            <a:avLst/>
          </a:prstGeom>
        </p:spPr>
      </p:pic>
      <p:pic>
        <p:nvPicPr>
          <p:cNvPr id="133" name="Picture 132">
            <a:extLst>
              <a:ext uri="{FF2B5EF4-FFF2-40B4-BE49-F238E27FC236}">
                <a16:creationId xmlns:a16="http://schemas.microsoft.com/office/drawing/2014/main" id="{030B92A5-10D0-488E-9A07-57D2232389BB}"/>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11685325" y="230311"/>
            <a:ext cx="446284" cy="446284"/>
          </a:xfrm>
          <a:prstGeom prst="rect">
            <a:avLst/>
          </a:prstGeom>
        </p:spPr>
      </p:pic>
      <p:pic>
        <p:nvPicPr>
          <p:cNvPr id="135" name="Picture 134">
            <a:extLst>
              <a:ext uri="{FF2B5EF4-FFF2-40B4-BE49-F238E27FC236}">
                <a16:creationId xmlns:a16="http://schemas.microsoft.com/office/drawing/2014/main" id="{A208045D-BF02-4D15-8DA8-B0656F78C967}"/>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10030258" y="2123732"/>
            <a:ext cx="431623" cy="400546"/>
          </a:xfrm>
          <a:prstGeom prst="rect">
            <a:avLst/>
          </a:prstGeom>
        </p:spPr>
      </p:pic>
      <p:pic>
        <p:nvPicPr>
          <p:cNvPr id="137" name="Picture 136">
            <a:extLst>
              <a:ext uri="{FF2B5EF4-FFF2-40B4-BE49-F238E27FC236}">
                <a16:creationId xmlns:a16="http://schemas.microsoft.com/office/drawing/2014/main" id="{98FD0EA7-EEA7-4AA4-BCDB-8FE9699783FE}"/>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5319228" y="2116687"/>
            <a:ext cx="1096701" cy="234694"/>
          </a:xfrm>
          <a:prstGeom prst="rect">
            <a:avLst/>
          </a:prstGeom>
        </p:spPr>
      </p:pic>
      <p:pic>
        <p:nvPicPr>
          <p:cNvPr id="139" name="Picture 138">
            <a:extLst>
              <a:ext uri="{FF2B5EF4-FFF2-40B4-BE49-F238E27FC236}">
                <a16:creationId xmlns:a16="http://schemas.microsoft.com/office/drawing/2014/main" id="{6B38FE5B-D861-4061-91E8-30EBA114AEC2}"/>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6648466" y="2202786"/>
            <a:ext cx="673681" cy="229052"/>
          </a:xfrm>
          <a:prstGeom prst="rect">
            <a:avLst/>
          </a:prstGeom>
        </p:spPr>
      </p:pic>
      <p:pic>
        <p:nvPicPr>
          <p:cNvPr id="141" name="Picture 140">
            <a:extLst>
              <a:ext uri="{FF2B5EF4-FFF2-40B4-BE49-F238E27FC236}">
                <a16:creationId xmlns:a16="http://schemas.microsoft.com/office/drawing/2014/main" id="{FE44A833-7368-4435-9391-AEC2220A6FB8}"/>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7564454" y="2206512"/>
            <a:ext cx="821081" cy="128337"/>
          </a:xfrm>
          <a:prstGeom prst="rect">
            <a:avLst/>
          </a:prstGeom>
        </p:spPr>
      </p:pic>
      <p:pic>
        <p:nvPicPr>
          <p:cNvPr id="143" name="Picture 142">
            <a:extLst>
              <a:ext uri="{FF2B5EF4-FFF2-40B4-BE49-F238E27FC236}">
                <a16:creationId xmlns:a16="http://schemas.microsoft.com/office/drawing/2014/main" id="{E92DEDEA-FE85-4D89-8B05-A1BB7751FE2C}"/>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11623709" y="2227054"/>
            <a:ext cx="499204" cy="413341"/>
          </a:xfrm>
          <a:prstGeom prst="rect">
            <a:avLst/>
          </a:prstGeom>
        </p:spPr>
      </p:pic>
      <p:pic>
        <p:nvPicPr>
          <p:cNvPr id="147" name="Picture 146">
            <a:extLst>
              <a:ext uri="{FF2B5EF4-FFF2-40B4-BE49-F238E27FC236}">
                <a16:creationId xmlns:a16="http://schemas.microsoft.com/office/drawing/2014/main" id="{B3469079-EC59-4E9C-BAEB-03FB764B04F8}"/>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10682996" y="2272518"/>
            <a:ext cx="846224" cy="140215"/>
          </a:xfrm>
          <a:prstGeom prst="rect">
            <a:avLst/>
          </a:prstGeom>
        </p:spPr>
      </p:pic>
      <p:pic>
        <p:nvPicPr>
          <p:cNvPr id="149" name="Picture 148">
            <a:extLst>
              <a:ext uri="{FF2B5EF4-FFF2-40B4-BE49-F238E27FC236}">
                <a16:creationId xmlns:a16="http://schemas.microsoft.com/office/drawing/2014/main" id="{6798920A-C7DF-4EA1-B90C-0E8F88B19937}"/>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6098684" y="2556835"/>
            <a:ext cx="718958" cy="273204"/>
          </a:xfrm>
          <a:prstGeom prst="rect">
            <a:avLst/>
          </a:prstGeom>
        </p:spPr>
      </p:pic>
      <p:pic>
        <p:nvPicPr>
          <p:cNvPr id="151" name="Picture 150">
            <a:extLst>
              <a:ext uri="{FF2B5EF4-FFF2-40B4-BE49-F238E27FC236}">
                <a16:creationId xmlns:a16="http://schemas.microsoft.com/office/drawing/2014/main" id="{FE65CFC6-D44C-4C66-AE1C-BE3C5FF06524}"/>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6919845" y="2643498"/>
            <a:ext cx="1181106" cy="245670"/>
          </a:xfrm>
          <a:prstGeom prst="rect">
            <a:avLst/>
          </a:prstGeom>
        </p:spPr>
      </p:pic>
      <p:pic>
        <p:nvPicPr>
          <p:cNvPr id="153" name="Picture 152">
            <a:extLst>
              <a:ext uri="{FF2B5EF4-FFF2-40B4-BE49-F238E27FC236}">
                <a16:creationId xmlns:a16="http://schemas.microsoft.com/office/drawing/2014/main" id="{C7B55AE6-36C7-441D-94D7-AA430FE56C69}"/>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8307094" y="2749130"/>
            <a:ext cx="898826" cy="337959"/>
          </a:xfrm>
          <a:prstGeom prst="rect">
            <a:avLst/>
          </a:prstGeom>
        </p:spPr>
      </p:pic>
      <p:pic>
        <p:nvPicPr>
          <p:cNvPr id="155" name="Picture 154">
            <a:extLst>
              <a:ext uri="{FF2B5EF4-FFF2-40B4-BE49-F238E27FC236}">
                <a16:creationId xmlns:a16="http://schemas.microsoft.com/office/drawing/2014/main" id="{53DF01B9-D379-4D70-954F-3ACEB14BA1E6}"/>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235120" y="2711244"/>
            <a:ext cx="1059295" cy="207622"/>
          </a:xfrm>
          <a:prstGeom prst="rect">
            <a:avLst/>
          </a:prstGeom>
        </p:spPr>
      </p:pic>
      <p:pic>
        <p:nvPicPr>
          <p:cNvPr id="157" name="Picture 156">
            <a:extLst>
              <a:ext uri="{FF2B5EF4-FFF2-40B4-BE49-F238E27FC236}">
                <a16:creationId xmlns:a16="http://schemas.microsoft.com/office/drawing/2014/main" id="{D506DF5A-9332-4F87-AF72-9ED25C19845F}"/>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359679" y="2651141"/>
            <a:ext cx="1075606" cy="273204"/>
          </a:xfrm>
          <a:prstGeom prst="rect">
            <a:avLst/>
          </a:prstGeom>
        </p:spPr>
      </p:pic>
      <p:pic>
        <p:nvPicPr>
          <p:cNvPr id="159" name="Picture 158">
            <a:extLst>
              <a:ext uri="{FF2B5EF4-FFF2-40B4-BE49-F238E27FC236}">
                <a16:creationId xmlns:a16="http://schemas.microsoft.com/office/drawing/2014/main" id="{4D19230E-D9C5-45FD-BCA2-AB1F54F56A3C}"/>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3779690" y="3243280"/>
            <a:ext cx="897773" cy="285981"/>
          </a:xfrm>
          <a:prstGeom prst="rect">
            <a:avLst/>
          </a:prstGeom>
        </p:spPr>
      </p:pic>
      <p:pic>
        <p:nvPicPr>
          <p:cNvPr id="161" name="Picture 160">
            <a:extLst>
              <a:ext uri="{FF2B5EF4-FFF2-40B4-BE49-F238E27FC236}">
                <a16:creationId xmlns:a16="http://schemas.microsoft.com/office/drawing/2014/main" id="{F636D383-DAF5-4E89-9006-159027F7C417}"/>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6211543" y="2913961"/>
            <a:ext cx="921171" cy="441129"/>
          </a:xfrm>
          <a:prstGeom prst="rect">
            <a:avLst/>
          </a:prstGeom>
        </p:spPr>
      </p:pic>
      <p:pic>
        <p:nvPicPr>
          <p:cNvPr id="163" name="Picture 162">
            <a:extLst>
              <a:ext uri="{FF2B5EF4-FFF2-40B4-BE49-F238E27FC236}">
                <a16:creationId xmlns:a16="http://schemas.microsoft.com/office/drawing/2014/main" id="{6F8A5F05-141F-454D-A949-4967A3972F18}"/>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11427847" y="2814885"/>
            <a:ext cx="690050" cy="223576"/>
          </a:xfrm>
          <a:prstGeom prst="rect">
            <a:avLst/>
          </a:prstGeom>
        </p:spPr>
      </p:pic>
      <p:pic>
        <p:nvPicPr>
          <p:cNvPr id="165" name="Picture 164">
            <a:extLst>
              <a:ext uri="{FF2B5EF4-FFF2-40B4-BE49-F238E27FC236}">
                <a16:creationId xmlns:a16="http://schemas.microsoft.com/office/drawing/2014/main" id="{50678FB1-7D7D-46E3-BC1D-AF9126F36DFC}"/>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4359405" y="2514900"/>
            <a:ext cx="675812" cy="452793"/>
          </a:xfrm>
          <a:prstGeom prst="rect">
            <a:avLst/>
          </a:prstGeom>
        </p:spPr>
      </p:pic>
      <p:pic>
        <p:nvPicPr>
          <p:cNvPr id="169" name="Picture 168">
            <a:extLst>
              <a:ext uri="{FF2B5EF4-FFF2-40B4-BE49-F238E27FC236}">
                <a16:creationId xmlns:a16="http://schemas.microsoft.com/office/drawing/2014/main" id="{9367DD41-CBF5-497F-AC6C-D9E2726D5D6F}"/>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5403381" y="3101526"/>
            <a:ext cx="664045" cy="94532"/>
          </a:xfrm>
          <a:prstGeom prst="rect">
            <a:avLst/>
          </a:prstGeom>
        </p:spPr>
      </p:pic>
      <p:pic>
        <p:nvPicPr>
          <p:cNvPr id="171" name="Picture 170">
            <a:extLst>
              <a:ext uri="{FF2B5EF4-FFF2-40B4-BE49-F238E27FC236}">
                <a16:creationId xmlns:a16="http://schemas.microsoft.com/office/drawing/2014/main" id="{5CA4748A-6C3D-4A37-9BF5-EB2642EFB980}"/>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0813615" y="2887552"/>
            <a:ext cx="427106" cy="696241"/>
          </a:xfrm>
          <a:prstGeom prst="rect">
            <a:avLst/>
          </a:prstGeom>
        </p:spPr>
      </p:pic>
      <p:pic>
        <p:nvPicPr>
          <p:cNvPr id="173" name="Picture 172">
            <a:extLst>
              <a:ext uri="{FF2B5EF4-FFF2-40B4-BE49-F238E27FC236}">
                <a16:creationId xmlns:a16="http://schemas.microsoft.com/office/drawing/2014/main" id="{E1A47EAD-E39F-4D8D-9A50-B84985DC6100}"/>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7223862" y="2914322"/>
            <a:ext cx="1042445" cy="319683"/>
          </a:xfrm>
          <a:prstGeom prst="rect">
            <a:avLst/>
          </a:prstGeom>
        </p:spPr>
      </p:pic>
      <p:pic>
        <p:nvPicPr>
          <p:cNvPr id="175" name="Picture 174">
            <a:extLst>
              <a:ext uri="{FF2B5EF4-FFF2-40B4-BE49-F238E27FC236}">
                <a16:creationId xmlns:a16="http://schemas.microsoft.com/office/drawing/2014/main" id="{721F8282-ADC2-4DE5-94B7-B0D58BB2D35A}"/>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11352540" y="3147214"/>
            <a:ext cx="679380" cy="379286"/>
          </a:xfrm>
          <a:prstGeom prst="rect">
            <a:avLst/>
          </a:prstGeom>
        </p:spPr>
      </p:pic>
      <p:pic>
        <p:nvPicPr>
          <p:cNvPr id="177" name="Picture 176">
            <a:extLst>
              <a:ext uri="{FF2B5EF4-FFF2-40B4-BE49-F238E27FC236}">
                <a16:creationId xmlns:a16="http://schemas.microsoft.com/office/drawing/2014/main" id="{8CCC9D16-323E-4736-A7A5-AC8CC9D48598}"/>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4297714" y="0"/>
            <a:ext cx="508959" cy="667509"/>
          </a:xfrm>
          <a:prstGeom prst="rect">
            <a:avLst/>
          </a:prstGeom>
        </p:spPr>
      </p:pic>
      <p:pic>
        <p:nvPicPr>
          <p:cNvPr id="181" name="Picture 180">
            <a:extLst>
              <a:ext uri="{FF2B5EF4-FFF2-40B4-BE49-F238E27FC236}">
                <a16:creationId xmlns:a16="http://schemas.microsoft.com/office/drawing/2014/main" id="{C1979D3C-81A4-48BF-8929-DE2E92A27CDB}"/>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9674822" y="3190417"/>
            <a:ext cx="1013559" cy="385659"/>
          </a:xfrm>
          <a:prstGeom prst="rect">
            <a:avLst/>
          </a:prstGeom>
        </p:spPr>
      </p:pic>
      <p:pic>
        <p:nvPicPr>
          <p:cNvPr id="183" name="Picture 182">
            <a:extLst>
              <a:ext uri="{FF2B5EF4-FFF2-40B4-BE49-F238E27FC236}">
                <a16:creationId xmlns:a16="http://schemas.microsoft.com/office/drawing/2014/main" id="{0B9E1A1D-C8BF-4A29-AD6B-946329FE2A43}"/>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4030402" y="951032"/>
            <a:ext cx="1136331" cy="711525"/>
          </a:xfrm>
          <a:prstGeom prst="rect">
            <a:avLst/>
          </a:prstGeom>
        </p:spPr>
      </p:pic>
      <p:pic>
        <p:nvPicPr>
          <p:cNvPr id="185" name="Picture 184">
            <a:extLst>
              <a:ext uri="{FF2B5EF4-FFF2-40B4-BE49-F238E27FC236}">
                <a16:creationId xmlns:a16="http://schemas.microsoft.com/office/drawing/2014/main" id="{EDE679DE-D557-4C43-8A59-74E42D930943}"/>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4240589" y="1541772"/>
            <a:ext cx="719429" cy="387034"/>
          </a:xfrm>
          <a:prstGeom prst="rect">
            <a:avLst/>
          </a:prstGeom>
        </p:spPr>
      </p:pic>
      <p:pic>
        <p:nvPicPr>
          <p:cNvPr id="187" name="Picture 186">
            <a:extLst>
              <a:ext uri="{FF2B5EF4-FFF2-40B4-BE49-F238E27FC236}">
                <a16:creationId xmlns:a16="http://schemas.microsoft.com/office/drawing/2014/main" id="{60467668-D53B-4CDF-9FD0-C607BC651A42}"/>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4294704" y="1958406"/>
            <a:ext cx="778935" cy="349178"/>
          </a:xfrm>
          <a:prstGeom prst="rect">
            <a:avLst/>
          </a:prstGeom>
        </p:spPr>
      </p:pic>
      <p:pic>
        <p:nvPicPr>
          <p:cNvPr id="5" name="Picture 6">
            <a:extLst>
              <a:ext uri="{FF2B5EF4-FFF2-40B4-BE49-F238E27FC236}">
                <a16:creationId xmlns:a16="http://schemas.microsoft.com/office/drawing/2014/main" id="{88D3EE5E-1536-44F3-92BC-7BA8F87883AA}"/>
              </a:ext>
            </a:extLst>
          </p:cNvPr>
          <p:cNvPicPr>
            <a:picLocks noChangeAspect="1"/>
          </p:cNvPicPr>
          <p:nvPr/>
        </p:nvPicPr>
        <p:blipFill>
          <a:blip r:embed="rId74"/>
          <a:stretch>
            <a:fillRect/>
          </a:stretch>
        </p:blipFill>
        <p:spPr>
          <a:xfrm>
            <a:off x="5692437" y="3242639"/>
            <a:ext cx="544799" cy="372725"/>
          </a:xfrm>
          <a:prstGeom prst="rect">
            <a:avLst/>
          </a:prstGeom>
        </p:spPr>
      </p:pic>
      <p:pic>
        <p:nvPicPr>
          <p:cNvPr id="1026" name="Picture 2" descr="Qatar Petroleum joins EITI as a supporting company | Extractive Industries  Transparency Initiative">
            <a:extLst>
              <a:ext uri="{FF2B5EF4-FFF2-40B4-BE49-F238E27FC236}">
                <a16:creationId xmlns:a16="http://schemas.microsoft.com/office/drawing/2014/main" id="{97068967-7BF9-4B6B-AB2B-1C97FECDC52C}"/>
              </a:ext>
            </a:extLst>
          </p:cNvPr>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8427820" y="3184934"/>
            <a:ext cx="1095471" cy="40224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2">
            <a:extLst>
              <a:ext uri="{FF2B5EF4-FFF2-40B4-BE49-F238E27FC236}">
                <a16:creationId xmlns:a16="http://schemas.microsoft.com/office/drawing/2014/main" id="{FF7770F0-9436-4404-A090-6723E48EA899}"/>
              </a:ext>
            </a:extLst>
          </p:cNvPr>
          <p:cNvPicPr>
            <a:picLocks noChangeAspect="1"/>
          </p:cNvPicPr>
          <p:nvPr/>
        </p:nvPicPr>
        <p:blipFill>
          <a:blip r:embed="rId76"/>
          <a:stretch>
            <a:fillRect/>
          </a:stretch>
        </p:blipFill>
        <p:spPr>
          <a:xfrm>
            <a:off x="3312826" y="24553"/>
            <a:ext cx="869430" cy="598917"/>
          </a:xfrm>
          <a:prstGeom prst="rect">
            <a:avLst/>
          </a:prstGeom>
        </p:spPr>
      </p:pic>
      <p:pic>
        <p:nvPicPr>
          <p:cNvPr id="13" name="Picture 15" descr="Logo, company name&#10;&#10;Description automatically generated">
            <a:extLst>
              <a:ext uri="{FF2B5EF4-FFF2-40B4-BE49-F238E27FC236}">
                <a16:creationId xmlns:a16="http://schemas.microsoft.com/office/drawing/2014/main" id="{780A645A-B23D-4B1A-8D16-01CA79E7DCA5}"/>
              </a:ext>
            </a:extLst>
          </p:cNvPr>
          <p:cNvPicPr>
            <a:picLocks noChangeAspect="1"/>
          </p:cNvPicPr>
          <p:nvPr/>
        </p:nvPicPr>
        <p:blipFill>
          <a:blip r:embed="rId77"/>
          <a:stretch>
            <a:fillRect/>
          </a:stretch>
        </p:blipFill>
        <p:spPr>
          <a:xfrm>
            <a:off x="3350302" y="481279"/>
            <a:ext cx="794479" cy="561442"/>
          </a:xfrm>
          <a:prstGeom prst="rect">
            <a:avLst/>
          </a:prstGeom>
        </p:spPr>
      </p:pic>
      <p:pic>
        <p:nvPicPr>
          <p:cNvPr id="16" name="Picture 17" descr="Logo, company name&#10;&#10;Description automatically generated">
            <a:extLst>
              <a:ext uri="{FF2B5EF4-FFF2-40B4-BE49-F238E27FC236}">
                <a16:creationId xmlns:a16="http://schemas.microsoft.com/office/drawing/2014/main" id="{99624EC4-16AE-495E-9D28-2EBEF3FAF596}"/>
              </a:ext>
            </a:extLst>
          </p:cNvPr>
          <p:cNvPicPr>
            <a:picLocks noChangeAspect="1"/>
          </p:cNvPicPr>
          <p:nvPr/>
        </p:nvPicPr>
        <p:blipFill>
          <a:blip r:embed="rId78"/>
          <a:stretch>
            <a:fillRect/>
          </a:stretch>
        </p:blipFill>
        <p:spPr>
          <a:xfrm>
            <a:off x="3575154" y="1080886"/>
            <a:ext cx="732020" cy="548948"/>
          </a:xfrm>
          <a:prstGeom prst="rect">
            <a:avLst/>
          </a:prstGeom>
        </p:spPr>
      </p:pic>
      <p:pic>
        <p:nvPicPr>
          <p:cNvPr id="27" name="Picture 35">
            <a:extLst>
              <a:ext uri="{FF2B5EF4-FFF2-40B4-BE49-F238E27FC236}">
                <a16:creationId xmlns:a16="http://schemas.microsoft.com/office/drawing/2014/main" id="{0F300F4C-1E9A-458D-8026-19484ABE79A1}"/>
              </a:ext>
            </a:extLst>
          </p:cNvPr>
          <p:cNvPicPr>
            <a:picLocks noChangeAspect="1"/>
          </p:cNvPicPr>
          <p:nvPr/>
        </p:nvPicPr>
        <p:blipFill>
          <a:blip r:embed="rId79"/>
          <a:stretch>
            <a:fillRect/>
          </a:stretch>
        </p:blipFill>
        <p:spPr>
          <a:xfrm>
            <a:off x="6707768" y="3390827"/>
            <a:ext cx="1722407" cy="273859"/>
          </a:xfrm>
          <a:prstGeom prst="rect">
            <a:avLst/>
          </a:prstGeom>
        </p:spPr>
      </p:pic>
      <p:pic>
        <p:nvPicPr>
          <p:cNvPr id="36" name="Picture 41">
            <a:extLst>
              <a:ext uri="{FF2B5EF4-FFF2-40B4-BE49-F238E27FC236}">
                <a16:creationId xmlns:a16="http://schemas.microsoft.com/office/drawing/2014/main" id="{6C7D07C1-E478-4F0F-926C-1A70B6EDCC0B}"/>
              </a:ext>
            </a:extLst>
          </p:cNvPr>
          <p:cNvPicPr>
            <a:picLocks noChangeAspect="1"/>
          </p:cNvPicPr>
          <p:nvPr/>
        </p:nvPicPr>
        <p:blipFill>
          <a:blip r:embed="rId80"/>
          <a:stretch>
            <a:fillRect/>
          </a:stretch>
        </p:blipFill>
        <p:spPr>
          <a:xfrm>
            <a:off x="3400268" y="2554919"/>
            <a:ext cx="894413" cy="686359"/>
          </a:xfrm>
          <a:prstGeom prst="rect">
            <a:avLst/>
          </a:prstGeom>
        </p:spPr>
      </p:pic>
      <p:cxnSp>
        <p:nvCxnSpPr>
          <p:cNvPr id="98" name="Straight Connector 13">
            <a:extLst>
              <a:ext uri="{FF2B5EF4-FFF2-40B4-BE49-F238E27FC236}">
                <a16:creationId xmlns:a16="http://schemas.microsoft.com/office/drawing/2014/main" id="{A2F4166B-F2DF-7840-AF2F-663FE91DB95C}"/>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00" name="Title 1">
            <a:extLst>
              <a:ext uri="{FF2B5EF4-FFF2-40B4-BE49-F238E27FC236}">
                <a16:creationId xmlns:a16="http://schemas.microsoft.com/office/drawing/2014/main" id="{E18D09BD-5033-F14C-B613-9D5D64096A07}"/>
              </a:ext>
            </a:extLst>
          </p:cNvPr>
          <p:cNvSpPr txBox="1">
            <a:spLocks/>
          </p:cNvSpPr>
          <p:nvPr/>
        </p:nvSpPr>
        <p:spPr>
          <a:xfrm>
            <a:off x="600370" y="372984"/>
            <a:ext cx="10443648" cy="769175"/>
          </a:xfrm>
          <a:prstGeom prst="rect">
            <a:avLst/>
          </a:prstGeom>
        </p:spPr>
        <p:txBody>
          <a:bodyPr lIns="0" rIns="90000" anchor="ctr">
            <a:normAutofit/>
          </a:bodyPr>
          <a:lstStyle>
            <a:lvl1pPr algn="l" defTabSz="457200" rtl="0" eaLnBrk="1" latinLnBrk="0" hangingPunct="1">
              <a:spcBef>
                <a:spcPct val="0"/>
              </a:spcBef>
              <a:buNone/>
              <a:defRPr sz="4400" kern="1200">
                <a:solidFill>
                  <a:schemeClr val="tx1"/>
                </a:solidFill>
                <a:latin typeface="Roboto Regular"/>
                <a:ea typeface="+mj-ea"/>
                <a:cs typeface="Roboto Regular"/>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Roboto" panose="02000000000000000000" pitchFamily="2" charset="0"/>
              </a:rPr>
              <a:t>OGMP Timeline</a:t>
            </a:r>
          </a:p>
        </p:txBody>
      </p:sp>
    </p:spTree>
    <p:extLst>
      <p:ext uri="{BB962C8B-B14F-4D97-AF65-F5344CB8AC3E}">
        <p14:creationId xmlns:p14="http://schemas.microsoft.com/office/powerpoint/2010/main" val="90185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93225CF-7181-44BC-8A6C-BFFADDB6E8EF}"/>
              </a:ext>
            </a:extLst>
          </p:cNvPr>
          <p:cNvSpPr>
            <a:spLocks noGrp="1"/>
          </p:cNvSpPr>
          <p:nvPr>
            <p:ph type="title"/>
          </p:nvPr>
        </p:nvSpPr>
        <p:spPr>
          <a:xfrm>
            <a:off x="600370" y="372984"/>
            <a:ext cx="10443648" cy="769175"/>
          </a:xfrm>
        </p:spPr>
        <p:txBody>
          <a:bodyPr lIns="0" rIns="90000" anchor="ctr">
            <a:normAutofit/>
          </a:bodyPr>
          <a:lstStyle/>
          <a:p>
            <a:r>
              <a:rPr lang="en-US" sz="2400" b="1">
                <a:solidFill>
                  <a:srgbClr val="00B0F0"/>
                </a:solidFill>
                <a:latin typeface="Roboto" panose="02000000000000000000" pitchFamily="2" charset="0"/>
                <a:ea typeface="Roboto" panose="02000000000000000000" pitchFamily="2" charset="0"/>
                <a:cs typeface="Roboto" panose="02000000000000000000" pitchFamily="2" charset="0"/>
              </a:rPr>
              <a:t>OGMP 2.0 will improve methane reporting around the world</a:t>
            </a:r>
          </a:p>
        </p:txBody>
      </p:sp>
      <p:cxnSp>
        <p:nvCxnSpPr>
          <p:cNvPr id="7" name="Straight Connector 6">
            <a:extLst>
              <a:ext uri="{FF2B5EF4-FFF2-40B4-BE49-F238E27FC236}">
                <a16:creationId xmlns:a16="http://schemas.microsoft.com/office/drawing/2014/main" id="{6EC33CC0-5A90-4C2B-A53A-CBCD7F8D4F41}"/>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253" name="30558282.5513.2572.375115.1255">
            <a:extLst>
              <a:ext uri="{FF2B5EF4-FFF2-40B4-BE49-F238E27FC236}">
                <a16:creationId xmlns:a16="http://schemas.microsoft.com/office/drawing/2014/main" id="{13BD06AB-F386-BB4E-B487-23E66F27F841}"/>
              </a:ext>
            </a:extLst>
          </p:cNvPr>
          <p:cNvSpPr>
            <a:spLocks noChangeAspect="1"/>
          </p:cNvSpPr>
          <p:nvPr/>
        </p:nvSpPr>
        <p:spPr bwMode="gray">
          <a:xfrm>
            <a:off x="7902751" y="2876079"/>
            <a:ext cx="1844948" cy="1170665"/>
          </a:xfrm>
          <a:custGeom>
            <a:avLst/>
            <a:gdLst/>
            <a:ahLst/>
            <a:cxnLst>
              <a:cxn ang="0">
                <a:pos x="13" y="562"/>
              </a:cxn>
              <a:cxn ang="0">
                <a:pos x="216" y="484"/>
              </a:cxn>
              <a:cxn ang="0">
                <a:pos x="209" y="371"/>
              </a:cxn>
              <a:cxn ang="0">
                <a:pos x="312" y="273"/>
              </a:cxn>
              <a:cxn ang="0">
                <a:pos x="407" y="225"/>
              </a:cxn>
              <a:cxn ang="0">
                <a:pos x="506" y="243"/>
              </a:cxn>
              <a:cxn ang="0">
                <a:pos x="572" y="355"/>
              </a:cxn>
              <a:cxn ang="0">
                <a:pos x="781" y="456"/>
              </a:cxn>
              <a:cxn ang="0">
                <a:pos x="1039" y="503"/>
              </a:cxn>
              <a:cxn ang="0">
                <a:pos x="1278" y="419"/>
              </a:cxn>
              <a:cxn ang="0">
                <a:pos x="1329" y="374"/>
              </a:cxn>
              <a:cxn ang="0">
                <a:pos x="1530" y="295"/>
              </a:cxn>
              <a:cxn ang="0">
                <a:pos x="1402" y="254"/>
              </a:cxn>
              <a:cxn ang="0">
                <a:pos x="1423" y="157"/>
              </a:cxn>
              <a:cxn ang="0">
                <a:pos x="1522" y="154"/>
              </a:cxn>
              <a:cxn ang="0">
                <a:pos x="1548" y="38"/>
              </a:cxn>
              <a:cxn ang="0">
                <a:pos x="1736" y="26"/>
              </a:cxn>
              <a:cxn ang="0">
                <a:pos x="1899" y="201"/>
              </a:cxn>
              <a:cxn ang="0">
                <a:pos x="2044" y="220"/>
              </a:cxn>
              <a:cxn ang="0">
                <a:pos x="1913" y="379"/>
              </a:cxn>
              <a:cxn ang="0">
                <a:pos x="1899" y="463"/>
              </a:cxn>
              <a:cxn ang="0">
                <a:pos x="1823" y="491"/>
              </a:cxn>
              <a:cxn ang="0">
                <a:pos x="1777" y="506"/>
              </a:cxn>
              <a:cxn ang="0">
                <a:pos x="1593" y="617"/>
              </a:cxn>
              <a:cxn ang="0">
                <a:pos x="1608" y="528"/>
              </a:cxn>
              <a:cxn ang="0">
                <a:pos x="1469" y="624"/>
              </a:cxn>
              <a:cxn ang="0">
                <a:pos x="1574" y="653"/>
              </a:cxn>
              <a:cxn ang="0">
                <a:pos x="1553" y="710"/>
              </a:cxn>
              <a:cxn ang="0">
                <a:pos x="1611" y="880"/>
              </a:cxn>
              <a:cxn ang="0">
                <a:pos x="1611" y="909"/>
              </a:cxn>
              <a:cxn ang="0">
                <a:pos x="1614" y="946"/>
              </a:cxn>
              <a:cxn ang="0">
                <a:pos x="1425" y="1188"/>
              </a:cxn>
              <a:cxn ang="0">
                <a:pos x="1347" y="1207"/>
              </a:cxn>
              <a:cxn ang="0">
                <a:pos x="1310" y="1228"/>
              </a:cxn>
              <a:cxn ang="0">
                <a:pos x="1216" y="1286"/>
              </a:cxn>
              <a:cxn ang="0">
                <a:pos x="1142" y="1242"/>
              </a:cxn>
              <a:cxn ang="0">
                <a:pos x="953" y="1209"/>
              </a:cxn>
              <a:cxn ang="0">
                <a:pos x="935" y="1247"/>
              </a:cxn>
              <a:cxn ang="0">
                <a:pos x="856" y="1220"/>
              </a:cxn>
              <a:cxn ang="0">
                <a:pos x="799" y="1161"/>
              </a:cxn>
              <a:cxn ang="0">
                <a:pos x="833" y="1030"/>
              </a:cxn>
              <a:cxn ang="0">
                <a:pos x="757" y="996"/>
              </a:cxn>
              <a:cxn ang="0">
                <a:pos x="604" y="1020"/>
              </a:cxn>
              <a:cxn ang="0">
                <a:pos x="507" y="1038"/>
              </a:cxn>
              <a:cxn ang="0">
                <a:pos x="481" y="1019"/>
              </a:cxn>
              <a:cxn ang="0">
                <a:pos x="352" y="967"/>
              </a:cxn>
              <a:cxn ang="0">
                <a:pos x="178" y="908"/>
              </a:cxn>
              <a:cxn ang="0">
                <a:pos x="197" y="843"/>
              </a:cxn>
              <a:cxn ang="0">
                <a:pos x="221" y="740"/>
              </a:cxn>
              <a:cxn ang="0">
                <a:pos x="134" y="741"/>
              </a:cxn>
              <a:cxn ang="0">
                <a:pos x="35" y="671"/>
              </a:cxn>
              <a:cxn ang="0">
                <a:pos x="0" y="612"/>
              </a:cxn>
            </a:cxnLst>
            <a:rect l="0" t="0" r="r" b="b"/>
            <a:pathLst>
              <a:path w="2044" h="1286">
                <a:moveTo>
                  <a:pt x="0" y="612"/>
                </a:moveTo>
                <a:lnTo>
                  <a:pt x="13" y="562"/>
                </a:lnTo>
                <a:lnTo>
                  <a:pt x="87" y="551"/>
                </a:lnTo>
                <a:lnTo>
                  <a:pt x="216" y="484"/>
                </a:lnTo>
                <a:lnTo>
                  <a:pt x="235" y="432"/>
                </a:lnTo>
                <a:lnTo>
                  <a:pt x="209" y="371"/>
                </a:lnTo>
                <a:lnTo>
                  <a:pt x="290" y="355"/>
                </a:lnTo>
                <a:lnTo>
                  <a:pt x="312" y="273"/>
                </a:lnTo>
                <a:lnTo>
                  <a:pt x="397" y="278"/>
                </a:lnTo>
                <a:lnTo>
                  <a:pt x="407" y="225"/>
                </a:lnTo>
                <a:lnTo>
                  <a:pt x="472" y="198"/>
                </a:lnTo>
                <a:lnTo>
                  <a:pt x="506" y="243"/>
                </a:lnTo>
                <a:lnTo>
                  <a:pt x="553" y="260"/>
                </a:lnTo>
                <a:lnTo>
                  <a:pt x="572" y="355"/>
                </a:lnTo>
                <a:lnTo>
                  <a:pt x="719" y="392"/>
                </a:lnTo>
                <a:lnTo>
                  <a:pt x="781" y="456"/>
                </a:lnTo>
                <a:lnTo>
                  <a:pt x="902" y="452"/>
                </a:lnTo>
                <a:lnTo>
                  <a:pt x="1039" y="503"/>
                </a:lnTo>
                <a:lnTo>
                  <a:pt x="1222" y="456"/>
                </a:lnTo>
                <a:lnTo>
                  <a:pt x="1278" y="419"/>
                </a:lnTo>
                <a:lnTo>
                  <a:pt x="1278" y="368"/>
                </a:lnTo>
                <a:lnTo>
                  <a:pt x="1329" y="374"/>
                </a:lnTo>
                <a:lnTo>
                  <a:pt x="1440" y="300"/>
                </a:lnTo>
                <a:lnTo>
                  <a:pt x="1530" y="295"/>
                </a:lnTo>
                <a:lnTo>
                  <a:pt x="1487" y="239"/>
                </a:lnTo>
                <a:lnTo>
                  <a:pt x="1402" y="254"/>
                </a:lnTo>
                <a:lnTo>
                  <a:pt x="1401" y="191"/>
                </a:lnTo>
                <a:lnTo>
                  <a:pt x="1423" y="157"/>
                </a:lnTo>
                <a:lnTo>
                  <a:pt x="1473" y="176"/>
                </a:lnTo>
                <a:lnTo>
                  <a:pt x="1522" y="154"/>
                </a:lnTo>
                <a:lnTo>
                  <a:pt x="1571" y="69"/>
                </a:lnTo>
                <a:lnTo>
                  <a:pt x="1548" y="38"/>
                </a:lnTo>
                <a:lnTo>
                  <a:pt x="1669" y="0"/>
                </a:lnTo>
                <a:lnTo>
                  <a:pt x="1736" y="26"/>
                </a:lnTo>
                <a:lnTo>
                  <a:pt x="1798" y="169"/>
                </a:lnTo>
                <a:lnTo>
                  <a:pt x="1899" y="201"/>
                </a:lnTo>
                <a:lnTo>
                  <a:pt x="1919" y="253"/>
                </a:lnTo>
                <a:lnTo>
                  <a:pt x="2044" y="220"/>
                </a:lnTo>
                <a:lnTo>
                  <a:pt x="1986" y="359"/>
                </a:lnTo>
                <a:lnTo>
                  <a:pt x="1913" y="379"/>
                </a:lnTo>
                <a:lnTo>
                  <a:pt x="1923" y="432"/>
                </a:lnTo>
                <a:lnTo>
                  <a:pt x="1899" y="463"/>
                </a:lnTo>
                <a:lnTo>
                  <a:pt x="1886" y="452"/>
                </a:lnTo>
                <a:lnTo>
                  <a:pt x="1823" y="491"/>
                </a:lnTo>
                <a:lnTo>
                  <a:pt x="1823" y="513"/>
                </a:lnTo>
                <a:lnTo>
                  <a:pt x="1777" y="506"/>
                </a:lnTo>
                <a:lnTo>
                  <a:pt x="1692" y="568"/>
                </a:lnTo>
                <a:lnTo>
                  <a:pt x="1593" y="617"/>
                </a:lnTo>
                <a:lnTo>
                  <a:pt x="1623" y="551"/>
                </a:lnTo>
                <a:lnTo>
                  <a:pt x="1608" y="528"/>
                </a:lnTo>
                <a:lnTo>
                  <a:pt x="1473" y="604"/>
                </a:lnTo>
                <a:lnTo>
                  <a:pt x="1469" y="624"/>
                </a:lnTo>
                <a:lnTo>
                  <a:pt x="1515" y="674"/>
                </a:lnTo>
                <a:lnTo>
                  <a:pt x="1574" y="653"/>
                </a:lnTo>
                <a:lnTo>
                  <a:pt x="1636" y="671"/>
                </a:lnTo>
                <a:lnTo>
                  <a:pt x="1553" y="710"/>
                </a:lnTo>
                <a:lnTo>
                  <a:pt x="1523" y="763"/>
                </a:lnTo>
                <a:lnTo>
                  <a:pt x="1611" y="880"/>
                </a:lnTo>
                <a:lnTo>
                  <a:pt x="1550" y="869"/>
                </a:lnTo>
                <a:lnTo>
                  <a:pt x="1611" y="909"/>
                </a:lnTo>
                <a:lnTo>
                  <a:pt x="1552" y="935"/>
                </a:lnTo>
                <a:lnTo>
                  <a:pt x="1614" y="946"/>
                </a:lnTo>
                <a:lnTo>
                  <a:pt x="1501" y="1133"/>
                </a:lnTo>
                <a:lnTo>
                  <a:pt x="1425" y="1188"/>
                </a:lnTo>
                <a:lnTo>
                  <a:pt x="1353" y="1206"/>
                </a:lnTo>
                <a:lnTo>
                  <a:pt x="1347" y="1207"/>
                </a:lnTo>
                <a:lnTo>
                  <a:pt x="1329" y="1196"/>
                </a:lnTo>
                <a:lnTo>
                  <a:pt x="1310" y="1228"/>
                </a:lnTo>
                <a:lnTo>
                  <a:pt x="1223" y="1247"/>
                </a:lnTo>
                <a:lnTo>
                  <a:pt x="1216" y="1286"/>
                </a:lnTo>
                <a:lnTo>
                  <a:pt x="1201" y="1239"/>
                </a:lnTo>
                <a:lnTo>
                  <a:pt x="1142" y="1242"/>
                </a:lnTo>
                <a:lnTo>
                  <a:pt x="1052" y="1184"/>
                </a:lnTo>
                <a:lnTo>
                  <a:pt x="953" y="1209"/>
                </a:lnTo>
                <a:lnTo>
                  <a:pt x="932" y="1210"/>
                </a:lnTo>
                <a:lnTo>
                  <a:pt x="935" y="1247"/>
                </a:lnTo>
                <a:lnTo>
                  <a:pt x="920" y="1238"/>
                </a:lnTo>
                <a:lnTo>
                  <a:pt x="856" y="1220"/>
                </a:lnTo>
                <a:lnTo>
                  <a:pt x="837" y="1152"/>
                </a:lnTo>
                <a:lnTo>
                  <a:pt x="799" y="1161"/>
                </a:lnTo>
                <a:lnTo>
                  <a:pt x="834" y="1062"/>
                </a:lnTo>
                <a:lnTo>
                  <a:pt x="833" y="1030"/>
                </a:lnTo>
                <a:lnTo>
                  <a:pt x="792" y="1009"/>
                </a:lnTo>
                <a:lnTo>
                  <a:pt x="757" y="996"/>
                </a:lnTo>
                <a:lnTo>
                  <a:pt x="746" y="960"/>
                </a:lnTo>
                <a:lnTo>
                  <a:pt x="604" y="1020"/>
                </a:lnTo>
                <a:lnTo>
                  <a:pt x="540" y="1004"/>
                </a:lnTo>
                <a:lnTo>
                  <a:pt x="507" y="1038"/>
                </a:lnTo>
                <a:lnTo>
                  <a:pt x="503" y="1014"/>
                </a:lnTo>
                <a:lnTo>
                  <a:pt x="481" y="1019"/>
                </a:lnTo>
                <a:lnTo>
                  <a:pt x="408" y="1019"/>
                </a:lnTo>
                <a:lnTo>
                  <a:pt x="352" y="967"/>
                </a:lnTo>
                <a:lnTo>
                  <a:pt x="246" y="932"/>
                </a:lnTo>
                <a:lnTo>
                  <a:pt x="178" y="908"/>
                </a:lnTo>
                <a:lnTo>
                  <a:pt x="161" y="850"/>
                </a:lnTo>
                <a:lnTo>
                  <a:pt x="197" y="843"/>
                </a:lnTo>
                <a:lnTo>
                  <a:pt x="175" y="796"/>
                </a:lnTo>
                <a:lnTo>
                  <a:pt x="221" y="740"/>
                </a:lnTo>
                <a:lnTo>
                  <a:pt x="186" y="721"/>
                </a:lnTo>
                <a:lnTo>
                  <a:pt x="134" y="741"/>
                </a:lnTo>
                <a:lnTo>
                  <a:pt x="32" y="679"/>
                </a:lnTo>
                <a:lnTo>
                  <a:pt x="35" y="671"/>
                </a:lnTo>
                <a:lnTo>
                  <a:pt x="36" y="626"/>
                </a:lnTo>
                <a:lnTo>
                  <a:pt x="0" y="612"/>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4" name="30412358.375247.7512.755">
            <a:extLst>
              <a:ext uri="{FF2B5EF4-FFF2-40B4-BE49-F238E27FC236}">
                <a16:creationId xmlns:a16="http://schemas.microsoft.com/office/drawing/2014/main" id="{DCAC85F3-3E11-1448-A7B7-8BBF3DF2B7D2}"/>
              </a:ext>
            </a:extLst>
          </p:cNvPr>
          <p:cNvSpPr>
            <a:spLocks noChangeAspect="1"/>
          </p:cNvSpPr>
          <p:nvPr/>
        </p:nvSpPr>
        <p:spPr bwMode="gray">
          <a:xfrm>
            <a:off x="3646063" y="4102252"/>
            <a:ext cx="43748" cy="15137"/>
          </a:xfrm>
          <a:custGeom>
            <a:avLst/>
            <a:gdLst/>
            <a:ahLst/>
            <a:cxnLst>
              <a:cxn ang="0">
                <a:pos x="0" y="0"/>
              </a:cxn>
              <a:cxn ang="0">
                <a:pos x="4" y="17"/>
              </a:cxn>
              <a:cxn ang="0">
                <a:pos x="50" y="10"/>
              </a:cxn>
              <a:cxn ang="0">
                <a:pos x="0" y="0"/>
              </a:cxn>
            </a:cxnLst>
            <a:rect l="0" t="0" r="r" b="b"/>
            <a:pathLst>
              <a:path w="50" h="17">
                <a:moveTo>
                  <a:pt x="0" y="0"/>
                </a:moveTo>
                <a:lnTo>
                  <a:pt x="4" y="17"/>
                </a:lnTo>
                <a:lnTo>
                  <a:pt x="50" y="10"/>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5" name="30422411.37524325.62522.6255">
            <a:extLst>
              <a:ext uri="{FF2B5EF4-FFF2-40B4-BE49-F238E27FC236}">
                <a16:creationId xmlns:a16="http://schemas.microsoft.com/office/drawing/2014/main" id="{61BB8409-2C25-8245-8665-1E60E2CC46ED}"/>
              </a:ext>
            </a:extLst>
          </p:cNvPr>
          <p:cNvSpPr>
            <a:spLocks noChangeAspect="1"/>
          </p:cNvSpPr>
          <p:nvPr/>
        </p:nvSpPr>
        <p:spPr bwMode="gray">
          <a:xfrm>
            <a:off x="3569985" y="4961751"/>
            <a:ext cx="361379" cy="413771"/>
          </a:xfrm>
          <a:custGeom>
            <a:avLst/>
            <a:gdLst/>
            <a:ahLst/>
            <a:cxnLst>
              <a:cxn ang="0">
                <a:pos x="0" y="45"/>
              </a:cxn>
              <a:cxn ang="0">
                <a:pos x="30" y="93"/>
              </a:cxn>
              <a:cxn ang="0">
                <a:pos x="9" y="197"/>
              </a:cxn>
              <a:cxn ang="0">
                <a:pos x="30" y="208"/>
              </a:cxn>
              <a:cxn ang="0">
                <a:pos x="20" y="223"/>
              </a:cxn>
              <a:cxn ang="0">
                <a:pos x="2" y="265"/>
              </a:cxn>
              <a:cxn ang="0">
                <a:pos x="37" y="326"/>
              </a:cxn>
              <a:cxn ang="0">
                <a:pos x="57" y="450"/>
              </a:cxn>
              <a:cxn ang="0">
                <a:pos x="81" y="452"/>
              </a:cxn>
              <a:cxn ang="0">
                <a:pos x="116" y="414"/>
              </a:cxn>
              <a:cxn ang="0">
                <a:pos x="178" y="445"/>
              </a:cxn>
              <a:cxn ang="0">
                <a:pos x="182" y="423"/>
              </a:cxn>
              <a:cxn ang="0">
                <a:pos x="236" y="432"/>
              </a:cxn>
              <a:cxn ang="0">
                <a:pos x="257" y="342"/>
              </a:cxn>
              <a:cxn ang="0">
                <a:pos x="354" y="326"/>
              </a:cxn>
              <a:cxn ang="0">
                <a:pos x="387" y="356"/>
              </a:cxn>
              <a:cxn ang="0">
                <a:pos x="399" y="287"/>
              </a:cxn>
              <a:cxn ang="0">
                <a:pos x="378" y="228"/>
              </a:cxn>
              <a:cxn ang="0">
                <a:pos x="321" y="224"/>
              </a:cxn>
              <a:cxn ang="0">
                <a:pos x="298" y="135"/>
              </a:cxn>
              <a:cxn ang="0">
                <a:pos x="149" y="75"/>
              </a:cxn>
              <a:cxn ang="0">
                <a:pos x="141" y="0"/>
              </a:cxn>
              <a:cxn ang="0">
                <a:pos x="41" y="48"/>
              </a:cxn>
              <a:cxn ang="0">
                <a:pos x="0" y="45"/>
              </a:cxn>
            </a:cxnLst>
            <a:rect l="0" t="0" r="r" b="b"/>
            <a:pathLst>
              <a:path w="399" h="452">
                <a:moveTo>
                  <a:pt x="0" y="45"/>
                </a:moveTo>
                <a:lnTo>
                  <a:pt x="30" y="93"/>
                </a:lnTo>
                <a:lnTo>
                  <a:pt x="9" y="197"/>
                </a:lnTo>
                <a:lnTo>
                  <a:pt x="30" y="208"/>
                </a:lnTo>
                <a:lnTo>
                  <a:pt x="20" y="223"/>
                </a:lnTo>
                <a:lnTo>
                  <a:pt x="2" y="265"/>
                </a:lnTo>
                <a:lnTo>
                  <a:pt x="37" y="326"/>
                </a:lnTo>
                <a:lnTo>
                  <a:pt x="57" y="450"/>
                </a:lnTo>
                <a:lnTo>
                  <a:pt x="81" y="452"/>
                </a:lnTo>
                <a:lnTo>
                  <a:pt x="116" y="414"/>
                </a:lnTo>
                <a:lnTo>
                  <a:pt x="178" y="445"/>
                </a:lnTo>
                <a:lnTo>
                  <a:pt x="182" y="423"/>
                </a:lnTo>
                <a:lnTo>
                  <a:pt x="236" y="432"/>
                </a:lnTo>
                <a:lnTo>
                  <a:pt x="257" y="342"/>
                </a:lnTo>
                <a:lnTo>
                  <a:pt x="354" y="326"/>
                </a:lnTo>
                <a:lnTo>
                  <a:pt x="387" y="356"/>
                </a:lnTo>
                <a:lnTo>
                  <a:pt x="399" y="287"/>
                </a:lnTo>
                <a:lnTo>
                  <a:pt x="378" y="228"/>
                </a:lnTo>
                <a:lnTo>
                  <a:pt x="321" y="224"/>
                </a:lnTo>
                <a:lnTo>
                  <a:pt x="298" y="135"/>
                </a:lnTo>
                <a:lnTo>
                  <a:pt x="149" y="75"/>
                </a:lnTo>
                <a:lnTo>
                  <a:pt x="141" y="0"/>
                </a:lnTo>
                <a:lnTo>
                  <a:pt x="41" y="48"/>
                </a:lnTo>
                <a:lnTo>
                  <a:pt x="0" y="4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6" name="30423358.375206.37551.55">
            <a:extLst>
              <a:ext uri="{FF2B5EF4-FFF2-40B4-BE49-F238E27FC236}">
                <a16:creationId xmlns:a16="http://schemas.microsoft.com/office/drawing/2014/main" id="{16FD7BA7-B2A2-EB4A-B7F4-C89534A676E7}"/>
              </a:ext>
            </a:extLst>
          </p:cNvPr>
          <p:cNvSpPr>
            <a:spLocks noChangeAspect="1"/>
          </p:cNvSpPr>
          <p:nvPr/>
        </p:nvSpPr>
        <p:spPr bwMode="gray">
          <a:xfrm>
            <a:off x="2980360" y="4102252"/>
            <a:ext cx="26628" cy="80737"/>
          </a:xfrm>
          <a:custGeom>
            <a:avLst/>
            <a:gdLst/>
            <a:ahLst/>
            <a:cxnLst>
              <a:cxn ang="0">
                <a:pos x="0" y="20"/>
              </a:cxn>
              <a:cxn ang="0">
                <a:pos x="11" y="88"/>
              </a:cxn>
              <a:cxn ang="0">
                <a:pos x="28" y="0"/>
              </a:cxn>
              <a:cxn ang="0">
                <a:pos x="0" y="20"/>
              </a:cxn>
            </a:cxnLst>
            <a:rect l="0" t="0" r="r" b="b"/>
            <a:pathLst>
              <a:path w="28" h="88">
                <a:moveTo>
                  <a:pt x="0" y="20"/>
                </a:moveTo>
                <a:lnTo>
                  <a:pt x="11" y="88"/>
                </a:lnTo>
                <a:lnTo>
                  <a:pt x="28" y="0"/>
                </a:lnTo>
                <a:lnTo>
                  <a:pt x="0" y="2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7" name="30427228.125108.625821615">
            <a:extLst>
              <a:ext uri="{FF2B5EF4-FFF2-40B4-BE49-F238E27FC236}">
                <a16:creationId xmlns:a16="http://schemas.microsoft.com/office/drawing/2014/main" id="{74DE2800-3398-4445-A02C-31A82A2FCD07}"/>
              </a:ext>
            </a:extLst>
          </p:cNvPr>
          <p:cNvSpPr>
            <a:spLocks noChangeAspect="1"/>
          </p:cNvSpPr>
          <p:nvPr/>
        </p:nvSpPr>
        <p:spPr bwMode="gray">
          <a:xfrm>
            <a:off x="1415008" y="1993034"/>
            <a:ext cx="2581023" cy="1328775"/>
          </a:xfrm>
          <a:custGeom>
            <a:avLst/>
            <a:gdLst/>
            <a:ahLst/>
            <a:cxnLst>
              <a:cxn ang="0">
                <a:pos x="214" y="175"/>
              </a:cxn>
              <a:cxn ang="0">
                <a:pos x="331" y="151"/>
              </a:cxn>
              <a:cxn ang="0">
                <a:pos x="507" y="157"/>
              </a:cxn>
              <a:cxn ang="0">
                <a:pos x="781" y="179"/>
              </a:cxn>
              <a:cxn ang="0">
                <a:pos x="879" y="245"/>
              </a:cxn>
              <a:cxn ang="0">
                <a:pos x="1125" y="284"/>
              </a:cxn>
              <a:cxn ang="0">
                <a:pos x="1076" y="213"/>
              </a:cxn>
              <a:cxn ang="0">
                <a:pos x="1290" y="251"/>
              </a:cxn>
              <a:cxn ang="0">
                <a:pos x="1462" y="234"/>
              </a:cxn>
              <a:cxn ang="0">
                <a:pos x="1480" y="231"/>
              </a:cxn>
              <a:cxn ang="0">
                <a:pos x="1517" y="229"/>
              </a:cxn>
              <a:cxn ang="0">
                <a:pos x="1580" y="149"/>
              </a:cxn>
              <a:cxn ang="0">
                <a:pos x="1530" y="0"/>
              </a:cxn>
              <a:cxn ang="0">
                <a:pos x="1622" y="107"/>
              </a:cxn>
              <a:cxn ang="0">
                <a:pos x="1657" y="157"/>
              </a:cxn>
              <a:cxn ang="0">
                <a:pos x="1776" y="223"/>
              </a:cxn>
              <a:cxn ang="0">
                <a:pos x="1847" y="198"/>
              </a:cxn>
              <a:cxn ang="0">
                <a:pos x="1990" y="171"/>
              </a:cxn>
              <a:cxn ang="0">
                <a:pos x="1989" y="286"/>
              </a:cxn>
              <a:cxn ang="0">
                <a:pos x="1818" y="317"/>
              </a:cxn>
              <a:cxn ang="0">
                <a:pos x="1737" y="383"/>
              </a:cxn>
              <a:cxn ang="0">
                <a:pos x="1682" y="483"/>
              </a:cxn>
              <a:cxn ang="0">
                <a:pos x="1622" y="520"/>
              </a:cxn>
              <a:cxn ang="0">
                <a:pos x="1549" y="590"/>
              </a:cxn>
              <a:cxn ang="0">
                <a:pos x="1613" y="808"/>
              </a:cxn>
              <a:cxn ang="0">
                <a:pos x="1847" y="905"/>
              </a:cxn>
              <a:cxn ang="0">
                <a:pos x="1987" y="1022"/>
              </a:cxn>
              <a:cxn ang="0">
                <a:pos x="2045" y="1076"/>
              </a:cxn>
              <a:cxn ang="0">
                <a:pos x="2164" y="838"/>
              </a:cxn>
              <a:cxn ang="0">
                <a:pos x="2134" y="678"/>
              </a:cxn>
              <a:cxn ang="0">
                <a:pos x="2123" y="582"/>
              </a:cxn>
              <a:cxn ang="0">
                <a:pos x="2241" y="534"/>
              </a:cxn>
              <a:cxn ang="0">
                <a:pos x="2390" y="655"/>
              </a:cxn>
              <a:cxn ang="0">
                <a:pos x="2344" y="735"/>
              </a:cxn>
              <a:cxn ang="0">
                <a:pos x="2441" y="728"/>
              </a:cxn>
              <a:cxn ang="0">
                <a:pos x="2531" y="684"/>
              </a:cxn>
              <a:cxn ang="0">
                <a:pos x="2562" y="711"/>
              </a:cxn>
              <a:cxn ang="0">
                <a:pos x="2621" y="737"/>
              </a:cxn>
              <a:cxn ang="0">
                <a:pos x="2628" y="784"/>
              </a:cxn>
              <a:cxn ang="0">
                <a:pos x="2639" y="842"/>
              </a:cxn>
              <a:cxn ang="0">
                <a:pos x="2792" y="918"/>
              </a:cxn>
              <a:cxn ang="0">
                <a:pos x="2798" y="970"/>
              </a:cxn>
              <a:cxn ang="0">
                <a:pos x="2850" y="1025"/>
              </a:cxn>
              <a:cxn ang="0">
                <a:pos x="2338" y="1256"/>
              </a:cxn>
              <a:cxn ang="0">
                <a:pos x="2489" y="1205"/>
              </a:cxn>
              <a:cxn ang="0">
                <a:pos x="2663" y="1310"/>
              </a:cxn>
              <a:cxn ang="0">
                <a:pos x="2669" y="1321"/>
              </a:cxn>
              <a:cxn ang="0">
                <a:pos x="2597" y="1317"/>
              </a:cxn>
              <a:cxn ang="0">
                <a:pos x="2446" y="1303"/>
              </a:cxn>
              <a:cxn ang="0">
                <a:pos x="2180" y="1352"/>
              </a:cxn>
              <a:cxn ang="0">
                <a:pos x="2076" y="1418"/>
              </a:cxn>
              <a:cxn ang="0">
                <a:pos x="1956" y="1410"/>
              </a:cxn>
              <a:cxn ang="0">
                <a:pos x="2048" y="1337"/>
              </a:cxn>
              <a:cxn ang="0">
                <a:pos x="1872" y="1208"/>
              </a:cxn>
              <a:cxn ang="0">
                <a:pos x="1799" y="1195"/>
              </a:cxn>
              <a:cxn ang="0">
                <a:pos x="1531" y="1146"/>
              </a:cxn>
              <a:cxn ang="0">
                <a:pos x="547" y="1123"/>
              </a:cxn>
              <a:cxn ang="0">
                <a:pos x="436" y="1015"/>
              </a:cxn>
              <a:cxn ang="0">
                <a:pos x="365" y="849"/>
              </a:cxn>
              <a:cxn ang="0">
                <a:pos x="99" y="692"/>
              </a:cxn>
            </a:cxnLst>
            <a:rect l="0" t="0" r="r" b="b"/>
            <a:pathLst>
              <a:path w="2850" h="1454">
                <a:moveTo>
                  <a:pt x="0" y="645"/>
                </a:moveTo>
                <a:lnTo>
                  <a:pt x="0" y="135"/>
                </a:lnTo>
                <a:lnTo>
                  <a:pt x="227" y="202"/>
                </a:lnTo>
                <a:lnTo>
                  <a:pt x="214" y="175"/>
                </a:lnTo>
                <a:lnTo>
                  <a:pt x="238" y="158"/>
                </a:lnTo>
                <a:lnTo>
                  <a:pt x="376" y="103"/>
                </a:lnTo>
                <a:lnTo>
                  <a:pt x="269" y="171"/>
                </a:lnTo>
                <a:lnTo>
                  <a:pt x="331" y="151"/>
                </a:lnTo>
                <a:lnTo>
                  <a:pt x="331" y="165"/>
                </a:lnTo>
                <a:lnTo>
                  <a:pt x="447" y="105"/>
                </a:lnTo>
                <a:lnTo>
                  <a:pt x="431" y="85"/>
                </a:lnTo>
                <a:lnTo>
                  <a:pt x="507" y="157"/>
                </a:lnTo>
                <a:lnTo>
                  <a:pt x="555" y="114"/>
                </a:lnTo>
                <a:lnTo>
                  <a:pt x="551" y="157"/>
                </a:lnTo>
                <a:lnTo>
                  <a:pt x="611" y="127"/>
                </a:lnTo>
                <a:lnTo>
                  <a:pt x="781" y="179"/>
                </a:lnTo>
                <a:lnTo>
                  <a:pt x="857" y="178"/>
                </a:lnTo>
                <a:lnTo>
                  <a:pt x="901" y="208"/>
                </a:lnTo>
                <a:lnTo>
                  <a:pt x="849" y="234"/>
                </a:lnTo>
                <a:lnTo>
                  <a:pt x="879" y="245"/>
                </a:lnTo>
                <a:lnTo>
                  <a:pt x="1032" y="231"/>
                </a:lnTo>
                <a:lnTo>
                  <a:pt x="1099" y="274"/>
                </a:lnTo>
                <a:lnTo>
                  <a:pt x="1108" y="303"/>
                </a:lnTo>
                <a:lnTo>
                  <a:pt x="1125" y="284"/>
                </a:lnTo>
                <a:lnTo>
                  <a:pt x="1099" y="245"/>
                </a:lnTo>
                <a:lnTo>
                  <a:pt x="1171" y="197"/>
                </a:lnTo>
                <a:lnTo>
                  <a:pt x="1101" y="227"/>
                </a:lnTo>
                <a:lnTo>
                  <a:pt x="1076" y="213"/>
                </a:lnTo>
                <a:lnTo>
                  <a:pt x="1163" y="176"/>
                </a:lnTo>
                <a:lnTo>
                  <a:pt x="1209" y="229"/>
                </a:lnTo>
                <a:lnTo>
                  <a:pt x="1259" y="227"/>
                </a:lnTo>
                <a:lnTo>
                  <a:pt x="1290" y="251"/>
                </a:lnTo>
                <a:lnTo>
                  <a:pt x="1424" y="245"/>
                </a:lnTo>
                <a:lnTo>
                  <a:pt x="1420" y="229"/>
                </a:lnTo>
                <a:lnTo>
                  <a:pt x="1457" y="259"/>
                </a:lnTo>
                <a:lnTo>
                  <a:pt x="1462" y="234"/>
                </a:lnTo>
                <a:lnTo>
                  <a:pt x="1433" y="242"/>
                </a:lnTo>
                <a:lnTo>
                  <a:pt x="1411" y="212"/>
                </a:lnTo>
                <a:lnTo>
                  <a:pt x="1461" y="208"/>
                </a:lnTo>
                <a:lnTo>
                  <a:pt x="1480" y="231"/>
                </a:lnTo>
                <a:lnTo>
                  <a:pt x="1499" y="224"/>
                </a:lnTo>
                <a:lnTo>
                  <a:pt x="1491" y="260"/>
                </a:lnTo>
                <a:lnTo>
                  <a:pt x="1527" y="279"/>
                </a:lnTo>
                <a:lnTo>
                  <a:pt x="1517" y="229"/>
                </a:lnTo>
                <a:lnTo>
                  <a:pt x="1584" y="200"/>
                </a:lnTo>
                <a:lnTo>
                  <a:pt x="1567" y="175"/>
                </a:lnTo>
                <a:lnTo>
                  <a:pt x="1547" y="193"/>
                </a:lnTo>
                <a:lnTo>
                  <a:pt x="1580" y="149"/>
                </a:lnTo>
                <a:lnTo>
                  <a:pt x="1484" y="117"/>
                </a:lnTo>
                <a:lnTo>
                  <a:pt x="1494" y="43"/>
                </a:lnTo>
                <a:lnTo>
                  <a:pt x="1517" y="44"/>
                </a:lnTo>
                <a:lnTo>
                  <a:pt x="1530" y="0"/>
                </a:lnTo>
                <a:lnTo>
                  <a:pt x="1602" y="43"/>
                </a:lnTo>
                <a:lnTo>
                  <a:pt x="1604" y="70"/>
                </a:lnTo>
                <a:lnTo>
                  <a:pt x="1653" y="109"/>
                </a:lnTo>
                <a:lnTo>
                  <a:pt x="1622" y="107"/>
                </a:lnTo>
                <a:lnTo>
                  <a:pt x="1635" y="121"/>
                </a:lnTo>
                <a:lnTo>
                  <a:pt x="1616" y="138"/>
                </a:lnTo>
                <a:lnTo>
                  <a:pt x="1675" y="149"/>
                </a:lnTo>
                <a:lnTo>
                  <a:pt x="1657" y="157"/>
                </a:lnTo>
                <a:lnTo>
                  <a:pt x="1692" y="220"/>
                </a:lnTo>
                <a:lnTo>
                  <a:pt x="1722" y="164"/>
                </a:lnTo>
                <a:lnTo>
                  <a:pt x="1765" y="186"/>
                </a:lnTo>
                <a:lnTo>
                  <a:pt x="1776" y="223"/>
                </a:lnTo>
                <a:lnTo>
                  <a:pt x="1755" y="234"/>
                </a:lnTo>
                <a:lnTo>
                  <a:pt x="1793" y="279"/>
                </a:lnTo>
                <a:lnTo>
                  <a:pt x="1817" y="268"/>
                </a:lnTo>
                <a:lnTo>
                  <a:pt x="1847" y="198"/>
                </a:lnTo>
                <a:lnTo>
                  <a:pt x="1881" y="191"/>
                </a:lnTo>
                <a:lnTo>
                  <a:pt x="1855" y="131"/>
                </a:lnTo>
                <a:lnTo>
                  <a:pt x="1950" y="136"/>
                </a:lnTo>
                <a:lnTo>
                  <a:pt x="1990" y="171"/>
                </a:lnTo>
                <a:lnTo>
                  <a:pt x="1975" y="189"/>
                </a:lnTo>
                <a:lnTo>
                  <a:pt x="1993" y="198"/>
                </a:lnTo>
                <a:lnTo>
                  <a:pt x="1951" y="209"/>
                </a:lnTo>
                <a:lnTo>
                  <a:pt x="1989" y="286"/>
                </a:lnTo>
                <a:lnTo>
                  <a:pt x="1927" y="328"/>
                </a:lnTo>
                <a:lnTo>
                  <a:pt x="1905" y="308"/>
                </a:lnTo>
                <a:lnTo>
                  <a:pt x="1914" y="336"/>
                </a:lnTo>
                <a:lnTo>
                  <a:pt x="1818" y="317"/>
                </a:lnTo>
                <a:lnTo>
                  <a:pt x="1837" y="343"/>
                </a:lnTo>
                <a:lnTo>
                  <a:pt x="1799" y="381"/>
                </a:lnTo>
                <a:lnTo>
                  <a:pt x="1701" y="351"/>
                </a:lnTo>
                <a:lnTo>
                  <a:pt x="1737" y="383"/>
                </a:lnTo>
                <a:lnTo>
                  <a:pt x="1807" y="389"/>
                </a:lnTo>
                <a:lnTo>
                  <a:pt x="1759" y="453"/>
                </a:lnTo>
                <a:lnTo>
                  <a:pt x="1707" y="449"/>
                </a:lnTo>
                <a:lnTo>
                  <a:pt x="1682" y="483"/>
                </a:lnTo>
                <a:lnTo>
                  <a:pt x="1590" y="454"/>
                </a:lnTo>
                <a:lnTo>
                  <a:pt x="1675" y="483"/>
                </a:lnTo>
                <a:lnTo>
                  <a:pt x="1685" y="509"/>
                </a:lnTo>
                <a:lnTo>
                  <a:pt x="1622" y="520"/>
                </a:lnTo>
                <a:lnTo>
                  <a:pt x="1635" y="527"/>
                </a:lnTo>
                <a:lnTo>
                  <a:pt x="1617" y="528"/>
                </a:lnTo>
                <a:lnTo>
                  <a:pt x="1617" y="554"/>
                </a:lnTo>
                <a:lnTo>
                  <a:pt x="1549" y="590"/>
                </a:lnTo>
                <a:lnTo>
                  <a:pt x="1535" y="707"/>
                </a:lnTo>
                <a:lnTo>
                  <a:pt x="1561" y="733"/>
                </a:lnTo>
                <a:lnTo>
                  <a:pt x="1597" y="718"/>
                </a:lnTo>
                <a:lnTo>
                  <a:pt x="1613" y="808"/>
                </a:lnTo>
                <a:lnTo>
                  <a:pt x="1667" y="790"/>
                </a:lnTo>
                <a:lnTo>
                  <a:pt x="1729" y="814"/>
                </a:lnTo>
                <a:lnTo>
                  <a:pt x="1857" y="879"/>
                </a:lnTo>
                <a:lnTo>
                  <a:pt x="1847" y="905"/>
                </a:lnTo>
                <a:lnTo>
                  <a:pt x="1861" y="886"/>
                </a:lnTo>
                <a:lnTo>
                  <a:pt x="1957" y="891"/>
                </a:lnTo>
                <a:lnTo>
                  <a:pt x="1957" y="989"/>
                </a:lnTo>
                <a:lnTo>
                  <a:pt x="1987" y="1022"/>
                </a:lnTo>
                <a:lnTo>
                  <a:pt x="1965" y="1029"/>
                </a:lnTo>
                <a:lnTo>
                  <a:pt x="2013" y="1047"/>
                </a:lnTo>
                <a:lnTo>
                  <a:pt x="2000" y="1077"/>
                </a:lnTo>
                <a:lnTo>
                  <a:pt x="2045" y="1076"/>
                </a:lnTo>
                <a:lnTo>
                  <a:pt x="2108" y="1024"/>
                </a:lnTo>
                <a:lnTo>
                  <a:pt x="2081" y="1011"/>
                </a:lnTo>
                <a:lnTo>
                  <a:pt x="2045" y="919"/>
                </a:lnTo>
                <a:lnTo>
                  <a:pt x="2164" y="838"/>
                </a:lnTo>
                <a:lnTo>
                  <a:pt x="2147" y="838"/>
                </a:lnTo>
                <a:lnTo>
                  <a:pt x="2120" y="742"/>
                </a:lnTo>
                <a:lnTo>
                  <a:pt x="2078" y="718"/>
                </a:lnTo>
                <a:lnTo>
                  <a:pt x="2134" y="678"/>
                </a:lnTo>
                <a:lnTo>
                  <a:pt x="2114" y="658"/>
                </a:lnTo>
                <a:lnTo>
                  <a:pt x="2123" y="623"/>
                </a:lnTo>
                <a:lnTo>
                  <a:pt x="2098" y="618"/>
                </a:lnTo>
                <a:lnTo>
                  <a:pt x="2123" y="582"/>
                </a:lnTo>
                <a:lnTo>
                  <a:pt x="2096" y="560"/>
                </a:lnTo>
                <a:lnTo>
                  <a:pt x="2111" y="530"/>
                </a:lnTo>
                <a:lnTo>
                  <a:pt x="2202" y="550"/>
                </a:lnTo>
                <a:lnTo>
                  <a:pt x="2241" y="534"/>
                </a:lnTo>
                <a:lnTo>
                  <a:pt x="2318" y="582"/>
                </a:lnTo>
                <a:lnTo>
                  <a:pt x="2318" y="603"/>
                </a:lnTo>
                <a:lnTo>
                  <a:pt x="2384" y="607"/>
                </a:lnTo>
                <a:lnTo>
                  <a:pt x="2390" y="655"/>
                </a:lnTo>
                <a:lnTo>
                  <a:pt x="2331" y="656"/>
                </a:lnTo>
                <a:lnTo>
                  <a:pt x="2382" y="665"/>
                </a:lnTo>
                <a:lnTo>
                  <a:pt x="2398" y="693"/>
                </a:lnTo>
                <a:lnTo>
                  <a:pt x="2344" y="735"/>
                </a:lnTo>
                <a:lnTo>
                  <a:pt x="2423" y="714"/>
                </a:lnTo>
                <a:lnTo>
                  <a:pt x="2427" y="750"/>
                </a:lnTo>
                <a:lnTo>
                  <a:pt x="2393" y="765"/>
                </a:lnTo>
                <a:lnTo>
                  <a:pt x="2441" y="728"/>
                </a:lnTo>
                <a:lnTo>
                  <a:pt x="2446" y="751"/>
                </a:lnTo>
                <a:lnTo>
                  <a:pt x="2492" y="715"/>
                </a:lnTo>
                <a:lnTo>
                  <a:pt x="2500" y="735"/>
                </a:lnTo>
                <a:lnTo>
                  <a:pt x="2531" y="684"/>
                </a:lnTo>
                <a:lnTo>
                  <a:pt x="2520" y="674"/>
                </a:lnTo>
                <a:lnTo>
                  <a:pt x="2556" y="645"/>
                </a:lnTo>
                <a:lnTo>
                  <a:pt x="2596" y="699"/>
                </a:lnTo>
                <a:lnTo>
                  <a:pt x="2562" y="711"/>
                </a:lnTo>
                <a:lnTo>
                  <a:pt x="2599" y="704"/>
                </a:lnTo>
                <a:lnTo>
                  <a:pt x="2612" y="726"/>
                </a:lnTo>
                <a:lnTo>
                  <a:pt x="2588" y="733"/>
                </a:lnTo>
                <a:lnTo>
                  <a:pt x="2621" y="737"/>
                </a:lnTo>
                <a:lnTo>
                  <a:pt x="2599" y="754"/>
                </a:lnTo>
                <a:lnTo>
                  <a:pt x="2622" y="750"/>
                </a:lnTo>
                <a:lnTo>
                  <a:pt x="2640" y="773"/>
                </a:lnTo>
                <a:lnTo>
                  <a:pt x="2628" y="784"/>
                </a:lnTo>
                <a:lnTo>
                  <a:pt x="2661" y="803"/>
                </a:lnTo>
                <a:lnTo>
                  <a:pt x="2608" y="823"/>
                </a:lnTo>
                <a:lnTo>
                  <a:pt x="2647" y="823"/>
                </a:lnTo>
                <a:lnTo>
                  <a:pt x="2639" y="842"/>
                </a:lnTo>
                <a:lnTo>
                  <a:pt x="2695" y="860"/>
                </a:lnTo>
                <a:lnTo>
                  <a:pt x="2716" y="904"/>
                </a:lnTo>
                <a:lnTo>
                  <a:pt x="2736" y="887"/>
                </a:lnTo>
                <a:lnTo>
                  <a:pt x="2792" y="918"/>
                </a:lnTo>
                <a:lnTo>
                  <a:pt x="2670" y="956"/>
                </a:lnTo>
                <a:lnTo>
                  <a:pt x="2695" y="977"/>
                </a:lnTo>
                <a:lnTo>
                  <a:pt x="2798" y="934"/>
                </a:lnTo>
                <a:lnTo>
                  <a:pt x="2798" y="970"/>
                </a:lnTo>
                <a:lnTo>
                  <a:pt x="2845" y="963"/>
                </a:lnTo>
                <a:lnTo>
                  <a:pt x="2850" y="981"/>
                </a:lnTo>
                <a:lnTo>
                  <a:pt x="2828" y="981"/>
                </a:lnTo>
                <a:lnTo>
                  <a:pt x="2850" y="1025"/>
                </a:lnTo>
                <a:lnTo>
                  <a:pt x="2706" y="1110"/>
                </a:lnTo>
                <a:lnTo>
                  <a:pt x="2497" y="1110"/>
                </a:lnTo>
                <a:lnTo>
                  <a:pt x="2409" y="1169"/>
                </a:lnTo>
                <a:lnTo>
                  <a:pt x="2338" y="1256"/>
                </a:lnTo>
                <a:lnTo>
                  <a:pt x="2409" y="1190"/>
                </a:lnTo>
                <a:lnTo>
                  <a:pt x="2522" y="1151"/>
                </a:lnTo>
                <a:lnTo>
                  <a:pt x="2562" y="1182"/>
                </a:lnTo>
                <a:lnTo>
                  <a:pt x="2489" y="1205"/>
                </a:lnTo>
                <a:lnTo>
                  <a:pt x="2546" y="1217"/>
                </a:lnTo>
                <a:lnTo>
                  <a:pt x="2531" y="1244"/>
                </a:lnTo>
                <a:lnTo>
                  <a:pt x="2575" y="1292"/>
                </a:lnTo>
                <a:lnTo>
                  <a:pt x="2663" y="1310"/>
                </a:lnTo>
                <a:lnTo>
                  <a:pt x="2687" y="1249"/>
                </a:lnTo>
                <a:lnTo>
                  <a:pt x="2687" y="1286"/>
                </a:lnTo>
                <a:lnTo>
                  <a:pt x="2710" y="1282"/>
                </a:lnTo>
                <a:lnTo>
                  <a:pt x="2669" y="1321"/>
                </a:lnTo>
                <a:lnTo>
                  <a:pt x="2566" y="1347"/>
                </a:lnTo>
                <a:lnTo>
                  <a:pt x="2529" y="1392"/>
                </a:lnTo>
                <a:lnTo>
                  <a:pt x="2500" y="1352"/>
                </a:lnTo>
                <a:lnTo>
                  <a:pt x="2597" y="1317"/>
                </a:lnTo>
                <a:lnTo>
                  <a:pt x="2546" y="1318"/>
                </a:lnTo>
                <a:lnTo>
                  <a:pt x="2556" y="1292"/>
                </a:lnTo>
                <a:lnTo>
                  <a:pt x="2471" y="1322"/>
                </a:lnTo>
                <a:lnTo>
                  <a:pt x="2446" y="1303"/>
                </a:lnTo>
                <a:lnTo>
                  <a:pt x="2446" y="1249"/>
                </a:lnTo>
                <a:lnTo>
                  <a:pt x="2391" y="1231"/>
                </a:lnTo>
                <a:lnTo>
                  <a:pt x="2350" y="1319"/>
                </a:lnTo>
                <a:lnTo>
                  <a:pt x="2180" y="1352"/>
                </a:lnTo>
                <a:lnTo>
                  <a:pt x="2063" y="1385"/>
                </a:lnTo>
                <a:lnTo>
                  <a:pt x="2044" y="1402"/>
                </a:lnTo>
                <a:lnTo>
                  <a:pt x="2070" y="1406"/>
                </a:lnTo>
                <a:lnTo>
                  <a:pt x="2076" y="1418"/>
                </a:lnTo>
                <a:lnTo>
                  <a:pt x="1934" y="1454"/>
                </a:lnTo>
                <a:lnTo>
                  <a:pt x="1942" y="1438"/>
                </a:lnTo>
                <a:lnTo>
                  <a:pt x="1951" y="1427"/>
                </a:lnTo>
                <a:lnTo>
                  <a:pt x="1956" y="1410"/>
                </a:lnTo>
                <a:lnTo>
                  <a:pt x="1978" y="1398"/>
                </a:lnTo>
                <a:lnTo>
                  <a:pt x="1982" y="1321"/>
                </a:lnTo>
                <a:lnTo>
                  <a:pt x="2006" y="1347"/>
                </a:lnTo>
                <a:lnTo>
                  <a:pt x="2048" y="1337"/>
                </a:lnTo>
                <a:lnTo>
                  <a:pt x="2012" y="1292"/>
                </a:lnTo>
                <a:lnTo>
                  <a:pt x="1890" y="1270"/>
                </a:lnTo>
                <a:lnTo>
                  <a:pt x="1884" y="1270"/>
                </a:lnTo>
                <a:lnTo>
                  <a:pt x="1872" y="1208"/>
                </a:lnTo>
                <a:lnTo>
                  <a:pt x="1847" y="1212"/>
                </a:lnTo>
                <a:lnTo>
                  <a:pt x="1825" y="1176"/>
                </a:lnTo>
                <a:lnTo>
                  <a:pt x="1799" y="1173"/>
                </a:lnTo>
                <a:lnTo>
                  <a:pt x="1799" y="1195"/>
                </a:lnTo>
                <a:lnTo>
                  <a:pt x="1767" y="1164"/>
                </a:lnTo>
                <a:lnTo>
                  <a:pt x="1710" y="1208"/>
                </a:lnTo>
                <a:lnTo>
                  <a:pt x="1552" y="1176"/>
                </a:lnTo>
                <a:lnTo>
                  <a:pt x="1531" y="1146"/>
                </a:lnTo>
                <a:lnTo>
                  <a:pt x="1530" y="1165"/>
                </a:lnTo>
                <a:lnTo>
                  <a:pt x="610" y="1165"/>
                </a:lnTo>
                <a:lnTo>
                  <a:pt x="596" y="1132"/>
                </a:lnTo>
                <a:lnTo>
                  <a:pt x="547" y="1123"/>
                </a:lnTo>
                <a:lnTo>
                  <a:pt x="550" y="1101"/>
                </a:lnTo>
                <a:lnTo>
                  <a:pt x="447" y="1072"/>
                </a:lnTo>
                <a:lnTo>
                  <a:pt x="459" y="1057"/>
                </a:lnTo>
                <a:lnTo>
                  <a:pt x="436" y="1015"/>
                </a:lnTo>
                <a:lnTo>
                  <a:pt x="409" y="1011"/>
                </a:lnTo>
                <a:lnTo>
                  <a:pt x="353" y="925"/>
                </a:lnTo>
                <a:lnTo>
                  <a:pt x="363" y="897"/>
                </a:lnTo>
                <a:lnTo>
                  <a:pt x="365" y="849"/>
                </a:lnTo>
                <a:lnTo>
                  <a:pt x="302" y="823"/>
                </a:lnTo>
                <a:lnTo>
                  <a:pt x="184" y="669"/>
                </a:lnTo>
                <a:lnTo>
                  <a:pt x="117" y="713"/>
                </a:lnTo>
                <a:lnTo>
                  <a:pt x="99" y="692"/>
                </a:lnTo>
                <a:lnTo>
                  <a:pt x="95" y="688"/>
                </a:lnTo>
                <a:lnTo>
                  <a:pt x="62" y="645"/>
                </a:lnTo>
                <a:lnTo>
                  <a:pt x="0" y="64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8" name="30428289.5132.755.3759.3755">
            <a:extLst>
              <a:ext uri="{FF2B5EF4-FFF2-40B4-BE49-F238E27FC236}">
                <a16:creationId xmlns:a16="http://schemas.microsoft.com/office/drawing/2014/main" id="{9221122B-0B15-5243-91A0-43964C5A0BE0}"/>
              </a:ext>
            </a:extLst>
          </p:cNvPr>
          <p:cNvSpPr>
            <a:spLocks noChangeAspect="1"/>
          </p:cNvSpPr>
          <p:nvPr/>
        </p:nvSpPr>
        <p:spPr bwMode="gray">
          <a:xfrm>
            <a:off x="1801119" y="2988773"/>
            <a:ext cx="152160" cy="85783"/>
          </a:xfrm>
          <a:custGeom>
            <a:avLst/>
            <a:gdLst/>
            <a:ahLst/>
            <a:cxnLst>
              <a:cxn ang="0">
                <a:pos x="0" y="0"/>
              </a:cxn>
              <a:cxn ang="0">
                <a:pos x="90" y="19"/>
              </a:cxn>
              <a:cxn ang="0">
                <a:pos x="167" y="96"/>
              </a:cxn>
              <a:cxn ang="0">
                <a:pos x="122" y="81"/>
              </a:cxn>
              <a:cxn ang="0">
                <a:pos x="0" y="0"/>
              </a:cxn>
            </a:cxnLst>
            <a:rect l="0" t="0" r="r" b="b"/>
            <a:pathLst>
              <a:path w="167" h="96">
                <a:moveTo>
                  <a:pt x="0" y="0"/>
                </a:moveTo>
                <a:lnTo>
                  <a:pt x="90" y="19"/>
                </a:lnTo>
                <a:lnTo>
                  <a:pt x="167" y="96"/>
                </a:lnTo>
                <a:lnTo>
                  <a:pt x="122" y="81"/>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59" name="30429218.75137.2512.2519.6255">
            <a:extLst>
              <a:ext uri="{FF2B5EF4-FFF2-40B4-BE49-F238E27FC236}">
                <a16:creationId xmlns:a16="http://schemas.microsoft.com/office/drawing/2014/main" id="{9C69EE97-F6E9-5F4D-94E2-85518C9F9F33}"/>
              </a:ext>
            </a:extLst>
          </p:cNvPr>
          <p:cNvSpPr>
            <a:spLocks noChangeAspect="1"/>
          </p:cNvSpPr>
          <p:nvPr/>
        </p:nvSpPr>
        <p:spPr bwMode="gray">
          <a:xfrm>
            <a:off x="1873391" y="1841655"/>
            <a:ext cx="313830" cy="198475"/>
          </a:xfrm>
          <a:custGeom>
            <a:avLst/>
            <a:gdLst/>
            <a:ahLst/>
            <a:cxnLst>
              <a:cxn ang="0">
                <a:pos x="0" y="164"/>
              </a:cxn>
              <a:cxn ang="0">
                <a:pos x="15" y="136"/>
              </a:cxn>
              <a:cxn ang="0">
                <a:pos x="65" y="46"/>
              </a:cxn>
              <a:cxn ang="0">
                <a:pos x="42" y="8"/>
              </a:cxn>
              <a:cxn ang="0">
                <a:pos x="150" y="0"/>
              </a:cxn>
              <a:cxn ang="0">
                <a:pos x="224" y="36"/>
              </a:cxn>
              <a:cxn ang="0">
                <a:pos x="274" y="15"/>
              </a:cxn>
              <a:cxn ang="0">
                <a:pos x="349" y="66"/>
              </a:cxn>
              <a:cxn ang="0">
                <a:pos x="189" y="146"/>
              </a:cxn>
              <a:cxn ang="0">
                <a:pos x="175" y="194"/>
              </a:cxn>
              <a:cxn ang="0">
                <a:pos x="96" y="217"/>
              </a:cxn>
              <a:cxn ang="0">
                <a:pos x="61" y="179"/>
              </a:cxn>
              <a:cxn ang="0">
                <a:pos x="0" y="164"/>
              </a:cxn>
            </a:cxnLst>
            <a:rect l="0" t="0" r="r" b="b"/>
            <a:pathLst>
              <a:path w="349" h="217">
                <a:moveTo>
                  <a:pt x="0" y="164"/>
                </a:moveTo>
                <a:lnTo>
                  <a:pt x="15" y="136"/>
                </a:lnTo>
                <a:lnTo>
                  <a:pt x="65" y="46"/>
                </a:lnTo>
                <a:lnTo>
                  <a:pt x="42" y="8"/>
                </a:lnTo>
                <a:lnTo>
                  <a:pt x="150" y="0"/>
                </a:lnTo>
                <a:lnTo>
                  <a:pt x="224" y="36"/>
                </a:lnTo>
                <a:lnTo>
                  <a:pt x="274" y="15"/>
                </a:lnTo>
                <a:lnTo>
                  <a:pt x="349" y="66"/>
                </a:lnTo>
                <a:lnTo>
                  <a:pt x="189" y="146"/>
                </a:lnTo>
                <a:lnTo>
                  <a:pt x="175" y="194"/>
                </a:lnTo>
                <a:lnTo>
                  <a:pt x="96" y="217"/>
                </a:lnTo>
                <a:lnTo>
                  <a:pt x="61" y="179"/>
                </a:lnTo>
                <a:lnTo>
                  <a:pt x="0" y="16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0" name="30430207.25142.8756.87513.755">
            <a:extLst>
              <a:ext uri="{FF2B5EF4-FFF2-40B4-BE49-F238E27FC236}">
                <a16:creationId xmlns:a16="http://schemas.microsoft.com/office/drawing/2014/main" id="{F6F01430-DB00-0C41-BDA2-29718CFCC20F}"/>
              </a:ext>
            </a:extLst>
          </p:cNvPr>
          <p:cNvSpPr>
            <a:spLocks noChangeAspect="1"/>
          </p:cNvSpPr>
          <p:nvPr/>
        </p:nvSpPr>
        <p:spPr bwMode="gray">
          <a:xfrm>
            <a:off x="1964689" y="1656636"/>
            <a:ext cx="218731" cy="109330"/>
          </a:xfrm>
          <a:custGeom>
            <a:avLst/>
            <a:gdLst/>
            <a:ahLst/>
            <a:cxnLst>
              <a:cxn ang="0">
                <a:pos x="0" y="93"/>
              </a:cxn>
              <a:cxn ang="0">
                <a:pos x="56" y="111"/>
              </a:cxn>
              <a:cxn ang="0">
                <a:pos x="70" y="92"/>
              </a:cxn>
              <a:cxn ang="0">
                <a:pos x="82" y="122"/>
              </a:cxn>
              <a:cxn ang="0">
                <a:pos x="108" y="110"/>
              </a:cxn>
              <a:cxn ang="0">
                <a:pos x="104" y="81"/>
              </a:cxn>
              <a:cxn ang="0">
                <a:pos x="130" y="97"/>
              </a:cxn>
              <a:cxn ang="0">
                <a:pos x="145" y="53"/>
              </a:cxn>
              <a:cxn ang="0">
                <a:pos x="167" y="50"/>
              </a:cxn>
              <a:cxn ang="0">
                <a:pos x="176" y="90"/>
              </a:cxn>
              <a:cxn ang="0">
                <a:pos x="228" y="60"/>
              </a:cxn>
              <a:cxn ang="0">
                <a:pos x="211" y="26"/>
              </a:cxn>
              <a:cxn ang="0">
                <a:pos x="244" y="17"/>
              </a:cxn>
              <a:cxn ang="0">
                <a:pos x="210" y="0"/>
              </a:cxn>
              <a:cxn ang="0">
                <a:pos x="121" y="17"/>
              </a:cxn>
              <a:cxn ang="0">
                <a:pos x="0" y="93"/>
              </a:cxn>
            </a:cxnLst>
            <a:rect l="0" t="0" r="r" b="b"/>
            <a:pathLst>
              <a:path w="244" h="122">
                <a:moveTo>
                  <a:pt x="0" y="93"/>
                </a:moveTo>
                <a:lnTo>
                  <a:pt x="56" y="111"/>
                </a:lnTo>
                <a:lnTo>
                  <a:pt x="70" y="92"/>
                </a:lnTo>
                <a:lnTo>
                  <a:pt x="82" y="122"/>
                </a:lnTo>
                <a:lnTo>
                  <a:pt x="108" y="110"/>
                </a:lnTo>
                <a:lnTo>
                  <a:pt x="104" y="81"/>
                </a:lnTo>
                <a:lnTo>
                  <a:pt x="130" y="97"/>
                </a:lnTo>
                <a:lnTo>
                  <a:pt x="145" y="53"/>
                </a:lnTo>
                <a:lnTo>
                  <a:pt x="167" y="50"/>
                </a:lnTo>
                <a:lnTo>
                  <a:pt x="176" y="90"/>
                </a:lnTo>
                <a:lnTo>
                  <a:pt x="228" y="60"/>
                </a:lnTo>
                <a:lnTo>
                  <a:pt x="211" y="26"/>
                </a:lnTo>
                <a:lnTo>
                  <a:pt x="244" y="17"/>
                </a:lnTo>
                <a:lnTo>
                  <a:pt x="210" y="0"/>
                </a:lnTo>
                <a:lnTo>
                  <a:pt x="121" y="17"/>
                </a:lnTo>
                <a:lnTo>
                  <a:pt x="0" y="9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1" name="30431223.125150.12516.625345">
            <a:extLst>
              <a:ext uri="{FF2B5EF4-FFF2-40B4-BE49-F238E27FC236}">
                <a16:creationId xmlns:a16="http://schemas.microsoft.com/office/drawing/2014/main" id="{6F4BEAE7-07A9-A340-9545-C3FEFAA147CA}"/>
              </a:ext>
            </a:extLst>
          </p:cNvPr>
          <p:cNvSpPr>
            <a:spLocks noChangeAspect="1"/>
          </p:cNvSpPr>
          <p:nvPr/>
        </p:nvSpPr>
        <p:spPr bwMode="gray">
          <a:xfrm>
            <a:off x="2078810" y="1912297"/>
            <a:ext cx="543976" cy="270801"/>
          </a:xfrm>
          <a:custGeom>
            <a:avLst/>
            <a:gdLst/>
            <a:ahLst/>
            <a:cxnLst>
              <a:cxn ang="0">
                <a:pos x="0" y="95"/>
              </a:cxn>
              <a:cxn ang="0">
                <a:pos x="30" y="72"/>
              </a:cxn>
              <a:cxn ang="0">
                <a:pos x="15" y="59"/>
              </a:cxn>
              <a:cxn ang="0">
                <a:pos x="87" y="17"/>
              </a:cxn>
              <a:cxn ang="0">
                <a:pos x="146" y="0"/>
              </a:cxn>
              <a:cxn ang="0">
                <a:pos x="165" y="30"/>
              </a:cxn>
              <a:cxn ang="0">
                <a:pos x="144" y="48"/>
              </a:cxn>
              <a:cxn ang="0">
                <a:pos x="198" y="24"/>
              </a:cxn>
              <a:cxn ang="0">
                <a:pos x="257" y="44"/>
              </a:cxn>
              <a:cxn ang="0">
                <a:pos x="235" y="66"/>
              </a:cxn>
              <a:cxn ang="0">
                <a:pos x="304" y="51"/>
              </a:cxn>
              <a:cxn ang="0">
                <a:pos x="285" y="26"/>
              </a:cxn>
              <a:cxn ang="0">
                <a:pos x="312" y="29"/>
              </a:cxn>
              <a:cxn ang="0">
                <a:pos x="366" y="109"/>
              </a:cxn>
              <a:cxn ang="0">
                <a:pos x="385" y="90"/>
              </a:cxn>
              <a:cxn ang="0">
                <a:pos x="363" y="3"/>
              </a:cxn>
              <a:cxn ang="0">
                <a:pos x="407" y="4"/>
              </a:cxn>
              <a:cxn ang="0">
                <a:pos x="455" y="35"/>
              </a:cxn>
              <a:cxn ang="0">
                <a:pos x="483" y="143"/>
              </a:cxn>
              <a:cxn ang="0">
                <a:pos x="602" y="195"/>
              </a:cxn>
              <a:cxn ang="0">
                <a:pos x="601" y="224"/>
              </a:cxn>
              <a:cxn ang="0">
                <a:pos x="568" y="212"/>
              </a:cxn>
              <a:cxn ang="0">
                <a:pos x="532" y="231"/>
              </a:cxn>
              <a:cxn ang="0">
                <a:pos x="583" y="255"/>
              </a:cxn>
              <a:cxn ang="0">
                <a:pos x="536" y="279"/>
              </a:cxn>
              <a:cxn ang="0">
                <a:pos x="459" y="267"/>
              </a:cxn>
              <a:cxn ang="0">
                <a:pos x="414" y="237"/>
              </a:cxn>
              <a:cxn ang="0">
                <a:pos x="315" y="286"/>
              </a:cxn>
              <a:cxn ang="0">
                <a:pos x="191" y="296"/>
              </a:cxn>
              <a:cxn ang="0">
                <a:pos x="166" y="249"/>
              </a:cxn>
              <a:cxn ang="0">
                <a:pos x="98" y="246"/>
              </a:cxn>
              <a:cxn ang="0">
                <a:pos x="54" y="206"/>
              </a:cxn>
              <a:cxn ang="0">
                <a:pos x="228" y="182"/>
              </a:cxn>
              <a:cxn ang="0">
                <a:pos x="47" y="169"/>
              </a:cxn>
              <a:cxn ang="0">
                <a:pos x="24" y="145"/>
              </a:cxn>
              <a:cxn ang="0">
                <a:pos x="117" y="117"/>
              </a:cxn>
              <a:cxn ang="0">
                <a:pos x="30" y="121"/>
              </a:cxn>
              <a:cxn ang="0">
                <a:pos x="37" y="109"/>
              </a:cxn>
              <a:cxn ang="0">
                <a:pos x="0" y="95"/>
              </a:cxn>
            </a:cxnLst>
            <a:rect l="0" t="0" r="r" b="b"/>
            <a:pathLst>
              <a:path w="602" h="296">
                <a:moveTo>
                  <a:pt x="0" y="95"/>
                </a:moveTo>
                <a:lnTo>
                  <a:pt x="30" y="72"/>
                </a:lnTo>
                <a:lnTo>
                  <a:pt x="15" y="59"/>
                </a:lnTo>
                <a:lnTo>
                  <a:pt x="87" y="17"/>
                </a:lnTo>
                <a:lnTo>
                  <a:pt x="146" y="0"/>
                </a:lnTo>
                <a:lnTo>
                  <a:pt x="165" y="30"/>
                </a:lnTo>
                <a:lnTo>
                  <a:pt x="144" y="48"/>
                </a:lnTo>
                <a:lnTo>
                  <a:pt x="198" y="24"/>
                </a:lnTo>
                <a:lnTo>
                  <a:pt x="257" y="44"/>
                </a:lnTo>
                <a:lnTo>
                  <a:pt x="235" y="66"/>
                </a:lnTo>
                <a:lnTo>
                  <a:pt x="304" y="51"/>
                </a:lnTo>
                <a:lnTo>
                  <a:pt x="285" y="26"/>
                </a:lnTo>
                <a:lnTo>
                  <a:pt x="312" y="29"/>
                </a:lnTo>
                <a:lnTo>
                  <a:pt x="366" y="109"/>
                </a:lnTo>
                <a:lnTo>
                  <a:pt x="385" y="90"/>
                </a:lnTo>
                <a:lnTo>
                  <a:pt x="363" y="3"/>
                </a:lnTo>
                <a:lnTo>
                  <a:pt x="407" y="4"/>
                </a:lnTo>
                <a:lnTo>
                  <a:pt x="455" y="35"/>
                </a:lnTo>
                <a:lnTo>
                  <a:pt x="483" y="143"/>
                </a:lnTo>
                <a:lnTo>
                  <a:pt x="602" y="195"/>
                </a:lnTo>
                <a:lnTo>
                  <a:pt x="601" y="224"/>
                </a:lnTo>
                <a:lnTo>
                  <a:pt x="568" y="212"/>
                </a:lnTo>
                <a:lnTo>
                  <a:pt x="532" y="231"/>
                </a:lnTo>
                <a:lnTo>
                  <a:pt x="583" y="255"/>
                </a:lnTo>
                <a:lnTo>
                  <a:pt x="536" y="279"/>
                </a:lnTo>
                <a:lnTo>
                  <a:pt x="459" y="267"/>
                </a:lnTo>
                <a:lnTo>
                  <a:pt x="414" y="237"/>
                </a:lnTo>
                <a:lnTo>
                  <a:pt x="315" y="286"/>
                </a:lnTo>
                <a:lnTo>
                  <a:pt x="191" y="296"/>
                </a:lnTo>
                <a:lnTo>
                  <a:pt x="166" y="249"/>
                </a:lnTo>
                <a:lnTo>
                  <a:pt x="98" y="246"/>
                </a:lnTo>
                <a:lnTo>
                  <a:pt x="54" y="206"/>
                </a:lnTo>
                <a:lnTo>
                  <a:pt x="228" y="182"/>
                </a:lnTo>
                <a:lnTo>
                  <a:pt x="47" y="169"/>
                </a:lnTo>
                <a:lnTo>
                  <a:pt x="24" y="145"/>
                </a:lnTo>
                <a:lnTo>
                  <a:pt x="117" y="117"/>
                </a:lnTo>
                <a:lnTo>
                  <a:pt x="30" y="121"/>
                </a:lnTo>
                <a:lnTo>
                  <a:pt x="37" y="109"/>
                </a:lnTo>
                <a:lnTo>
                  <a:pt x="0" y="9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2" name="30432209.875152.6259.125235">
            <a:extLst>
              <a:ext uri="{FF2B5EF4-FFF2-40B4-BE49-F238E27FC236}">
                <a16:creationId xmlns:a16="http://schemas.microsoft.com/office/drawing/2014/main" id="{CB0DD8B5-264B-5E41-863D-382B0648146E}"/>
              </a:ext>
            </a:extLst>
          </p:cNvPr>
          <p:cNvSpPr>
            <a:spLocks noChangeAspect="1"/>
          </p:cNvSpPr>
          <p:nvPr/>
        </p:nvSpPr>
        <p:spPr bwMode="gray">
          <a:xfrm>
            <a:off x="2120654" y="1698685"/>
            <a:ext cx="367089" cy="148015"/>
          </a:xfrm>
          <a:custGeom>
            <a:avLst/>
            <a:gdLst/>
            <a:ahLst/>
            <a:cxnLst>
              <a:cxn ang="0">
                <a:pos x="0" y="108"/>
              </a:cxn>
              <a:cxn ang="0">
                <a:pos x="15" y="95"/>
              </a:cxn>
              <a:cxn ang="0">
                <a:pos x="85" y="80"/>
              </a:cxn>
              <a:cxn ang="0">
                <a:pos x="15" y="83"/>
              </a:cxn>
              <a:cxn ang="0">
                <a:pos x="96" y="66"/>
              </a:cxn>
              <a:cxn ang="0">
                <a:pos x="30" y="66"/>
              </a:cxn>
              <a:cxn ang="0">
                <a:pos x="36" y="48"/>
              </a:cxn>
              <a:cxn ang="0">
                <a:pos x="99" y="47"/>
              </a:cxn>
              <a:cxn ang="0">
                <a:pos x="55" y="43"/>
              </a:cxn>
              <a:cxn ang="0">
                <a:pos x="89" y="26"/>
              </a:cxn>
              <a:cxn ang="0">
                <a:pos x="172" y="47"/>
              </a:cxn>
              <a:cxn ang="0">
                <a:pos x="213" y="88"/>
              </a:cxn>
              <a:cxn ang="0">
                <a:pos x="290" y="91"/>
              </a:cxn>
              <a:cxn ang="0">
                <a:pos x="260" y="66"/>
              </a:cxn>
              <a:cxn ang="0">
                <a:pos x="278" y="50"/>
              </a:cxn>
              <a:cxn ang="0">
                <a:pos x="243" y="31"/>
              </a:cxn>
              <a:cxn ang="0">
                <a:pos x="297" y="0"/>
              </a:cxn>
              <a:cxn ang="0">
                <a:pos x="320" y="36"/>
              </a:cxn>
              <a:cxn ang="0">
                <a:pos x="304" y="53"/>
              </a:cxn>
              <a:cxn ang="0">
                <a:pos x="334" y="58"/>
              </a:cxn>
              <a:cxn ang="0">
                <a:pos x="323" y="76"/>
              </a:cxn>
              <a:cxn ang="0">
                <a:pos x="362" y="81"/>
              </a:cxn>
              <a:cxn ang="0">
                <a:pos x="382" y="57"/>
              </a:cxn>
              <a:cxn ang="0">
                <a:pos x="408" y="86"/>
              </a:cxn>
              <a:cxn ang="0">
                <a:pos x="388" y="123"/>
              </a:cxn>
              <a:cxn ang="0">
                <a:pos x="300" y="120"/>
              </a:cxn>
              <a:cxn ang="0">
                <a:pos x="165" y="164"/>
              </a:cxn>
              <a:cxn ang="0">
                <a:pos x="110" y="141"/>
              </a:cxn>
              <a:cxn ang="0">
                <a:pos x="224" y="105"/>
              </a:cxn>
              <a:cxn ang="0">
                <a:pos x="127" y="127"/>
              </a:cxn>
              <a:cxn ang="0">
                <a:pos x="143" y="97"/>
              </a:cxn>
              <a:cxn ang="0">
                <a:pos x="94" y="128"/>
              </a:cxn>
              <a:cxn ang="0">
                <a:pos x="36" y="120"/>
              </a:cxn>
              <a:cxn ang="0">
                <a:pos x="0" y="108"/>
              </a:cxn>
            </a:cxnLst>
            <a:rect l="0" t="0" r="r" b="b"/>
            <a:pathLst>
              <a:path w="408" h="164">
                <a:moveTo>
                  <a:pt x="0" y="108"/>
                </a:moveTo>
                <a:lnTo>
                  <a:pt x="15" y="95"/>
                </a:lnTo>
                <a:lnTo>
                  <a:pt x="85" y="80"/>
                </a:lnTo>
                <a:lnTo>
                  <a:pt x="15" y="83"/>
                </a:lnTo>
                <a:lnTo>
                  <a:pt x="96" y="66"/>
                </a:lnTo>
                <a:lnTo>
                  <a:pt x="30" y="66"/>
                </a:lnTo>
                <a:lnTo>
                  <a:pt x="36" y="48"/>
                </a:lnTo>
                <a:lnTo>
                  <a:pt x="99" y="47"/>
                </a:lnTo>
                <a:lnTo>
                  <a:pt x="55" y="43"/>
                </a:lnTo>
                <a:lnTo>
                  <a:pt x="89" y="26"/>
                </a:lnTo>
                <a:lnTo>
                  <a:pt x="172" y="47"/>
                </a:lnTo>
                <a:lnTo>
                  <a:pt x="213" y="88"/>
                </a:lnTo>
                <a:lnTo>
                  <a:pt x="290" y="91"/>
                </a:lnTo>
                <a:lnTo>
                  <a:pt x="260" y="66"/>
                </a:lnTo>
                <a:lnTo>
                  <a:pt x="278" y="50"/>
                </a:lnTo>
                <a:lnTo>
                  <a:pt x="243" y="31"/>
                </a:lnTo>
                <a:lnTo>
                  <a:pt x="297" y="0"/>
                </a:lnTo>
                <a:lnTo>
                  <a:pt x="320" y="36"/>
                </a:lnTo>
                <a:lnTo>
                  <a:pt x="304" y="53"/>
                </a:lnTo>
                <a:lnTo>
                  <a:pt x="334" y="58"/>
                </a:lnTo>
                <a:lnTo>
                  <a:pt x="323" y="76"/>
                </a:lnTo>
                <a:lnTo>
                  <a:pt x="362" y="81"/>
                </a:lnTo>
                <a:lnTo>
                  <a:pt x="382" y="57"/>
                </a:lnTo>
                <a:lnTo>
                  <a:pt x="408" y="86"/>
                </a:lnTo>
                <a:lnTo>
                  <a:pt x="388" y="123"/>
                </a:lnTo>
                <a:lnTo>
                  <a:pt x="300" y="120"/>
                </a:lnTo>
                <a:lnTo>
                  <a:pt x="165" y="164"/>
                </a:lnTo>
                <a:lnTo>
                  <a:pt x="110" y="141"/>
                </a:lnTo>
                <a:lnTo>
                  <a:pt x="224" y="105"/>
                </a:lnTo>
                <a:lnTo>
                  <a:pt x="127" y="127"/>
                </a:lnTo>
                <a:lnTo>
                  <a:pt x="143" y="97"/>
                </a:lnTo>
                <a:lnTo>
                  <a:pt x="94" y="128"/>
                </a:lnTo>
                <a:lnTo>
                  <a:pt x="36" y="120"/>
                </a:lnTo>
                <a:lnTo>
                  <a:pt x="0" y="108"/>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3" name="30433200.25175.6255.7511.8755">
            <a:extLst>
              <a:ext uri="{FF2B5EF4-FFF2-40B4-BE49-F238E27FC236}">
                <a16:creationId xmlns:a16="http://schemas.microsoft.com/office/drawing/2014/main" id="{EF9DCD43-7D66-274B-945D-BA06EC45653E}"/>
              </a:ext>
            </a:extLst>
          </p:cNvPr>
          <p:cNvSpPr>
            <a:spLocks noChangeAspect="1"/>
          </p:cNvSpPr>
          <p:nvPr/>
        </p:nvSpPr>
        <p:spPr bwMode="gray">
          <a:xfrm>
            <a:off x="2487743" y="1543941"/>
            <a:ext cx="192103" cy="92509"/>
          </a:xfrm>
          <a:custGeom>
            <a:avLst/>
            <a:gdLst/>
            <a:ahLst/>
            <a:cxnLst>
              <a:cxn ang="0">
                <a:pos x="0" y="0"/>
              </a:cxn>
              <a:cxn ang="0">
                <a:pos x="18" y="36"/>
              </a:cxn>
              <a:cxn ang="0">
                <a:pos x="69" y="36"/>
              </a:cxn>
              <a:cxn ang="0">
                <a:pos x="52" y="44"/>
              </a:cxn>
              <a:cxn ang="0">
                <a:pos x="65" y="56"/>
              </a:cxn>
              <a:cxn ang="0">
                <a:pos x="19" y="62"/>
              </a:cxn>
              <a:cxn ang="0">
                <a:pos x="93" y="75"/>
              </a:cxn>
              <a:cxn ang="0">
                <a:pos x="212" y="102"/>
              </a:cxn>
              <a:cxn ang="0">
                <a:pos x="194" y="42"/>
              </a:cxn>
              <a:cxn ang="0">
                <a:pos x="109" y="8"/>
              </a:cxn>
              <a:cxn ang="0">
                <a:pos x="81" y="23"/>
              </a:cxn>
              <a:cxn ang="0">
                <a:pos x="73" y="0"/>
              </a:cxn>
              <a:cxn ang="0">
                <a:pos x="0" y="0"/>
              </a:cxn>
            </a:cxnLst>
            <a:rect l="0" t="0" r="r" b="b"/>
            <a:pathLst>
              <a:path w="212" h="102">
                <a:moveTo>
                  <a:pt x="0" y="0"/>
                </a:moveTo>
                <a:lnTo>
                  <a:pt x="18" y="36"/>
                </a:lnTo>
                <a:lnTo>
                  <a:pt x="69" y="36"/>
                </a:lnTo>
                <a:lnTo>
                  <a:pt x="52" y="44"/>
                </a:lnTo>
                <a:lnTo>
                  <a:pt x="65" y="56"/>
                </a:lnTo>
                <a:lnTo>
                  <a:pt x="19" y="62"/>
                </a:lnTo>
                <a:lnTo>
                  <a:pt x="93" y="75"/>
                </a:lnTo>
                <a:lnTo>
                  <a:pt x="212" y="102"/>
                </a:lnTo>
                <a:lnTo>
                  <a:pt x="194" y="42"/>
                </a:lnTo>
                <a:lnTo>
                  <a:pt x="109" y="8"/>
                </a:lnTo>
                <a:lnTo>
                  <a:pt x="81" y="23"/>
                </a:lnTo>
                <a:lnTo>
                  <a:pt x="73" y="0"/>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4" name="30434211.125181.255.8759.55">
            <a:extLst>
              <a:ext uri="{FF2B5EF4-FFF2-40B4-BE49-F238E27FC236}">
                <a16:creationId xmlns:a16="http://schemas.microsoft.com/office/drawing/2014/main" id="{756E5983-58CE-5D4A-A202-5BB8E8C93205}"/>
              </a:ext>
            </a:extLst>
          </p:cNvPr>
          <p:cNvSpPr>
            <a:spLocks noChangeAspect="1"/>
          </p:cNvSpPr>
          <p:nvPr/>
        </p:nvSpPr>
        <p:spPr bwMode="gray">
          <a:xfrm>
            <a:off x="2579037" y="1718868"/>
            <a:ext cx="152160" cy="95874"/>
          </a:xfrm>
          <a:custGeom>
            <a:avLst/>
            <a:gdLst/>
            <a:ahLst/>
            <a:cxnLst>
              <a:cxn ang="0">
                <a:pos x="0" y="67"/>
              </a:cxn>
              <a:cxn ang="0">
                <a:pos x="18" y="42"/>
              </a:cxn>
              <a:cxn ang="0">
                <a:pos x="51" y="46"/>
              </a:cxn>
              <a:cxn ang="0">
                <a:pos x="10" y="22"/>
              </a:cxn>
              <a:cxn ang="0">
                <a:pos x="19" y="7"/>
              </a:cxn>
              <a:cxn ang="0">
                <a:pos x="88" y="40"/>
              </a:cxn>
              <a:cxn ang="0">
                <a:pos x="49" y="4"/>
              </a:cxn>
              <a:cxn ang="0">
                <a:pos x="151" y="0"/>
              </a:cxn>
              <a:cxn ang="0">
                <a:pos x="169" y="75"/>
              </a:cxn>
              <a:cxn ang="0">
                <a:pos x="148" y="63"/>
              </a:cxn>
              <a:cxn ang="0">
                <a:pos x="147" y="103"/>
              </a:cxn>
              <a:cxn ang="0">
                <a:pos x="64" y="99"/>
              </a:cxn>
              <a:cxn ang="0">
                <a:pos x="81" y="88"/>
              </a:cxn>
              <a:cxn ang="0">
                <a:pos x="59" y="73"/>
              </a:cxn>
              <a:cxn ang="0">
                <a:pos x="118" y="52"/>
              </a:cxn>
              <a:cxn ang="0">
                <a:pos x="0" y="67"/>
              </a:cxn>
            </a:cxnLst>
            <a:rect l="0" t="0" r="r" b="b"/>
            <a:pathLst>
              <a:path w="169" h="103">
                <a:moveTo>
                  <a:pt x="0" y="67"/>
                </a:moveTo>
                <a:lnTo>
                  <a:pt x="18" y="42"/>
                </a:lnTo>
                <a:lnTo>
                  <a:pt x="51" y="46"/>
                </a:lnTo>
                <a:lnTo>
                  <a:pt x="10" y="22"/>
                </a:lnTo>
                <a:lnTo>
                  <a:pt x="19" y="7"/>
                </a:lnTo>
                <a:lnTo>
                  <a:pt x="88" y="40"/>
                </a:lnTo>
                <a:lnTo>
                  <a:pt x="49" y="4"/>
                </a:lnTo>
                <a:lnTo>
                  <a:pt x="151" y="0"/>
                </a:lnTo>
                <a:lnTo>
                  <a:pt x="169" y="75"/>
                </a:lnTo>
                <a:lnTo>
                  <a:pt x="148" y="63"/>
                </a:lnTo>
                <a:lnTo>
                  <a:pt x="147" y="103"/>
                </a:lnTo>
                <a:lnTo>
                  <a:pt x="64" y="99"/>
                </a:lnTo>
                <a:lnTo>
                  <a:pt x="81" y="88"/>
                </a:lnTo>
                <a:lnTo>
                  <a:pt x="59" y="73"/>
                </a:lnTo>
                <a:lnTo>
                  <a:pt x="118" y="52"/>
                </a:lnTo>
                <a:lnTo>
                  <a:pt x="0" y="6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5" name="30435221.25181.3759.12511.255">
            <a:extLst>
              <a:ext uri="{FF2B5EF4-FFF2-40B4-BE49-F238E27FC236}">
                <a16:creationId xmlns:a16="http://schemas.microsoft.com/office/drawing/2014/main" id="{DF67B95C-E8E4-F44B-9604-C1D73718B3A2}"/>
              </a:ext>
            </a:extLst>
          </p:cNvPr>
          <p:cNvSpPr>
            <a:spLocks noChangeAspect="1"/>
          </p:cNvSpPr>
          <p:nvPr/>
        </p:nvSpPr>
        <p:spPr bwMode="gray">
          <a:xfrm>
            <a:off x="2582842" y="1882023"/>
            <a:ext cx="180692" cy="149699"/>
          </a:xfrm>
          <a:custGeom>
            <a:avLst/>
            <a:gdLst/>
            <a:ahLst/>
            <a:cxnLst>
              <a:cxn ang="0">
                <a:pos x="0" y="81"/>
              </a:cxn>
              <a:cxn ang="0">
                <a:pos x="10" y="61"/>
              </a:cxn>
              <a:cxn ang="0">
                <a:pos x="76" y="73"/>
              </a:cxn>
              <a:cxn ang="0">
                <a:pos x="66" y="47"/>
              </a:cxn>
              <a:cxn ang="0">
                <a:pos x="84" y="48"/>
              </a:cxn>
              <a:cxn ang="0">
                <a:pos x="40" y="35"/>
              </a:cxn>
              <a:cxn ang="0">
                <a:pos x="60" y="28"/>
              </a:cxn>
              <a:cxn ang="0">
                <a:pos x="41" y="14"/>
              </a:cxn>
              <a:cxn ang="0">
                <a:pos x="168" y="0"/>
              </a:cxn>
              <a:cxn ang="0">
                <a:pos x="172" y="36"/>
              </a:cxn>
              <a:cxn ang="0">
                <a:pos x="133" y="65"/>
              </a:cxn>
              <a:cxn ang="0">
                <a:pos x="191" y="73"/>
              </a:cxn>
              <a:cxn ang="0">
                <a:pos x="198" y="131"/>
              </a:cxn>
              <a:cxn ang="0">
                <a:pos x="113" y="162"/>
              </a:cxn>
              <a:cxn ang="0">
                <a:pos x="76" y="117"/>
              </a:cxn>
              <a:cxn ang="0">
                <a:pos x="0" y="81"/>
              </a:cxn>
            </a:cxnLst>
            <a:rect l="0" t="0" r="r" b="b"/>
            <a:pathLst>
              <a:path w="198" h="162">
                <a:moveTo>
                  <a:pt x="0" y="81"/>
                </a:moveTo>
                <a:lnTo>
                  <a:pt x="10" y="61"/>
                </a:lnTo>
                <a:lnTo>
                  <a:pt x="76" y="73"/>
                </a:lnTo>
                <a:lnTo>
                  <a:pt x="66" y="47"/>
                </a:lnTo>
                <a:lnTo>
                  <a:pt x="84" y="48"/>
                </a:lnTo>
                <a:lnTo>
                  <a:pt x="40" y="35"/>
                </a:lnTo>
                <a:lnTo>
                  <a:pt x="60" y="28"/>
                </a:lnTo>
                <a:lnTo>
                  <a:pt x="41" y="14"/>
                </a:lnTo>
                <a:lnTo>
                  <a:pt x="168" y="0"/>
                </a:lnTo>
                <a:lnTo>
                  <a:pt x="172" y="36"/>
                </a:lnTo>
                <a:lnTo>
                  <a:pt x="133" y="65"/>
                </a:lnTo>
                <a:lnTo>
                  <a:pt x="191" y="73"/>
                </a:lnTo>
                <a:lnTo>
                  <a:pt x="198" y="131"/>
                </a:lnTo>
                <a:lnTo>
                  <a:pt x="113" y="162"/>
                </a:lnTo>
                <a:lnTo>
                  <a:pt x="76" y="117"/>
                </a:lnTo>
                <a:lnTo>
                  <a:pt x="0" y="8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6" name="30436201.625189.254.756.755">
            <a:extLst>
              <a:ext uri="{FF2B5EF4-FFF2-40B4-BE49-F238E27FC236}">
                <a16:creationId xmlns:a16="http://schemas.microsoft.com/office/drawing/2014/main" id="{304BA39E-1F7D-2F43-9C35-20649C62AE18}"/>
              </a:ext>
            </a:extLst>
          </p:cNvPr>
          <p:cNvSpPr>
            <a:spLocks noChangeAspect="1"/>
          </p:cNvSpPr>
          <p:nvPr/>
        </p:nvSpPr>
        <p:spPr bwMode="gray">
          <a:xfrm>
            <a:off x="2706474" y="1564127"/>
            <a:ext cx="110316" cy="77372"/>
          </a:xfrm>
          <a:custGeom>
            <a:avLst/>
            <a:gdLst/>
            <a:ahLst/>
            <a:cxnLst>
              <a:cxn ang="0">
                <a:pos x="0" y="0"/>
              </a:cxn>
              <a:cxn ang="0">
                <a:pos x="14" y="49"/>
              </a:cxn>
              <a:cxn ang="0">
                <a:pos x="51" y="52"/>
              </a:cxn>
              <a:cxn ang="0">
                <a:pos x="19" y="59"/>
              </a:cxn>
              <a:cxn ang="0">
                <a:pos x="34" y="82"/>
              </a:cxn>
              <a:cxn ang="0">
                <a:pos x="108" y="69"/>
              </a:cxn>
              <a:cxn ang="0">
                <a:pos x="119" y="41"/>
              </a:cxn>
              <a:cxn ang="0">
                <a:pos x="0" y="0"/>
              </a:cxn>
            </a:cxnLst>
            <a:rect l="0" t="0" r="r" b="b"/>
            <a:pathLst>
              <a:path w="119" h="82">
                <a:moveTo>
                  <a:pt x="0" y="0"/>
                </a:moveTo>
                <a:lnTo>
                  <a:pt x="14" y="49"/>
                </a:lnTo>
                <a:lnTo>
                  <a:pt x="51" y="52"/>
                </a:lnTo>
                <a:lnTo>
                  <a:pt x="19" y="59"/>
                </a:lnTo>
                <a:lnTo>
                  <a:pt x="34" y="82"/>
                </a:lnTo>
                <a:lnTo>
                  <a:pt x="108" y="69"/>
                </a:lnTo>
                <a:lnTo>
                  <a:pt x="119" y="41"/>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7" name="30437208.875191.7510.12532.3755">
            <a:extLst>
              <a:ext uri="{FF2B5EF4-FFF2-40B4-BE49-F238E27FC236}">
                <a16:creationId xmlns:a16="http://schemas.microsoft.com/office/drawing/2014/main" id="{9214CAF0-7624-F64B-AF39-3603F0DD7308}"/>
              </a:ext>
            </a:extLst>
          </p:cNvPr>
          <p:cNvSpPr>
            <a:spLocks noChangeAspect="1"/>
          </p:cNvSpPr>
          <p:nvPr/>
        </p:nvSpPr>
        <p:spPr bwMode="gray">
          <a:xfrm>
            <a:off x="2746413" y="1680184"/>
            <a:ext cx="519249" cy="166517"/>
          </a:xfrm>
          <a:custGeom>
            <a:avLst/>
            <a:gdLst/>
            <a:ahLst/>
            <a:cxnLst>
              <a:cxn ang="0">
                <a:pos x="0" y="29"/>
              </a:cxn>
              <a:cxn ang="0">
                <a:pos x="36" y="0"/>
              </a:cxn>
              <a:cxn ang="0">
                <a:pos x="87" y="16"/>
              </a:cxn>
              <a:cxn ang="0">
                <a:pos x="121" y="29"/>
              </a:cxn>
              <a:cxn ang="0">
                <a:pos x="110" y="50"/>
              </a:cxn>
              <a:cxn ang="0">
                <a:pos x="176" y="32"/>
              </a:cxn>
              <a:cxn ang="0">
                <a:pos x="219" y="50"/>
              </a:cxn>
              <a:cxn ang="0">
                <a:pos x="183" y="50"/>
              </a:cxn>
              <a:cxn ang="0">
                <a:pos x="256" y="64"/>
              </a:cxn>
              <a:cxn ang="0">
                <a:pos x="176" y="69"/>
              </a:cxn>
              <a:cxn ang="0">
                <a:pos x="219" y="82"/>
              </a:cxn>
              <a:cxn ang="0">
                <a:pos x="187" y="97"/>
              </a:cxn>
              <a:cxn ang="0">
                <a:pos x="227" y="84"/>
              </a:cxn>
              <a:cxn ang="0">
                <a:pos x="263" y="120"/>
              </a:cxn>
              <a:cxn ang="0">
                <a:pos x="271" y="104"/>
              </a:cxn>
              <a:cxn ang="0">
                <a:pos x="377" y="120"/>
              </a:cxn>
              <a:cxn ang="0">
                <a:pos x="486" y="86"/>
              </a:cxn>
              <a:cxn ang="0">
                <a:pos x="575" y="126"/>
              </a:cxn>
              <a:cxn ang="0">
                <a:pos x="547" y="145"/>
              </a:cxn>
              <a:cxn ang="0">
                <a:pos x="557" y="175"/>
              </a:cxn>
              <a:cxn ang="0">
                <a:pos x="505" y="182"/>
              </a:cxn>
              <a:cxn ang="0">
                <a:pos x="446" y="153"/>
              </a:cxn>
              <a:cxn ang="0">
                <a:pos x="446" y="175"/>
              </a:cxn>
              <a:cxn ang="0">
                <a:pos x="414" y="179"/>
              </a:cxn>
              <a:cxn ang="0">
                <a:pos x="285" y="182"/>
              </a:cxn>
              <a:cxn ang="0">
                <a:pos x="271" y="157"/>
              </a:cxn>
              <a:cxn ang="0">
                <a:pos x="240" y="179"/>
              </a:cxn>
              <a:cxn ang="0">
                <a:pos x="200" y="157"/>
              </a:cxn>
              <a:cxn ang="0">
                <a:pos x="174" y="172"/>
              </a:cxn>
              <a:cxn ang="0">
                <a:pos x="124" y="54"/>
              </a:cxn>
              <a:cxn ang="0">
                <a:pos x="65" y="65"/>
              </a:cxn>
              <a:cxn ang="0">
                <a:pos x="0" y="29"/>
              </a:cxn>
            </a:cxnLst>
            <a:rect l="0" t="0" r="r" b="b"/>
            <a:pathLst>
              <a:path w="575" h="182">
                <a:moveTo>
                  <a:pt x="0" y="29"/>
                </a:moveTo>
                <a:lnTo>
                  <a:pt x="36" y="0"/>
                </a:lnTo>
                <a:lnTo>
                  <a:pt x="87" y="16"/>
                </a:lnTo>
                <a:lnTo>
                  <a:pt x="121" y="29"/>
                </a:lnTo>
                <a:lnTo>
                  <a:pt x="110" y="50"/>
                </a:lnTo>
                <a:lnTo>
                  <a:pt x="176" y="32"/>
                </a:lnTo>
                <a:lnTo>
                  <a:pt x="219" y="50"/>
                </a:lnTo>
                <a:lnTo>
                  <a:pt x="183" y="50"/>
                </a:lnTo>
                <a:lnTo>
                  <a:pt x="256" y="64"/>
                </a:lnTo>
                <a:lnTo>
                  <a:pt x="176" y="69"/>
                </a:lnTo>
                <a:lnTo>
                  <a:pt x="219" y="82"/>
                </a:lnTo>
                <a:lnTo>
                  <a:pt x="187" y="97"/>
                </a:lnTo>
                <a:lnTo>
                  <a:pt x="227" y="84"/>
                </a:lnTo>
                <a:lnTo>
                  <a:pt x="263" y="120"/>
                </a:lnTo>
                <a:lnTo>
                  <a:pt x="271" y="104"/>
                </a:lnTo>
                <a:lnTo>
                  <a:pt x="377" y="120"/>
                </a:lnTo>
                <a:lnTo>
                  <a:pt x="486" y="86"/>
                </a:lnTo>
                <a:lnTo>
                  <a:pt x="575" y="126"/>
                </a:lnTo>
                <a:lnTo>
                  <a:pt x="547" y="145"/>
                </a:lnTo>
                <a:lnTo>
                  <a:pt x="557" y="175"/>
                </a:lnTo>
                <a:lnTo>
                  <a:pt x="505" y="182"/>
                </a:lnTo>
                <a:lnTo>
                  <a:pt x="446" y="153"/>
                </a:lnTo>
                <a:lnTo>
                  <a:pt x="446" y="175"/>
                </a:lnTo>
                <a:lnTo>
                  <a:pt x="414" y="179"/>
                </a:lnTo>
                <a:lnTo>
                  <a:pt x="285" y="182"/>
                </a:lnTo>
                <a:lnTo>
                  <a:pt x="271" y="157"/>
                </a:lnTo>
                <a:lnTo>
                  <a:pt x="240" y="179"/>
                </a:lnTo>
                <a:lnTo>
                  <a:pt x="200" y="157"/>
                </a:lnTo>
                <a:lnTo>
                  <a:pt x="174" y="172"/>
                </a:lnTo>
                <a:lnTo>
                  <a:pt x="124" y="54"/>
                </a:lnTo>
                <a:lnTo>
                  <a:pt x="65" y="65"/>
                </a:lnTo>
                <a:lnTo>
                  <a:pt x="0" y="2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8" name="30438191.2519313.7521.1255">
            <a:extLst>
              <a:ext uri="{FF2B5EF4-FFF2-40B4-BE49-F238E27FC236}">
                <a16:creationId xmlns:a16="http://schemas.microsoft.com/office/drawing/2014/main" id="{3FD3CD9E-7B75-EB44-971B-887B6487B271}"/>
              </a:ext>
            </a:extLst>
          </p:cNvPr>
          <p:cNvSpPr>
            <a:spLocks noChangeAspect="1"/>
          </p:cNvSpPr>
          <p:nvPr/>
        </p:nvSpPr>
        <p:spPr bwMode="gray">
          <a:xfrm>
            <a:off x="2765435" y="1394245"/>
            <a:ext cx="338557" cy="223706"/>
          </a:xfrm>
          <a:custGeom>
            <a:avLst/>
            <a:gdLst/>
            <a:ahLst/>
            <a:cxnLst>
              <a:cxn ang="0">
                <a:pos x="0" y="75"/>
              </a:cxn>
              <a:cxn ang="0">
                <a:pos x="90" y="61"/>
              </a:cxn>
              <a:cxn ang="0">
                <a:pos x="42" y="28"/>
              </a:cxn>
              <a:cxn ang="0">
                <a:pos x="122" y="13"/>
              </a:cxn>
              <a:cxn ang="0">
                <a:pos x="59" y="0"/>
              </a:cxn>
              <a:cxn ang="0">
                <a:pos x="159" y="17"/>
              </a:cxn>
              <a:cxn ang="0">
                <a:pos x="188" y="63"/>
              </a:cxn>
              <a:cxn ang="0">
                <a:pos x="240" y="64"/>
              </a:cxn>
              <a:cxn ang="0">
                <a:pos x="260" y="96"/>
              </a:cxn>
              <a:cxn ang="0">
                <a:pos x="264" y="74"/>
              </a:cxn>
              <a:cxn ang="0">
                <a:pos x="290" y="75"/>
              </a:cxn>
              <a:cxn ang="0">
                <a:pos x="279" y="96"/>
              </a:cxn>
              <a:cxn ang="0">
                <a:pos x="308" y="111"/>
              </a:cxn>
              <a:cxn ang="0">
                <a:pos x="290" y="133"/>
              </a:cxn>
              <a:cxn ang="0">
                <a:pos x="349" y="130"/>
              </a:cxn>
              <a:cxn ang="0">
                <a:pos x="375" y="162"/>
              </a:cxn>
              <a:cxn ang="0">
                <a:pos x="304" y="173"/>
              </a:cxn>
              <a:cxn ang="0">
                <a:pos x="284" y="202"/>
              </a:cxn>
              <a:cxn ang="0">
                <a:pos x="271" y="171"/>
              </a:cxn>
              <a:cxn ang="0">
                <a:pos x="251" y="240"/>
              </a:cxn>
              <a:cxn ang="0">
                <a:pos x="206" y="205"/>
              </a:cxn>
              <a:cxn ang="0">
                <a:pos x="229" y="242"/>
              </a:cxn>
              <a:cxn ang="0">
                <a:pos x="141" y="236"/>
              </a:cxn>
              <a:cxn ang="0">
                <a:pos x="114" y="217"/>
              </a:cxn>
              <a:cxn ang="0">
                <a:pos x="155" y="214"/>
              </a:cxn>
              <a:cxn ang="0">
                <a:pos x="111" y="207"/>
              </a:cxn>
              <a:cxn ang="0">
                <a:pos x="99" y="196"/>
              </a:cxn>
              <a:cxn ang="0">
                <a:pos x="122" y="195"/>
              </a:cxn>
              <a:cxn ang="0">
                <a:pos x="85" y="180"/>
              </a:cxn>
              <a:cxn ang="0">
                <a:pos x="203" y="158"/>
              </a:cxn>
              <a:cxn ang="0">
                <a:pos x="59" y="162"/>
              </a:cxn>
              <a:cxn ang="0">
                <a:pos x="33" y="138"/>
              </a:cxn>
              <a:cxn ang="0">
                <a:pos x="85" y="127"/>
              </a:cxn>
              <a:cxn ang="0">
                <a:pos x="5" y="111"/>
              </a:cxn>
              <a:cxn ang="0">
                <a:pos x="23" y="110"/>
              </a:cxn>
              <a:cxn ang="0">
                <a:pos x="1" y="93"/>
              </a:cxn>
              <a:cxn ang="0">
                <a:pos x="90" y="93"/>
              </a:cxn>
              <a:cxn ang="0">
                <a:pos x="0" y="75"/>
              </a:cxn>
            </a:cxnLst>
            <a:rect l="0" t="0" r="r" b="b"/>
            <a:pathLst>
              <a:path w="375" h="242">
                <a:moveTo>
                  <a:pt x="0" y="75"/>
                </a:moveTo>
                <a:lnTo>
                  <a:pt x="90" y="61"/>
                </a:lnTo>
                <a:lnTo>
                  <a:pt x="42" y="28"/>
                </a:lnTo>
                <a:lnTo>
                  <a:pt x="122" y="13"/>
                </a:lnTo>
                <a:lnTo>
                  <a:pt x="59" y="0"/>
                </a:lnTo>
                <a:lnTo>
                  <a:pt x="159" y="17"/>
                </a:lnTo>
                <a:lnTo>
                  <a:pt x="188" y="63"/>
                </a:lnTo>
                <a:lnTo>
                  <a:pt x="240" y="64"/>
                </a:lnTo>
                <a:lnTo>
                  <a:pt x="260" y="96"/>
                </a:lnTo>
                <a:lnTo>
                  <a:pt x="264" y="74"/>
                </a:lnTo>
                <a:lnTo>
                  <a:pt x="290" y="75"/>
                </a:lnTo>
                <a:lnTo>
                  <a:pt x="279" y="96"/>
                </a:lnTo>
                <a:lnTo>
                  <a:pt x="308" y="111"/>
                </a:lnTo>
                <a:lnTo>
                  <a:pt x="290" y="133"/>
                </a:lnTo>
                <a:lnTo>
                  <a:pt x="349" y="130"/>
                </a:lnTo>
                <a:lnTo>
                  <a:pt x="375" y="162"/>
                </a:lnTo>
                <a:lnTo>
                  <a:pt x="304" y="173"/>
                </a:lnTo>
                <a:lnTo>
                  <a:pt x="284" y="202"/>
                </a:lnTo>
                <a:lnTo>
                  <a:pt x="271" y="171"/>
                </a:lnTo>
                <a:lnTo>
                  <a:pt x="251" y="240"/>
                </a:lnTo>
                <a:lnTo>
                  <a:pt x="206" y="205"/>
                </a:lnTo>
                <a:lnTo>
                  <a:pt x="229" y="242"/>
                </a:lnTo>
                <a:lnTo>
                  <a:pt x="141" y="236"/>
                </a:lnTo>
                <a:lnTo>
                  <a:pt x="114" y="217"/>
                </a:lnTo>
                <a:lnTo>
                  <a:pt x="155" y="214"/>
                </a:lnTo>
                <a:lnTo>
                  <a:pt x="111" y="207"/>
                </a:lnTo>
                <a:lnTo>
                  <a:pt x="99" y="196"/>
                </a:lnTo>
                <a:lnTo>
                  <a:pt x="122" y="195"/>
                </a:lnTo>
                <a:lnTo>
                  <a:pt x="85" y="180"/>
                </a:lnTo>
                <a:lnTo>
                  <a:pt x="203" y="158"/>
                </a:lnTo>
                <a:lnTo>
                  <a:pt x="59" y="162"/>
                </a:lnTo>
                <a:lnTo>
                  <a:pt x="33" y="138"/>
                </a:lnTo>
                <a:lnTo>
                  <a:pt x="85" y="127"/>
                </a:lnTo>
                <a:lnTo>
                  <a:pt x="5" y="111"/>
                </a:lnTo>
                <a:lnTo>
                  <a:pt x="23" y="110"/>
                </a:lnTo>
                <a:lnTo>
                  <a:pt x="1" y="93"/>
                </a:lnTo>
                <a:lnTo>
                  <a:pt x="90" y="93"/>
                </a:lnTo>
                <a:lnTo>
                  <a:pt x="0" y="7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69" name="30439214.8751933.55.1255">
            <a:extLst>
              <a:ext uri="{FF2B5EF4-FFF2-40B4-BE49-F238E27FC236}">
                <a16:creationId xmlns:a16="http://schemas.microsoft.com/office/drawing/2014/main" id="{F2781E80-0C6A-4F48-90B2-265D8AC099E0}"/>
              </a:ext>
            </a:extLst>
          </p:cNvPr>
          <p:cNvSpPr>
            <a:spLocks noChangeAspect="1"/>
          </p:cNvSpPr>
          <p:nvPr/>
        </p:nvSpPr>
        <p:spPr bwMode="gray">
          <a:xfrm>
            <a:off x="2765435" y="1777738"/>
            <a:ext cx="81787" cy="57186"/>
          </a:xfrm>
          <a:custGeom>
            <a:avLst/>
            <a:gdLst/>
            <a:ahLst/>
            <a:cxnLst>
              <a:cxn ang="0">
                <a:pos x="0" y="43"/>
              </a:cxn>
              <a:cxn ang="0">
                <a:pos x="15" y="0"/>
              </a:cxn>
              <a:cxn ang="0">
                <a:pos x="74" y="13"/>
              </a:cxn>
              <a:cxn ang="0">
                <a:pos x="90" y="62"/>
              </a:cxn>
              <a:cxn ang="0">
                <a:pos x="0" y="43"/>
              </a:cxn>
            </a:cxnLst>
            <a:rect l="0" t="0" r="r" b="b"/>
            <a:pathLst>
              <a:path w="90" h="62">
                <a:moveTo>
                  <a:pt x="0" y="43"/>
                </a:moveTo>
                <a:lnTo>
                  <a:pt x="15" y="0"/>
                </a:lnTo>
                <a:lnTo>
                  <a:pt x="74" y="13"/>
                </a:lnTo>
                <a:lnTo>
                  <a:pt x="90" y="62"/>
                </a:lnTo>
                <a:lnTo>
                  <a:pt x="0" y="4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0" name="30440206.3751931.255.8755">
            <a:extLst>
              <a:ext uri="{FF2B5EF4-FFF2-40B4-BE49-F238E27FC236}">
                <a16:creationId xmlns:a16="http://schemas.microsoft.com/office/drawing/2014/main" id="{10D2014B-F626-A642-A89B-136AAC9874ED}"/>
              </a:ext>
            </a:extLst>
          </p:cNvPr>
          <p:cNvSpPr>
            <a:spLocks noChangeAspect="1"/>
          </p:cNvSpPr>
          <p:nvPr/>
        </p:nvSpPr>
        <p:spPr bwMode="gray">
          <a:xfrm>
            <a:off x="2765435" y="1641496"/>
            <a:ext cx="95099" cy="20183"/>
          </a:xfrm>
          <a:custGeom>
            <a:avLst/>
            <a:gdLst/>
            <a:ahLst/>
            <a:cxnLst>
              <a:cxn ang="0">
                <a:pos x="0" y="9"/>
              </a:cxn>
              <a:cxn ang="0">
                <a:pos x="24" y="22"/>
              </a:cxn>
              <a:cxn ang="0">
                <a:pos x="102" y="9"/>
              </a:cxn>
              <a:cxn ang="0">
                <a:pos x="28" y="0"/>
              </a:cxn>
              <a:cxn ang="0">
                <a:pos x="0" y="9"/>
              </a:cxn>
            </a:cxnLst>
            <a:rect l="0" t="0" r="r" b="b"/>
            <a:pathLst>
              <a:path w="102" h="22">
                <a:moveTo>
                  <a:pt x="0" y="9"/>
                </a:moveTo>
                <a:lnTo>
                  <a:pt x="24" y="22"/>
                </a:lnTo>
                <a:lnTo>
                  <a:pt x="102" y="9"/>
                </a:lnTo>
                <a:lnTo>
                  <a:pt x="28" y="0"/>
                </a:lnTo>
                <a:lnTo>
                  <a:pt x="0" y="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1" name="30441220.75194.1257.25105">
            <a:extLst>
              <a:ext uri="{FF2B5EF4-FFF2-40B4-BE49-F238E27FC236}">
                <a16:creationId xmlns:a16="http://schemas.microsoft.com/office/drawing/2014/main" id="{0D0F65C8-2585-C64F-A785-66458D365F93}"/>
              </a:ext>
            </a:extLst>
          </p:cNvPr>
          <p:cNvSpPr>
            <a:spLocks noChangeAspect="1"/>
          </p:cNvSpPr>
          <p:nvPr/>
        </p:nvSpPr>
        <p:spPr bwMode="gray">
          <a:xfrm>
            <a:off x="2784456" y="1873613"/>
            <a:ext cx="161670" cy="119422"/>
          </a:xfrm>
          <a:custGeom>
            <a:avLst/>
            <a:gdLst/>
            <a:ahLst/>
            <a:cxnLst>
              <a:cxn ang="0">
                <a:pos x="0" y="21"/>
              </a:cxn>
              <a:cxn ang="0">
                <a:pos x="4" y="81"/>
              </a:cxn>
              <a:cxn ang="0">
                <a:pos x="23" y="92"/>
              </a:cxn>
              <a:cxn ang="0">
                <a:pos x="17" y="126"/>
              </a:cxn>
              <a:cxn ang="0">
                <a:pos x="44" y="128"/>
              </a:cxn>
              <a:cxn ang="0">
                <a:pos x="73" y="100"/>
              </a:cxn>
              <a:cxn ang="0">
                <a:pos x="44" y="81"/>
              </a:cxn>
              <a:cxn ang="0">
                <a:pos x="117" y="81"/>
              </a:cxn>
              <a:cxn ang="0">
                <a:pos x="179" y="8"/>
              </a:cxn>
              <a:cxn ang="0">
                <a:pos x="14" y="0"/>
              </a:cxn>
              <a:cxn ang="0">
                <a:pos x="36" y="23"/>
              </a:cxn>
              <a:cxn ang="0">
                <a:pos x="0" y="21"/>
              </a:cxn>
            </a:cxnLst>
            <a:rect l="0" t="0" r="r" b="b"/>
            <a:pathLst>
              <a:path w="179" h="128">
                <a:moveTo>
                  <a:pt x="0" y="21"/>
                </a:moveTo>
                <a:lnTo>
                  <a:pt x="4" y="81"/>
                </a:lnTo>
                <a:lnTo>
                  <a:pt x="23" y="92"/>
                </a:lnTo>
                <a:lnTo>
                  <a:pt x="17" y="126"/>
                </a:lnTo>
                <a:lnTo>
                  <a:pt x="44" y="128"/>
                </a:lnTo>
                <a:lnTo>
                  <a:pt x="73" y="100"/>
                </a:lnTo>
                <a:lnTo>
                  <a:pt x="44" y="81"/>
                </a:lnTo>
                <a:lnTo>
                  <a:pt x="117" y="81"/>
                </a:lnTo>
                <a:lnTo>
                  <a:pt x="179" y="8"/>
                </a:lnTo>
                <a:lnTo>
                  <a:pt x="14" y="0"/>
                </a:lnTo>
                <a:lnTo>
                  <a:pt x="36" y="23"/>
                </a:lnTo>
                <a:lnTo>
                  <a:pt x="0" y="2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2" name="30442183.2520129.557.8755">
            <a:extLst>
              <a:ext uri="{FF2B5EF4-FFF2-40B4-BE49-F238E27FC236}">
                <a16:creationId xmlns:a16="http://schemas.microsoft.com/office/drawing/2014/main" id="{CF53FD44-1707-8A48-ADF4-7C8420E36238}"/>
              </a:ext>
            </a:extLst>
          </p:cNvPr>
          <p:cNvSpPr>
            <a:spLocks noChangeAspect="1"/>
          </p:cNvSpPr>
          <p:nvPr/>
        </p:nvSpPr>
        <p:spPr bwMode="gray">
          <a:xfrm>
            <a:off x="2894772" y="1266413"/>
            <a:ext cx="928178" cy="479367"/>
          </a:xfrm>
          <a:custGeom>
            <a:avLst/>
            <a:gdLst/>
            <a:ahLst/>
            <a:cxnLst>
              <a:cxn ang="0">
                <a:pos x="58" y="143"/>
              </a:cxn>
              <a:cxn ang="0">
                <a:pos x="109" y="151"/>
              </a:cxn>
              <a:cxn ang="0">
                <a:pos x="250" y="147"/>
              </a:cxn>
              <a:cxn ang="0">
                <a:pos x="223" y="166"/>
              </a:cxn>
              <a:cxn ang="0">
                <a:pos x="190" y="203"/>
              </a:cxn>
              <a:cxn ang="0">
                <a:pos x="281" y="204"/>
              </a:cxn>
              <a:cxn ang="0">
                <a:pos x="396" y="155"/>
              </a:cxn>
              <a:cxn ang="0">
                <a:pos x="550" y="171"/>
              </a:cxn>
              <a:cxn ang="0">
                <a:pos x="399" y="270"/>
              </a:cxn>
              <a:cxn ang="0">
                <a:pos x="183" y="220"/>
              </a:cxn>
              <a:cxn ang="0">
                <a:pos x="182" y="261"/>
              </a:cxn>
              <a:cxn ang="0">
                <a:pos x="348" y="324"/>
              </a:cxn>
              <a:cxn ang="0">
                <a:pos x="227" y="326"/>
              </a:cxn>
              <a:cxn ang="0">
                <a:pos x="204" y="370"/>
              </a:cxn>
              <a:cxn ang="0">
                <a:pos x="246" y="350"/>
              </a:cxn>
              <a:cxn ang="0">
                <a:pos x="208" y="397"/>
              </a:cxn>
              <a:cxn ang="0">
                <a:pos x="239" y="427"/>
              </a:cxn>
              <a:cxn ang="0">
                <a:pos x="250" y="444"/>
              </a:cxn>
              <a:cxn ang="0">
                <a:pos x="173" y="452"/>
              </a:cxn>
              <a:cxn ang="0">
                <a:pos x="112" y="478"/>
              </a:cxn>
              <a:cxn ang="0">
                <a:pos x="217" y="518"/>
              </a:cxn>
              <a:cxn ang="0">
                <a:pos x="286" y="503"/>
              </a:cxn>
              <a:cxn ang="0">
                <a:pos x="323" y="502"/>
              </a:cxn>
              <a:cxn ang="0">
                <a:pos x="365" y="522"/>
              </a:cxn>
              <a:cxn ang="0">
                <a:pos x="428" y="478"/>
              </a:cxn>
              <a:cxn ang="0">
                <a:pos x="459" y="442"/>
              </a:cxn>
              <a:cxn ang="0">
                <a:pos x="534" y="397"/>
              </a:cxn>
              <a:cxn ang="0">
                <a:pos x="565" y="376"/>
              </a:cxn>
              <a:cxn ang="0">
                <a:pos x="572" y="334"/>
              </a:cxn>
              <a:cxn ang="0">
                <a:pos x="472" y="310"/>
              </a:cxn>
              <a:cxn ang="0">
                <a:pos x="470" y="301"/>
              </a:cxn>
              <a:cxn ang="0">
                <a:pos x="675" y="270"/>
              </a:cxn>
              <a:cxn ang="0">
                <a:pos x="722" y="236"/>
              </a:cxn>
              <a:cxn ang="0">
                <a:pos x="917" y="134"/>
              </a:cxn>
              <a:cxn ang="0">
                <a:pos x="769" y="132"/>
              </a:cxn>
              <a:cxn ang="0">
                <a:pos x="1026" y="79"/>
              </a:cxn>
              <a:cxn ang="0">
                <a:pos x="944" y="22"/>
              </a:cxn>
              <a:cxn ang="0">
                <a:pos x="611" y="0"/>
              </a:cxn>
              <a:cxn ang="0">
                <a:pos x="565" y="9"/>
              </a:cxn>
              <a:cxn ang="0">
                <a:pos x="509" y="57"/>
              </a:cxn>
              <a:cxn ang="0">
                <a:pos x="395" y="33"/>
              </a:cxn>
              <a:cxn ang="0">
                <a:pos x="301" y="37"/>
              </a:cxn>
              <a:cxn ang="0">
                <a:pos x="359" y="92"/>
              </a:cxn>
              <a:cxn ang="0">
                <a:pos x="222" y="93"/>
              </a:cxn>
            </a:cxnLst>
            <a:rect l="0" t="0" r="r" b="b"/>
            <a:pathLst>
              <a:path w="1026" h="522">
                <a:moveTo>
                  <a:pt x="0" y="123"/>
                </a:moveTo>
                <a:lnTo>
                  <a:pt x="90" y="123"/>
                </a:lnTo>
                <a:lnTo>
                  <a:pt x="58" y="143"/>
                </a:lnTo>
                <a:lnTo>
                  <a:pt x="184" y="129"/>
                </a:lnTo>
                <a:lnTo>
                  <a:pt x="75" y="143"/>
                </a:lnTo>
                <a:lnTo>
                  <a:pt x="109" y="151"/>
                </a:lnTo>
                <a:lnTo>
                  <a:pt x="72" y="154"/>
                </a:lnTo>
                <a:lnTo>
                  <a:pt x="87" y="167"/>
                </a:lnTo>
                <a:lnTo>
                  <a:pt x="250" y="147"/>
                </a:lnTo>
                <a:lnTo>
                  <a:pt x="90" y="178"/>
                </a:lnTo>
                <a:lnTo>
                  <a:pt x="160" y="203"/>
                </a:lnTo>
                <a:lnTo>
                  <a:pt x="223" y="166"/>
                </a:lnTo>
                <a:lnTo>
                  <a:pt x="330" y="160"/>
                </a:lnTo>
                <a:lnTo>
                  <a:pt x="217" y="174"/>
                </a:lnTo>
                <a:lnTo>
                  <a:pt x="190" y="203"/>
                </a:lnTo>
                <a:lnTo>
                  <a:pt x="257" y="207"/>
                </a:lnTo>
                <a:lnTo>
                  <a:pt x="330" y="177"/>
                </a:lnTo>
                <a:lnTo>
                  <a:pt x="281" y="204"/>
                </a:lnTo>
                <a:lnTo>
                  <a:pt x="330" y="204"/>
                </a:lnTo>
                <a:lnTo>
                  <a:pt x="406" y="184"/>
                </a:lnTo>
                <a:lnTo>
                  <a:pt x="396" y="155"/>
                </a:lnTo>
                <a:lnTo>
                  <a:pt x="480" y="132"/>
                </a:lnTo>
                <a:lnTo>
                  <a:pt x="419" y="181"/>
                </a:lnTo>
                <a:lnTo>
                  <a:pt x="550" y="171"/>
                </a:lnTo>
                <a:lnTo>
                  <a:pt x="286" y="220"/>
                </a:lnTo>
                <a:lnTo>
                  <a:pt x="347" y="270"/>
                </a:lnTo>
                <a:lnTo>
                  <a:pt x="399" y="270"/>
                </a:lnTo>
                <a:lnTo>
                  <a:pt x="371" y="281"/>
                </a:lnTo>
                <a:lnTo>
                  <a:pt x="270" y="228"/>
                </a:lnTo>
                <a:lnTo>
                  <a:pt x="183" y="220"/>
                </a:lnTo>
                <a:lnTo>
                  <a:pt x="180" y="242"/>
                </a:lnTo>
                <a:lnTo>
                  <a:pt x="220" y="253"/>
                </a:lnTo>
                <a:lnTo>
                  <a:pt x="182" y="261"/>
                </a:lnTo>
                <a:lnTo>
                  <a:pt x="286" y="317"/>
                </a:lnTo>
                <a:lnTo>
                  <a:pt x="244" y="320"/>
                </a:lnTo>
                <a:lnTo>
                  <a:pt x="348" y="324"/>
                </a:lnTo>
                <a:lnTo>
                  <a:pt x="289" y="337"/>
                </a:lnTo>
                <a:lnTo>
                  <a:pt x="321" y="356"/>
                </a:lnTo>
                <a:lnTo>
                  <a:pt x="227" y="326"/>
                </a:lnTo>
                <a:lnTo>
                  <a:pt x="172" y="338"/>
                </a:lnTo>
                <a:lnTo>
                  <a:pt x="150" y="385"/>
                </a:lnTo>
                <a:lnTo>
                  <a:pt x="204" y="370"/>
                </a:lnTo>
                <a:lnTo>
                  <a:pt x="195" y="386"/>
                </a:lnTo>
                <a:lnTo>
                  <a:pt x="215" y="386"/>
                </a:lnTo>
                <a:lnTo>
                  <a:pt x="246" y="350"/>
                </a:lnTo>
                <a:lnTo>
                  <a:pt x="235" y="379"/>
                </a:lnTo>
                <a:lnTo>
                  <a:pt x="266" y="383"/>
                </a:lnTo>
                <a:lnTo>
                  <a:pt x="208" y="397"/>
                </a:lnTo>
                <a:lnTo>
                  <a:pt x="244" y="398"/>
                </a:lnTo>
                <a:lnTo>
                  <a:pt x="215" y="408"/>
                </a:lnTo>
                <a:lnTo>
                  <a:pt x="239" y="427"/>
                </a:lnTo>
                <a:lnTo>
                  <a:pt x="281" y="427"/>
                </a:lnTo>
                <a:lnTo>
                  <a:pt x="321" y="390"/>
                </a:lnTo>
                <a:lnTo>
                  <a:pt x="250" y="444"/>
                </a:lnTo>
                <a:lnTo>
                  <a:pt x="182" y="404"/>
                </a:lnTo>
                <a:lnTo>
                  <a:pt x="123" y="411"/>
                </a:lnTo>
                <a:lnTo>
                  <a:pt x="173" y="452"/>
                </a:lnTo>
                <a:lnTo>
                  <a:pt x="87" y="475"/>
                </a:lnTo>
                <a:lnTo>
                  <a:pt x="95" y="506"/>
                </a:lnTo>
                <a:lnTo>
                  <a:pt x="112" y="478"/>
                </a:lnTo>
                <a:lnTo>
                  <a:pt x="114" y="506"/>
                </a:lnTo>
                <a:lnTo>
                  <a:pt x="175" y="493"/>
                </a:lnTo>
                <a:lnTo>
                  <a:pt x="217" y="518"/>
                </a:lnTo>
                <a:lnTo>
                  <a:pt x="248" y="517"/>
                </a:lnTo>
                <a:lnTo>
                  <a:pt x="226" y="496"/>
                </a:lnTo>
                <a:lnTo>
                  <a:pt x="286" y="503"/>
                </a:lnTo>
                <a:lnTo>
                  <a:pt x="281" y="484"/>
                </a:lnTo>
                <a:lnTo>
                  <a:pt x="308" y="506"/>
                </a:lnTo>
                <a:lnTo>
                  <a:pt x="323" y="502"/>
                </a:lnTo>
                <a:lnTo>
                  <a:pt x="315" y="486"/>
                </a:lnTo>
                <a:lnTo>
                  <a:pt x="363" y="502"/>
                </a:lnTo>
                <a:lnTo>
                  <a:pt x="365" y="522"/>
                </a:lnTo>
                <a:lnTo>
                  <a:pt x="451" y="502"/>
                </a:lnTo>
                <a:lnTo>
                  <a:pt x="468" y="471"/>
                </a:lnTo>
                <a:lnTo>
                  <a:pt x="428" y="478"/>
                </a:lnTo>
                <a:lnTo>
                  <a:pt x="428" y="451"/>
                </a:lnTo>
                <a:lnTo>
                  <a:pt x="330" y="449"/>
                </a:lnTo>
                <a:lnTo>
                  <a:pt x="459" y="442"/>
                </a:lnTo>
                <a:lnTo>
                  <a:pt x="479" y="422"/>
                </a:lnTo>
                <a:lnTo>
                  <a:pt x="459" y="396"/>
                </a:lnTo>
                <a:lnTo>
                  <a:pt x="534" y="397"/>
                </a:lnTo>
                <a:lnTo>
                  <a:pt x="549" y="386"/>
                </a:lnTo>
                <a:lnTo>
                  <a:pt x="499" y="379"/>
                </a:lnTo>
                <a:lnTo>
                  <a:pt x="565" y="376"/>
                </a:lnTo>
                <a:lnTo>
                  <a:pt x="521" y="359"/>
                </a:lnTo>
                <a:lnTo>
                  <a:pt x="575" y="348"/>
                </a:lnTo>
                <a:lnTo>
                  <a:pt x="572" y="334"/>
                </a:lnTo>
                <a:lnTo>
                  <a:pt x="473" y="326"/>
                </a:lnTo>
                <a:lnTo>
                  <a:pt x="529" y="314"/>
                </a:lnTo>
                <a:lnTo>
                  <a:pt x="472" y="310"/>
                </a:lnTo>
                <a:lnTo>
                  <a:pt x="575" y="320"/>
                </a:lnTo>
                <a:lnTo>
                  <a:pt x="579" y="306"/>
                </a:lnTo>
                <a:lnTo>
                  <a:pt x="470" y="301"/>
                </a:lnTo>
                <a:lnTo>
                  <a:pt x="612" y="281"/>
                </a:lnTo>
                <a:lnTo>
                  <a:pt x="573" y="264"/>
                </a:lnTo>
                <a:lnTo>
                  <a:pt x="675" y="270"/>
                </a:lnTo>
                <a:lnTo>
                  <a:pt x="707" y="242"/>
                </a:lnTo>
                <a:lnTo>
                  <a:pt x="656" y="239"/>
                </a:lnTo>
                <a:lnTo>
                  <a:pt x="722" y="236"/>
                </a:lnTo>
                <a:lnTo>
                  <a:pt x="714" y="215"/>
                </a:lnTo>
                <a:lnTo>
                  <a:pt x="745" y="220"/>
                </a:lnTo>
                <a:lnTo>
                  <a:pt x="917" y="134"/>
                </a:lnTo>
                <a:lnTo>
                  <a:pt x="727" y="165"/>
                </a:lnTo>
                <a:lnTo>
                  <a:pt x="833" y="129"/>
                </a:lnTo>
                <a:lnTo>
                  <a:pt x="769" y="132"/>
                </a:lnTo>
                <a:lnTo>
                  <a:pt x="753" y="115"/>
                </a:lnTo>
                <a:lnTo>
                  <a:pt x="873" y="123"/>
                </a:lnTo>
                <a:lnTo>
                  <a:pt x="1026" y="79"/>
                </a:lnTo>
                <a:lnTo>
                  <a:pt x="1024" y="57"/>
                </a:lnTo>
                <a:lnTo>
                  <a:pt x="960" y="57"/>
                </a:lnTo>
                <a:lnTo>
                  <a:pt x="944" y="22"/>
                </a:lnTo>
                <a:lnTo>
                  <a:pt x="769" y="38"/>
                </a:lnTo>
                <a:lnTo>
                  <a:pt x="844" y="13"/>
                </a:lnTo>
                <a:lnTo>
                  <a:pt x="611" y="0"/>
                </a:lnTo>
                <a:lnTo>
                  <a:pt x="591" y="17"/>
                </a:lnTo>
                <a:lnTo>
                  <a:pt x="608" y="27"/>
                </a:lnTo>
                <a:lnTo>
                  <a:pt x="565" y="9"/>
                </a:lnTo>
                <a:lnTo>
                  <a:pt x="461" y="11"/>
                </a:lnTo>
                <a:lnTo>
                  <a:pt x="535" y="46"/>
                </a:lnTo>
                <a:lnTo>
                  <a:pt x="509" y="57"/>
                </a:lnTo>
                <a:lnTo>
                  <a:pt x="472" y="20"/>
                </a:lnTo>
                <a:lnTo>
                  <a:pt x="376" y="16"/>
                </a:lnTo>
                <a:lnTo>
                  <a:pt x="395" y="33"/>
                </a:lnTo>
                <a:lnTo>
                  <a:pt x="322" y="27"/>
                </a:lnTo>
                <a:lnTo>
                  <a:pt x="358" y="52"/>
                </a:lnTo>
                <a:lnTo>
                  <a:pt x="301" y="37"/>
                </a:lnTo>
                <a:lnTo>
                  <a:pt x="319" y="52"/>
                </a:lnTo>
                <a:lnTo>
                  <a:pt x="285" y="57"/>
                </a:lnTo>
                <a:lnTo>
                  <a:pt x="359" y="92"/>
                </a:lnTo>
                <a:lnTo>
                  <a:pt x="198" y="53"/>
                </a:lnTo>
                <a:lnTo>
                  <a:pt x="158" y="81"/>
                </a:lnTo>
                <a:lnTo>
                  <a:pt x="222" y="93"/>
                </a:lnTo>
                <a:lnTo>
                  <a:pt x="114" y="83"/>
                </a:lnTo>
                <a:lnTo>
                  <a:pt x="0" y="12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3" name="30443221.375204.62538.375545">
            <a:extLst>
              <a:ext uri="{FF2B5EF4-FFF2-40B4-BE49-F238E27FC236}">
                <a16:creationId xmlns:a16="http://schemas.microsoft.com/office/drawing/2014/main" id="{42D0EF78-A8D9-984A-AE84-9A644AF34DA5}"/>
              </a:ext>
            </a:extLst>
          </p:cNvPr>
          <p:cNvSpPr>
            <a:spLocks noChangeAspect="1"/>
          </p:cNvSpPr>
          <p:nvPr/>
        </p:nvSpPr>
        <p:spPr bwMode="gray">
          <a:xfrm>
            <a:off x="2951832" y="1885385"/>
            <a:ext cx="867316" cy="620656"/>
          </a:xfrm>
          <a:custGeom>
            <a:avLst/>
            <a:gdLst/>
            <a:ahLst/>
            <a:cxnLst>
              <a:cxn ang="0">
                <a:pos x="7" y="78"/>
              </a:cxn>
              <a:cxn ang="0">
                <a:pos x="114" y="0"/>
              </a:cxn>
              <a:cxn ang="0">
                <a:pos x="110" y="78"/>
              </a:cxn>
              <a:cxn ang="0">
                <a:pos x="169" y="161"/>
              </a:cxn>
              <a:cxn ang="0">
                <a:pos x="172" y="175"/>
              </a:cxn>
              <a:cxn ang="0">
                <a:pos x="136" y="117"/>
              </a:cxn>
              <a:cxn ang="0">
                <a:pos x="144" y="60"/>
              </a:cxn>
              <a:cxn ang="0">
                <a:pos x="150" y="52"/>
              </a:cxn>
              <a:cxn ang="0">
                <a:pos x="168" y="33"/>
              </a:cxn>
              <a:cxn ang="0">
                <a:pos x="245" y="10"/>
              </a:cxn>
              <a:cxn ang="0">
                <a:pos x="286" y="40"/>
              </a:cxn>
              <a:cxn ang="0">
                <a:pos x="304" y="120"/>
              </a:cxn>
              <a:cxn ang="0">
                <a:pos x="363" y="102"/>
              </a:cxn>
              <a:cxn ang="0">
                <a:pos x="495" y="88"/>
              </a:cxn>
              <a:cxn ang="0">
                <a:pos x="504" y="139"/>
              </a:cxn>
              <a:cxn ang="0">
                <a:pos x="536" y="150"/>
              </a:cxn>
              <a:cxn ang="0">
                <a:pos x="587" y="136"/>
              </a:cxn>
              <a:cxn ang="0">
                <a:pos x="632" y="169"/>
              </a:cxn>
              <a:cxn ang="0">
                <a:pos x="649" y="175"/>
              </a:cxn>
              <a:cxn ang="0">
                <a:pos x="675" y="187"/>
              </a:cxn>
              <a:cxn ang="0">
                <a:pos x="721" y="203"/>
              </a:cxn>
              <a:cxn ang="0">
                <a:pos x="716" y="225"/>
              </a:cxn>
              <a:cxn ang="0">
                <a:pos x="734" y="220"/>
              </a:cxn>
              <a:cxn ang="0">
                <a:pos x="709" y="263"/>
              </a:cxn>
              <a:cxn ang="0">
                <a:pos x="720" y="285"/>
              </a:cxn>
              <a:cxn ang="0">
                <a:pos x="726" y="318"/>
              </a:cxn>
              <a:cxn ang="0">
                <a:pos x="844" y="351"/>
              </a:cxn>
              <a:cxn ang="0">
                <a:pos x="903" y="395"/>
              </a:cxn>
              <a:cxn ang="0">
                <a:pos x="958" y="426"/>
              </a:cxn>
              <a:cxn ang="0">
                <a:pos x="921" y="448"/>
              </a:cxn>
              <a:cxn ang="0">
                <a:pos x="918" y="488"/>
              </a:cxn>
              <a:cxn ang="0">
                <a:pos x="885" y="525"/>
              </a:cxn>
              <a:cxn ang="0">
                <a:pos x="735" y="446"/>
              </a:cxn>
              <a:cxn ang="0">
                <a:pos x="742" y="488"/>
              </a:cxn>
              <a:cxn ang="0">
                <a:pos x="783" y="531"/>
              </a:cxn>
              <a:cxn ang="0">
                <a:pos x="831" y="565"/>
              </a:cxn>
              <a:cxn ang="0">
                <a:pos x="845" y="646"/>
              </a:cxn>
              <a:cxn ang="0">
                <a:pos x="800" y="679"/>
              </a:cxn>
              <a:cxn ang="0">
                <a:pos x="603" y="595"/>
              </a:cxn>
              <a:cxn ang="0">
                <a:pos x="572" y="573"/>
              </a:cxn>
              <a:cxn ang="0">
                <a:pos x="513" y="525"/>
              </a:cxn>
              <a:cxn ang="0">
                <a:pos x="484" y="538"/>
              </a:cxn>
              <a:cxn ang="0">
                <a:pos x="398" y="538"/>
              </a:cxn>
              <a:cxn ang="0">
                <a:pos x="551" y="496"/>
              </a:cxn>
              <a:cxn ang="0">
                <a:pos x="592" y="395"/>
              </a:cxn>
              <a:cxn ang="0">
                <a:pos x="507" y="308"/>
              </a:cxn>
              <a:cxn ang="0">
                <a:pos x="448" y="316"/>
              </a:cxn>
              <a:cxn ang="0">
                <a:pos x="475" y="279"/>
              </a:cxn>
              <a:cxn ang="0">
                <a:pos x="415" y="224"/>
              </a:cxn>
              <a:cxn ang="0">
                <a:pos x="375" y="245"/>
              </a:cxn>
              <a:cxn ang="0">
                <a:pos x="305" y="252"/>
              </a:cxn>
              <a:cxn ang="0">
                <a:pos x="21" y="175"/>
              </a:cxn>
              <a:cxn ang="0">
                <a:pos x="0" y="151"/>
              </a:cxn>
            </a:cxnLst>
            <a:rect l="0" t="0" r="r" b="b"/>
            <a:pathLst>
              <a:path w="958" h="679">
                <a:moveTo>
                  <a:pt x="0" y="151"/>
                </a:moveTo>
                <a:lnTo>
                  <a:pt x="7" y="78"/>
                </a:lnTo>
                <a:lnTo>
                  <a:pt x="47" y="25"/>
                </a:lnTo>
                <a:lnTo>
                  <a:pt x="114" y="0"/>
                </a:lnTo>
                <a:lnTo>
                  <a:pt x="169" y="10"/>
                </a:lnTo>
                <a:lnTo>
                  <a:pt x="110" y="78"/>
                </a:lnTo>
                <a:lnTo>
                  <a:pt x="125" y="120"/>
                </a:lnTo>
                <a:lnTo>
                  <a:pt x="169" y="161"/>
                </a:lnTo>
                <a:lnTo>
                  <a:pt x="114" y="176"/>
                </a:lnTo>
                <a:lnTo>
                  <a:pt x="172" y="175"/>
                </a:lnTo>
                <a:lnTo>
                  <a:pt x="179" y="139"/>
                </a:lnTo>
                <a:lnTo>
                  <a:pt x="136" y="117"/>
                </a:lnTo>
                <a:lnTo>
                  <a:pt x="172" y="93"/>
                </a:lnTo>
                <a:lnTo>
                  <a:pt x="144" y="60"/>
                </a:lnTo>
                <a:lnTo>
                  <a:pt x="201" y="69"/>
                </a:lnTo>
                <a:lnTo>
                  <a:pt x="150" y="52"/>
                </a:lnTo>
                <a:lnTo>
                  <a:pt x="207" y="56"/>
                </a:lnTo>
                <a:lnTo>
                  <a:pt x="168" y="33"/>
                </a:lnTo>
                <a:lnTo>
                  <a:pt x="214" y="34"/>
                </a:lnTo>
                <a:lnTo>
                  <a:pt x="245" y="10"/>
                </a:lnTo>
                <a:lnTo>
                  <a:pt x="283" y="8"/>
                </a:lnTo>
                <a:lnTo>
                  <a:pt x="286" y="40"/>
                </a:lnTo>
                <a:lnTo>
                  <a:pt x="313" y="52"/>
                </a:lnTo>
                <a:lnTo>
                  <a:pt x="304" y="120"/>
                </a:lnTo>
                <a:lnTo>
                  <a:pt x="341" y="88"/>
                </a:lnTo>
                <a:lnTo>
                  <a:pt x="363" y="102"/>
                </a:lnTo>
                <a:lnTo>
                  <a:pt x="415" y="70"/>
                </a:lnTo>
                <a:lnTo>
                  <a:pt x="495" y="88"/>
                </a:lnTo>
                <a:lnTo>
                  <a:pt x="528" y="120"/>
                </a:lnTo>
                <a:lnTo>
                  <a:pt x="504" y="139"/>
                </a:lnTo>
                <a:lnTo>
                  <a:pt x="551" y="131"/>
                </a:lnTo>
                <a:lnTo>
                  <a:pt x="536" y="150"/>
                </a:lnTo>
                <a:lnTo>
                  <a:pt x="565" y="161"/>
                </a:lnTo>
                <a:lnTo>
                  <a:pt x="587" y="136"/>
                </a:lnTo>
                <a:lnTo>
                  <a:pt x="622" y="148"/>
                </a:lnTo>
                <a:lnTo>
                  <a:pt x="632" y="169"/>
                </a:lnTo>
                <a:lnTo>
                  <a:pt x="602" y="175"/>
                </a:lnTo>
                <a:lnTo>
                  <a:pt x="649" y="175"/>
                </a:lnTo>
                <a:lnTo>
                  <a:pt x="642" y="201"/>
                </a:lnTo>
                <a:lnTo>
                  <a:pt x="675" y="187"/>
                </a:lnTo>
                <a:lnTo>
                  <a:pt x="654" y="209"/>
                </a:lnTo>
                <a:lnTo>
                  <a:pt x="721" y="203"/>
                </a:lnTo>
                <a:lnTo>
                  <a:pt x="684" y="225"/>
                </a:lnTo>
                <a:lnTo>
                  <a:pt x="716" y="225"/>
                </a:lnTo>
                <a:lnTo>
                  <a:pt x="704" y="242"/>
                </a:lnTo>
                <a:lnTo>
                  <a:pt x="734" y="220"/>
                </a:lnTo>
                <a:lnTo>
                  <a:pt x="764" y="243"/>
                </a:lnTo>
                <a:lnTo>
                  <a:pt x="709" y="263"/>
                </a:lnTo>
                <a:lnTo>
                  <a:pt x="789" y="279"/>
                </a:lnTo>
                <a:lnTo>
                  <a:pt x="720" y="285"/>
                </a:lnTo>
                <a:lnTo>
                  <a:pt x="746" y="296"/>
                </a:lnTo>
                <a:lnTo>
                  <a:pt x="726" y="318"/>
                </a:lnTo>
                <a:lnTo>
                  <a:pt x="805" y="358"/>
                </a:lnTo>
                <a:lnTo>
                  <a:pt x="844" y="351"/>
                </a:lnTo>
                <a:lnTo>
                  <a:pt x="863" y="399"/>
                </a:lnTo>
                <a:lnTo>
                  <a:pt x="903" y="395"/>
                </a:lnTo>
                <a:lnTo>
                  <a:pt x="897" y="415"/>
                </a:lnTo>
                <a:lnTo>
                  <a:pt x="958" y="426"/>
                </a:lnTo>
                <a:lnTo>
                  <a:pt x="950" y="452"/>
                </a:lnTo>
                <a:lnTo>
                  <a:pt x="921" y="448"/>
                </a:lnTo>
                <a:lnTo>
                  <a:pt x="933" y="465"/>
                </a:lnTo>
                <a:lnTo>
                  <a:pt x="918" y="488"/>
                </a:lnTo>
                <a:lnTo>
                  <a:pt x="890" y="477"/>
                </a:lnTo>
                <a:lnTo>
                  <a:pt x="885" y="525"/>
                </a:lnTo>
                <a:lnTo>
                  <a:pt x="776" y="436"/>
                </a:lnTo>
                <a:lnTo>
                  <a:pt x="735" y="446"/>
                </a:lnTo>
                <a:lnTo>
                  <a:pt x="764" y="466"/>
                </a:lnTo>
                <a:lnTo>
                  <a:pt x="742" y="488"/>
                </a:lnTo>
                <a:lnTo>
                  <a:pt x="760" y="487"/>
                </a:lnTo>
                <a:lnTo>
                  <a:pt x="783" y="531"/>
                </a:lnTo>
                <a:lnTo>
                  <a:pt x="835" y="540"/>
                </a:lnTo>
                <a:lnTo>
                  <a:pt x="831" y="565"/>
                </a:lnTo>
                <a:lnTo>
                  <a:pt x="860" y="587"/>
                </a:lnTo>
                <a:lnTo>
                  <a:pt x="845" y="646"/>
                </a:lnTo>
                <a:lnTo>
                  <a:pt x="709" y="586"/>
                </a:lnTo>
                <a:lnTo>
                  <a:pt x="800" y="679"/>
                </a:lnTo>
                <a:lnTo>
                  <a:pt x="628" y="627"/>
                </a:lnTo>
                <a:lnTo>
                  <a:pt x="603" y="595"/>
                </a:lnTo>
                <a:lnTo>
                  <a:pt x="627" y="593"/>
                </a:lnTo>
                <a:lnTo>
                  <a:pt x="572" y="573"/>
                </a:lnTo>
                <a:lnTo>
                  <a:pt x="555" y="538"/>
                </a:lnTo>
                <a:lnTo>
                  <a:pt x="513" y="525"/>
                </a:lnTo>
                <a:lnTo>
                  <a:pt x="510" y="550"/>
                </a:lnTo>
                <a:lnTo>
                  <a:pt x="484" y="538"/>
                </a:lnTo>
                <a:lnTo>
                  <a:pt x="447" y="561"/>
                </a:lnTo>
                <a:lnTo>
                  <a:pt x="398" y="538"/>
                </a:lnTo>
                <a:lnTo>
                  <a:pt x="425" y="496"/>
                </a:lnTo>
                <a:lnTo>
                  <a:pt x="551" y="496"/>
                </a:lnTo>
                <a:lnTo>
                  <a:pt x="521" y="455"/>
                </a:lnTo>
                <a:lnTo>
                  <a:pt x="592" y="395"/>
                </a:lnTo>
                <a:lnTo>
                  <a:pt x="541" y="315"/>
                </a:lnTo>
                <a:lnTo>
                  <a:pt x="507" y="308"/>
                </a:lnTo>
                <a:lnTo>
                  <a:pt x="526" y="294"/>
                </a:lnTo>
                <a:lnTo>
                  <a:pt x="448" y="316"/>
                </a:lnTo>
                <a:lnTo>
                  <a:pt x="447" y="293"/>
                </a:lnTo>
                <a:lnTo>
                  <a:pt x="475" y="279"/>
                </a:lnTo>
                <a:lnTo>
                  <a:pt x="416" y="249"/>
                </a:lnTo>
                <a:lnTo>
                  <a:pt x="415" y="224"/>
                </a:lnTo>
                <a:lnTo>
                  <a:pt x="361" y="212"/>
                </a:lnTo>
                <a:lnTo>
                  <a:pt x="375" y="245"/>
                </a:lnTo>
                <a:lnTo>
                  <a:pt x="282" y="232"/>
                </a:lnTo>
                <a:lnTo>
                  <a:pt x="305" y="252"/>
                </a:lnTo>
                <a:lnTo>
                  <a:pt x="63" y="219"/>
                </a:lnTo>
                <a:lnTo>
                  <a:pt x="21" y="175"/>
                </a:lnTo>
                <a:lnTo>
                  <a:pt x="96" y="177"/>
                </a:lnTo>
                <a:lnTo>
                  <a:pt x="0" y="15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4" name="30444247.875210.1258.37512.55">
            <a:extLst>
              <a:ext uri="{FF2B5EF4-FFF2-40B4-BE49-F238E27FC236}">
                <a16:creationId xmlns:a16="http://schemas.microsoft.com/office/drawing/2014/main" id="{3C631B9D-A834-B34B-8172-BBF87277C186}"/>
              </a:ext>
            </a:extLst>
          </p:cNvPr>
          <p:cNvSpPr>
            <a:spLocks noChangeAspect="1"/>
          </p:cNvSpPr>
          <p:nvPr/>
        </p:nvSpPr>
        <p:spPr bwMode="gray">
          <a:xfrm>
            <a:off x="3041226" y="2314296"/>
            <a:ext cx="199713" cy="136239"/>
          </a:xfrm>
          <a:custGeom>
            <a:avLst/>
            <a:gdLst/>
            <a:ahLst/>
            <a:cxnLst>
              <a:cxn ang="0">
                <a:pos x="0" y="121"/>
              </a:cxn>
              <a:cxn ang="0">
                <a:pos x="33" y="92"/>
              </a:cxn>
              <a:cxn ang="0">
                <a:pos x="54" y="0"/>
              </a:cxn>
              <a:cxn ang="0">
                <a:pos x="73" y="33"/>
              </a:cxn>
              <a:cxn ang="0">
                <a:pos x="124" y="41"/>
              </a:cxn>
              <a:cxn ang="0">
                <a:pos x="223" y="109"/>
              </a:cxn>
              <a:cxn ang="0">
                <a:pos x="209" y="132"/>
              </a:cxn>
              <a:cxn ang="0">
                <a:pos x="120" y="100"/>
              </a:cxn>
              <a:cxn ang="0">
                <a:pos x="65" y="148"/>
              </a:cxn>
              <a:cxn ang="0">
                <a:pos x="51" y="109"/>
              </a:cxn>
              <a:cxn ang="0">
                <a:pos x="0" y="121"/>
              </a:cxn>
            </a:cxnLst>
            <a:rect l="0" t="0" r="r" b="b"/>
            <a:pathLst>
              <a:path w="223" h="148">
                <a:moveTo>
                  <a:pt x="0" y="121"/>
                </a:moveTo>
                <a:lnTo>
                  <a:pt x="33" y="92"/>
                </a:lnTo>
                <a:lnTo>
                  <a:pt x="54" y="0"/>
                </a:lnTo>
                <a:lnTo>
                  <a:pt x="73" y="33"/>
                </a:lnTo>
                <a:lnTo>
                  <a:pt x="124" y="41"/>
                </a:lnTo>
                <a:lnTo>
                  <a:pt x="223" y="109"/>
                </a:lnTo>
                <a:lnTo>
                  <a:pt x="209" y="132"/>
                </a:lnTo>
                <a:lnTo>
                  <a:pt x="120" y="100"/>
                </a:lnTo>
                <a:lnTo>
                  <a:pt x="65" y="148"/>
                </a:lnTo>
                <a:lnTo>
                  <a:pt x="51" y="109"/>
                </a:lnTo>
                <a:lnTo>
                  <a:pt x="0" y="12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5" name="30445287.375262.6251212.6255">
            <a:extLst>
              <a:ext uri="{FF2B5EF4-FFF2-40B4-BE49-F238E27FC236}">
                <a16:creationId xmlns:a16="http://schemas.microsoft.com/office/drawing/2014/main" id="{BF1A7B55-7302-6440-BE7F-C6A2245F3531}"/>
              </a:ext>
            </a:extLst>
          </p:cNvPr>
          <p:cNvSpPr>
            <a:spLocks noChangeAspect="1"/>
          </p:cNvSpPr>
          <p:nvPr/>
        </p:nvSpPr>
        <p:spPr bwMode="gray">
          <a:xfrm>
            <a:off x="3883815" y="2951769"/>
            <a:ext cx="201614" cy="196794"/>
          </a:xfrm>
          <a:custGeom>
            <a:avLst/>
            <a:gdLst/>
            <a:ahLst/>
            <a:cxnLst>
              <a:cxn ang="0">
                <a:pos x="0" y="168"/>
              </a:cxn>
              <a:cxn ang="0">
                <a:pos x="92" y="11"/>
              </a:cxn>
              <a:cxn ang="0">
                <a:pos x="127" y="0"/>
              </a:cxn>
              <a:cxn ang="0">
                <a:pos x="85" y="84"/>
              </a:cxn>
              <a:cxn ang="0">
                <a:pos x="114" y="65"/>
              </a:cxn>
              <a:cxn ang="0">
                <a:pos x="133" y="100"/>
              </a:cxn>
              <a:cxn ang="0">
                <a:pos x="192" y="100"/>
              </a:cxn>
              <a:cxn ang="0">
                <a:pos x="180" y="133"/>
              </a:cxn>
              <a:cxn ang="0">
                <a:pos x="210" y="131"/>
              </a:cxn>
              <a:cxn ang="0">
                <a:pos x="189" y="165"/>
              </a:cxn>
              <a:cxn ang="0">
                <a:pos x="217" y="146"/>
              </a:cxn>
              <a:cxn ang="0">
                <a:pos x="224" y="179"/>
              </a:cxn>
              <a:cxn ang="0">
                <a:pos x="195" y="215"/>
              </a:cxn>
              <a:cxn ang="0">
                <a:pos x="192" y="188"/>
              </a:cxn>
              <a:cxn ang="0">
                <a:pos x="178" y="202"/>
              </a:cxn>
              <a:cxn ang="0">
                <a:pos x="178" y="161"/>
              </a:cxn>
              <a:cxn ang="0">
                <a:pos x="123" y="202"/>
              </a:cxn>
              <a:cxn ang="0">
                <a:pos x="155" y="175"/>
              </a:cxn>
              <a:cxn ang="0">
                <a:pos x="109" y="179"/>
              </a:cxn>
              <a:cxn ang="0">
                <a:pos x="120" y="162"/>
              </a:cxn>
              <a:cxn ang="0">
                <a:pos x="0" y="168"/>
              </a:cxn>
            </a:cxnLst>
            <a:rect l="0" t="0" r="r" b="b"/>
            <a:pathLst>
              <a:path w="224" h="215">
                <a:moveTo>
                  <a:pt x="0" y="168"/>
                </a:moveTo>
                <a:lnTo>
                  <a:pt x="92" y="11"/>
                </a:lnTo>
                <a:lnTo>
                  <a:pt x="127" y="0"/>
                </a:lnTo>
                <a:lnTo>
                  <a:pt x="85" y="84"/>
                </a:lnTo>
                <a:lnTo>
                  <a:pt x="114" y="65"/>
                </a:lnTo>
                <a:lnTo>
                  <a:pt x="133" y="100"/>
                </a:lnTo>
                <a:lnTo>
                  <a:pt x="192" y="100"/>
                </a:lnTo>
                <a:lnTo>
                  <a:pt x="180" y="133"/>
                </a:lnTo>
                <a:lnTo>
                  <a:pt x="210" y="131"/>
                </a:lnTo>
                <a:lnTo>
                  <a:pt x="189" y="165"/>
                </a:lnTo>
                <a:lnTo>
                  <a:pt x="217" y="146"/>
                </a:lnTo>
                <a:lnTo>
                  <a:pt x="224" y="179"/>
                </a:lnTo>
                <a:lnTo>
                  <a:pt x="195" y="215"/>
                </a:lnTo>
                <a:lnTo>
                  <a:pt x="192" y="188"/>
                </a:lnTo>
                <a:lnTo>
                  <a:pt x="178" y="202"/>
                </a:lnTo>
                <a:lnTo>
                  <a:pt x="178" y="161"/>
                </a:lnTo>
                <a:lnTo>
                  <a:pt x="123" y="202"/>
                </a:lnTo>
                <a:lnTo>
                  <a:pt x="155" y="175"/>
                </a:lnTo>
                <a:lnTo>
                  <a:pt x="109" y="179"/>
                </a:lnTo>
                <a:lnTo>
                  <a:pt x="120" y="162"/>
                </a:lnTo>
                <a:lnTo>
                  <a:pt x="0" y="168"/>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6" name="30448372.75212.8755.1255.8755">
            <a:extLst>
              <a:ext uri="{FF2B5EF4-FFF2-40B4-BE49-F238E27FC236}">
                <a16:creationId xmlns:a16="http://schemas.microsoft.com/office/drawing/2014/main" id="{53FDA90D-7BF9-5F4D-A025-518319690C3A}"/>
              </a:ext>
            </a:extLst>
          </p:cNvPr>
          <p:cNvSpPr>
            <a:spLocks noChangeAspect="1"/>
          </p:cNvSpPr>
          <p:nvPr/>
        </p:nvSpPr>
        <p:spPr bwMode="gray">
          <a:xfrm>
            <a:off x="3084970" y="4334369"/>
            <a:ext cx="95099" cy="84099"/>
          </a:xfrm>
          <a:custGeom>
            <a:avLst/>
            <a:gdLst/>
            <a:ahLst/>
            <a:cxnLst>
              <a:cxn ang="0">
                <a:pos x="0" y="0"/>
              </a:cxn>
              <a:cxn ang="0">
                <a:pos x="1" y="34"/>
              </a:cxn>
              <a:cxn ang="0">
                <a:pos x="23" y="29"/>
              </a:cxn>
              <a:cxn ang="0">
                <a:pos x="89" y="89"/>
              </a:cxn>
              <a:cxn ang="0">
                <a:pos x="104" y="44"/>
              </a:cxn>
              <a:cxn ang="0">
                <a:pos x="69" y="3"/>
              </a:cxn>
              <a:cxn ang="0">
                <a:pos x="0" y="0"/>
              </a:cxn>
            </a:cxnLst>
            <a:rect l="0" t="0" r="r" b="b"/>
            <a:pathLst>
              <a:path w="104" h="89">
                <a:moveTo>
                  <a:pt x="0" y="0"/>
                </a:moveTo>
                <a:lnTo>
                  <a:pt x="1" y="34"/>
                </a:lnTo>
                <a:lnTo>
                  <a:pt x="23" y="29"/>
                </a:lnTo>
                <a:lnTo>
                  <a:pt x="89" y="89"/>
                </a:lnTo>
                <a:lnTo>
                  <a:pt x="104" y="44"/>
                </a:lnTo>
                <a:lnTo>
                  <a:pt x="69" y="3"/>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7" name="30449349.375214.256.37520.3755">
            <a:extLst>
              <a:ext uri="{FF2B5EF4-FFF2-40B4-BE49-F238E27FC236}">
                <a16:creationId xmlns:a16="http://schemas.microsoft.com/office/drawing/2014/main" id="{50AB1205-C4CF-F44F-BBA7-820C8176F3D2}"/>
              </a:ext>
            </a:extLst>
          </p:cNvPr>
          <p:cNvSpPr>
            <a:spLocks noChangeAspect="1"/>
          </p:cNvSpPr>
          <p:nvPr/>
        </p:nvSpPr>
        <p:spPr bwMode="gray">
          <a:xfrm>
            <a:off x="3107797" y="3957602"/>
            <a:ext cx="325241" cy="104285"/>
          </a:xfrm>
          <a:custGeom>
            <a:avLst/>
            <a:gdLst/>
            <a:ahLst/>
            <a:cxnLst>
              <a:cxn ang="0">
                <a:pos x="0" y="44"/>
              </a:cxn>
              <a:cxn ang="0">
                <a:pos x="48" y="5"/>
              </a:cxn>
              <a:cxn ang="0">
                <a:pos x="140" y="0"/>
              </a:cxn>
              <a:cxn ang="0">
                <a:pos x="358" y="96"/>
              </a:cxn>
              <a:cxn ang="0">
                <a:pos x="242" y="113"/>
              </a:cxn>
              <a:cxn ang="0">
                <a:pos x="262" y="91"/>
              </a:cxn>
              <a:cxn ang="0">
                <a:pos x="206" y="55"/>
              </a:cxn>
              <a:cxn ang="0">
                <a:pos x="97" y="34"/>
              </a:cxn>
              <a:cxn ang="0">
                <a:pos x="103" y="18"/>
              </a:cxn>
              <a:cxn ang="0">
                <a:pos x="0" y="44"/>
              </a:cxn>
            </a:cxnLst>
            <a:rect l="0" t="0" r="r" b="b"/>
            <a:pathLst>
              <a:path w="358" h="113">
                <a:moveTo>
                  <a:pt x="0" y="44"/>
                </a:moveTo>
                <a:lnTo>
                  <a:pt x="48" y="5"/>
                </a:lnTo>
                <a:lnTo>
                  <a:pt x="140" y="0"/>
                </a:lnTo>
                <a:lnTo>
                  <a:pt x="358" y="96"/>
                </a:lnTo>
                <a:lnTo>
                  <a:pt x="242" y="113"/>
                </a:lnTo>
                <a:lnTo>
                  <a:pt x="262" y="91"/>
                </a:lnTo>
                <a:lnTo>
                  <a:pt x="206" y="55"/>
                </a:lnTo>
                <a:lnTo>
                  <a:pt x="97" y="34"/>
                </a:lnTo>
                <a:lnTo>
                  <a:pt x="103" y="18"/>
                </a:lnTo>
                <a:lnTo>
                  <a:pt x="0" y="4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8" name="30453355.75239.1253.6256.255">
            <a:extLst>
              <a:ext uri="{FF2B5EF4-FFF2-40B4-BE49-F238E27FC236}">
                <a16:creationId xmlns:a16="http://schemas.microsoft.com/office/drawing/2014/main" id="{F47EEC37-2B67-5640-AF33-041146FB370B}"/>
              </a:ext>
            </a:extLst>
          </p:cNvPr>
          <p:cNvSpPr>
            <a:spLocks noChangeAspect="1"/>
          </p:cNvSpPr>
          <p:nvPr/>
        </p:nvSpPr>
        <p:spPr bwMode="gray">
          <a:xfrm>
            <a:off x="3507219" y="4061884"/>
            <a:ext cx="100805" cy="55506"/>
          </a:xfrm>
          <a:custGeom>
            <a:avLst/>
            <a:gdLst/>
            <a:ahLst/>
            <a:cxnLst>
              <a:cxn ang="0">
                <a:pos x="0" y="0"/>
              </a:cxn>
              <a:cxn ang="0">
                <a:pos x="0" y="63"/>
              </a:cxn>
              <a:cxn ang="0">
                <a:pos x="113" y="42"/>
              </a:cxn>
              <a:cxn ang="0">
                <a:pos x="63" y="6"/>
              </a:cxn>
              <a:cxn ang="0">
                <a:pos x="0" y="0"/>
              </a:cxn>
            </a:cxnLst>
            <a:rect l="0" t="0" r="r" b="b"/>
            <a:pathLst>
              <a:path w="113" h="63">
                <a:moveTo>
                  <a:pt x="0" y="0"/>
                </a:moveTo>
                <a:lnTo>
                  <a:pt x="0" y="63"/>
                </a:lnTo>
                <a:lnTo>
                  <a:pt x="113" y="42"/>
                </a:lnTo>
                <a:lnTo>
                  <a:pt x="63" y="6"/>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79" name="30454366.125204.62524.55">
            <a:extLst>
              <a:ext uri="{FF2B5EF4-FFF2-40B4-BE49-F238E27FC236}">
                <a16:creationId xmlns:a16="http://schemas.microsoft.com/office/drawing/2014/main" id="{7987660E-2DBC-DE49-9285-F0D64E79BFF9}"/>
              </a:ext>
            </a:extLst>
          </p:cNvPr>
          <p:cNvSpPr>
            <a:spLocks noChangeAspect="1"/>
          </p:cNvSpPr>
          <p:nvPr/>
        </p:nvSpPr>
        <p:spPr bwMode="gray">
          <a:xfrm>
            <a:off x="2951832" y="4228404"/>
            <a:ext cx="74177" cy="31958"/>
          </a:xfrm>
          <a:custGeom>
            <a:avLst/>
            <a:gdLst/>
            <a:ahLst/>
            <a:cxnLst>
              <a:cxn ang="0">
                <a:pos x="0" y="26"/>
              </a:cxn>
              <a:cxn ang="0">
                <a:pos x="22" y="0"/>
              </a:cxn>
              <a:cxn ang="0">
                <a:pos x="77" y="34"/>
              </a:cxn>
              <a:cxn ang="0">
                <a:pos x="0" y="26"/>
              </a:cxn>
            </a:cxnLst>
            <a:rect l="0" t="0" r="r" b="b"/>
            <a:pathLst>
              <a:path w="77" h="34">
                <a:moveTo>
                  <a:pt x="0" y="26"/>
                </a:moveTo>
                <a:lnTo>
                  <a:pt x="22" y="0"/>
                </a:lnTo>
                <a:lnTo>
                  <a:pt x="77" y="34"/>
                </a:lnTo>
                <a:lnTo>
                  <a:pt x="0" y="2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0" name="30455499259.6251.62535">
            <a:extLst>
              <a:ext uri="{FF2B5EF4-FFF2-40B4-BE49-F238E27FC236}">
                <a16:creationId xmlns:a16="http://schemas.microsoft.com/office/drawing/2014/main" id="{A89ED62D-E723-9B4D-B329-DC64004AD81D}"/>
              </a:ext>
            </a:extLst>
          </p:cNvPr>
          <p:cNvSpPr>
            <a:spLocks noChangeAspect="1"/>
          </p:cNvSpPr>
          <p:nvPr/>
        </p:nvSpPr>
        <p:spPr bwMode="gray">
          <a:xfrm>
            <a:off x="3836265" y="6379671"/>
            <a:ext cx="47550" cy="26912"/>
          </a:xfrm>
          <a:custGeom>
            <a:avLst/>
            <a:gdLst/>
            <a:ahLst/>
            <a:cxnLst>
              <a:cxn ang="0">
                <a:pos x="0" y="29"/>
              </a:cxn>
              <a:cxn ang="0">
                <a:pos x="30" y="14"/>
              </a:cxn>
              <a:cxn ang="0">
                <a:pos x="15" y="0"/>
              </a:cxn>
              <a:cxn ang="0">
                <a:pos x="51" y="3"/>
              </a:cxn>
              <a:cxn ang="0">
                <a:pos x="0" y="29"/>
              </a:cxn>
            </a:cxnLst>
            <a:rect l="0" t="0" r="r" b="b"/>
            <a:pathLst>
              <a:path w="51" h="29">
                <a:moveTo>
                  <a:pt x="0" y="29"/>
                </a:moveTo>
                <a:lnTo>
                  <a:pt x="30" y="14"/>
                </a:lnTo>
                <a:lnTo>
                  <a:pt x="15" y="0"/>
                </a:lnTo>
                <a:lnTo>
                  <a:pt x="51" y="3"/>
                </a:lnTo>
                <a:lnTo>
                  <a:pt x="0" y="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1" name="30456498.87526223.3755">
            <a:extLst>
              <a:ext uri="{FF2B5EF4-FFF2-40B4-BE49-F238E27FC236}">
                <a16:creationId xmlns:a16="http://schemas.microsoft.com/office/drawing/2014/main" id="{A37D9F05-123D-EC4C-9737-BD5E83B9EEF2}"/>
              </a:ext>
            </a:extLst>
          </p:cNvPr>
          <p:cNvSpPr>
            <a:spLocks noChangeAspect="1"/>
          </p:cNvSpPr>
          <p:nvPr/>
        </p:nvSpPr>
        <p:spPr bwMode="gray">
          <a:xfrm>
            <a:off x="3874304" y="6376309"/>
            <a:ext cx="53255" cy="33639"/>
          </a:xfrm>
          <a:custGeom>
            <a:avLst/>
            <a:gdLst/>
            <a:ahLst/>
            <a:cxnLst>
              <a:cxn ang="0">
                <a:pos x="0" y="35"/>
              </a:cxn>
              <a:cxn ang="0">
                <a:pos x="27" y="0"/>
              </a:cxn>
              <a:cxn ang="0">
                <a:pos x="60" y="12"/>
              </a:cxn>
              <a:cxn ang="0">
                <a:pos x="0" y="35"/>
              </a:cxn>
            </a:cxnLst>
            <a:rect l="0" t="0" r="r" b="b"/>
            <a:pathLst>
              <a:path w="60" h="35">
                <a:moveTo>
                  <a:pt x="0" y="35"/>
                </a:moveTo>
                <a:lnTo>
                  <a:pt x="27" y="0"/>
                </a:lnTo>
                <a:lnTo>
                  <a:pt x="60" y="12"/>
                </a:lnTo>
                <a:lnTo>
                  <a:pt x="0" y="3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2" name="30460383271.8756.55.55">
            <a:extLst>
              <a:ext uri="{FF2B5EF4-FFF2-40B4-BE49-F238E27FC236}">
                <a16:creationId xmlns:a16="http://schemas.microsoft.com/office/drawing/2014/main" id="{EB7CBF46-9125-BA41-A933-3B6C43873792}"/>
              </a:ext>
            </a:extLst>
          </p:cNvPr>
          <p:cNvSpPr>
            <a:spLocks noChangeAspect="1"/>
          </p:cNvSpPr>
          <p:nvPr/>
        </p:nvSpPr>
        <p:spPr bwMode="gray">
          <a:xfrm>
            <a:off x="4032173" y="4500886"/>
            <a:ext cx="87493" cy="107646"/>
          </a:xfrm>
          <a:custGeom>
            <a:avLst/>
            <a:gdLst/>
            <a:ahLst/>
            <a:cxnLst>
              <a:cxn ang="0">
                <a:pos x="0" y="110"/>
              </a:cxn>
              <a:cxn ang="0">
                <a:pos x="14" y="0"/>
              </a:cxn>
              <a:cxn ang="0">
                <a:pos x="96" y="49"/>
              </a:cxn>
              <a:cxn ang="0">
                <a:pos x="47" y="114"/>
              </a:cxn>
              <a:cxn ang="0">
                <a:pos x="0" y="110"/>
              </a:cxn>
            </a:cxnLst>
            <a:rect l="0" t="0" r="r" b="b"/>
            <a:pathLst>
              <a:path w="96" h="114">
                <a:moveTo>
                  <a:pt x="0" y="110"/>
                </a:moveTo>
                <a:lnTo>
                  <a:pt x="14" y="0"/>
                </a:lnTo>
                <a:lnTo>
                  <a:pt x="96" y="49"/>
                </a:lnTo>
                <a:lnTo>
                  <a:pt x="47" y="114"/>
                </a:lnTo>
                <a:lnTo>
                  <a:pt x="0" y="11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3" name="30464181.25236.87583.625114.55">
            <a:extLst>
              <a:ext uri="{FF2B5EF4-FFF2-40B4-BE49-F238E27FC236}">
                <a16:creationId xmlns:a16="http://schemas.microsoft.com/office/drawing/2014/main" id="{079ADF66-5163-394B-A761-C17A290AB807}"/>
              </a:ext>
            </a:extLst>
          </p:cNvPr>
          <p:cNvSpPr>
            <a:spLocks noChangeAspect="1"/>
          </p:cNvSpPr>
          <p:nvPr/>
        </p:nvSpPr>
        <p:spPr bwMode="gray">
          <a:xfrm>
            <a:off x="3471081" y="1234455"/>
            <a:ext cx="1835437" cy="1355688"/>
          </a:xfrm>
          <a:custGeom>
            <a:avLst/>
            <a:gdLst/>
            <a:ahLst/>
            <a:cxnLst>
              <a:cxn ang="0">
                <a:pos x="226" y="350"/>
              </a:cxn>
              <a:cxn ang="0">
                <a:pos x="263" y="287"/>
              </a:cxn>
              <a:cxn ang="0">
                <a:pos x="176" y="256"/>
              </a:cxn>
              <a:cxn ang="0">
                <a:pos x="378" y="140"/>
              </a:cxn>
              <a:cxn ang="0">
                <a:pos x="585" y="96"/>
              </a:cxn>
              <a:cxn ang="0">
                <a:pos x="746" y="152"/>
              </a:cxn>
              <a:cxn ang="0">
                <a:pos x="706" y="88"/>
              </a:cxn>
              <a:cxn ang="0">
                <a:pos x="951" y="122"/>
              </a:cxn>
              <a:cxn ang="0">
                <a:pos x="1074" y="88"/>
              </a:cxn>
              <a:cxn ang="0">
                <a:pos x="889" y="33"/>
              </a:cxn>
              <a:cxn ang="0">
                <a:pos x="1111" y="63"/>
              </a:cxn>
              <a:cxn ang="0">
                <a:pos x="1105" y="8"/>
              </a:cxn>
              <a:cxn ang="0">
                <a:pos x="1529" y="29"/>
              </a:cxn>
              <a:cxn ang="0">
                <a:pos x="1564" y="33"/>
              </a:cxn>
              <a:cxn ang="0">
                <a:pos x="1704" y="80"/>
              </a:cxn>
              <a:cxn ang="0">
                <a:pos x="1297" y="139"/>
              </a:cxn>
              <a:cxn ang="0">
                <a:pos x="1513" y="170"/>
              </a:cxn>
              <a:cxn ang="0">
                <a:pos x="1756" y="157"/>
              </a:cxn>
              <a:cxn ang="0">
                <a:pos x="1929" y="133"/>
              </a:cxn>
              <a:cxn ang="0">
                <a:pos x="1717" y="239"/>
              </a:cxn>
              <a:cxn ang="0">
                <a:pos x="1855" y="275"/>
              </a:cxn>
              <a:cxn ang="0">
                <a:pos x="1731" y="373"/>
              </a:cxn>
              <a:cxn ang="0">
                <a:pos x="1748" y="448"/>
              </a:cxn>
              <a:cxn ang="0">
                <a:pos x="1712" y="502"/>
              </a:cxn>
              <a:cxn ang="0">
                <a:pos x="1771" y="554"/>
              </a:cxn>
              <a:cxn ang="0">
                <a:pos x="1696" y="604"/>
              </a:cxn>
              <a:cxn ang="0">
                <a:pos x="1735" y="660"/>
              </a:cxn>
              <a:cxn ang="0">
                <a:pos x="1756" y="710"/>
              </a:cxn>
              <a:cxn ang="0">
                <a:pos x="1537" y="745"/>
              </a:cxn>
              <a:cxn ang="0">
                <a:pos x="1584" y="822"/>
              </a:cxn>
              <a:cxn ang="0">
                <a:pos x="1700" y="846"/>
              </a:cxn>
              <a:cxn ang="0">
                <a:pos x="1682" y="899"/>
              </a:cxn>
              <a:cxn ang="0">
                <a:pos x="1514" y="840"/>
              </a:cxn>
              <a:cxn ang="0">
                <a:pos x="1550" y="930"/>
              </a:cxn>
              <a:cxn ang="0">
                <a:pos x="1555" y="1026"/>
              </a:cxn>
              <a:cxn ang="0">
                <a:pos x="1364" y="1060"/>
              </a:cxn>
              <a:cxn ang="0">
                <a:pos x="1230" y="1180"/>
              </a:cxn>
              <a:cxn ang="0">
                <a:pos x="1171" y="1157"/>
              </a:cxn>
              <a:cxn ang="0">
                <a:pos x="1059" y="1235"/>
              </a:cxn>
              <a:cxn ang="0">
                <a:pos x="1052" y="1295"/>
              </a:cxn>
              <a:cxn ang="0">
                <a:pos x="1048" y="1342"/>
              </a:cxn>
              <a:cxn ang="0">
                <a:pos x="977" y="1461"/>
              </a:cxn>
              <a:cxn ang="0">
                <a:pos x="828" y="1447"/>
              </a:cxn>
              <a:cxn ang="0">
                <a:pos x="790" y="1412"/>
              </a:cxn>
              <a:cxn ang="0">
                <a:pos x="718" y="1276"/>
              </a:cxn>
              <a:cxn ang="0">
                <a:pos x="698" y="1209"/>
              </a:cxn>
              <a:cxn ang="0">
                <a:pos x="676" y="1063"/>
              </a:cxn>
              <a:cxn ang="0">
                <a:pos x="672" y="1042"/>
              </a:cxn>
              <a:cxn ang="0">
                <a:pos x="687" y="946"/>
              </a:cxn>
              <a:cxn ang="0">
                <a:pos x="746" y="908"/>
              </a:cxn>
              <a:cxn ang="0">
                <a:pos x="702" y="861"/>
              </a:cxn>
              <a:cxn ang="0">
                <a:pos x="635" y="861"/>
              </a:cxn>
              <a:cxn ang="0">
                <a:pos x="582" y="828"/>
              </a:cxn>
              <a:cxn ang="0">
                <a:pos x="540" y="671"/>
              </a:cxn>
              <a:cxn ang="0">
                <a:pos x="402" y="560"/>
              </a:cxn>
              <a:cxn ang="0">
                <a:pos x="222" y="575"/>
              </a:cxn>
              <a:cxn ang="0">
                <a:pos x="50" y="502"/>
              </a:cxn>
              <a:cxn ang="0">
                <a:pos x="220" y="469"/>
              </a:cxn>
            </a:cxnLst>
            <a:rect l="0" t="0" r="r" b="b"/>
            <a:pathLst>
              <a:path w="2028" h="1481">
                <a:moveTo>
                  <a:pt x="0" y="415"/>
                </a:moveTo>
                <a:lnTo>
                  <a:pt x="11" y="393"/>
                </a:lnTo>
                <a:lnTo>
                  <a:pt x="143" y="350"/>
                </a:lnTo>
                <a:lnTo>
                  <a:pt x="226" y="350"/>
                </a:lnTo>
                <a:lnTo>
                  <a:pt x="273" y="317"/>
                </a:lnTo>
                <a:lnTo>
                  <a:pt x="259" y="306"/>
                </a:lnTo>
                <a:lnTo>
                  <a:pt x="288" y="295"/>
                </a:lnTo>
                <a:lnTo>
                  <a:pt x="263" y="287"/>
                </a:lnTo>
                <a:lnTo>
                  <a:pt x="309" y="273"/>
                </a:lnTo>
                <a:lnTo>
                  <a:pt x="292" y="262"/>
                </a:lnTo>
                <a:lnTo>
                  <a:pt x="233" y="284"/>
                </a:lnTo>
                <a:lnTo>
                  <a:pt x="176" y="256"/>
                </a:lnTo>
                <a:lnTo>
                  <a:pt x="250" y="239"/>
                </a:lnTo>
                <a:lnTo>
                  <a:pt x="291" y="192"/>
                </a:lnTo>
                <a:lnTo>
                  <a:pt x="382" y="191"/>
                </a:lnTo>
                <a:lnTo>
                  <a:pt x="378" y="140"/>
                </a:lnTo>
                <a:lnTo>
                  <a:pt x="445" y="139"/>
                </a:lnTo>
                <a:lnTo>
                  <a:pt x="514" y="174"/>
                </a:lnTo>
                <a:lnTo>
                  <a:pt x="433" y="128"/>
                </a:lnTo>
                <a:lnTo>
                  <a:pt x="585" y="96"/>
                </a:lnTo>
                <a:lnTo>
                  <a:pt x="622" y="118"/>
                </a:lnTo>
                <a:lnTo>
                  <a:pt x="628" y="163"/>
                </a:lnTo>
                <a:lnTo>
                  <a:pt x="647" y="125"/>
                </a:lnTo>
                <a:lnTo>
                  <a:pt x="746" y="152"/>
                </a:lnTo>
                <a:lnTo>
                  <a:pt x="712" y="130"/>
                </a:lnTo>
                <a:lnTo>
                  <a:pt x="760" y="133"/>
                </a:lnTo>
                <a:lnTo>
                  <a:pt x="718" y="108"/>
                </a:lnTo>
                <a:lnTo>
                  <a:pt x="706" y="88"/>
                </a:lnTo>
                <a:lnTo>
                  <a:pt x="728" y="84"/>
                </a:lnTo>
                <a:lnTo>
                  <a:pt x="923" y="146"/>
                </a:lnTo>
                <a:lnTo>
                  <a:pt x="908" y="125"/>
                </a:lnTo>
                <a:lnTo>
                  <a:pt x="951" y="122"/>
                </a:lnTo>
                <a:lnTo>
                  <a:pt x="923" y="104"/>
                </a:lnTo>
                <a:lnTo>
                  <a:pt x="989" y="108"/>
                </a:lnTo>
                <a:lnTo>
                  <a:pt x="885" y="63"/>
                </a:lnTo>
                <a:lnTo>
                  <a:pt x="1074" y="88"/>
                </a:lnTo>
                <a:lnTo>
                  <a:pt x="1032" y="62"/>
                </a:lnTo>
                <a:lnTo>
                  <a:pt x="920" y="58"/>
                </a:lnTo>
                <a:lnTo>
                  <a:pt x="958" y="55"/>
                </a:lnTo>
                <a:lnTo>
                  <a:pt x="889" y="33"/>
                </a:lnTo>
                <a:lnTo>
                  <a:pt x="970" y="38"/>
                </a:lnTo>
                <a:lnTo>
                  <a:pt x="937" y="29"/>
                </a:lnTo>
                <a:lnTo>
                  <a:pt x="973" y="22"/>
                </a:lnTo>
                <a:lnTo>
                  <a:pt x="1111" y="63"/>
                </a:lnTo>
                <a:lnTo>
                  <a:pt x="1096" y="48"/>
                </a:lnTo>
                <a:lnTo>
                  <a:pt x="1158" y="33"/>
                </a:lnTo>
                <a:lnTo>
                  <a:pt x="1106" y="29"/>
                </a:lnTo>
                <a:lnTo>
                  <a:pt x="1105" y="8"/>
                </a:lnTo>
                <a:lnTo>
                  <a:pt x="1139" y="0"/>
                </a:lnTo>
                <a:lnTo>
                  <a:pt x="1513" y="9"/>
                </a:lnTo>
                <a:lnTo>
                  <a:pt x="1540" y="20"/>
                </a:lnTo>
                <a:lnTo>
                  <a:pt x="1529" y="29"/>
                </a:lnTo>
                <a:lnTo>
                  <a:pt x="1278" y="31"/>
                </a:lnTo>
                <a:lnTo>
                  <a:pt x="1307" y="42"/>
                </a:lnTo>
                <a:lnTo>
                  <a:pt x="1209" y="55"/>
                </a:lnTo>
                <a:lnTo>
                  <a:pt x="1564" y="33"/>
                </a:lnTo>
                <a:lnTo>
                  <a:pt x="1576" y="52"/>
                </a:lnTo>
                <a:lnTo>
                  <a:pt x="1529" y="64"/>
                </a:lnTo>
                <a:lnTo>
                  <a:pt x="1610" y="56"/>
                </a:lnTo>
                <a:lnTo>
                  <a:pt x="1704" y="80"/>
                </a:lnTo>
                <a:lnTo>
                  <a:pt x="1564" y="118"/>
                </a:lnTo>
                <a:lnTo>
                  <a:pt x="1338" y="115"/>
                </a:lnTo>
                <a:lnTo>
                  <a:pt x="1392" y="122"/>
                </a:lnTo>
                <a:lnTo>
                  <a:pt x="1297" y="139"/>
                </a:lnTo>
                <a:lnTo>
                  <a:pt x="1297" y="158"/>
                </a:lnTo>
                <a:lnTo>
                  <a:pt x="1544" y="128"/>
                </a:lnTo>
                <a:lnTo>
                  <a:pt x="1565" y="140"/>
                </a:lnTo>
                <a:lnTo>
                  <a:pt x="1513" y="170"/>
                </a:lnTo>
                <a:lnTo>
                  <a:pt x="1674" y="122"/>
                </a:lnTo>
                <a:lnTo>
                  <a:pt x="1682" y="168"/>
                </a:lnTo>
                <a:lnTo>
                  <a:pt x="1603" y="247"/>
                </a:lnTo>
                <a:lnTo>
                  <a:pt x="1756" y="157"/>
                </a:lnTo>
                <a:lnTo>
                  <a:pt x="1755" y="170"/>
                </a:lnTo>
                <a:lnTo>
                  <a:pt x="1827" y="169"/>
                </a:lnTo>
                <a:lnTo>
                  <a:pt x="1849" y="139"/>
                </a:lnTo>
                <a:lnTo>
                  <a:pt x="1929" y="133"/>
                </a:lnTo>
                <a:lnTo>
                  <a:pt x="2028" y="161"/>
                </a:lnTo>
                <a:lnTo>
                  <a:pt x="1932" y="201"/>
                </a:lnTo>
                <a:lnTo>
                  <a:pt x="1937" y="217"/>
                </a:lnTo>
                <a:lnTo>
                  <a:pt x="1717" y="239"/>
                </a:lnTo>
                <a:lnTo>
                  <a:pt x="1893" y="242"/>
                </a:lnTo>
                <a:lnTo>
                  <a:pt x="1749" y="275"/>
                </a:lnTo>
                <a:lnTo>
                  <a:pt x="1759" y="300"/>
                </a:lnTo>
                <a:lnTo>
                  <a:pt x="1855" y="275"/>
                </a:lnTo>
                <a:lnTo>
                  <a:pt x="1785" y="306"/>
                </a:lnTo>
                <a:lnTo>
                  <a:pt x="1775" y="346"/>
                </a:lnTo>
                <a:lnTo>
                  <a:pt x="1799" y="337"/>
                </a:lnTo>
                <a:lnTo>
                  <a:pt x="1731" y="373"/>
                </a:lnTo>
                <a:lnTo>
                  <a:pt x="1707" y="448"/>
                </a:lnTo>
                <a:lnTo>
                  <a:pt x="1744" y="432"/>
                </a:lnTo>
                <a:lnTo>
                  <a:pt x="1794" y="448"/>
                </a:lnTo>
                <a:lnTo>
                  <a:pt x="1748" y="448"/>
                </a:lnTo>
                <a:lnTo>
                  <a:pt x="1748" y="470"/>
                </a:lnTo>
                <a:lnTo>
                  <a:pt x="1825" y="480"/>
                </a:lnTo>
                <a:lnTo>
                  <a:pt x="1827" y="507"/>
                </a:lnTo>
                <a:lnTo>
                  <a:pt x="1712" y="502"/>
                </a:lnTo>
                <a:lnTo>
                  <a:pt x="1744" y="514"/>
                </a:lnTo>
                <a:lnTo>
                  <a:pt x="1679" y="522"/>
                </a:lnTo>
                <a:lnTo>
                  <a:pt x="1712" y="553"/>
                </a:lnTo>
                <a:lnTo>
                  <a:pt x="1771" y="554"/>
                </a:lnTo>
                <a:lnTo>
                  <a:pt x="1735" y="572"/>
                </a:lnTo>
                <a:lnTo>
                  <a:pt x="1782" y="588"/>
                </a:lnTo>
                <a:lnTo>
                  <a:pt x="1781" y="627"/>
                </a:lnTo>
                <a:lnTo>
                  <a:pt x="1696" y="604"/>
                </a:lnTo>
                <a:lnTo>
                  <a:pt x="1746" y="624"/>
                </a:lnTo>
                <a:lnTo>
                  <a:pt x="1715" y="638"/>
                </a:lnTo>
                <a:lnTo>
                  <a:pt x="1744" y="635"/>
                </a:lnTo>
                <a:lnTo>
                  <a:pt x="1735" y="660"/>
                </a:lnTo>
                <a:lnTo>
                  <a:pt x="1797" y="672"/>
                </a:lnTo>
                <a:lnTo>
                  <a:pt x="1700" y="665"/>
                </a:lnTo>
                <a:lnTo>
                  <a:pt x="1682" y="679"/>
                </a:lnTo>
                <a:lnTo>
                  <a:pt x="1756" y="710"/>
                </a:lnTo>
                <a:lnTo>
                  <a:pt x="1746" y="736"/>
                </a:lnTo>
                <a:lnTo>
                  <a:pt x="1686" y="751"/>
                </a:lnTo>
                <a:lnTo>
                  <a:pt x="1627" y="714"/>
                </a:lnTo>
                <a:lnTo>
                  <a:pt x="1537" y="745"/>
                </a:lnTo>
                <a:lnTo>
                  <a:pt x="1601" y="765"/>
                </a:lnTo>
                <a:lnTo>
                  <a:pt x="1540" y="782"/>
                </a:lnTo>
                <a:lnTo>
                  <a:pt x="1606" y="785"/>
                </a:lnTo>
                <a:lnTo>
                  <a:pt x="1584" y="822"/>
                </a:lnTo>
                <a:lnTo>
                  <a:pt x="1610" y="800"/>
                </a:lnTo>
                <a:lnTo>
                  <a:pt x="1682" y="831"/>
                </a:lnTo>
                <a:lnTo>
                  <a:pt x="1660" y="855"/>
                </a:lnTo>
                <a:lnTo>
                  <a:pt x="1700" y="846"/>
                </a:lnTo>
                <a:lnTo>
                  <a:pt x="1682" y="872"/>
                </a:lnTo>
                <a:lnTo>
                  <a:pt x="1709" y="859"/>
                </a:lnTo>
                <a:lnTo>
                  <a:pt x="1713" y="923"/>
                </a:lnTo>
                <a:lnTo>
                  <a:pt x="1682" y="899"/>
                </a:lnTo>
                <a:lnTo>
                  <a:pt x="1682" y="923"/>
                </a:lnTo>
                <a:lnTo>
                  <a:pt x="1650" y="921"/>
                </a:lnTo>
                <a:lnTo>
                  <a:pt x="1610" y="869"/>
                </a:lnTo>
                <a:lnTo>
                  <a:pt x="1514" y="840"/>
                </a:lnTo>
                <a:lnTo>
                  <a:pt x="1581" y="875"/>
                </a:lnTo>
                <a:lnTo>
                  <a:pt x="1492" y="892"/>
                </a:lnTo>
                <a:lnTo>
                  <a:pt x="1467" y="923"/>
                </a:lnTo>
                <a:lnTo>
                  <a:pt x="1550" y="930"/>
                </a:lnTo>
                <a:lnTo>
                  <a:pt x="1480" y="947"/>
                </a:lnTo>
                <a:lnTo>
                  <a:pt x="1586" y="925"/>
                </a:lnTo>
                <a:lnTo>
                  <a:pt x="1689" y="953"/>
                </a:lnTo>
                <a:lnTo>
                  <a:pt x="1555" y="1026"/>
                </a:lnTo>
                <a:lnTo>
                  <a:pt x="1426" y="1058"/>
                </a:lnTo>
                <a:lnTo>
                  <a:pt x="1379" y="1060"/>
                </a:lnTo>
                <a:lnTo>
                  <a:pt x="1349" y="1027"/>
                </a:lnTo>
                <a:lnTo>
                  <a:pt x="1364" y="1060"/>
                </a:lnTo>
                <a:lnTo>
                  <a:pt x="1326" y="1080"/>
                </a:lnTo>
                <a:lnTo>
                  <a:pt x="1278" y="1158"/>
                </a:lnTo>
                <a:lnTo>
                  <a:pt x="1238" y="1157"/>
                </a:lnTo>
                <a:lnTo>
                  <a:pt x="1230" y="1180"/>
                </a:lnTo>
                <a:lnTo>
                  <a:pt x="1191" y="1184"/>
                </a:lnTo>
                <a:lnTo>
                  <a:pt x="1172" y="1176"/>
                </a:lnTo>
                <a:lnTo>
                  <a:pt x="1198" y="1159"/>
                </a:lnTo>
                <a:lnTo>
                  <a:pt x="1171" y="1157"/>
                </a:lnTo>
                <a:lnTo>
                  <a:pt x="1157" y="1196"/>
                </a:lnTo>
                <a:lnTo>
                  <a:pt x="1095" y="1201"/>
                </a:lnTo>
                <a:lnTo>
                  <a:pt x="1096" y="1232"/>
                </a:lnTo>
                <a:lnTo>
                  <a:pt x="1059" y="1235"/>
                </a:lnTo>
                <a:lnTo>
                  <a:pt x="1092" y="1261"/>
                </a:lnTo>
                <a:lnTo>
                  <a:pt x="1048" y="1267"/>
                </a:lnTo>
                <a:lnTo>
                  <a:pt x="1083" y="1295"/>
                </a:lnTo>
                <a:lnTo>
                  <a:pt x="1052" y="1295"/>
                </a:lnTo>
                <a:lnTo>
                  <a:pt x="1076" y="1302"/>
                </a:lnTo>
                <a:lnTo>
                  <a:pt x="1052" y="1334"/>
                </a:lnTo>
                <a:lnTo>
                  <a:pt x="1032" y="1328"/>
                </a:lnTo>
                <a:lnTo>
                  <a:pt x="1048" y="1342"/>
                </a:lnTo>
                <a:lnTo>
                  <a:pt x="1007" y="1355"/>
                </a:lnTo>
                <a:lnTo>
                  <a:pt x="1032" y="1399"/>
                </a:lnTo>
                <a:lnTo>
                  <a:pt x="1007" y="1459"/>
                </a:lnTo>
                <a:lnTo>
                  <a:pt x="977" y="1461"/>
                </a:lnTo>
                <a:lnTo>
                  <a:pt x="1000" y="1481"/>
                </a:lnTo>
                <a:lnTo>
                  <a:pt x="931" y="1481"/>
                </a:lnTo>
                <a:lnTo>
                  <a:pt x="923" y="1441"/>
                </a:lnTo>
                <a:lnTo>
                  <a:pt x="828" y="1447"/>
                </a:lnTo>
                <a:lnTo>
                  <a:pt x="850" y="1436"/>
                </a:lnTo>
                <a:lnTo>
                  <a:pt x="801" y="1419"/>
                </a:lnTo>
                <a:lnTo>
                  <a:pt x="826" y="1412"/>
                </a:lnTo>
                <a:lnTo>
                  <a:pt x="790" y="1412"/>
                </a:lnTo>
                <a:lnTo>
                  <a:pt x="802" y="1381"/>
                </a:lnTo>
                <a:lnTo>
                  <a:pt x="782" y="1388"/>
                </a:lnTo>
                <a:lnTo>
                  <a:pt x="718" y="1302"/>
                </a:lnTo>
                <a:lnTo>
                  <a:pt x="718" y="1276"/>
                </a:lnTo>
                <a:lnTo>
                  <a:pt x="765" y="1249"/>
                </a:lnTo>
                <a:lnTo>
                  <a:pt x="746" y="1240"/>
                </a:lnTo>
                <a:lnTo>
                  <a:pt x="698" y="1272"/>
                </a:lnTo>
                <a:lnTo>
                  <a:pt x="698" y="1209"/>
                </a:lnTo>
                <a:lnTo>
                  <a:pt x="654" y="1176"/>
                </a:lnTo>
                <a:lnTo>
                  <a:pt x="666" y="1125"/>
                </a:lnTo>
                <a:lnTo>
                  <a:pt x="639" y="1106"/>
                </a:lnTo>
                <a:lnTo>
                  <a:pt x="676" y="1063"/>
                </a:lnTo>
                <a:lnTo>
                  <a:pt x="654" y="1058"/>
                </a:lnTo>
                <a:lnTo>
                  <a:pt x="735" y="1058"/>
                </a:lnTo>
                <a:lnTo>
                  <a:pt x="727" y="1041"/>
                </a:lnTo>
                <a:lnTo>
                  <a:pt x="672" y="1042"/>
                </a:lnTo>
                <a:lnTo>
                  <a:pt x="754" y="1004"/>
                </a:lnTo>
                <a:lnTo>
                  <a:pt x="735" y="990"/>
                </a:lnTo>
                <a:lnTo>
                  <a:pt x="754" y="947"/>
                </a:lnTo>
                <a:lnTo>
                  <a:pt x="687" y="946"/>
                </a:lnTo>
                <a:lnTo>
                  <a:pt x="613" y="910"/>
                </a:lnTo>
                <a:lnTo>
                  <a:pt x="746" y="930"/>
                </a:lnTo>
                <a:lnTo>
                  <a:pt x="723" y="914"/>
                </a:lnTo>
                <a:lnTo>
                  <a:pt x="746" y="908"/>
                </a:lnTo>
                <a:lnTo>
                  <a:pt x="694" y="881"/>
                </a:lnTo>
                <a:lnTo>
                  <a:pt x="712" y="869"/>
                </a:lnTo>
                <a:lnTo>
                  <a:pt x="684" y="879"/>
                </a:lnTo>
                <a:lnTo>
                  <a:pt x="702" y="861"/>
                </a:lnTo>
                <a:lnTo>
                  <a:pt x="668" y="862"/>
                </a:lnTo>
                <a:lnTo>
                  <a:pt x="706" y="848"/>
                </a:lnTo>
                <a:lnTo>
                  <a:pt x="647" y="828"/>
                </a:lnTo>
                <a:lnTo>
                  <a:pt x="635" y="861"/>
                </a:lnTo>
                <a:lnTo>
                  <a:pt x="585" y="862"/>
                </a:lnTo>
                <a:lnTo>
                  <a:pt x="575" y="848"/>
                </a:lnTo>
                <a:lnTo>
                  <a:pt x="608" y="828"/>
                </a:lnTo>
                <a:lnTo>
                  <a:pt x="582" y="828"/>
                </a:lnTo>
                <a:lnTo>
                  <a:pt x="613" y="773"/>
                </a:lnTo>
                <a:lnTo>
                  <a:pt x="578" y="763"/>
                </a:lnTo>
                <a:lnTo>
                  <a:pt x="595" y="738"/>
                </a:lnTo>
                <a:lnTo>
                  <a:pt x="540" y="671"/>
                </a:lnTo>
                <a:lnTo>
                  <a:pt x="558" y="670"/>
                </a:lnTo>
                <a:lnTo>
                  <a:pt x="483" y="610"/>
                </a:lnTo>
                <a:lnTo>
                  <a:pt x="483" y="588"/>
                </a:lnTo>
                <a:lnTo>
                  <a:pt x="402" y="560"/>
                </a:lnTo>
                <a:lnTo>
                  <a:pt x="327" y="543"/>
                </a:lnTo>
                <a:lnTo>
                  <a:pt x="258" y="571"/>
                </a:lnTo>
                <a:lnTo>
                  <a:pt x="202" y="553"/>
                </a:lnTo>
                <a:lnTo>
                  <a:pt x="222" y="575"/>
                </a:lnTo>
                <a:lnTo>
                  <a:pt x="163" y="565"/>
                </a:lnTo>
                <a:lnTo>
                  <a:pt x="112" y="542"/>
                </a:lnTo>
                <a:lnTo>
                  <a:pt x="163" y="522"/>
                </a:lnTo>
                <a:lnTo>
                  <a:pt x="50" y="502"/>
                </a:lnTo>
                <a:lnTo>
                  <a:pt x="92" y="483"/>
                </a:lnTo>
                <a:lnTo>
                  <a:pt x="226" y="488"/>
                </a:lnTo>
                <a:lnTo>
                  <a:pt x="243" y="481"/>
                </a:lnTo>
                <a:lnTo>
                  <a:pt x="220" y="469"/>
                </a:lnTo>
                <a:lnTo>
                  <a:pt x="242" y="458"/>
                </a:lnTo>
                <a:lnTo>
                  <a:pt x="121" y="466"/>
                </a:lnTo>
                <a:lnTo>
                  <a:pt x="0" y="41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4" name="30465359.5200.58.1257.55">
            <a:extLst>
              <a:ext uri="{FF2B5EF4-FFF2-40B4-BE49-F238E27FC236}">
                <a16:creationId xmlns:a16="http://schemas.microsoft.com/office/drawing/2014/main" id="{9CAAEB5F-C50D-BF49-93D5-5AF11F9289F9}"/>
              </a:ext>
            </a:extLst>
          </p:cNvPr>
          <p:cNvSpPr>
            <a:spLocks noChangeAspect="1"/>
          </p:cNvSpPr>
          <p:nvPr/>
        </p:nvSpPr>
        <p:spPr bwMode="gray">
          <a:xfrm>
            <a:off x="2885261" y="4120754"/>
            <a:ext cx="121727" cy="131197"/>
          </a:xfrm>
          <a:custGeom>
            <a:avLst/>
            <a:gdLst/>
            <a:ahLst/>
            <a:cxnLst>
              <a:cxn ang="0">
                <a:pos x="0" y="115"/>
              </a:cxn>
              <a:cxn ang="0">
                <a:pos x="28" y="63"/>
              </a:cxn>
              <a:cxn ang="0">
                <a:pos x="62" y="62"/>
              </a:cxn>
              <a:cxn ang="0">
                <a:pos x="26" y="18"/>
              </a:cxn>
              <a:cxn ang="0">
                <a:pos x="103" y="0"/>
              </a:cxn>
              <a:cxn ang="0">
                <a:pos x="114" y="68"/>
              </a:cxn>
              <a:cxn ang="0">
                <a:pos x="132" y="74"/>
              </a:cxn>
              <a:cxn ang="0">
                <a:pos x="96" y="118"/>
              </a:cxn>
              <a:cxn ang="0">
                <a:pos x="74" y="144"/>
              </a:cxn>
              <a:cxn ang="0">
                <a:pos x="0" y="115"/>
              </a:cxn>
            </a:cxnLst>
            <a:rect l="0" t="0" r="r" b="b"/>
            <a:pathLst>
              <a:path w="132" h="144">
                <a:moveTo>
                  <a:pt x="0" y="115"/>
                </a:moveTo>
                <a:lnTo>
                  <a:pt x="28" y="63"/>
                </a:lnTo>
                <a:lnTo>
                  <a:pt x="62" y="62"/>
                </a:lnTo>
                <a:lnTo>
                  <a:pt x="26" y="18"/>
                </a:lnTo>
                <a:lnTo>
                  <a:pt x="103" y="0"/>
                </a:lnTo>
                <a:lnTo>
                  <a:pt x="114" y="68"/>
                </a:lnTo>
                <a:lnTo>
                  <a:pt x="132" y="74"/>
                </a:lnTo>
                <a:lnTo>
                  <a:pt x="96" y="118"/>
                </a:lnTo>
                <a:lnTo>
                  <a:pt x="74" y="144"/>
                </a:lnTo>
                <a:lnTo>
                  <a:pt x="0" y="11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5" name="30466377.87525912.7595">
            <a:extLst>
              <a:ext uri="{FF2B5EF4-FFF2-40B4-BE49-F238E27FC236}">
                <a16:creationId xmlns:a16="http://schemas.microsoft.com/office/drawing/2014/main" id="{CED48DF5-7333-3948-8FBC-E978AA2BA0C4}"/>
              </a:ext>
            </a:extLst>
          </p:cNvPr>
          <p:cNvSpPr>
            <a:spLocks noChangeAspect="1"/>
          </p:cNvSpPr>
          <p:nvPr/>
        </p:nvSpPr>
        <p:spPr bwMode="gray">
          <a:xfrm>
            <a:off x="3826754" y="4418468"/>
            <a:ext cx="140748" cy="206885"/>
          </a:xfrm>
          <a:custGeom>
            <a:avLst/>
            <a:gdLst/>
            <a:ahLst/>
            <a:cxnLst>
              <a:cxn ang="0">
                <a:pos x="0" y="75"/>
              </a:cxn>
              <a:cxn ang="0">
                <a:pos x="24" y="106"/>
              </a:cxn>
              <a:cxn ang="0">
                <a:pos x="54" y="130"/>
              </a:cxn>
              <a:cxn ang="0">
                <a:pos x="47" y="193"/>
              </a:cxn>
              <a:cxn ang="0">
                <a:pos x="65" y="227"/>
              </a:cxn>
              <a:cxn ang="0">
                <a:pos x="160" y="213"/>
              </a:cxn>
              <a:cxn ang="0">
                <a:pos x="106" y="143"/>
              </a:cxn>
              <a:cxn ang="0">
                <a:pos x="143" y="83"/>
              </a:cxn>
              <a:cxn ang="0">
                <a:pos x="48" y="0"/>
              </a:cxn>
              <a:cxn ang="0">
                <a:pos x="17" y="24"/>
              </a:cxn>
              <a:cxn ang="0">
                <a:pos x="29" y="46"/>
              </a:cxn>
              <a:cxn ang="0">
                <a:pos x="0" y="75"/>
              </a:cxn>
            </a:cxnLst>
            <a:rect l="0" t="0" r="r" b="b"/>
            <a:pathLst>
              <a:path w="160" h="227">
                <a:moveTo>
                  <a:pt x="0" y="75"/>
                </a:moveTo>
                <a:lnTo>
                  <a:pt x="24" y="106"/>
                </a:lnTo>
                <a:lnTo>
                  <a:pt x="54" y="130"/>
                </a:lnTo>
                <a:lnTo>
                  <a:pt x="47" y="193"/>
                </a:lnTo>
                <a:lnTo>
                  <a:pt x="65" y="227"/>
                </a:lnTo>
                <a:lnTo>
                  <a:pt x="160" y="213"/>
                </a:lnTo>
                <a:lnTo>
                  <a:pt x="106" y="143"/>
                </a:lnTo>
                <a:lnTo>
                  <a:pt x="143" y="83"/>
                </a:lnTo>
                <a:lnTo>
                  <a:pt x="48" y="0"/>
                </a:lnTo>
                <a:lnTo>
                  <a:pt x="17" y="24"/>
                </a:lnTo>
                <a:lnTo>
                  <a:pt x="29" y="46"/>
                </a:lnTo>
                <a:lnTo>
                  <a:pt x="0" y="7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6" name="30467355.75234.1253.62555">
            <a:extLst>
              <a:ext uri="{FF2B5EF4-FFF2-40B4-BE49-F238E27FC236}">
                <a16:creationId xmlns:a16="http://schemas.microsoft.com/office/drawing/2014/main" id="{48E2570A-70D7-2749-8ED3-4167AF0AD2A2}"/>
              </a:ext>
            </a:extLst>
          </p:cNvPr>
          <p:cNvSpPr>
            <a:spLocks noChangeAspect="1"/>
          </p:cNvSpPr>
          <p:nvPr/>
        </p:nvSpPr>
        <p:spPr bwMode="gray">
          <a:xfrm>
            <a:off x="3427332" y="4061884"/>
            <a:ext cx="79883" cy="55506"/>
          </a:xfrm>
          <a:custGeom>
            <a:avLst/>
            <a:gdLst/>
            <a:ahLst/>
            <a:cxnLst>
              <a:cxn ang="0">
                <a:pos x="0" y="46"/>
              </a:cxn>
              <a:cxn ang="0">
                <a:pos x="65" y="45"/>
              </a:cxn>
              <a:cxn ang="0">
                <a:pos x="34" y="4"/>
              </a:cxn>
              <a:cxn ang="0">
                <a:pos x="86" y="0"/>
              </a:cxn>
              <a:cxn ang="0">
                <a:pos x="86" y="63"/>
              </a:cxn>
              <a:cxn ang="0">
                <a:pos x="0" y="46"/>
              </a:cxn>
            </a:cxnLst>
            <a:rect l="0" t="0" r="r" b="b"/>
            <a:pathLst>
              <a:path w="86" h="63">
                <a:moveTo>
                  <a:pt x="0" y="46"/>
                </a:moveTo>
                <a:lnTo>
                  <a:pt x="65" y="45"/>
                </a:lnTo>
                <a:lnTo>
                  <a:pt x="34" y="4"/>
                </a:lnTo>
                <a:lnTo>
                  <a:pt x="86" y="0"/>
                </a:lnTo>
                <a:lnTo>
                  <a:pt x="86" y="63"/>
                </a:lnTo>
                <a:lnTo>
                  <a:pt x="0" y="4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7" name="30468363.375205.8755.62511.55">
            <a:extLst>
              <a:ext uri="{FF2B5EF4-FFF2-40B4-BE49-F238E27FC236}">
                <a16:creationId xmlns:a16="http://schemas.microsoft.com/office/drawing/2014/main" id="{E0D89522-FB87-0E42-80B8-EA961542DC0F}"/>
              </a:ext>
            </a:extLst>
          </p:cNvPr>
          <p:cNvSpPr>
            <a:spLocks noChangeAspect="1"/>
          </p:cNvSpPr>
          <p:nvPr/>
        </p:nvSpPr>
        <p:spPr bwMode="gray">
          <a:xfrm>
            <a:off x="2974655" y="4182989"/>
            <a:ext cx="184493" cy="92509"/>
          </a:xfrm>
          <a:custGeom>
            <a:avLst/>
            <a:gdLst/>
            <a:ahLst/>
            <a:cxnLst>
              <a:cxn ang="0">
                <a:pos x="0" y="50"/>
              </a:cxn>
              <a:cxn ang="0">
                <a:pos x="36" y="6"/>
              </a:cxn>
              <a:cxn ang="0">
                <a:pos x="146" y="0"/>
              </a:cxn>
              <a:cxn ang="0">
                <a:pos x="204" y="31"/>
              </a:cxn>
              <a:cxn ang="0">
                <a:pos x="156" y="38"/>
              </a:cxn>
              <a:cxn ang="0">
                <a:pos x="70" y="101"/>
              </a:cxn>
              <a:cxn ang="0">
                <a:pos x="55" y="84"/>
              </a:cxn>
              <a:cxn ang="0">
                <a:pos x="0" y="50"/>
              </a:cxn>
            </a:cxnLst>
            <a:rect l="0" t="0" r="r" b="b"/>
            <a:pathLst>
              <a:path w="204" h="101">
                <a:moveTo>
                  <a:pt x="0" y="50"/>
                </a:moveTo>
                <a:lnTo>
                  <a:pt x="36" y="6"/>
                </a:lnTo>
                <a:lnTo>
                  <a:pt x="146" y="0"/>
                </a:lnTo>
                <a:lnTo>
                  <a:pt x="204" y="31"/>
                </a:lnTo>
                <a:lnTo>
                  <a:pt x="156" y="38"/>
                </a:lnTo>
                <a:lnTo>
                  <a:pt x="70" y="101"/>
                </a:lnTo>
                <a:lnTo>
                  <a:pt x="55" y="84"/>
                </a:lnTo>
                <a:lnTo>
                  <a:pt x="0" y="5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8" name="30469245.875328.259.62520.6255">
            <a:extLst>
              <a:ext uri="{FF2B5EF4-FFF2-40B4-BE49-F238E27FC236}">
                <a16:creationId xmlns:a16="http://schemas.microsoft.com/office/drawing/2014/main" id="{63CCEEE3-D280-394D-96B4-556235C87A1B}"/>
              </a:ext>
            </a:extLst>
          </p:cNvPr>
          <p:cNvSpPr>
            <a:spLocks noChangeAspect="1"/>
          </p:cNvSpPr>
          <p:nvPr/>
        </p:nvSpPr>
        <p:spPr bwMode="gray">
          <a:xfrm>
            <a:off x="4937528" y="2280653"/>
            <a:ext cx="329046" cy="158106"/>
          </a:xfrm>
          <a:custGeom>
            <a:avLst/>
            <a:gdLst/>
            <a:ahLst/>
            <a:cxnLst>
              <a:cxn ang="0">
                <a:pos x="0" y="60"/>
              </a:cxn>
              <a:cxn ang="0">
                <a:pos x="23" y="52"/>
              </a:cxn>
              <a:cxn ang="0">
                <a:pos x="9" y="37"/>
              </a:cxn>
              <a:cxn ang="0">
                <a:pos x="41" y="47"/>
              </a:cxn>
              <a:cxn ang="0">
                <a:pos x="27" y="19"/>
              </a:cxn>
              <a:cxn ang="0">
                <a:pos x="63" y="36"/>
              </a:cxn>
              <a:cxn ang="0">
                <a:pos x="45" y="3"/>
              </a:cxn>
              <a:cxn ang="0">
                <a:pos x="103" y="29"/>
              </a:cxn>
              <a:cxn ang="0">
                <a:pos x="107" y="71"/>
              </a:cxn>
              <a:cxn ang="0">
                <a:pos x="137" y="23"/>
              </a:cxn>
              <a:cxn ang="0">
                <a:pos x="167" y="41"/>
              </a:cxn>
              <a:cxn ang="0">
                <a:pos x="191" y="18"/>
              </a:cxn>
              <a:cxn ang="0">
                <a:pos x="211" y="48"/>
              </a:cxn>
              <a:cxn ang="0">
                <a:pos x="206" y="19"/>
              </a:cxn>
              <a:cxn ang="0">
                <a:pos x="266" y="19"/>
              </a:cxn>
              <a:cxn ang="0">
                <a:pos x="274" y="0"/>
              </a:cxn>
              <a:cxn ang="0">
                <a:pos x="301" y="18"/>
              </a:cxn>
              <a:cxn ang="0">
                <a:pos x="333" y="11"/>
              </a:cxn>
              <a:cxn ang="0">
                <a:pos x="310" y="23"/>
              </a:cxn>
              <a:cxn ang="0">
                <a:pos x="366" y="77"/>
              </a:cxn>
              <a:cxn ang="0">
                <a:pos x="318" y="124"/>
              </a:cxn>
              <a:cxn ang="0">
                <a:pos x="182" y="169"/>
              </a:cxn>
              <a:cxn ang="0">
                <a:pos x="61" y="148"/>
              </a:cxn>
              <a:cxn ang="0">
                <a:pos x="90" y="104"/>
              </a:cxn>
              <a:cxn ang="0">
                <a:pos x="19" y="89"/>
              </a:cxn>
              <a:cxn ang="0">
                <a:pos x="88" y="85"/>
              </a:cxn>
              <a:cxn ang="0">
                <a:pos x="63" y="73"/>
              </a:cxn>
              <a:cxn ang="0">
                <a:pos x="89" y="60"/>
              </a:cxn>
              <a:cxn ang="0">
                <a:pos x="0" y="60"/>
              </a:cxn>
            </a:cxnLst>
            <a:rect l="0" t="0" r="r" b="b"/>
            <a:pathLst>
              <a:path w="366" h="169">
                <a:moveTo>
                  <a:pt x="0" y="60"/>
                </a:moveTo>
                <a:lnTo>
                  <a:pt x="23" y="52"/>
                </a:lnTo>
                <a:lnTo>
                  <a:pt x="9" y="37"/>
                </a:lnTo>
                <a:lnTo>
                  <a:pt x="41" y="47"/>
                </a:lnTo>
                <a:lnTo>
                  <a:pt x="27" y="19"/>
                </a:lnTo>
                <a:lnTo>
                  <a:pt x="63" y="36"/>
                </a:lnTo>
                <a:lnTo>
                  <a:pt x="45" y="3"/>
                </a:lnTo>
                <a:lnTo>
                  <a:pt x="103" y="29"/>
                </a:lnTo>
                <a:lnTo>
                  <a:pt x="107" y="71"/>
                </a:lnTo>
                <a:lnTo>
                  <a:pt x="137" y="23"/>
                </a:lnTo>
                <a:lnTo>
                  <a:pt x="167" y="41"/>
                </a:lnTo>
                <a:lnTo>
                  <a:pt x="191" y="18"/>
                </a:lnTo>
                <a:lnTo>
                  <a:pt x="211" y="48"/>
                </a:lnTo>
                <a:lnTo>
                  <a:pt x="206" y="19"/>
                </a:lnTo>
                <a:lnTo>
                  <a:pt x="266" y="19"/>
                </a:lnTo>
                <a:lnTo>
                  <a:pt x="274" y="0"/>
                </a:lnTo>
                <a:lnTo>
                  <a:pt x="301" y="18"/>
                </a:lnTo>
                <a:lnTo>
                  <a:pt x="333" y="11"/>
                </a:lnTo>
                <a:lnTo>
                  <a:pt x="310" y="23"/>
                </a:lnTo>
                <a:lnTo>
                  <a:pt x="366" y="77"/>
                </a:lnTo>
                <a:lnTo>
                  <a:pt x="318" y="124"/>
                </a:lnTo>
                <a:lnTo>
                  <a:pt x="182" y="169"/>
                </a:lnTo>
                <a:lnTo>
                  <a:pt x="61" y="148"/>
                </a:lnTo>
                <a:lnTo>
                  <a:pt x="90" y="104"/>
                </a:lnTo>
                <a:lnTo>
                  <a:pt x="19" y="89"/>
                </a:lnTo>
                <a:lnTo>
                  <a:pt x="88" y="85"/>
                </a:lnTo>
                <a:lnTo>
                  <a:pt x="63" y="73"/>
                </a:lnTo>
                <a:lnTo>
                  <a:pt x="89" y="60"/>
                </a:lnTo>
                <a:lnTo>
                  <a:pt x="0" y="6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89" name="30482330.25153.87535.7556.8755">
            <a:extLst>
              <a:ext uri="{FF2B5EF4-FFF2-40B4-BE49-F238E27FC236}">
                <a16:creationId xmlns:a16="http://schemas.microsoft.com/office/drawing/2014/main" id="{6D70412F-D373-254B-AEF6-01C7C479B9F4}"/>
              </a:ext>
            </a:extLst>
          </p:cNvPr>
          <p:cNvSpPr>
            <a:spLocks noChangeAspect="1"/>
          </p:cNvSpPr>
          <p:nvPr/>
        </p:nvSpPr>
        <p:spPr bwMode="gray">
          <a:xfrm>
            <a:off x="2139675" y="3648113"/>
            <a:ext cx="911061" cy="580287"/>
          </a:xfrm>
          <a:custGeom>
            <a:avLst/>
            <a:gdLst/>
            <a:ahLst/>
            <a:cxnLst>
              <a:cxn ang="0">
                <a:pos x="0" y="7"/>
              </a:cxn>
              <a:cxn ang="0">
                <a:pos x="48" y="106"/>
              </a:cxn>
              <a:cxn ang="0">
                <a:pos x="105" y="152"/>
              </a:cxn>
              <a:cxn ang="0">
                <a:pos x="100" y="179"/>
              </a:cxn>
              <a:cxn ang="0">
                <a:pos x="72" y="185"/>
              </a:cxn>
              <a:cxn ang="0">
                <a:pos x="135" y="207"/>
              </a:cxn>
              <a:cxn ang="0">
                <a:pos x="169" y="252"/>
              </a:cxn>
              <a:cxn ang="0">
                <a:pos x="166" y="289"/>
              </a:cxn>
              <a:cxn ang="0">
                <a:pos x="239" y="351"/>
              </a:cxn>
              <a:cxn ang="0">
                <a:pos x="256" y="330"/>
              </a:cxn>
              <a:cxn ang="0">
                <a:pos x="85" y="91"/>
              </a:cxn>
              <a:cxn ang="0">
                <a:pos x="74" y="26"/>
              </a:cxn>
              <a:cxn ang="0">
                <a:pos x="111" y="43"/>
              </a:cxn>
              <a:cxn ang="0">
                <a:pos x="175" y="147"/>
              </a:cxn>
              <a:cxn ang="0">
                <a:pos x="264" y="226"/>
              </a:cxn>
              <a:cxn ang="0">
                <a:pos x="261" y="256"/>
              </a:cxn>
              <a:cxn ang="0">
                <a:pos x="385" y="363"/>
              </a:cxn>
              <a:cxn ang="0">
                <a:pos x="400" y="409"/>
              </a:cxn>
              <a:cxn ang="0">
                <a:pos x="385" y="439"/>
              </a:cxn>
              <a:cxn ang="0">
                <a:pos x="414" y="480"/>
              </a:cxn>
              <a:cxn ang="0">
                <a:pos x="653" y="592"/>
              </a:cxn>
              <a:cxn ang="0">
                <a:pos x="757" y="584"/>
              </a:cxn>
              <a:cxn ang="0">
                <a:pos x="826" y="637"/>
              </a:cxn>
              <a:cxn ang="0">
                <a:pos x="854" y="585"/>
              </a:cxn>
              <a:cxn ang="0">
                <a:pos x="888" y="584"/>
              </a:cxn>
              <a:cxn ang="0">
                <a:pos x="852" y="540"/>
              </a:cxn>
              <a:cxn ang="0">
                <a:pos x="929" y="522"/>
              </a:cxn>
              <a:cxn ang="0">
                <a:pos x="957" y="502"/>
              </a:cxn>
              <a:cxn ang="0">
                <a:pos x="966" y="491"/>
              </a:cxn>
              <a:cxn ang="0">
                <a:pos x="975" y="516"/>
              </a:cxn>
              <a:cxn ang="0">
                <a:pos x="1007" y="410"/>
              </a:cxn>
              <a:cxn ang="0">
                <a:pos x="965" y="394"/>
              </a:cxn>
              <a:cxn ang="0">
                <a:pos x="889" y="410"/>
              </a:cxn>
              <a:cxn ang="0">
                <a:pos x="849" y="502"/>
              </a:cxn>
              <a:cxn ang="0">
                <a:pos x="752" y="512"/>
              </a:cxn>
              <a:cxn ang="0">
                <a:pos x="712" y="489"/>
              </a:cxn>
              <a:cxn ang="0">
                <a:pos x="647" y="376"/>
              </a:cxn>
              <a:cxn ang="0">
                <a:pos x="645" y="289"/>
              </a:cxn>
              <a:cxn ang="0">
                <a:pos x="667" y="247"/>
              </a:cxn>
              <a:cxn ang="0">
                <a:pos x="601" y="225"/>
              </a:cxn>
              <a:cxn ang="0">
                <a:pos x="517" y="105"/>
              </a:cxn>
              <a:cxn ang="0">
                <a:pos x="447" y="131"/>
              </a:cxn>
              <a:cxn ang="0">
                <a:pos x="355" y="32"/>
              </a:cxn>
              <a:cxn ang="0">
                <a:pos x="204" y="53"/>
              </a:cxn>
              <a:cxn ang="0">
                <a:pos x="77" y="0"/>
              </a:cxn>
              <a:cxn ang="0">
                <a:pos x="0" y="7"/>
              </a:cxn>
            </a:cxnLst>
            <a:rect l="0" t="0" r="r" b="b"/>
            <a:pathLst>
              <a:path w="1007" h="637">
                <a:moveTo>
                  <a:pt x="0" y="7"/>
                </a:moveTo>
                <a:lnTo>
                  <a:pt x="48" y="106"/>
                </a:lnTo>
                <a:lnTo>
                  <a:pt x="105" y="152"/>
                </a:lnTo>
                <a:lnTo>
                  <a:pt x="100" y="179"/>
                </a:lnTo>
                <a:lnTo>
                  <a:pt x="72" y="185"/>
                </a:lnTo>
                <a:lnTo>
                  <a:pt x="135" y="207"/>
                </a:lnTo>
                <a:lnTo>
                  <a:pt x="169" y="252"/>
                </a:lnTo>
                <a:lnTo>
                  <a:pt x="166" y="289"/>
                </a:lnTo>
                <a:lnTo>
                  <a:pt x="239" y="351"/>
                </a:lnTo>
                <a:lnTo>
                  <a:pt x="256" y="330"/>
                </a:lnTo>
                <a:lnTo>
                  <a:pt x="85" y="91"/>
                </a:lnTo>
                <a:lnTo>
                  <a:pt x="74" y="26"/>
                </a:lnTo>
                <a:lnTo>
                  <a:pt x="111" y="43"/>
                </a:lnTo>
                <a:lnTo>
                  <a:pt x="175" y="147"/>
                </a:lnTo>
                <a:lnTo>
                  <a:pt x="264" y="226"/>
                </a:lnTo>
                <a:lnTo>
                  <a:pt x="261" y="256"/>
                </a:lnTo>
                <a:lnTo>
                  <a:pt x="385" y="363"/>
                </a:lnTo>
                <a:lnTo>
                  <a:pt x="400" y="409"/>
                </a:lnTo>
                <a:lnTo>
                  <a:pt x="385" y="439"/>
                </a:lnTo>
                <a:lnTo>
                  <a:pt x="414" y="480"/>
                </a:lnTo>
                <a:lnTo>
                  <a:pt x="653" y="592"/>
                </a:lnTo>
                <a:lnTo>
                  <a:pt x="757" y="584"/>
                </a:lnTo>
                <a:lnTo>
                  <a:pt x="826" y="637"/>
                </a:lnTo>
                <a:lnTo>
                  <a:pt x="854" y="585"/>
                </a:lnTo>
                <a:lnTo>
                  <a:pt x="888" y="584"/>
                </a:lnTo>
                <a:lnTo>
                  <a:pt x="852" y="540"/>
                </a:lnTo>
                <a:lnTo>
                  <a:pt x="929" y="522"/>
                </a:lnTo>
                <a:lnTo>
                  <a:pt x="957" y="502"/>
                </a:lnTo>
                <a:lnTo>
                  <a:pt x="966" y="491"/>
                </a:lnTo>
                <a:lnTo>
                  <a:pt x="975" y="516"/>
                </a:lnTo>
                <a:lnTo>
                  <a:pt x="1007" y="410"/>
                </a:lnTo>
                <a:lnTo>
                  <a:pt x="965" y="394"/>
                </a:lnTo>
                <a:lnTo>
                  <a:pt x="889" y="410"/>
                </a:lnTo>
                <a:lnTo>
                  <a:pt x="849" y="502"/>
                </a:lnTo>
                <a:lnTo>
                  <a:pt x="752" y="512"/>
                </a:lnTo>
                <a:lnTo>
                  <a:pt x="712" y="489"/>
                </a:lnTo>
                <a:lnTo>
                  <a:pt x="647" y="376"/>
                </a:lnTo>
                <a:lnTo>
                  <a:pt x="645" y="289"/>
                </a:lnTo>
                <a:lnTo>
                  <a:pt x="667" y="247"/>
                </a:lnTo>
                <a:lnTo>
                  <a:pt x="601" y="225"/>
                </a:lnTo>
                <a:lnTo>
                  <a:pt x="517" y="105"/>
                </a:lnTo>
                <a:lnTo>
                  <a:pt x="447" y="131"/>
                </a:lnTo>
                <a:lnTo>
                  <a:pt x="355" y="32"/>
                </a:lnTo>
                <a:lnTo>
                  <a:pt x="204" y="53"/>
                </a:lnTo>
                <a:lnTo>
                  <a:pt x="77" y="0"/>
                </a:lnTo>
                <a:lnTo>
                  <a:pt x="0" y="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0" name="30489365.125209.8757.757.55">
            <a:extLst>
              <a:ext uri="{FF2B5EF4-FFF2-40B4-BE49-F238E27FC236}">
                <a16:creationId xmlns:a16="http://schemas.microsoft.com/office/drawing/2014/main" id="{92D7E345-19C3-294E-880C-C7C62CC02006}"/>
              </a:ext>
            </a:extLst>
          </p:cNvPr>
          <p:cNvSpPr>
            <a:spLocks noChangeAspect="1"/>
          </p:cNvSpPr>
          <p:nvPr/>
        </p:nvSpPr>
        <p:spPr bwMode="gray">
          <a:xfrm>
            <a:off x="3037420" y="4213263"/>
            <a:ext cx="121727" cy="124467"/>
          </a:xfrm>
          <a:custGeom>
            <a:avLst/>
            <a:gdLst/>
            <a:ahLst/>
            <a:cxnLst>
              <a:cxn ang="0">
                <a:pos x="0" y="70"/>
              </a:cxn>
              <a:cxn ang="0">
                <a:pos x="54" y="136"/>
              </a:cxn>
              <a:cxn ang="0">
                <a:pos x="123" y="139"/>
              </a:cxn>
              <a:cxn ang="0">
                <a:pos x="134" y="0"/>
              </a:cxn>
              <a:cxn ang="0">
                <a:pos x="86" y="7"/>
              </a:cxn>
              <a:cxn ang="0">
                <a:pos x="0" y="70"/>
              </a:cxn>
            </a:cxnLst>
            <a:rect l="0" t="0" r="r" b="b"/>
            <a:pathLst>
              <a:path w="134" h="139">
                <a:moveTo>
                  <a:pt x="0" y="70"/>
                </a:moveTo>
                <a:lnTo>
                  <a:pt x="54" y="136"/>
                </a:lnTo>
                <a:lnTo>
                  <a:pt x="123" y="139"/>
                </a:lnTo>
                <a:lnTo>
                  <a:pt x="134" y="0"/>
                </a:lnTo>
                <a:lnTo>
                  <a:pt x="86" y="7"/>
                </a:lnTo>
                <a:lnTo>
                  <a:pt x="0" y="7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1" name="30491375.252184.7510.6255">
            <a:extLst>
              <a:ext uri="{FF2B5EF4-FFF2-40B4-BE49-F238E27FC236}">
                <a16:creationId xmlns:a16="http://schemas.microsoft.com/office/drawing/2014/main" id="{A4747789-DCB2-364A-8296-2E6187A51370}"/>
              </a:ext>
            </a:extLst>
          </p:cNvPr>
          <p:cNvSpPr>
            <a:spLocks noChangeAspect="1"/>
          </p:cNvSpPr>
          <p:nvPr/>
        </p:nvSpPr>
        <p:spPr bwMode="gray">
          <a:xfrm>
            <a:off x="3168662" y="4376418"/>
            <a:ext cx="169276" cy="77372"/>
          </a:xfrm>
          <a:custGeom>
            <a:avLst/>
            <a:gdLst/>
            <a:ahLst/>
            <a:cxnLst>
              <a:cxn ang="0">
                <a:pos x="0" y="45"/>
              </a:cxn>
              <a:cxn ang="0">
                <a:pos x="15" y="0"/>
              </a:cxn>
              <a:cxn ang="0">
                <a:pos x="55" y="27"/>
              </a:cxn>
              <a:cxn ang="0">
                <a:pos x="127" y="1"/>
              </a:cxn>
              <a:cxn ang="0">
                <a:pos x="189" y="33"/>
              </a:cxn>
              <a:cxn ang="0">
                <a:pos x="172" y="81"/>
              </a:cxn>
              <a:cxn ang="0">
                <a:pos x="167" y="41"/>
              </a:cxn>
              <a:cxn ang="0">
                <a:pos x="127" y="26"/>
              </a:cxn>
              <a:cxn ang="0">
                <a:pos x="88" y="51"/>
              </a:cxn>
              <a:cxn ang="0">
                <a:pos x="98" y="73"/>
              </a:cxn>
              <a:cxn ang="0">
                <a:pos x="81" y="84"/>
              </a:cxn>
              <a:cxn ang="0">
                <a:pos x="0" y="45"/>
              </a:cxn>
            </a:cxnLst>
            <a:rect l="0" t="0" r="r" b="b"/>
            <a:pathLst>
              <a:path w="189" h="84">
                <a:moveTo>
                  <a:pt x="0" y="45"/>
                </a:moveTo>
                <a:lnTo>
                  <a:pt x="15" y="0"/>
                </a:lnTo>
                <a:lnTo>
                  <a:pt x="55" y="27"/>
                </a:lnTo>
                <a:lnTo>
                  <a:pt x="127" y="1"/>
                </a:lnTo>
                <a:lnTo>
                  <a:pt x="189" y="33"/>
                </a:lnTo>
                <a:lnTo>
                  <a:pt x="172" y="81"/>
                </a:lnTo>
                <a:lnTo>
                  <a:pt x="167" y="41"/>
                </a:lnTo>
                <a:lnTo>
                  <a:pt x="127" y="26"/>
                </a:lnTo>
                <a:lnTo>
                  <a:pt x="88" y="51"/>
                </a:lnTo>
                <a:lnTo>
                  <a:pt x="98" y="73"/>
                </a:lnTo>
                <a:lnTo>
                  <a:pt x="81" y="84"/>
                </a:lnTo>
                <a:lnTo>
                  <a:pt x="0" y="4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2" name="30495429.75256.3751615.55">
            <a:extLst>
              <a:ext uri="{FF2B5EF4-FFF2-40B4-BE49-F238E27FC236}">
                <a16:creationId xmlns:a16="http://schemas.microsoft.com/office/drawing/2014/main" id="{4826EC29-0A7C-C04B-89B6-3023DAE8B9A7}"/>
              </a:ext>
            </a:extLst>
          </p:cNvPr>
          <p:cNvSpPr>
            <a:spLocks noChangeAspect="1"/>
          </p:cNvSpPr>
          <p:nvPr/>
        </p:nvSpPr>
        <p:spPr bwMode="gray">
          <a:xfrm>
            <a:off x="3781105" y="5259465"/>
            <a:ext cx="251064" cy="259026"/>
          </a:xfrm>
          <a:custGeom>
            <a:avLst/>
            <a:gdLst/>
            <a:ahLst/>
            <a:cxnLst>
              <a:cxn ang="0">
                <a:pos x="0" y="106"/>
              </a:cxn>
              <a:cxn ang="0">
                <a:pos x="21" y="16"/>
              </a:cxn>
              <a:cxn ang="0">
                <a:pos x="118" y="0"/>
              </a:cxn>
              <a:cxn ang="0">
                <a:pos x="151" y="30"/>
              </a:cxn>
              <a:cxn ang="0">
                <a:pos x="159" y="97"/>
              </a:cxn>
              <a:cxn ang="0">
                <a:pos x="228" y="108"/>
              </a:cxn>
              <a:cxn ang="0">
                <a:pos x="238" y="155"/>
              </a:cxn>
              <a:cxn ang="0">
                <a:pos x="272" y="164"/>
              </a:cxn>
              <a:cxn ang="0">
                <a:pos x="267" y="223"/>
              </a:cxn>
              <a:cxn ang="0">
                <a:pos x="232" y="283"/>
              </a:cxn>
              <a:cxn ang="0">
                <a:pos x="142" y="279"/>
              </a:cxn>
              <a:cxn ang="0">
                <a:pos x="161" y="212"/>
              </a:cxn>
              <a:cxn ang="0">
                <a:pos x="0" y="106"/>
              </a:cxn>
            </a:cxnLst>
            <a:rect l="0" t="0" r="r" b="b"/>
            <a:pathLst>
              <a:path w="272" h="283">
                <a:moveTo>
                  <a:pt x="0" y="106"/>
                </a:moveTo>
                <a:lnTo>
                  <a:pt x="21" y="16"/>
                </a:lnTo>
                <a:lnTo>
                  <a:pt x="118" y="0"/>
                </a:lnTo>
                <a:lnTo>
                  <a:pt x="151" y="30"/>
                </a:lnTo>
                <a:lnTo>
                  <a:pt x="159" y="97"/>
                </a:lnTo>
                <a:lnTo>
                  <a:pt x="228" y="108"/>
                </a:lnTo>
                <a:lnTo>
                  <a:pt x="238" y="155"/>
                </a:lnTo>
                <a:lnTo>
                  <a:pt x="272" y="164"/>
                </a:lnTo>
                <a:lnTo>
                  <a:pt x="267" y="223"/>
                </a:lnTo>
                <a:lnTo>
                  <a:pt x="232" y="283"/>
                </a:lnTo>
                <a:lnTo>
                  <a:pt x="142" y="279"/>
                </a:lnTo>
                <a:lnTo>
                  <a:pt x="161" y="212"/>
                </a:lnTo>
                <a:lnTo>
                  <a:pt x="0" y="10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3" name="30496393.625221.12534.12523.6255">
            <a:extLst>
              <a:ext uri="{FF2B5EF4-FFF2-40B4-BE49-F238E27FC236}">
                <a16:creationId xmlns:a16="http://schemas.microsoft.com/office/drawing/2014/main" id="{81F46DC6-2AAB-2A4C-BD3C-9BF064A75588}"/>
              </a:ext>
            </a:extLst>
          </p:cNvPr>
          <p:cNvSpPr>
            <a:spLocks noChangeAspect="1"/>
          </p:cNvSpPr>
          <p:nvPr/>
        </p:nvSpPr>
        <p:spPr bwMode="gray">
          <a:xfrm>
            <a:off x="3218112" y="4674132"/>
            <a:ext cx="380401" cy="551694"/>
          </a:xfrm>
          <a:custGeom>
            <a:avLst/>
            <a:gdLst/>
            <a:ahLst/>
            <a:cxnLst>
              <a:cxn ang="0">
                <a:pos x="0" y="142"/>
              </a:cxn>
              <a:cxn ang="0">
                <a:pos x="8" y="190"/>
              </a:cxn>
              <a:cxn ang="0">
                <a:pos x="83" y="274"/>
              </a:cxn>
              <a:cxn ang="0">
                <a:pos x="167" y="472"/>
              </a:cxn>
              <a:cxn ang="0">
                <a:pos x="358" y="604"/>
              </a:cxn>
              <a:cxn ang="0">
                <a:pos x="391" y="580"/>
              </a:cxn>
              <a:cxn ang="0">
                <a:pos x="409" y="538"/>
              </a:cxn>
              <a:cxn ang="0">
                <a:pos x="380" y="523"/>
              </a:cxn>
              <a:cxn ang="0">
                <a:pos x="398" y="512"/>
              </a:cxn>
              <a:cxn ang="0">
                <a:pos x="419" y="408"/>
              </a:cxn>
              <a:cxn ang="0">
                <a:pos x="389" y="360"/>
              </a:cxn>
              <a:cxn ang="0">
                <a:pos x="360" y="360"/>
              </a:cxn>
              <a:cxn ang="0">
                <a:pos x="360" y="305"/>
              </a:cxn>
              <a:cxn ang="0">
                <a:pos x="324" y="329"/>
              </a:cxn>
              <a:cxn ang="0">
                <a:pos x="279" y="308"/>
              </a:cxn>
              <a:cxn ang="0">
                <a:pos x="250" y="246"/>
              </a:cxn>
              <a:cxn ang="0">
                <a:pos x="296" y="169"/>
              </a:cxn>
              <a:cxn ang="0">
                <a:pos x="380" y="135"/>
              </a:cxn>
              <a:cxn ang="0">
                <a:pos x="357" y="121"/>
              </a:cxn>
              <a:cxn ang="0">
                <a:pos x="371" y="81"/>
              </a:cxn>
              <a:cxn ang="0">
                <a:pos x="276" y="74"/>
              </a:cxn>
              <a:cxn ang="0">
                <a:pos x="203" y="0"/>
              </a:cxn>
              <a:cxn ang="0">
                <a:pos x="187" y="55"/>
              </a:cxn>
              <a:cxn ang="0">
                <a:pos x="111" y="100"/>
              </a:cxn>
              <a:cxn ang="0">
                <a:pos x="72" y="158"/>
              </a:cxn>
              <a:cxn ang="0">
                <a:pos x="29" y="148"/>
              </a:cxn>
              <a:cxn ang="0">
                <a:pos x="34" y="114"/>
              </a:cxn>
              <a:cxn ang="0">
                <a:pos x="0" y="142"/>
              </a:cxn>
            </a:cxnLst>
            <a:rect l="0" t="0" r="r" b="b"/>
            <a:pathLst>
              <a:path w="419" h="604">
                <a:moveTo>
                  <a:pt x="0" y="142"/>
                </a:moveTo>
                <a:lnTo>
                  <a:pt x="8" y="190"/>
                </a:lnTo>
                <a:lnTo>
                  <a:pt x="83" y="274"/>
                </a:lnTo>
                <a:lnTo>
                  <a:pt x="167" y="472"/>
                </a:lnTo>
                <a:lnTo>
                  <a:pt x="358" y="604"/>
                </a:lnTo>
                <a:lnTo>
                  <a:pt x="391" y="580"/>
                </a:lnTo>
                <a:lnTo>
                  <a:pt x="409" y="538"/>
                </a:lnTo>
                <a:lnTo>
                  <a:pt x="380" y="523"/>
                </a:lnTo>
                <a:lnTo>
                  <a:pt x="398" y="512"/>
                </a:lnTo>
                <a:lnTo>
                  <a:pt x="419" y="408"/>
                </a:lnTo>
                <a:lnTo>
                  <a:pt x="389" y="360"/>
                </a:lnTo>
                <a:lnTo>
                  <a:pt x="360" y="360"/>
                </a:lnTo>
                <a:lnTo>
                  <a:pt x="360" y="305"/>
                </a:lnTo>
                <a:lnTo>
                  <a:pt x="324" y="329"/>
                </a:lnTo>
                <a:lnTo>
                  <a:pt x="279" y="308"/>
                </a:lnTo>
                <a:lnTo>
                  <a:pt x="250" y="246"/>
                </a:lnTo>
                <a:lnTo>
                  <a:pt x="296" y="169"/>
                </a:lnTo>
                <a:lnTo>
                  <a:pt x="380" y="135"/>
                </a:lnTo>
                <a:lnTo>
                  <a:pt x="357" y="121"/>
                </a:lnTo>
                <a:lnTo>
                  <a:pt x="371" y="81"/>
                </a:lnTo>
                <a:lnTo>
                  <a:pt x="276" y="74"/>
                </a:lnTo>
                <a:lnTo>
                  <a:pt x="203" y="0"/>
                </a:lnTo>
                <a:lnTo>
                  <a:pt x="187" y="55"/>
                </a:lnTo>
                <a:lnTo>
                  <a:pt x="111" y="100"/>
                </a:lnTo>
                <a:lnTo>
                  <a:pt x="72" y="158"/>
                </a:lnTo>
                <a:lnTo>
                  <a:pt x="29" y="148"/>
                </a:lnTo>
                <a:lnTo>
                  <a:pt x="34" y="114"/>
                </a:lnTo>
                <a:lnTo>
                  <a:pt x="0" y="14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4" name="30514382.52657.257.755">
            <a:extLst>
              <a:ext uri="{FF2B5EF4-FFF2-40B4-BE49-F238E27FC236}">
                <a16:creationId xmlns:a16="http://schemas.microsoft.com/office/drawing/2014/main" id="{42E61A27-644A-8043-9526-BDCA81CF2797}"/>
              </a:ext>
            </a:extLst>
          </p:cNvPr>
          <p:cNvSpPr>
            <a:spLocks noChangeAspect="1"/>
          </p:cNvSpPr>
          <p:nvPr/>
        </p:nvSpPr>
        <p:spPr bwMode="gray">
          <a:xfrm>
            <a:off x="3921854" y="4492475"/>
            <a:ext cx="121727" cy="119422"/>
          </a:xfrm>
          <a:custGeom>
            <a:avLst/>
            <a:gdLst/>
            <a:ahLst/>
            <a:cxnLst>
              <a:cxn ang="0">
                <a:pos x="0" y="60"/>
              </a:cxn>
              <a:cxn ang="0">
                <a:pos x="37" y="0"/>
              </a:cxn>
              <a:cxn ang="0">
                <a:pos x="138" y="11"/>
              </a:cxn>
              <a:cxn ang="0">
                <a:pos x="124" y="121"/>
              </a:cxn>
              <a:cxn ang="0">
                <a:pos x="54" y="130"/>
              </a:cxn>
              <a:cxn ang="0">
                <a:pos x="0" y="60"/>
              </a:cxn>
            </a:cxnLst>
            <a:rect l="0" t="0" r="r" b="b"/>
            <a:pathLst>
              <a:path w="138" h="130">
                <a:moveTo>
                  <a:pt x="0" y="60"/>
                </a:moveTo>
                <a:lnTo>
                  <a:pt x="37" y="0"/>
                </a:lnTo>
                <a:lnTo>
                  <a:pt x="138" y="11"/>
                </a:lnTo>
                <a:lnTo>
                  <a:pt x="124" y="121"/>
                </a:lnTo>
                <a:lnTo>
                  <a:pt x="54" y="130"/>
                </a:lnTo>
                <a:lnTo>
                  <a:pt x="0" y="6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5" name="30521373.25257.6251.3751.755">
            <a:extLst>
              <a:ext uri="{FF2B5EF4-FFF2-40B4-BE49-F238E27FC236}">
                <a16:creationId xmlns:a16="http://schemas.microsoft.com/office/drawing/2014/main" id="{3AC287FD-BDBB-6744-ACDF-A84F5DF9DC0E}"/>
              </a:ext>
            </a:extLst>
          </p:cNvPr>
          <p:cNvSpPr>
            <a:spLocks noChangeAspect="1"/>
          </p:cNvSpPr>
          <p:nvPr/>
        </p:nvSpPr>
        <p:spPr bwMode="gray">
          <a:xfrm>
            <a:off x="3803932" y="4344460"/>
            <a:ext cx="28528" cy="20183"/>
          </a:xfrm>
          <a:custGeom>
            <a:avLst/>
            <a:gdLst/>
            <a:ahLst/>
            <a:cxnLst>
              <a:cxn ang="0">
                <a:pos x="0" y="23"/>
              </a:cxn>
              <a:cxn ang="0">
                <a:pos x="31" y="19"/>
              </a:cxn>
              <a:cxn ang="0">
                <a:pos x="33" y="0"/>
              </a:cxn>
              <a:cxn ang="0">
                <a:pos x="0" y="23"/>
              </a:cxn>
            </a:cxnLst>
            <a:rect l="0" t="0" r="r" b="b"/>
            <a:pathLst>
              <a:path w="33" h="23">
                <a:moveTo>
                  <a:pt x="0" y="23"/>
                </a:moveTo>
                <a:lnTo>
                  <a:pt x="31" y="19"/>
                </a:lnTo>
                <a:lnTo>
                  <a:pt x="33" y="0"/>
                </a:lnTo>
                <a:lnTo>
                  <a:pt x="0" y="2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6" name="3053123057.8754956.255">
            <a:extLst>
              <a:ext uri="{FF2B5EF4-FFF2-40B4-BE49-F238E27FC236}">
                <a16:creationId xmlns:a16="http://schemas.microsoft.com/office/drawing/2014/main" id="{7254D1FD-6C2A-DE44-BBAD-A19C405BE570}"/>
              </a:ext>
            </a:extLst>
          </p:cNvPr>
          <p:cNvSpPr>
            <a:spLocks noChangeAspect="1"/>
          </p:cNvSpPr>
          <p:nvPr/>
        </p:nvSpPr>
        <p:spPr bwMode="gray">
          <a:xfrm>
            <a:off x="600951" y="2024992"/>
            <a:ext cx="901550" cy="793902"/>
          </a:xfrm>
          <a:custGeom>
            <a:avLst/>
            <a:gdLst/>
            <a:ahLst/>
            <a:cxnLst>
              <a:cxn ang="0">
                <a:pos x="64" y="348"/>
              </a:cxn>
              <a:cxn ang="0">
                <a:pos x="66" y="386"/>
              </a:cxn>
              <a:cxn ang="0">
                <a:pos x="180" y="404"/>
              </a:cxn>
              <a:cxn ang="0">
                <a:pos x="222" y="389"/>
              </a:cxn>
              <a:cxn ang="0">
                <a:pos x="98" y="492"/>
              </a:cxn>
              <a:cxn ang="0">
                <a:pos x="94" y="541"/>
              </a:cxn>
              <a:cxn ang="0">
                <a:pos x="94" y="574"/>
              </a:cxn>
              <a:cxn ang="0">
                <a:pos x="116" y="609"/>
              </a:cxn>
              <a:cxn ang="0">
                <a:pos x="165" y="641"/>
              </a:cxn>
              <a:cxn ang="0">
                <a:pos x="186" y="609"/>
              </a:cxn>
              <a:cxn ang="0">
                <a:pos x="200" y="690"/>
              </a:cxn>
              <a:cxn ang="0">
                <a:pos x="303" y="699"/>
              </a:cxn>
              <a:cxn ang="0">
                <a:pos x="330" y="690"/>
              </a:cxn>
              <a:cxn ang="0">
                <a:pos x="312" y="777"/>
              </a:cxn>
              <a:cxn ang="0">
                <a:pos x="262" y="822"/>
              </a:cxn>
              <a:cxn ang="0">
                <a:pos x="156" y="868"/>
              </a:cxn>
              <a:cxn ang="0">
                <a:pos x="278" y="836"/>
              </a:cxn>
              <a:cxn ang="0">
                <a:pos x="297" y="788"/>
              </a:cxn>
              <a:cxn ang="0">
                <a:pos x="464" y="710"/>
              </a:cxn>
              <a:cxn ang="0">
                <a:pos x="465" y="656"/>
              </a:cxn>
              <a:cxn ang="0">
                <a:pos x="591" y="507"/>
              </a:cxn>
              <a:cxn ang="0">
                <a:pos x="623" y="547"/>
              </a:cxn>
              <a:cxn ang="0">
                <a:pos x="634" y="579"/>
              </a:cxn>
              <a:cxn ang="0">
                <a:pos x="539" y="633"/>
              </a:cxn>
              <a:cxn ang="0">
                <a:pos x="542" y="664"/>
              </a:cxn>
              <a:cxn ang="0">
                <a:pos x="663" y="596"/>
              </a:cxn>
              <a:cxn ang="0">
                <a:pos x="671" y="558"/>
              </a:cxn>
              <a:cxn ang="0">
                <a:pos x="721" y="567"/>
              </a:cxn>
              <a:cxn ang="0">
                <a:pos x="797" y="622"/>
              </a:cxn>
              <a:cxn ang="0">
                <a:pos x="947" y="619"/>
              </a:cxn>
              <a:cxn ang="0">
                <a:pos x="942" y="648"/>
              </a:cxn>
              <a:cxn ang="0">
                <a:pos x="997" y="652"/>
              </a:cxn>
              <a:cxn ang="0">
                <a:pos x="902" y="609"/>
              </a:cxn>
              <a:cxn ang="0">
                <a:pos x="545" y="58"/>
              </a:cxn>
              <a:cxn ang="0">
                <a:pos x="432" y="16"/>
              </a:cxn>
              <a:cxn ang="0">
                <a:pos x="392" y="32"/>
              </a:cxn>
              <a:cxn ang="0">
                <a:pos x="378" y="0"/>
              </a:cxn>
              <a:cxn ang="0">
                <a:pos x="274" y="37"/>
              </a:cxn>
              <a:cxn ang="0">
                <a:pos x="264" y="49"/>
              </a:cxn>
              <a:cxn ang="0">
                <a:pos x="213" y="89"/>
              </a:cxn>
              <a:cxn ang="0">
                <a:pos x="149" y="131"/>
              </a:cxn>
              <a:cxn ang="0">
                <a:pos x="66" y="172"/>
              </a:cxn>
              <a:cxn ang="0">
                <a:pos x="146" y="249"/>
              </a:cxn>
              <a:cxn ang="0">
                <a:pos x="200" y="274"/>
              </a:cxn>
              <a:cxn ang="0">
                <a:pos x="238" y="296"/>
              </a:cxn>
              <a:cxn ang="0">
                <a:pos x="146" y="307"/>
              </a:cxn>
              <a:cxn ang="0">
                <a:pos x="113" y="279"/>
              </a:cxn>
            </a:cxnLst>
            <a:rect l="0" t="0" r="r" b="b"/>
            <a:pathLst>
              <a:path w="997" h="868">
                <a:moveTo>
                  <a:pt x="0" y="331"/>
                </a:moveTo>
                <a:lnTo>
                  <a:pt x="64" y="348"/>
                </a:lnTo>
                <a:lnTo>
                  <a:pt x="39" y="355"/>
                </a:lnTo>
                <a:lnTo>
                  <a:pt x="66" y="386"/>
                </a:lnTo>
                <a:lnTo>
                  <a:pt x="165" y="384"/>
                </a:lnTo>
                <a:lnTo>
                  <a:pt x="180" y="404"/>
                </a:lnTo>
                <a:lnTo>
                  <a:pt x="244" y="378"/>
                </a:lnTo>
                <a:lnTo>
                  <a:pt x="222" y="389"/>
                </a:lnTo>
                <a:lnTo>
                  <a:pt x="234" y="443"/>
                </a:lnTo>
                <a:lnTo>
                  <a:pt x="98" y="492"/>
                </a:lnTo>
                <a:lnTo>
                  <a:pt x="61" y="549"/>
                </a:lnTo>
                <a:lnTo>
                  <a:pt x="94" y="541"/>
                </a:lnTo>
                <a:lnTo>
                  <a:pt x="69" y="554"/>
                </a:lnTo>
                <a:lnTo>
                  <a:pt x="94" y="574"/>
                </a:lnTo>
                <a:lnTo>
                  <a:pt x="145" y="580"/>
                </a:lnTo>
                <a:lnTo>
                  <a:pt x="116" y="609"/>
                </a:lnTo>
                <a:lnTo>
                  <a:pt x="139" y="638"/>
                </a:lnTo>
                <a:lnTo>
                  <a:pt x="165" y="641"/>
                </a:lnTo>
                <a:lnTo>
                  <a:pt x="219" y="580"/>
                </a:lnTo>
                <a:lnTo>
                  <a:pt x="186" y="609"/>
                </a:lnTo>
                <a:lnTo>
                  <a:pt x="213" y="667"/>
                </a:lnTo>
                <a:lnTo>
                  <a:pt x="200" y="690"/>
                </a:lnTo>
                <a:lnTo>
                  <a:pt x="262" y="657"/>
                </a:lnTo>
                <a:lnTo>
                  <a:pt x="303" y="699"/>
                </a:lnTo>
                <a:lnTo>
                  <a:pt x="316" y="674"/>
                </a:lnTo>
                <a:lnTo>
                  <a:pt x="330" y="690"/>
                </a:lnTo>
                <a:lnTo>
                  <a:pt x="377" y="668"/>
                </a:lnTo>
                <a:lnTo>
                  <a:pt x="312" y="777"/>
                </a:lnTo>
                <a:lnTo>
                  <a:pt x="263" y="799"/>
                </a:lnTo>
                <a:lnTo>
                  <a:pt x="262" y="822"/>
                </a:lnTo>
                <a:lnTo>
                  <a:pt x="200" y="824"/>
                </a:lnTo>
                <a:lnTo>
                  <a:pt x="156" y="868"/>
                </a:lnTo>
                <a:lnTo>
                  <a:pt x="213" y="835"/>
                </a:lnTo>
                <a:lnTo>
                  <a:pt x="278" y="836"/>
                </a:lnTo>
                <a:lnTo>
                  <a:pt x="314" y="810"/>
                </a:lnTo>
                <a:lnTo>
                  <a:pt x="297" y="788"/>
                </a:lnTo>
                <a:lnTo>
                  <a:pt x="337" y="792"/>
                </a:lnTo>
                <a:lnTo>
                  <a:pt x="464" y="710"/>
                </a:lnTo>
                <a:lnTo>
                  <a:pt x="488" y="679"/>
                </a:lnTo>
                <a:lnTo>
                  <a:pt x="465" y="656"/>
                </a:lnTo>
                <a:lnTo>
                  <a:pt x="575" y="557"/>
                </a:lnTo>
                <a:lnTo>
                  <a:pt x="591" y="507"/>
                </a:lnTo>
                <a:lnTo>
                  <a:pt x="579" y="557"/>
                </a:lnTo>
                <a:lnTo>
                  <a:pt x="623" y="547"/>
                </a:lnTo>
                <a:lnTo>
                  <a:pt x="600" y="568"/>
                </a:lnTo>
                <a:lnTo>
                  <a:pt x="634" y="579"/>
                </a:lnTo>
                <a:lnTo>
                  <a:pt x="554" y="586"/>
                </a:lnTo>
                <a:lnTo>
                  <a:pt x="539" y="633"/>
                </a:lnTo>
                <a:lnTo>
                  <a:pt x="568" y="631"/>
                </a:lnTo>
                <a:lnTo>
                  <a:pt x="542" y="664"/>
                </a:lnTo>
                <a:lnTo>
                  <a:pt x="648" y="622"/>
                </a:lnTo>
                <a:lnTo>
                  <a:pt x="663" y="596"/>
                </a:lnTo>
                <a:lnTo>
                  <a:pt x="646" y="583"/>
                </a:lnTo>
                <a:lnTo>
                  <a:pt x="671" y="558"/>
                </a:lnTo>
                <a:lnTo>
                  <a:pt x="667" y="579"/>
                </a:lnTo>
                <a:lnTo>
                  <a:pt x="721" y="567"/>
                </a:lnTo>
                <a:lnTo>
                  <a:pt x="710" y="587"/>
                </a:lnTo>
                <a:lnTo>
                  <a:pt x="797" y="622"/>
                </a:lnTo>
                <a:lnTo>
                  <a:pt x="925" y="638"/>
                </a:lnTo>
                <a:lnTo>
                  <a:pt x="947" y="619"/>
                </a:lnTo>
                <a:lnTo>
                  <a:pt x="965" y="629"/>
                </a:lnTo>
                <a:lnTo>
                  <a:pt x="942" y="648"/>
                </a:lnTo>
                <a:lnTo>
                  <a:pt x="979" y="667"/>
                </a:lnTo>
                <a:lnTo>
                  <a:pt x="997" y="652"/>
                </a:lnTo>
                <a:lnTo>
                  <a:pt x="964" y="609"/>
                </a:lnTo>
                <a:lnTo>
                  <a:pt x="902" y="609"/>
                </a:lnTo>
                <a:lnTo>
                  <a:pt x="902" y="99"/>
                </a:lnTo>
                <a:lnTo>
                  <a:pt x="545" y="58"/>
                </a:lnTo>
                <a:lnTo>
                  <a:pt x="531" y="33"/>
                </a:lnTo>
                <a:lnTo>
                  <a:pt x="432" y="16"/>
                </a:lnTo>
                <a:lnTo>
                  <a:pt x="421" y="37"/>
                </a:lnTo>
                <a:lnTo>
                  <a:pt x="392" y="32"/>
                </a:lnTo>
                <a:lnTo>
                  <a:pt x="420" y="14"/>
                </a:lnTo>
                <a:lnTo>
                  <a:pt x="378" y="0"/>
                </a:lnTo>
                <a:lnTo>
                  <a:pt x="338" y="33"/>
                </a:lnTo>
                <a:lnTo>
                  <a:pt x="274" y="37"/>
                </a:lnTo>
                <a:lnTo>
                  <a:pt x="271" y="67"/>
                </a:lnTo>
                <a:lnTo>
                  <a:pt x="264" y="49"/>
                </a:lnTo>
                <a:lnTo>
                  <a:pt x="204" y="66"/>
                </a:lnTo>
                <a:lnTo>
                  <a:pt x="213" y="89"/>
                </a:lnTo>
                <a:lnTo>
                  <a:pt x="186" y="82"/>
                </a:lnTo>
                <a:lnTo>
                  <a:pt x="149" y="131"/>
                </a:lnTo>
                <a:lnTo>
                  <a:pt x="61" y="150"/>
                </a:lnTo>
                <a:lnTo>
                  <a:pt x="66" y="172"/>
                </a:lnTo>
                <a:lnTo>
                  <a:pt x="40" y="177"/>
                </a:lnTo>
                <a:lnTo>
                  <a:pt x="146" y="249"/>
                </a:lnTo>
                <a:lnTo>
                  <a:pt x="286" y="283"/>
                </a:lnTo>
                <a:lnTo>
                  <a:pt x="200" y="274"/>
                </a:lnTo>
                <a:lnTo>
                  <a:pt x="204" y="294"/>
                </a:lnTo>
                <a:lnTo>
                  <a:pt x="238" y="296"/>
                </a:lnTo>
                <a:lnTo>
                  <a:pt x="209" y="311"/>
                </a:lnTo>
                <a:lnTo>
                  <a:pt x="146" y="307"/>
                </a:lnTo>
                <a:lnTo>
                  <a:pt x="146" y="276"/>
                </a:lnTo>
                <a:lnTo>
                  <a:pt x="113" y="279"/>
                </a:lnTo>
                <a:lnTo>
                  <a:pt x="0" y="33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7" name="30532271.2582.752.754.8755">
            <a:extLst>
              <a:ext uri="{FF2B5EF4-FFF2-40B4-BE49-F238E27FC236}">
                <a16:creationId xmlns:a16="http://schemas.microsoft.com/office/drawing/2014/main" id="{FA7286C2-A0A1-3946-A80B-ACA09E3134D9}"/>
              </a:ext>
            </a:extLst>
          </p:cNvPr>
          <p:cNvSpPr>
            <a:spLocks noChangeAspect="1"/>
          </p:cNvSpPr>
          <p:nvPr/>
        </p:nvSpPr>
        <p:spPr bwMode="gray">
          <a:xfrm>
            <a:off x="1000373" y="2691062"/>
            <a:ext cx="77982" cy="43734"/>
          </a:xfrm>
          <a:custGeom>
            <a:avLst/>
            <a:gdLst/>
            <a:ahLst/>
            <a:cxnLst>
              <a:cxn ang="0">
                <a:pos x="0" y="21"/>
              </a:cxn>
              <a:cxn ang="0">
                <a:pos x="25" y="51"/>
              </a:cxn>
              <a:cxn ang="0">
                <a:pos x="88" y="8"/>
              </a:cxn>
              <a:cxn ang="0">
                <a:pos x="29" y="0"/>
              </a:cxn>
              <a:cxn ang="0">
                <a:pos x="36" y="19"/>
              </a:cxn>
              <a:cxn ang="0">
                <a:pos x="0" y="21"/>
              </a:cxn>
            </a:cxnLst>
            <a:rect l="0" t="0" r="r" b="b"/>
            <a:pathLst>
              <a:path w="88" h="51">
                <a:moveTo>
                  <a:pt x="0" y="21"/>
                </a:moveTo>
                <a:lnTo>
                  <a:pt x="25" y="51"/>
                </a:lnTo>
                <a:lnTo>
                  <a:pt x="88" y="8"/>
                </a:lnTo>
                <a:lnTo>
                  <a:pt x="29" y="0"/>
                </a:lnTo>
                <a:lnTo>
                  <a:pt x="36" y="19"/>
                </a:lnTo>
                <a:lnTo>
                  <a:pt x="0" y="2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8" name="30533265.75114.2513.5155">
            <a:extLst>
              <a:ext uri="{FF2B5EF4-FFF2-40B4-BE49-F238E27FC236}">
                <a16:creationId xmlns:a16="http://schemas.microsoft.com/office/drawing/2014/main" id="{56738E2F-294E-8A4E-9E8A-20705151C0A4}"/>
              </a:ext>
            </a:extLst>
          </p:cNvPr>
          <p:cNvSpPr>
            <a:spLocks noChangeAspect="1"/>
          </p:cNvSpPr>
          <p:nvPr/>
        </p:nvSpPr>
        <p:spPr bwMode="gray">
          <a:xfrm>
            <a:off x="1506306" y="2601915"/>
            <a:ext cx="239653" cy="220341"/>
          </a:xfrm>
          <a:custGeom>
            <a:avLst/>
            <a:gdLst/>
            <a:ahLst/>
            <a:cxnLst>
              <a:cxn ang="0">
                <a:pos x="0" y="23"/>
              </a:cxn>
              <a:cxn ang="0">
                <a:pos x="11" y="59"/>
              </a:cxn>
              <a:cxn ang="0">
                <a:pos x="48" y="73"/>
              </a:cxn>
              <a:cxn ang="0">
                <a:pos x="64" y="62"/>
              </a:cxn>
              <a:cxn ang="0">
                <a:pos x="33" y="44"/>
              </a:cxn>
              <a:cxn ang="0">
                <a:pos x="64" y="44"/>
              </a:cxn>
              <a:cxn ang="0">
                <a:pos x="92" y="74"/>
              </a:cxn>
              <a:cxn ang="0">
                <a:pos x="84" y="20"/>
              </a:cxn>
              <a:cxn ang="0">
                <a:pos x="106" y="67"/>
              </a:cxn>
              <a:cxn ang="0">
                <a:pos x="162" y="95"/>
              </a:cxn>
              <a:cxn ang="0">
                <a:pos x="151" y="128"/>
              </a:cxn>
              <a:cxn ang="0">
                <a:pos x="216" y="169"/>
              </a:cxn>
              <a:cxn ang="0">
                <a:pos x="198" y="203"/>
              </a:cxn>
              <a:cxn ang="0">
                <a:pos x="232" y="176"/>
              </a:cxn>
              <a:cxn ang="0">
                <a:pos x="239" y="239"/>
              </a:cxn>
              <a:cxn ang="0">
                <a:pos x="264" y="228"/>
              </a:cxn>
              <a:cxn ang="0">
                <a:pos x="266" y="180"/>
              </a:cxn>
              <a:cxn ang="0">
                <a:pos x="203" y="154"/>
              </a:cxn>
              <a:cxn ang="0">
                <a:pos x="85" y="0"/>
              </a:cxn>
              <a:cxn ang="0">
                <a:pos x="18" y="44"/>
              </a:cxn>
              <a:cxn ang="0">
                <a:pos x="0" y="23"/>
              </a:cxn>
            </a:cxnLst>
            <a:rect l="0" t="0" r="r" b="b"/>
            <a:pathLst>
              <a:path w="266" h="239">
                <a:moveTo>
                  <a:pt x="0" y="23"/>
                </a:moveTo>
                <a:lnTo>
                  <a:pt x="11" y="59"/>
                </a:lnTo>
                <a:lnTo>
                  <a:pt x="48" y="73"/>
                </a:lnTo>
                <a:lnTo>
                  <a:pt x="64" y="62"/>
                </a:lnTo>
                <a:lnTo>
                  <a:pt x="33" y="44"/>
                </a:lnTo>
                <a:lnTo>
                  <a:pt x="64" y="44"/>
                </a:lnTo>
                <a:lnTo>
                  <a:pt x="92" y="74"/>
                </a:lnTo>
                <a:lnTo>
                  <a:pt x="84" y="20"/>
                </a:lnTo>
                <a:lnTo>
                  <a:pt x="106" y="67"/>
                </a:lnTo>
                <a:lnTo>
                  <a:pt x="162" y="95"/>
                </a:lnTo>
                <a:lnTo>
                  <a:pt x="151" y="128"/>
                </a:lnTo>
                <a:lnTo>
                  <a:pt x="216" y="169"/>
                </a:lnTo>
                <a:lnTo>
                  <a:pt x="198" y="203"/>
                </a:lnTo>
                <a:lnTo>
                  <a:pt x="232" y="176"/>
                </a:lnTo>
                <a:lnTo>
                  <a:pt x="239" y="239"/>
                </a:lnTo>
                <a:lnTo>
                  <a:pt x="264" y="228"/>
                </a:lnTo>
                <a:lnTo>
                  <a:pt x="266" y="180"/>
                </a:lnTo>
                <a:lnTo>
                  <a:pt x="203" y="154"/>
                </a:lnTo>
                <a:lnTo>
                  <a:pt x="85" y="0"/>
                </a:lnTo>
                <a:lnTo>
                  <a:pt x="18" y="44"/>
                </a:lnTo>
                <a:lnTo>
                  <a:pt x="0" y="2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299" name="30534270.125117.6252.252.3755">
            <a:extLst>
              <a:ext uri="{FF2B5EF4-FFF2-40B4-BE49-F238E27FC236}">
                <a16:creationId xmlns:a16="http://schemas.microsoft.com/office/drawing/2014/main" id="{C8487B94-7EB6-384D-AAC8-654E6884022E}"/>
              </a:ext>
            </a:extLst>
          </p:cNvPr>
          <p:cNvSpPr>
            <a:spLocks noChangeAspect="1"/>
          </p:cNvSpPr>
          <p:nvPr/>
        </p:nvSpPr>
        <p:spPr bwMode="gray">
          <a:xfrm>
            <a:off x="1559561" y="2672557"/>
            <a:ext cx="38039" cy="37004"/>
          </a:xfrm>
          <a:custGeom>
            <a:avLst/>
            <a:gdLst/>
            <a:ahLst/>
            <a:cxnLst>
              <a:cxn ang="0">
                <a:pos x="0" y="0"/>
              </a:cxn>
              <a:cxn ang="0">
                <a:pos x="13" y="38"/>
              </a:cxn>
              <a:cxn ang="0">
                <a:pos x="16" y="19"/>
              </a:cxn>
              <a:cxn ang="0">
                <a:pos x="45" y="35"/>
              </a:cxn>
              <a:cxn ang="0">
                <a:pos x="19" y="19"/>
              </a:cxn>
              <a:cxn ang="0">
                <a:pos x="44" y="7"/>
              </a:cxn>
              <a:cxn ang="0">
                <a:pos x="0" y="0"/>
              </a:cxn>
            </a:cxnLst>
            <a:rect l="0" t="0" r="r" b="b"/>
            <a:pathLst>
              <a:path w="45" h="38">
                <a:moveTo>
                  <a:pt x="0" y="0"/>
                </a:moveTo>
                <a:lnTo>
                  <a:pt x="13" y="38"/>
                </a:lnTo>
                <a:lnTo>
                  <a:pt x="16" y="19"/>
                </a:lnTo>
                <a:lnTo>
                  <a:pt x="45" y="35"/>
                </a:lnTo>
                <a:lnTo>
                  <a:pt x="19" y="19"/>
                </a:lnTo>
                <a:lnTo>
                  <a:pt x="44" y="7"/>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0" name="30535272118.753.251.55">
            <a:extLst>
              <a:ext uri="{FF2B5EF4-FFF2-40B4-BE49-F238E27FC236}">
                <a16:creationId xmlns:a16="http://schemas.microsoft.com/office/drawing/2014/main" id="{636B1343-F486-FA4A-9C0C-D6E596D92771}"/>
              </a:ext>
            </a:extLst>
          </p:cNvPr>
          <p:cNvSpPr>
            <a:spLocks noChangeAspect="1"/>
          </p:cNvSpPr>
          <p:nvPr/>
        </p:nvSpPr>
        <p:spPr bwMode="gray">
          <a:xfrm>
            <a:off x="1576678" y="2702834"/>
            <a:ext cx="24727" cy="53825"/>
          </a:xfrm>
          <a:custGeom>
            <a:avLst/>
            <a:gdLst/>
            <a:ahLst/>
            <a:cxnLst>
              <a:cxn ang="0">
                <a:pos x="0" y="0"/>
              </a:cxn>
              <a:cxn ang="0">
                <a:pos x="24" y="11"/>
              </a:cxn>
              <a:cxn ang="0">
                <a:pos x="26" y="59"/>
              </a:cxn>
              <a:cxn ang="0">
                <a:pos x="0" y="0"/>
              </a:cxn>
            </a:cxnLst>
            <a:rect l="0" t="0" r="r" b="b"/>
            <a:pathLst>
              <a:path w="26" h="59">
                <a:moveTo>
                  <a:pt x="0" y="0"/>
                </a:moveTo>
                <a:lnTo>
                  <a:pt x="24" y="11"/>
                </a:lnTo>
                <a:lnTo>
                  <a:pt x="26" y="59"/>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1" name="30536270.25120.3752.1251.8755">
            <a:extLst>
              <a:ext uri="{FF2B5EF4-FFF2-40B4-BE49-F238E27FC236}">
                <a16:creationId xmlns:a16="http://schemas.microsoft.com/office/drawing/2014/main" id="{AD2841CE-A36D-CD4A-A67B-9A2FE3F5AEFF}"/>
              </a:ext>
            </a:extLst>
          </p:cNvPr>
          <p:cNvSpPr>
            <a:spLocks noChangeAspect="1"/>
          </p:cNvSpPr>
          <p:nvPr/>
        </p:nvSpPr>
        <p:spPr bwMode="gray">
          <a:xfrm>
            <a:off x="1603310" y="2675922"/>
            <a:ext cx="28532" cy="33639"/>
          </a:xfrm>
          <a:custGeom>
            <a:avLst/>
            <a:gdLst/>
            <a:ahLst/>
            <a:cxnLst>
              <a:cxn ang="0">
                <a:pos x="0" y="0"/>
              </a:cxn>
              <a:cxn ang="0">
                <a:pos x="7" y="36"/>
              </a:cxn>
              <a:cxn ang="0">
                <a:pos x="28" y="36"/>
              </a:cxn>
              <a:cxn ang="0">
                <a:pos x="18" y="4"/>
              </a:cxn>
              <a:cxn ang="0">
                <a:pos x="33" y="26"/>
              </a:cxn>
              <a:cxn ang="0">
                <a:pos x="20" y="0"/>
              </a:cxn>
              <a:cxn ang="0">
                <a:pos x="0" y="0"/>
              </a:cxn>
            </a:cxnLst>
            <a:rect l="0" t="0" r="r" b="b"/>
            <a:pathLst>
              <a:path w="33" h="36">
                <a:moveTo>
                  <a:pt x="0" y="0"/>
                </a:moveTo>
                <a:lnTo>
                  <a:pt x="7" y="36"/>
                </a:lnTo>
                <a:lnTo>
                  <a:pt x="28" y="36"/>
                </a:lnTo>
                <a:lnTo>
                  <a:pt x="18" y="4"/>
                </a:lnTo>
                <a:lnTo>
                  <a:pt x="33" y="26"/>
                </a:lnTo>
                <a:lnTo>
                  <a:pt x="20" y="0"/>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2" name="30537273.3751221.3751.55">
            <a:extLst>
              <a:ext uri="{FF2B5EF4-FFF2-40B4-BE49-F238E27FC236}">
                <a16:creationId xmlns:a16="http://schemas.microsoft.com/office/drawing/2014/main" id="{26C3E368-D360-BD48-87E0-9752B0A49E8C}"/>
              </a:ext>
            </a:extLst>
          </p:cNvPr>
          <p:cNvSpPr>
            <a:spLocks noChangeAspect="1"/>
          </p:cNvSpPr>
          <p:nvPr/>
        </p:nvSpPr>
        <p:spPr bwMode="gray">
          <a:xfrm>
            <a:off x="1629938" y="2726382"/>
            <a:ext cx="20922" cy="21867"/>
          </a:xfrm>
          <a:custGeom>
            <a:avLst/>
            <a:gdLst/>
            <a:ahLst/>
            <a:cxnLst>
              <a:cxn ang="0">
                <a:pos x="0" y="0"/>
              </a:cxn>
              <a:cxn ang="0">
                <a:pos x="27" y="26"/>
              </a:cxn>
              <a:cxn ang="0">
                <a:pos x="29" y="3"/>
              </a:cxn>
              <a:cxn ang="0">
                <a:pos x="0" y="0"/>
              </a:cxn>
            </a:cxnLst>
            <a:rect l="0" t="0" r="r" b="b"/>
            <a:pathLst>
              <a:path w="29" h="26">
                <a:moveTo>
                  <a:pt x="0" y="0"/>
                </a:moveTo>
                <a:lnTo>
                  <a:pt x="27" y="26"/>
                </a:lnTo>
                <a:lnTo>
                  <a:pt x="29" y="3"/>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3" name="30538275.25122.3753.52.6255">
            <a:extLst>
              <a:ext uri="{FF2B5EF4-FFF2-40B4-BE49-F238E27FC236}">
                <a16:creationId xmlns:a16="http://schemas.microsoft.com/office/drawing/2014/main" id="{3A0D6A49-F168-6248-AC95-88080528F01A}"/>
              </a:ext>
            </a:extLst>
          </p:cNvPr>
          <p:cNvSpPr>
            <a:spLocks noChangeAspect="1"/>
          </p:cNvSpPr>
          <p:nvPr/>
        </p:nvSpPr>
        <p:spPr bwMode="gray">
          <a:xfrm>
            <a:off x="1635643" y="2756659"/>
            <a:ext cx="41844" cy="55506"/>
          </a:xfrm>
          <a:custGeom>
            <a:avLst/>
            <a:gdLst/>
            <a:ahLst/>
            <a:cxnLst>
              <a:cxn ang="0">
                <a:pos x="0" y="0"/>
              </a:cxn>
              <a:cxn ang="0">
                <a:pos x="36" y="22"/>
              </a:cxn>
              <a:cxn ang="0">
                <a:pos x="46" y="62"/>
              </a:cxn>
              <a:cxn ang="0">
                <a:pos x="0" y="0"/>
              </a:cxn>
            </a:cxnLst>
            <a:rect l="0" t="0" r="r" b="b"/>
            <a:pathLst>
              <a:path w="46" h="62">
                <a:moveTo>
                  <a:pt x="0" y="0"/>
                </a:moveTo>
                <a:lnTo>
                  <a:pt x="36" y="22"/>
                </a:lnTo>
                <a:lnTo>
                  <a:pt x="46" y="62"/>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4" name="30539276.25126.521.3755">
            <a:extLst>
              <a:ext uri="{FF2B5EF4-FFF2-40B4-BE49-F238E27FC236}">
                <a16:creationId xmlns:a16="http://schemas.microsoft.com/office/drawing/2014/main" id="{5ABAC0C7-8300-0D49-9564-D7BB4482727A}"/>
              </a:ext>
            </a:extLst>
          </p:cNvPr>
          <p:cNvSpPr>
            <a:spLocks noChangeAspect="1"/>
          </p:cNvSpPr>
          <p:nvPr/>
        </p:nvSpPr>
        <p:spPr bwMode="gray">
          <a:xfrm>
            <a:off x="1702214" y="2773477"/>
            <a:ext cx="22823" cy="30277"/>
          </a:xfrm>
          <a:custGeom>
            <a:avLst/>
            <a:gdLst/>
            <a:ahLst/>
            <a:cxnLst>
              <a:cxn ang="0">
                <a:pos x="0" y="21"/>
              </a:cxn>
              <a:cxn ang="0">
                <a:pos x="11" y="0"/>
              </a:cxn>
              <a:cxn ang="0">
                <a:pos x="23" y="36"/>
              </a:cxn>
              <a:cxn ang="0">
                <a:pos x="0" y="21"/>
              </a:cxn>
            </a:cxnLst>
            <a:rect l="0" t="0" r="r" b="b"/>
            <a:pathLst>
              <a:path w="23" h="36">
                <a:moveTo>
                  <a:pt x="0" y="21"/>
                </a:moveTo>
                <a:lnTo>
                  <a:pt x="11" y="0"/>
                </a:lnTo>
                <a:lnTo>
                  <a:pt x="23" y="36"/>
                </a:lnTo>
                <a:lnTo>
                  <a:pt x="0" y="2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5" name="30540292.625139.62552.75108.55">
            <a:extLst>
              <a:ext uri="{FF2B5EF4-FFF2-40B4-BE49-F238E27FC236}">
                <a16:creationId xmlns:a16="http://schemas.microsoft.com/office/drawing/2014/main" id="{2C7E7002-514D-E446-A889-2C0C09EB173B}"/>
              </a:ext>
            </a:extLst>
          </p:cNvPr>
          <p:cNvSpPr>
            <a:spLocks noChangeAspect="1"/>
          </p:cNvSpPr>
          <p:nvPr/>
        </p:nvSpPr>
        <p:spPr bwMode="gray">
          <a:xfrm>
            <a:off x="1911434" y="3039233"/>
            <a:ext cx="1740338" cy="852773"/>
          </a:xfrm>
          <a:custGeom>
            <a:avLst/>
            <a:gdLst/>
            <a:ahLst/>
            <a:cxnLst>
              <a:cxn ang="0">
                <a:pos x="22" y="128"/>
              </a:cxn>
              <a:cxn ang="0">
                <a:pos x="27" y="140"/>
              </a:cxn>
              <a:cxn ang="0">
                <a:pos x="59" y="461"/>
              </a:cxn>
              <a:cxn ang="0">
                <a:pos x="78" y="495"/>
              </a:cxn>
              <a:cxn ang="0">
                <a:pos x="203" y="615"/>
              </a:cxn>
              <a:cxn ang="0">
                <a:pos x="331" y="664"/>
              </a:cxn>
              <a:cxn ang="0">
                <a:pos x="609" y="696"/>
              </a:cxn>
              <a:cxn ang="0">
                <a:pos x="771" y="769"/>
              </a:cxn>
              <a:cxn ang="0">
                <a:pos x="921" y="911"/>
              </a:cxn>
              <a:cxn ang="0">
                <a:pos x="983" y="802"/>
              </a:cxn>
              <a:cxn ang="0">
                <a:pos x="1090" y="769"/>
              </a:cxn>
              <a:cxn ang="0">
                <a:pos x="1178" y="755"/>
              </a:cxn>
              <a:cxn ang="0">
                <a:pos x="1216" y="748"/>
              </a:cxn>
              <a:cxn ang="0">
                <a:pos x="1226" y="752"/>
              </a:cxn>
              <a:cxn ang="0">
                <a:pos x="1398" y="794"/>
              </a:cxn>
              <a:cxn ang="0">
                <a:pos x="1447" y="934"/>
              </a:cxn>
              <a:cxn ang="0">
                <a:pos x="1484" y="871"/>
              </a:cxn>
              <a:cxn ang="0">
                <a:pos x="1466" y="670"/>
              </a:cxn>
              <a:cxn ang="0">
                <a:pos x="1602" y="542"/>
              </a:cxn>
              <a:cxn ang="0">
                <a:pos x="1609" y="499"/>
              </a:cxn>
              <a:cxn ang="0">
                <a:pos x="1580" y="440"/>
              </a:cxn>
              <a:cxn ang="0">
                <a:pos x="1604" y="417"/>
              </a:cxn>
              <a:cxn ang="0">
                <a:pos x="1633" y="495"/>
              </a:cxn>
              <a:cxn ang="0">
                <a:pos x="1642" y="399"/>
              </a:cxn>
              <a:cxn ang="0">
                <a:pos x="1694" y="351"/>
              </a:cxn>
              <a:cxn ang="0">
                <a:pos x="1795" y="297"/>
              </a:cxn>
              <a:cxn ang="0">
                <a:pos x="1921" y="199"/>
              </a:cxn>
              <a:cxn ang="0">
                <a:pos x="1899" y="157"/>
              </a:cxn>
              <a:cxn ang="0">
                <a:pos x="1844" y="85"/>
              </a:cxn>
              <a:cxn ang="0">
                <a:pos x="1633" y="206"/>
              </a:cxn>
              <a:cxn ang="0">
                <a:pos x="1523" y="260"/>
              </a:cxn>
              <a:cxn ang="0">
                <a:pos x="1431" y="326"/>
              </a:cxn>
              <a:cxn ang="0">
                <a:pos x="1387" y="308"/>
              </a:cxn>
              <a:cxn ang="0">
                <a:pos x="1404" y="281"/>
              </a:cxn>
              <a:cxn ang="0">
                <a:pos x="1395" y="224"/>
              </a:cxn>
              <a:cxn ang="0">
                <a:pos x="1373" y="175"/>
              </a:cxn>
              <a:cxn ang="0">
                <a:pos x="1282" y="199"/>
              </a:cxn>
              <a:cxn ang="0">
                <a:pos x="1237" y="314"/>
              </a:cxn>
              <a:cxn ang="0">
                <a:pos x="1252" y="177"/>
              </a:cxn>
              <a:cxn ang="0">
                <a:pos x="1270" y="147"/>
              </a:cxn>
              <a:cxn ang="0">
                <a:pos x="1343" y="124"/>
              </a:cxn>
              <a:cxn ang="0">
                <a:pos x="1208" y="111"/>
              </a:cxn>
              <a:cxn ang="0">
                <a:pos x="1149" y="120"/>
              </a:cxn>
              <a:cxn ang="0">
                <a:pos x="1163" y="62"/>
              </a:cxn>
              <a:cxn ang="0">
                <a:pos x="984" y="0"/>
              </a:cxn>
              <a:cxn ang="0">
                <a:pos x="63" y="19"/>
              </a:cxn>
              <a:cxn ang="0">
                <a:pos x="59" y="85"/>
              </a:cxn>
              <a:cxn ang="0">
                <a:pos x="0" y="52"/>
              </a:cxn>
            </a:cxnLst>
            <a:rect l="0" t="0" r="r" b="b"/>
            <a:pathLst>
              <a:path w="1924" h="934">
                <a:moveTo>
                  <a:pt x="0" y="52"/>
                </a:moveTo>
                <a:lnTo>
                  <a:pt x="22" y="128"/>
                </a:lnTo>
                <a:lnTo>
                  <a:pt x="49" y="136"/>
                </a:lnTo>
                <a:lnTo>
                  <a:pt x="27" y="140"/>
                </a:lnTo>
                <a:lnTo>
                  <a:pt x="11" y="371"/>
                </a:lnTo>
                <a:lnTo>
                  <a:pt x="59" y="461"/>
                </a:lnTo>
                <a:lnTo>
                  <a:pt x="91" y="461"/>
                </a:lnTo>
                <a:lnTo>
                  <a:pt x="78" y="495"/>
                </a:lnTo>
                <a:lnTo>
                  <a:pt x="140" y="593"/>
                </a:lnTo>
                <a:lnTo>
                  <a:pt x="203" y="615"/>
                </a:lnTo>
                <a:lnTo>
                  <a:pt x="254" y="671"/>
                </a:lnTo>
                <a:lnTo>
                  <a:pt x="331" y="664"/>
                </a:lnTo>
                <a:lnTo>
                  <a:pt x="458" y="717"/>
                </a:lnTo>
                <a:lnTo>
                  <a:pt x="609" y="696"/>
                </a:lnTo>
                <a:lnTo>
                  <a:pt x="701" y="795"/>
                </a:lnTo>
                <a:lnTo>
                  <a:pt x="771" y="769"/>
                </a:lnTo>
                <a:lnTo>
                  <a:pt x="855" y="889"/>
                </a:lnTo>
                <a:lnTo>
                  <a:pt x="921" y="911"/>
                </a:lnTo>
                <a:lnTo>
                  <a:pt x="914" y="843"/>
                </a:lnTo>
                <a:lnTo>
                  <a:pt x="983" y="802"/>
                </a:lnTo>
                <a:lnTo>
                  <a:pt x="989" y="770"/>
                </a:lnTo>
                <a:lnTo>
                  <a:pt x="1090" y="769"/>
                </a:lnTo>
                <a:lnTo>
                  <a:pt x="1176" y="795"/>
                </a:lnTo>
                <a:lnTo>
                  <a:pt x="1178" y="755"/>
                </a:lnTo>
                <a:lnTo>
                  <a:pt x="1143" y="750"/>
                </a:lnTo>
                <a:lnTo>
                  <a:pt x="1216" y="748"/>
                </a:lnTo>
                <a:lnTo>
                  <a:pt x="1220" y="729"/>
                </a:lnTo>
                <a:lnTo>
                  <a:pt x="1226" y="752"/>
                </a:lnTo>
                <a:lnTo>
                  <a:pt x="1362" y="761"/>
                </a:lnTo>
                <a:lnTo>
                  <a:pt x="1398" y="794"/>
                </a:lnTo>
                <a:lnTo>
                  <a:pt x="1403" y="854"/>
                </a:lnTo>
                <a:lnTo>
                  <a:pt x="1447" y="934"/>
                </a:lnTo>
                <a:lnTo>
                  <a:pt x="1473" y="931"/>
                </a:lnTo>
                <a:lnTo>
                  <a:pt x="1484" y="871"/>
                </a:lnTo>
                <a:lnTo>
                  <a:pt x="1439" y="729"/>
                </a:lnTo>
                <a:lnTo>
                  <a:pt x="1466" y="670"/>
                </a:lnTo>
                <a:lnTo>
                  <a:pt x="1635" y="554"/>
                </a:lnTo>
                <a:lnTo>
                  <a:pt x="1602" y="542"/>
                </a:lnTo>
                <a:lnTo>
                  <a:pt x="1633" y="538"/>
                </a:lnTo>
                <a:lnTo>
                  <a:pt x="1609" y="499"/>
                </a:lnTo>
                <a:lnTo>
                  <a:pt x="1615" y="466"/>
                </a:lnTo>
                <a:lnTo>
                  <a:pt x="1580" y="440"/>
                </a:lnTo>
                <a:lnTo>
                  <a:pt x="1615" y="458"/>
                </a:lnTo>
                <a:lnTo>
                  <a:pt x="1604" y="417"/>
                </a:lnTo>
                <a:lnTo>
                  <a:pt x="1628" y="404"/>
                </a:lnTo>
                <a:lnTo>
                  <a:pt x="1633" y="495"/>
                </a:lnTo>
                <a:lnTo>
                  <a:pt x="1659" y="441"/>
                </a:lnTo>
                <a:lnTo>
                  <a:pt x="1642" y="399"/>
                </a:lnTo>
                <a:lnTo>
                  <a:pt x="1660" y="424"/>
                </a:lnTo>
                <a:lnTo>
                  <a:pt x="1694" y="351"/>
                </a:lnTo>
                <a:lnTo>
                  <a:pt x="1829" y="318"/>
                </a:lnTo>
                <a:lnTo>
                  <a:pt x="1795" y="297"/>
                </a:lnTo>
                <a:lnTo>
                  <a:pt x="1819" y="241"/>
                </a:lnTo>
                <a:lnTo>
                  <a:pt x="1921" y="199"/>
                </a:lnTo>
                <a:lnTo>
                  <a:pt x="1924" y="176"/>
                </a:lnTo>
                <a:lnTo>
                  <a:pt x="1899" y="157"/>
                </a:lnTo>
                <a:lnTo>
                  <a:pt x="1899" y="103"/>
                </a:lnTo>
                <a:lnTo>
                  <a:pt x="1844" y="85"/>
                </a:lnTo>
                <a:lnTo>
                  <a:pt x="1803" y="173"/>
                </a:lnTo>
                <a:lnTo>
                  <a:pt x="1633" y="206"/>
                </a:lnTo>
                <a:lnTo>
                  <a:pt x="1620" y="245"/>
                </a:lnTo>
                <a:lnTo>
                  <a:pt x="1523" y="260"/>
                </a:lnTo>
                <a:lnTo>
                  <a:pt x="1529" y="272"/>
                </a:lnTo>
                <a:lnTo>
                  <a:pt x="1431" y="326"/>
                </a:lnTo>
                <a:lnTo>
                  <a:pt x="1389" y="325"/>
                </a:lnTo>
                <a:lnTo>
                  <a:pt x="1387" y="308"/>
                </a:lnTo>
                <a:lnTo>
                  <a:pt x="1395" y="292"/>
                </a:lnTo>
                <a:lnTo>
                  <a:pt x="1404" y="281"/>
                </a:lnTo>
                <a:lnTo>
                  <a:pt x="1409" y="264"/>
                </a:lnTo>
                <a:lnTo>
                  <a:pt x="1395" y="224"/>
                </a:lnTo>
                <a:lnTo>
                  <a:pt x="1360" y="239"/>
                </a:lnTo>
                <a:lnTo>
                  <a:pt x="1373" y="175"/>
                </a:lnTo>
                <a:lnTo>
                  <a:pt x="1322" y="157"/>
                </a:lnTo>
                <a:lnTo>
                  <a:pt x="1282" y="199"/>
                </a:lnTo>
                <a:lnTo>
                  <a:pt x="1267" y="311"/>
                </a:lnTo>
                <a:lnTo>
                  <a:pt x="1237" y="314"/>
                </a:lnTo>
                <a:lnTo>
                  <a:pt x="1227" y="261"/>
                </a:lnTo>
                <a:lnTo>
                  <a:pt x="1252" y="177"/>
                </a:lnTo>
                <a:lnTo>
                  <a:pt x="1229" y="191"/>
                </a:lnTo>
                <a:lnTo>
                  <a:pt x="1270" y="147"/>
                </a:lnTo>
                <a:lnTo>
                  <a:pt x="1359" y="146"/>
                </a:lnTo>
                <a:lnTo>
                  <a:pt x="1343" y="124"/>
                </a:lnTo>
                <a:lnTo>
                  <a:pt x="1337" y="124"/>
                </a:lnTo>
                <a:lnTo>
                  <a:pt x="1208" y="111"/>
                </a:lnTo>
                <a:lnTo>
                  <a:pt x="1229" y="84"/>
                </a:lnTo>
                <a:lnTo>
                  <a:pt x="1149" y="120"/>
                </a:lnTo>
                <a:lnTo>
                  <a:pt x="1088" y="120"/>
                </a:lnTo>
                <a:lnTo>
                  <a:pt x="1163" y="62"/>
                </a:lnTo>
                <a:lnTo>
                  <a:pt x="1005" y="30"/>
                </a:lnTo>
                <a:lnTo>
                  <a:pt x="984" y="0"/>
                </a:lnTo>
                <a:lnTo>
                  <a:pt x="983" y="19"/>
                </a:lnTo>
                <a:lnTo>
                  <a:pt x="63" y="19"/>
                </a:lnTo>
                <a:lnTo>
                  <a:pt x="81" y="56"/>
                </a:lnTo>
                <a:lnTo>
                  <a:pt x="59" y="85"/>
                </a:lnTo>
                <a:lnTo>
                  <a:pt x="66" y="55"/>
                </a:lnTo>
                <a:lnTo>
                  <a:pt x="0" y="5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6" name="30542451.375264.25109.8755">
            <a:extLst>
              <a:ext uri="{FF2B5EF4-FFF2-40B4-BE49-F238E27FC236}">
                <a16:creationId xmlns:a16="http://schemas.microsoft.com/office/drawing/2014/main" id="{32D7D481-6CB1-034A-899D-25971B260114}"/>
              </a:ext>
            </a:extLst>
          </p:cNvPr>
          <p:cNvSpPr>
            <a:spLocks noChangeAspect="1"/>
          </p:cNvSpPr>
          <p:nvPr/>
        </p:nvSpPr>
        <p:spPr bwMode="gray">
          <a:xfrm>
            <a:off x="3908542" y="5609320"/>
            <a:ext cx="157865" cy="161471"/>
          </a:xfrm>
          <a:custGeom>
            <a:avLst/>
            <a:gdLst/>
            <a:ahLst/>
            <a:cxnLst>
              <a:cxn ang="0">
                <a:pos x="0" y="144"/>
              </a:cxn>
              <a:cxn ang="0">
                <a:pos x="29" y="7"/>
              </a:cxn>
              <a:cxn ang="0">
                <a:pos x="53" y="0"/>
              </a:cxn>
              <a:cxn ang="0">
                <a:pos x="154" y="70"/>
              </a:cxn>
              <a:cxn ang="0">
                <a:pos x="174" y="99"/>
              </a:cxn>
              <a:cxn ang="0">
                <a:pos x="166" y="135"/>
              </a:cxn>
              <a:cxn ang="0">
                <a:pos x="119" y="179"/>
              </a:cxn>
              <a:cxn ang="0">
                <a:pos x="0" y="144"/>
              </a:cxn>
            </a:cxnLst>
            <a:rect l="0" t="0" r="r" b="b"/>
            <a:pathLst>
              <a:path w="174" h="179">
                <a:moveTo>
                  <a:pt x="0" y="144"/>
                </a:moveTo>
                <a:lnTo>
                  <a:pt x="29" y="7"/>
                </a:lnTo>
                <a:lnTo>
                  <a:pt x="53" y="0"/>
                </a:lnTo>
                <a:lnTo>
                  <a:pt x="154" y="70"/>
                </a:lnTo>
                <a:lnTo>
                  <a:pt x="174" y="99"/>
                </a:lnTo>
                <a:lnTo>
                  <a:pt x="166" y="135"/>
                </a:lnTo>
                <a:lnTo>
                  <a:pt x="119" y="179"/>
                </a:lnTo>
                <a:lnTo>
                  <a:pt x="0" y="14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7" name="30543434.75236.12566.537.1255">
            <a:extLst>
              <a:ext uri="{FF2B5EF4-FFF2-40B4-BE49-F238E27FC236}">
                <a16:creationId xmlns:a16="http://schemas.microsoft.com/office/drawing/2014/main" id="{E5E2F21C-E889-5B4A-854A-A8A6016A45D6}"/>
              </a:ext>
            </a:extLst>
          </p:cNvPr>
          <p:cNvSpPr>
            <a:spLocks noChangeAspect="1"/>
          </p:cNvSpPr>
          <p:nvPr/>
        </p:nvSpPr>
        <p:spPr bwMode="gray">
          <a:xfrm>
            <a:off x="3446141" y="5340199"/>
            <a:ext cx="593426" cy="1074795"/>
          </a:xfrm>
          <a:custGeom>
            <a:avLst/>
            <a:gdLst/>
            <a:ahLst/>
            <a:cxnLst>
              <a:cxn ang="0">
                <a:pos x="0" y="1089"/>
              </a:cxn>
              <a:cxn ang="0">
                <a:pos x="6" y="1114"/>
              </a:cxn>
              <a:cxn ang="0">
                <a:pos x="33" y="1106"/>
              </a:cxn>
              <a:cxn ang="0">
                <a:pos x="44" y="1165"/>
              </a:cxn>
              <a:cxn ang="0">
                <a:pos x="165" y="1177"/>
              </a:cxn>
              <a:cxn ang="0">
                <a:pos x="132" y="1147"/>
              </a:cxn>
              <a:cxn ang="0">
                <a:pos x="157" y="1067"/>
              </a:cxn>
              <a:cxn ang="0">
                <a:pos x="180" y="1082"/>
              </a:cxn>
              <a:cxn ang="0">
                <a:pos x="256" y="971"/>
              </a:cxn>
              <a:cxn ang="0">
                <a:pos x="197" y="908"/>
              </a:cxn>
              <a:cxn ang="0">
                <a:pos x="263" y="869"/>
              </a:cxn>
              <a:cxn ang="0">
                <a:pos x="272" y="811"/>
              </a:cxn>
              <a:cxn ang="0">
                <a:pos x="303" y="785"/>
              </a:cxn>
              <a:cxn ang="0">
                <a:pos x="276" y="774"/>
              </a:cxn>
              <a:cxn ang="0">
                <a:pos x="326" y="774"/>
              </a:cxn>
              <a:cxn ang="0">
                <a:pos x="320" y="747"/>
              </a:cxn>
              <a:cxn ang="0">
                <a:pos x="298" y="766"/>
              </a:cxn>
              <a:cxn ang="0">
                <a:pos x="276" y="745"/>
              </a:cxn>
              <a:cxn ang="0">
                <a:pos x="274" y="703"/>
              </a:cxn>
              <a:cxn ang="0">
                <a:pos x="363" y="707"/>
              </a:cxn>
              <a:cxn ang="0">
                <a:pos x="371" y="620"/>
              </a:cxn>
              <a:cxn ang="0">
                <a:pos x="513" y="606"/>
              </a:cxn>
              <a:cxn ang="0">
                <a:pos x="554" y="546"/>
              </a:cxn>
              <a:cxn ang="0">
                <a:pos x="498" y="437"/>
              </a:cxn>
              <a:cxn ang="0">
                <a:pos x="527" y="300"/>
              </a:cxn>
              <a:cxn ang="0">
                <a:pos x="657" y="187"/>
              </a:cxn>
              <a:cxn ang="0">
                <a:pos x="652" y="136"/>
              </a:cxn>
              <a:cxn ang="0">
                <a:pos x="626" y="135"/>
              </a:cxn>
              <a:cxn ang="0">
                <a:pos x="591" y="195"/>
              </a:cxn>
              <a:cxn ang="0">
                <a:pos x="501" y="191"/>
              </a:cxn>
              <a:cxn ang="0">
                <a:pos x="520" y="124"/>
              </a:cxn>
              <a:cxn ang="0">
                <a:pos x="359" y="18"/>
              </a:cxn>
              <a:cxn ang="0">
                <a:pos x="305" y="9"/>
              </a:cxn>
              <a:cxn ang="0">
                <a:pos x="301" y="31"/>
              </a:cxn>
              <a:cxn ang="0">
                <a:pos x="239" y="0"/>
              </a:cxn>
              <a:cxn ang="0">
                <a:pos x="204" y="38"/>
              </a:cxn>
              <a:cxn ang="0">
                <a:pos x="201" y="80"/>
              </a:cxn>
              <a:cxn ang="0">
                <a:pos x="164" y="98"/>
              </a:cxn>
              <a:cxn ang="0">
                <a:pos x="165" y="179"/>
              </a:cxn>
              <a:cxn ang="0">
                <a:pos x="125" y="224"/>
              </a:cxn>
              <a:cxn ang="0">
                <a:pos x="94" y="338"/>
              </a:cxn>
              <a:cxn ang="0">
                <a:pos x="117" y="447"/>
              </a:cxn>
              <a:cxn ang="0">
                <a:pos x="74" y="539"/>
              </a:cxn>
              <a:cxn ang="0">
                <a:pos x="44" y="769"/>
              </a:cxn>
              <a:cxn ang="0">
                <a:pos x="68" y="853"/>
              </a:cxn>
              <a:cxn ang="0">
                <a:pos x="46" y="860"/>
              </a:cxn>
              <a:cxn ang="0">
                <a:pos x="57" y="934"/>
              </a:cxn>
              <a:cxn ang="0">
                <a:pos x="0" y="1089"/>
              </a:cxn>
            </a:cxnLst>
            <a:rect l="0" t="0" r="r" b="b"/>
            <a:pathLst>
              <a:path w="657" h="1177">
                <a:moveTo>
                  <a:pt x="0" y="1089"/>
                </a:moveTo>
                <a:lnTo>
                  <a:pt x="6" y="1114"/>
                </a:lnTo>
                <a:lnTo>
                  <a:pt x="33" y="1106"/>
                </a:lnTo>
                <a:lnTo>
                  <a:pt x="44" y="1165"/>
                </a:lnTo>
                <a:lnTo>
                  <a:pt x="165" y="1177"/>
                </a:lnTo>
                <a:lnTo>
                  <a:pt x="132" y="1147"/>
                </a:lnTo>
                <a:lnTo>
                  <a:pt x="157" y="1067"/>
                </a:lnTo>
                <a:lnTo>
                  <a:pt x="180" y="1082"/>
                </a:lnTo>
                <a:lnTo>
                  <a:pt x="256" y="971"/>
                </a:lnTo>
                <a:lnTo>
                  <a:pt x="197" y="908"/>
                </a:lnTo>
                <a:lnTo>
                  <a:pt x="263" y="869"/>
                </a:lnTo>
                <a:lnTo>
                  <a:pt x="272" y="811"/>
                </a:lnTo>
                <a:lnTo>
                  <a:pt x="303" y="785"/>
                </a:lnTo>
                <a:lnTo>
                  <a:pt x="276" y="774"/>
                </a:lnTo>
                <a:lnTo>
                  <a:pt x="326" y="774"/>
                </a:lnTo>
                <a:lnTo>
                  <a:pt x="320" y="747"/>
                </a:lnTo>
                <a:lnTo>
                  <a:pt x="298" y="766"/>
                </a:lnTo>
                <a:lnTo>
                  <a:pt x="276" y="745"/>
                </a:lnTo>
                <a:lnTo>
                  <a:pt x="274" y="703"/>
                </a:lnTo>
                <a:lnTo>
                  <a:pt x="363" y="707"/>
                </a:lnTo>
                <a:lnTo>
                  <a:pt x="371" y="620"/>
                </a:lnTo>
                <a:lnTo>
                  <a:pt x="513" y="606"/>
                </a:lnTo>
                <a:lnTo>
                  <a:pt x="554" y="546"/>
                </a:lnTo>
                <a:lnTo>
                  <a:pt x="498" y="437"/>
                </a:lnTo>
                <a:lnTo>
                  <a:pt x="527" y="300"/>
                </a:lnTo>
                <a:lnTo>
                  <a:pt x="657" y="187"/>
                </a:lnTo>
                <a:lnTo>
                  <a:pt x="652" y="136"/>
                </a:lnTo>
                <a:lnTo>
                  <a:pt x="626" y="135"/>
                </a:lnTo>
                <a:lnTo>
                  <a:pt x="591" y="195"/>
                </a:lnTo>
                <a:lnTo>
                  <a:pt x="501" y="191"/>
                </a:lnTo>
                <a:lnTo>
                  <a:pt x="520" y="124"/>
                </a:lnTo>
                <a:lnTo>
                  <a:pt x="359" y="18"/>
                </a:lnTo>
                <a:lnTo>
                  <a:pt x="305" y="9"/>
                </a:lnTo>
                <a:lnTo>
                  <a:pt x="301" y="31"/>
                </a:lnTo>
                <a:lnTo>
                  <a:pt x="239" y="0"/>
                </a:lnTo>
                <a:lnTo>
                  <a:pt x="204" y="38"/>
                </a:lnTo>
                <a:lnTo>
                  <a:pt x="201" y="80"/>
                </a:lnTo>
                <a:lnTo>
                  <a:pt x="164" y="98"/>
                </a:lnTo>
                <a:lnTo>
                  <a:pt x="165" y="179"/>
                </a:lnTo>
                <a:lnTo>
                  <a:pt x="125" y="224"/>
                </a:lnTo>
                <a:lnTo>
                  <a:pt x="94" y="338"/>
                </a:lnTo>
                <a:lnTo>
                  <a:pt x="117" y="447"/>
                </a:lnTo>
                <a:lnTo>
                  <a:pt x="74" y="539"/>
                </a:lnTo>
                <a:lnTo>
                  <a:pt x="44" y="769"/>
                </a:lnTo>
                <a:lnTo>
                  <a:pt x="68" y="853"/>
                </a:lnTo>
                <a:lnTo>
                  <a:pt x="46" y="860"/>
                </a:lnTo>
                <a:lnTo>
                  <a:pt x="57" y="934"/>
                </a:lnTo>
                <a:lnTo>
                  <a:pt x="0" y="108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8" name="30544502.252455.756.6255">
            <a:extLst>
              <a:ext uri="{FF2B5EF4-FFF2-40B4-BE49-F238E27FC236}">
                <a16:creationId xmlns:a16="http://schemas.microsoft.com/office/drawing/2014/main" id="{8677B89A-A4D1-674B-8398-FE2EA31F0839}"/>
              </a:ext>
            </a:extLst>
          </p:cNvPr>
          <p:cNvSpPr>
            <a:spLocks noChangeAspect="1"/>
          </p:cNvSpPr>
          <p:nvPr/>
        </p:nvSpPr>
        <p:spPr bwMode="gray">
          <a:xfrm>
            <a:off x="3600414" y="6433496"/>
            <a:ext cx="104610" cy="92509"/>
          </a:xfrm>
          <a:custGeom>
            <a:avLst/>
            <a:gdLst/>
            <a:ahLst/>
            <a:cxnLst>
              <a:cxn ang="0">
                <a:pos x="0" y="0"/>
              </a:cxn>
              <a:cxn ang="0">
                <a:pos x="3" y="102"/>
              </a:cxn>
              <a:cxn ang="0">
                <a:pos x="117" y="91"/>
              </a:cxn>
              <a:cxn ang="0">
                <a:pos x="26" y="50"/>
              </a:cxn>
              <a:cxn ang="0">
                <a:pos x="0" y="0"/>
              </a:cxn>
            </a:cxnLst>
            <a:rect l="0" t="0" r="r" b="b"/>
            <a:pathLst>
              <a:path w="117" h="102">
                <a:moveTo>
                  <a:pt x="0" y="0"/>
                </a:moveTo>
                <a:lnTo>
                  <a:pt x="3" y="102"/>
                </a:lnTo>
                <a:lnTo>
                  <a:pt x="117" y="91"/>
                </a:lnTo>
                <a:lnTo>
                  <a:pt x="26" y="50"/>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09" name="30545383.875235.257573.55">
            <a:extLst>
              <a:ext uri="{FF2B5EF4-FFF2-40B4-BE49-F238E27FC236}">
                <a16:creationId xmlns:a16="http://schemas.microsoft.com/office/drawing/2014/main" id="{66A15914-E6AF-D844-8EA0-5F9D1229F2FE}"/>
              </a:ext>
            </a:extLst>
          </p:cNvPr>
          <p:cNvSpPr>
            <a:spLocks noChangeAspect="1"/>
          </p:cNvSpPr>
          <p:nvPr/>
        </p:nvSpPr>
        <p:spPr bwMode="gray">
          <a:xfrm>
            <a:off x="3442548" y="4516023"/>
            <a:ext cx="1181146" cy="1212718"/>
          </a:xfrm>
          <a:custGeom>
            <a:avLst/>
            <a:gdLst/>
            <a:ahLst/>
            <a:cxnLst>
              <a:cxn ang="0">
                <a:pos x="29" y="483"/>
              </a:cxn>
              <a:cxn ang="0">
                <a:pos x="110" y="480"/>
              </a:cxn>
              <a:cxn ang="0">
                <a:pos x="139" y="535"/>
              </a:cxn>
              <a:cxn ang="0">
                <a:pos x="280" y="490"/>
              </a:cxn>
              <a:cxn ang="0">
                <a:pos x="437" y="625"/>
              </a:cxn>
              <a:cxn ang="0">
                <a:pos x="517" y="718"/>
              </a:cxn>
              <a:cxn ang="0">
                <a:pos x="526" y="846"/>
              </a:cxn>
              <a:cxn ang="0">
                <a:pos x="603" y="924"/>
              </a:cxn>
              <a:cxn ang="0">
                <a:pos x="647" y="980"/>
              </a:cxn>
              <a:cxn ang="0">
                <a:pos x="668" y="1040"/>
              </a:cxn>
              <a:cxn ang="0">
                <a:pos x="543" y="1204"/>
              </a:cxn>
              <a:cxn ang="0">
                <a:pos x="668" y="1267"/>
              </a:cxn>
              <a:cxn ang="0">
                <a:pos x="680" y="1332"/>
              </a:cxn>
              <a:cxn ang="0">
                <a:pos x="849" y="1033"/>
              </a:cxn>
              <a:cxn ang="0">
                <a:pos x="1057" y="942"/>
              </a:cxn>
              <a:cxn ang="0">
                <a:pos x="1156" y="759"/>
              </a:cxn>
              <a:cxn ang="0">
                <a:pos x="1290" y="469"/>
              </a:cxn>
              <a:cxn ang="0">
                <a:pos x="1282" y="345"/>
              </a:cxn>
              <a:cxn ang="0">
                <a:pos x="1146" y="274"/>
              </a:cxn>
              <a:cxn ang="0">
                <a:pos x="967" y="222"/>
              </a:cxn>
              <a:cxn ang="0">
                <a:pos x="863" y="194"/>
              </a:cxn>
              <a:cxn ang="0">
                <a:pos x="817" y="231"/>
              </a:cxn>
              <a:cxn ang="0">
                <a:pos x="776" y="230"/>
              </a:cxn>
              <a:cxn ang="0">
                <a:pos x="801" y="120"/>
              </a:cxn>
              <a:cxn ang="0">
                <a:pos x="697" y="102"/>
              </a:cxn>
              <a:cxn ang="0">
                <a:pos x="580" y="107"/>
              </a:cxn>
              <a:cxn ang="0">
                <a:pos x="467" y="87"/>
              </a:cxn>
              <a:cxn ang="0">
                <a:pos x="444" y="0"/>
              </a:cxn>
              <a:cxn ang="0">
                <a:pos x="303" y="28"/>
              </a:cxn>
              <a:cxn ang="0">
                <a:pos x="352" y="99"/>
              </a:cxn>
              <a:cxn ang="0">
                <a:pos x="233" y="128"/>
              </a:cxn>
              <a:cxn ang="0">
                <a:pos x="134" y="117"/>
              </a:cxn>
              <a:cxn ang="0">
                <a:pos x="128" y="154"/>
              </a:cxn>
              <a:cxn ang="0">
                <a:pos x="130" y="310"/>
              </a:cxn>
              <a:cxn ang="0">
                <a:pos x="0" y="421"/>
              </a:cxn>
            </a:cxnLst>
            <a:rect l="0" t="0" r="r" b="b"/>
            <a:pathLst>
              <a:path w="1303" h="1332">
                <a:moveTo>
                  <a:pt x="0" y="421"/>
                </a:moveTo>
                <a:lnTo>
                  <a:pt x="29" y="483"/>
                </a:lnTo>
                <a:lnTo>
                  <a:pt x="74" y="504"/>
                </a:lnTo>
                <a:lnTo>
                  <a:pt x="110" y="480"/>
                </a:lnTo>
                <a:lnTo>
                  <a:pt x="110" y="535"/>
                </a:lnTo>
                <a:lnTo>
                  <a:pt x="139" y="535"/>
                </a:lnTo>
                <a:lnTo>
                  <a:pt x="180" y="538"/>
                </a:lnTo>
                <a:lnTo>
                  <a:pt x="280" y="490"/>
                </a:lnTo>
                <a:lnTo>
                  <a:pt x="288" y="565"/>
                </a:lnTo>
                <a:lnTo>
                  <a:pt x="437" y="625"/>
                </a:lnTo>
                <a:lnTo>
                  <a:pt x="460" y="714"/>
                </a:lnTo>
                <a:lnTo>
                  <a:pt x="517" y="718"/>
                </a:lnTo>
                <a:lnTo>
                  <a:pt x="538" y="777"/>
                </a:lnTo>
                <a:lnTo>
                  <a:pt x="526" y="846"/>
                </a:lnTo>
                <a:lnTo>
                  <a:pt x="534" y="913"/>
                </a:lnTo>
                <a:lnTo>
                  <a:pt x="603" y="924"/>
                </a:lnTo>
                <a:lnTo>
                  <a:pt x="613" y="971"/>
                </a:lnTo>
                <a:lnTo>
                  <a:pt x="647" y="980"/>
                </a:lnTo>
                <a:lnTo>
                  <a:pt x="642" y="1039"/>
                </a:lnTo>
                <a:lnTo>
                  <a:pt x="668" y="1040"/>
                </a:lnTo>
                <a:lnTo>
                  <a:pt x="673" y="1091"/>
                </a:lnTo>
                <a:lnTo>
                  <a:pt x="543" y="1204"/>
                </a:lnTo>
                <a:lnTo>
                  <a:pt x="567" y="1197"/>
                </a:lnTo>
                <a:lnTo>
                  <a:pt x="668" y="1267"/>
                </a:lnTo>
                <a:lnTo>
                  <a:pt x="688" y="1296"/>
                </a:lnTo>
                <a:lnTo>
                  <a:pt x="680" y="1332"/>
                </a:lnTo>
                <a:lnTo>
                  <a:pt x="839" y="1134"/>
                </a:lnTo>
                <a:lnTo>
                  <a:pt x="849" y="1033"/>
                </a:lnTo>
                <a:lnTo>
                  <a:pt x="977" y="942"/>
                </a:lnTo>
                <a:lnTo>
                  <a:pt x="1057" y="942"/>
                </a:lnTo>
                <a:lnTo>
                  <a:pt x="1090" y="911"/>
                </a:lnTo>
                <a:lnTo>
                  <a:pt x="1156" y="759"/>
                </a:lnTo>
                <a:lnTo>
                  <a:pt x="1164" y="611"/>
                </a:lnTo>
                <a:lnTo>
                  <a:pt x="1290" y="469"/>
                </a:lnTo>
                <a:lnTo>
                  <a:pt x="1303" y="407"/>
                </a:lnTo>
                <a:lnTo>
                  <a:pt x="1282" y="345"/>
                </a:lnTo>
                <a:lnTo>
                  <a:pt x="1230" y="337"/>
                </a:lnTo>
                <a:lnTo>
                  <a:pt x="1146" y="274"/>
                </a:lnTo>
                <a:lnTo>
                  <a:pt x="982" y="260"/>
                </a:lnTo>
                <a:lnTo>
                  <a:pt x="967" y="222"/>
                </a:lnTo>
                <a:lnTo>
                  <a:pt x="893" y="193"/>
                </a:lnTo>
                <a:lnTo>
                  <a:pt x="863" y="194"/>
                </a:lnTo>
                <a:lnTo>
                  <a:pt x="819" y="252"/>
                </a:lnTo>
                <a:lnTo>
                  <a:pt x="817" y="231"/>
                </a:lnTo>
                <a:lnTo>
                  <a:pt x="747" y="241"/>
                </a:lnTo>
                <a:lnTo>
                  <a:pt x="776" y="230"/>
                </a:lnTo>
                <a:lnTo>
                  <a:pt x="749" y="184"/>
                </a:lnTo>
                <a:lnTo>
                  <a:pt x="801" y="120"/>
                </a:lnTo>
                <a:lnTo>
                  <a:pt x="746" y="37"/>
                </a:lnTo>
                <a:lnTo>
                  <a:pt x="697" y="102"/>
                </a:lnTo>
                <a:lnTo>
                  <a:pt x="650" y="98"/>
                </a:lnTo>
                <a:lnTo>
                  <a:pt x="580" y="107"/>
                </a:lnTo>
                <a:lnTo>
                  <a:pt x="485" y="121"/>
                </a:lnTo>
                <a:lnTo>
                  <a:pt x="467" y="87"/>
                </a:lnTo>
                <a:lnTo>
                  <a:pt x="474" y="24"/>
                </a:lnTo>
                <a:lnTo>
                  <a:pt x="444" y="0"/>
                </a:lnTo>
                <a:lnTo>
                  <a:pt x="361" y="40"/>
                </a:lnTo>
                <a:lnTo>
                  <a:pt x="303" y="28"/>
                </a:lnTo>
                <a:lnTo>
                  <a:pt x="320" y="91"/>
                </a:lnTo>
                <a:lnTo>
                  <a:pt x="352" y="99"/>
                </a:lnTo>
                <a:lnTo>
                  <a:pt x="272" y="145"/>
                </a:lnTo>
                <a:lnTo>
                  <a:pt x="233" y="128"/>
                </a:lnTo>
                <a:lnTo>
                  <a:pt x="214" y="105"/>
                </a:lnTo>
                <a:lnTo>
                  <a:pt x="134" y="117"/>
                </a:lnTo>
                <a:lnTo>
                  <a:pt x="159" y="151"/>
                </a:lnTo>
                <a:lnTo>
                  <a:pt x="128" y="154"/>
                </a:lnTo>
                <a:lnTo>
                  <a:pt x="145" y="213"/>
                </a:lnTo>
                <a:lnTo>
                  <a:pt x="130" y="310"/>
                </a:lnTo>
                <a:lnTo>
                  <a:pt x="46" y="344"/>
                </a:lnTo>
                <a:lnTo>
                  <a:pt x="0" y="42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0" name="30546426.37523278.7515.6255">
            <a:extLst>
              <a:ext uri="{FF2B5EF4-FFF2-40B4-BE49-F238E27FC236}">
                <a16:creationId xmlns:a16="http://schemas.microsoft.com/office/drawing/2014/main" id="{A71F40AC-78A4-2747-B07B-A84B209D2BB9}"/>
              </a:ext>
            </a:extLst>
          </p:cNvPr>
          <p:cNvSpPr>
            <a:spLocks noChangeAspect="1"/>
          </p:cNvSpPr>
          <p:nvPr/>
        </p:nvSpPr>
        <p:spPr bwMode="gray">
          <a:xfrm>
            <a:off x="3393098" y="5202275"/>
            <a:ext cx="249163" cy="1274950"/>
          </a:xfrm>
          <a:custGeom>
            <a:avLst/>
            <a:gdLst/>
            <a:ahLst/>
            <a:cxnLst>
              <a:cxn ang="0">
                <a:pos x="0" y="1091"/>
              </a:cxn>
              <a:cxn ang="0">
                <a:pos x="22" y="1053"/>
              </a:cxn>
              <a:cxn ang="0">
                <a:pos x="59" y="1080"/>
              </a:cxn>
              <a:cxn ang="0">
                <a:pos x="95" y="1009"/>
              </a:cxn>
              <a:cxn ang="0">
                <a:pos x="81" y="981"/>
              </a:cxn>
              <a:cxn ang="0">
                <a:pos x="110" y="882"/>
              </a:cxn>
              <a:cxn ang="0">
                <a:pos x="58" y="874"/>
              </a:cxn>
              <a:cxn ang="0">
                <a:pos x="66" y="714"/>
              </a:cxn>
              <a:cxn ang="0">
                <a:pos x="135" y="548"/>
              </a:cxn>
              <a:cxn ang="0">
                <a:pos x="133" y="407"/>
              </a:cxn>
              <a:cxn ang="0">
                <a:pos x="181" y="142"/>
              </a:cxn>
              <a:cxn ang="0">
                <a:pos x="166" y="24"/>
              </a:cxn>
              <a:cxn ang="0">
                <a:pos x="199" y="0"/>
              </a:cxn>
              <a:cxn ang="0">
                <a:pos x="234" y="61"/>
              </a:cxn>
              <a:cxn ang="0">
                <a:pos x="254" y="185"/>
              </a:cxn>
              <a:cxn ang="0">
                <a:pos x="278" y="187"/>
              </a:cxn>
              <a:cxn ang="0">
                <a:pos x="275" y="229"/>
              </a:cxn>
              <a:cxn ang="0">
                <a:pos x="238" y="247"/>
              </a:cxn>
              <a:cxn ang="0">
                <a:pos x="239" y="328"/>
              </a:cxn>
              <a:cxn ang="0">
                <a:pos x="199" y="373"/>
              </a:cxn>
              <a:cxn ang="0">
                <a:pos x="168" y="487"/>
              </a:cxn>
              <a:cxn ang="0">
                <a:pos x="191" y="596"/>
              </a:cxn>
              <a:cxn ang="0">
                <a:pos x="148" y="688"/>
              </a:cxn>
              <a:cxn ang="0">
                <a:pos x="118" y="918"/>
              </a:cxn>
              <a:cxn ang="0">
                <a:pos x="142" y="1002"/>
              </a:cxn>
              <a:cxn ang="0">
                <a:pos x="120" y="1009"/>
              </a:cxn>
              <a:cxn ang="0">
                <a:pos x="131" y="1083"/>
              </a:cxn>
              <a:cxn ang="0">
                <a:pos x="74" y="1238"/>
              </a:cxn>
              <a:cxn ang="0">
                <a:pos x="80" y="1263"/>
              </a:cxn>
              <a:cxn ang="0">
                <a:pos x="107" y="1255"/>
              </a:cxn>
              <a:cxn ang="0">
                <a:pos x="118" y="1314"/>
              </a:cxn>
              <a:cxn ang="0">
                <a:pos x="239" y="1326"/>
              </a:cxn>
              <a:cxn ang="0">
                <a:pos x="158" y="1350"/>
              </a:cxn>
              <a:cxn ang="0">
                <a:pos x="148" y="1395"/>
              </a:cxn>
              <a:cxn ang="0">
                <a:pos x="113" y="1383"/>
              </a:cxn>
              <a:cxn ang="0">
                <a:pos x="153" y="1354"/>
              </a:cxn>
              <a:cxn ang="0">
                <a:pos x="94" y="1341"/>
              </a:cxn>
              <a:cxn ang="0">
                <a:pos x="87" y="1292"/>
              </a:cxn>
              <a:cxn ang="0">
                <a:pos x="72" y="1315"/>
              </a:cxn>
              <a:cxn ang="0">
                <a:pos x="50" y="1270"/>
              </a:cxn>
              <a:cxn ang="0">
                <a:pos x="61" y="1256"/>
              </a:cxn>
              <a:cxn ang="0">
                <a:pos x="34" y="1236"/>
              </a:cxn>
              <a:cxn ang="0">
                <a:pos x="58" y="1209"/>
              </a:cxn>
              <a:cxn ang="0">
                <a:pos x="36" y="1142"/>
              </a:cxn>
              <a:cxn ang="0">
                <a:pos x="78" y="1149"/>
              </a:cxn>
              <a:cxn ang="0">
                <a:pos x="36" y="1114"/>
              </a:cxn>
              <a:cxn ang="0">
                <a:pos x="45" y="1088"/>
              </a:cxn>
              <a:cxn ang="0">
                <a:pos x="0" y="1091"/>
              </a:cxn>
            </a:cxnLst>
            <a:rect l="0" t="0" r="r" b="b"/>
            <a:pathLst>
              <a:path w="278" h="1395">
                <a:moveTo>
                  <a:pt x="0" y="1091"/>
                </a:moveTo>
                <a:lnTo>
                  <a:pt x="22" y="1053"/>
                </a:lnTo>
                <a:lnTo>
                  <a:pt x="59" y="1080"/>
                </a:lnTo>
                <a:lnTo>
                  <a:pt x="95" y="1009"/>
                </a:lnTo>
                <a:lnTo>
                  <a:pt x="81" y="981"/>
                </a:lnTo>
                <a:lnTo>
                  <a:pt x="110" y="882"/>
                </a:lnTo>
                <a:lnTo>
                  <a:pt x="58" y="874"/>
                </a:lnTo>
                <a:lnTo>
                  <a:pt x="66" y="714"/>
                </a:lnTo>
                <a:lnTo>
                  <a:pt x="135" y="548"/>
                </a:lnTo>
                <a:lnTo>
                  <a:pt x="133" y="407"/>
                </a:lnTo>
                <a:lnTo>
                  <a:pt x="181" y="142"/>
                </a:lnTo>
                <a:lnTo>
                  <a:pt x="166" y="24"/>
                </a:lnTo>
                <a:lnTo>
                  <a:pt x="199" y="0"/>
                </a:lnTo>
                <a:lnTo>
                  <a:pt x="234" y="61"/>
                </a:lnTo>
                <a:lnTo>
                  <a:pt x="254" y="185"/>
                </a:lnTo>
                <a:lnTo>
                  <a:pt x="278" y="187"/>
                </a:lnTo>
                <a:lnTo>
                  <a:pt x="275" y="229"/>
                </a:lnTo>
                <a:lnTo>
                  <a:pt x="238" y="247"/>
                </a:lnTo>
                <a:lnTo>
                  <a:pt x="239" y="328"/>
                </a:lnTo>
                <a:lnTo>
                  <a:pt x="199" y="373"/>
                </a:lnTo>
                <a:lnTo>
                  <a:pt x="168" y="487"/>
                </a:lnTo>
                <a:lnTo>
                  <a:pt x="191" y="596"/>
                </a:lnTo>
                <a:lnTo>
                  <a:pt x="148" y="688"/>
                </a:lnTo>
                <a:lnTo>
                  <a:pt x="118" y="918"/>
                </a:lnTo>
                <a:lnTo>
                  <a:pt x="142" y="1002"/>
                </a:lnTo>
                <a:lnTo>
                  <a:pt x="120" y="1009"/>
                </a:lnTo>
                <a:lnTo>
                  <a:pt x="131" y="1083"/>
                </a:lnTo>
                <a:lnTo>
                  <a:pt x="74" y="1238"/>
                </a:lnTo>
                <a:lnTo>
                  <a:pt x="80" y="1263"/>
                </a:lnTo>
                <a:lnTo>
                  <a:pt x="107" y="1255"/>
                </a:lnTo>
                <a:lnTo>
                  <a:pt x="118" y="1314"/>
                </a:lnTo>
                <a:lnTo>
                  <a:pt x="239" y="1326"/>
                </a:lnTo>
                <a:lnTo>
                  <a:pt x="158" y="1350"/>
                </a:lnTo>
                <a:lnTo>
                  <a:pt x="148" y="1395"/>
                </a:lnTo>
                <a:lnTo>
                  <a:pt x="113" y="1383"/>
                </a:lnTo>
                <a:lnTo>
                  <a:pt x="153" y="1354"/>
                </a:lnTo>
                <a:lnTo>
                  <a:pt x="94" y="1341"/>
                </a:lnTo>
                <a:lnTo>
                  <a:pt x="87" y="1292"/>
                </a:lnTo>
                <a:lnTo>
                  <a:pt x="72" y="1315"/>
                </a:lnTo>
                <a:lnTo>
                  <a:pt x="50" y="1270"/>
                </a:lnTo>
                <a:lnTo>
                  <a:pt x="61" y="1256"/>
                </a:lnTo>
                <a:lnTo>
                  <a:pt x="34" y="1236"/>
                </a:lnTo>
                <a:lnTo>
                  <a:pt x="58" y="1209"/>
                </a:lnTo>
                <a:lnTo>
                  <a:pt x="36" y="1142"/>
                </a:lnTo>
                <a:lnTo>
                  <a:pt x="78" y="1149"/>
                </a:lnTo>
                <a:lnTo>
                  <a:pt x="36" y="1114"/>
                </a:lnTo>
                <a:lnTo>
                  <a:pt x="45" y="1088"/>
                </a:lnTo>
                <a:lnTo>
                  <a:pt x="0" y="109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1" name="30547492.375232.87531.255">
            <a:extLst>
              <a:ext uri="{FF2B5EF4-FFF2-40B4-BE49-F238E27FC236}">
                <a16:creationId xmlns:a16="http://schemas.microsoft.com/office/drawing/2014/main" id="{06DE8B38-A077-6C44-A864-5A97B7B65533}"/>
              </a:ext>
            </a:extLst>
          </p:cNvPr>
          <p:cNvSpPr>
            <a:spLocks noChangeAspect="1"/>
          </p:cNvSpPr>
          <p:nvPr/>
        </p:nvSpPr>
        <p:spPr bwMode="gray">
          <a:xfrm>
            <a:off x="3404510" y="6272025"/>
            <a:ext cx="22823" cy="48779"/>
          </a:xfrm>
          <a:custGeom>
            <a:avLst/>
            <a:gdLst/>
            <a:ahLst/>
            <a:cxnLst>
              <a:cxn ang="0">
                <a:pos x="0" y="23"/>
              </a:cxn>
              <a:cxn ang="0">
                <a:pos x="8" y="0"/>
              </a:cxn>
              <a:cxn ang="0">
                <a:pos x="22" y="51"/>
              </a:cxn>
              <a:cxn ang="0">
                <a:pos x="0" y="23"/>
              </a:cxn>
            </a:cxnLst>
            <a:rect l="0" t="0" r="r" b="b"/>
            <a:pathLst>
              <a:path w="22" h="51">
                <a:moveTo>
                  <a:pt x="0" y="23"/>
                </a:moveTo>
                <a:lnTo>
                  <a:pt x="8" y="0"/>
                </a:lnTo>
                <a:lnTo>
                  <a:pt x="22" y="51"/>
                </a:lnTo>
                <a:lnTo>
                  <a:pt x="0" y="2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2" name="30548476.5234.1253.751.1255">
            <a:extLst>
              <a:ext uri="{FF2B5EF4-FFF2-40B4-BE49-F238E27FC236}">
                <a16:creationId xmlns:a16="http://schemas.microsoft.com/office/drawing/2014/main" id="{7501965D-7818-0B46-BC08-3DE8F314D6C4}"/>
              </a:ext>
            </a:extLst>
          </p:cNvPr>
          <p:cNvSpPr>
            <a:spLocks noChangeAspect="1"/>
          </p:cNvSpPr>
          <p:nvPr/>
        </p:nvSpPr>
        <p:spPr bwMode="gray">
          <a:xfrm>
            <a:off x="3427332" y="6014680"/>
            <a:ext cx="15216" cy="62232"/>
          </a:xfrm>
          <a:custGeom>
            <a:avLst/>
            <a:gdLst/>
            <a:ahLst/>
            <a:cxnLst>
              <a:cxn ang="0">
                <a:pos x="0" y="56"/>
              </a:cxn>
              <a:cxn ang="0">
                <a:pos x="19" y="0"/>
              </a:cxn>
              <a:cxn ang="0">
                <a:pos x="19" y="66"/>
              </a:cxn>
              <a:cxn ang="0">
                <a:pos x="0" y="56"/>
              </a:cxn>
            </a:cxnLst>
            <a:rect l="0" t="0" r="r" b="b"/>
            <a:pathLst>
              <a:path w="19" h="66">
                <a:moveTo>
                  <a:pt x="0" y="56"/>
                </a:moveTo>
                <a:lnTo>
                  <a:pt x="19" y="0"/>
                </a:lnTo>
                <a:lnTo>
                  <a:pt x="19" y="66"/>
                </a:lnTo>
                <a:lnTo>
                  <a:pt x="0" y="5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3" name="30549504.125235.51.752.55">
            <a:extLst>
              <a:ext uri="{FF2B5EF4-FFF2-40B4-BE49-F238E27FC236}">
                <a16:creationId xmlns:a16="http://schemas.microsoft.com/office/drawing/2014/main" id="{B75364C8-1359-BA4C-9B5A-01E1160FE82E}"/>
              </a:ext>
            </a:extLst>
          </p:cNvPr>
          <p:cNvSpPr>
            <a:spLocks noChangeAspect="1"/>
          </p:cNvSpPr>
          <p:nvPr/>
        </p:nvSpPr>
        <p:spPr bwMode="gray">
          <a:xfrm>
            <a:off x="3450159" y="6463773"/>
            <a:ext cx="38039" cy="28593"/>
          </a:xfrm>
          <a:custGeom>
            <a:avLst/>
            <a:gdLst/>
            <a:ahLst/>
            <a:cxnLst>
              <a:cxn ang="0">
                <a:pos x="0" y="0"/>
              </a:cxn>
              <a:cxn ang="0">
                <a:pos x="42" y="6"/>
              </a:cxn>
              <a:cxn ang="0">
                <a:pos x="44" y="28"/>
              </a:cxn>
              <a:cxn ang="0">
                <a:pos x="0" y="0"/>
              </a:cxn>
            </a:cxnLst>
            <a:rect l="0" t="0" r="r" b="b"/>
            <a:pathLst>
              <a:path w="44" h="28">
                <a:moveTo>
                  <a:pt x="0" y="0"/>
                </a:moveTo>
                <a:lnTo>
                  <a:pt x="42" y="6"/>
                </a:lnTo>
                <a:lnTo>
                  <a:pt x="44" y="28"/>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4" name="30550500.52363.753.6255">
            <a:extLst>
              <a:ext uri="{FF2B5EF4-FFF2-40B4-BE49-F238E27FC236}">
                <a16:creationId xmlns:a16="http://schemas.microsoft.com/office/drawing/2014/main" id="{AEE146D6-F2D7-AE4F-A485-8BEE87CD136B}"/>
              </a:ext>
            </a:extLst>
          </p:cNvPr>
          <p:cNvSpPr>
            <a:spLocks noChangeAspect="1"/>
          </p:cNvSpPr>
          <p:nvPr/>
        </p:nvSpPr>
        <p:spPr bwMode="gray">
          <a:xfrm>
            <a:off x="3455864" y="6403218"/>
            <a:ext cx="60865" cy="62235"/>
          </a:xfrm>
          <a:custGeom>
            <a:avLst/>
            <a:gdLst/>
            <a:ahLst/>
            <a:cxnLst>
              <a:cxn ang="0">
                <a:pos x="0" y="11"/>
              </a:cxn>
              <a:cxn ang="0">
                <a:pos x="18" y="0"/>
              </a:cxn>
              <a:cxn ang="0">
                <a:pos x="17" y="30"/>
              </a:cxn>
              <a:cxn ang="0">
                <a:pos x="66" y="41"/>
              </a:cxn>
              <a:cxn ang="0">
                <a:pos x="34" y="66"/>
              </a:cxn>
              <a:cxn ang="0">
                <a:pos x="0" y="11"/>
              </a:cxn>
            </a:cxnLst>
            <a:rect l="0" t="0" r="r" b="b"/>
            <a:pathLst>
              <a:path w="66" h="66">
                <a:moveTo>
                  <a:pt x="0" y="11"/>
                </a:moveTo>
                <a:lnTo>
                  <a:pt x="18" y="0"/>
                </a:lnTo>
                <a:lnTo>
                  <a:pt x="17" y="30"/>
                </a:lnTo>
                <a:lnTo>
                  <a:pt x="66" y="41"/>
                </a:lnTo>
                <a:lnTo>
                  <a:pt x="34" y="66"/>
                </a:lnTo>
                <a:lnTo>
                  <a:pt x="0" y="1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5" name="30551505.375238.625125">
            <a:extLst>
              <a:ext uri="{FF2B5EF4-FFF2-40B4-BE49-F238E27FC236}">
                <a16:creationId xmlns:a16="http://schemas.microsoft.com/office/drawing/2014/main" id="{1EA4E117-5A8A-5B41-BBB2-0FB07225D695}"/>
              </a:ext>
            </a:extLst>
          </p:cNvPr>
          <p:cNvSpPr>
            <a:spLocks noChangeAspect="1"/>
          </p:cNvSpPr>
          <p:nvPr/>
        </p:nvSpPr>
        <p:spPr bwMode="gray">
          <a:xfrm>
            <a:off x="3499609" y="6483956"/>
            <a:ext cx="32333" cy="15137"/>
          </a:xfrm>
          <a:custGeom>
            <a:avLst/>
            <a:gdLst/>
            <a:ahLst/>
            <a:cxnLst>
              <a:cxn ang="0">
                <a:pos x="0" y="12"/>
              </a:cxn>
              <a:cxn ang="0">
                <a:pos x="10" y="0"/>
              </a:cxn>
              <a:cxn ang="0">
                <a:pos x="36" y="16"/>
              </a:cxn>
              <a:cxn ang="0">
                <a:pos x="0" y="12"/>
              </a:cxn>
            </a:cxnLst>
            <a:rect l="0" t="0" r="r" b="b"/>
            <a:pathLst>
              <a:path w="36" h="16">
                <a:moveTo>
                  <a:pt x="0" y="12"/>
                </a:moveTo>
                <a:lnTo>
                  <a:pt x="10" y="0"/>
                </a:lnTo>
                <a:lnTo>
                  <a:pt x="36" y="16"/>
                </a:lnTo>
                <a:lnTo>
                  <a:pt x="0" y="1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6" name="30552502.252405.755.255">
            <a:extLst>
              <a:ext uri="{FF2B5EF4-FFF2-40B4-BE49-F238E27FC236}">
                <a16:creationId xmlns:a16="http://schemas.microsoft.com/office/drawing/2014/main" id="{91756CEF-E41D-5542-9C93-19F4CA663C63}"/>
              </a:ext>
            </a:extLst>
          </p:cNvPr>
          <p:cNvSpPr>
            <a:spLocks noChangeAspect="1"/>
          </p:cNvSpPr>
          <p:nvPr/>
        </p:nvSpPr>
        <p:spPr bwMode="gray">
          <a:xfrm>
            <a:off x="3522435" y="6433496"/>
            <a:ext cx="81787" cy="92509"/>
          </a:xfrm>
          <a:custGeom>
            <a:avLst/>
            <a:gdLst/>
            <a:ahLst/>
            <a:cxnLst>
              <a:cxn ang="0">
                <a:pos x="0" y="83"/>
              </a:cxn>
              <a:cxn ang="0">
                <a:pos x="15" y="68"/>
              </a:cxn>
              <a:cxn ang="0">
                <a:pos x="64" y="77"/>
              </a:cxn>
              <a:cxn ang="0">
                <a:pos x="42" y="51"/>
              </a:cxn>
              <a:cxn ang="0">
                <a:pos x="66" y="35"/>
              </a:cxn>
              <a:cxn ang="0">
                <a:pos x="30" y="30"/>
              </a:cxn>
              <a:cxn ang="0">
                <a:pos x="30" y="6"/>
              </a:cxn>
              <a:cxn ang="0">
                <a:pos x="89" y="0"/>
              </a:cxn>
              <a:cxn ang="0">
                <a:pos x="92" y="102"/>
              </a:cxn>
              <a:cxn ang="0">
                <a:pos x="0" y="83"/>
              </a:cxn>
            </a:cxnLst>
            <a:rect l="0" t="0" r="r" b="b"/>
            <a:pathLst>
              <a:path w="92" h="102">
                <a:moveTo>
                  <a:pt x="0" y="83"/>
                </a:moveTo>
                <a:lnTo>
                  <a:pt x="15" y="68"/>
                </a:lnTo>
                <a:lnTo>
                  <a:pt x="64" y="77"/>
                </a:lnTo>
                <a:lnTo>
                  <a:pt x="42" y="51"/>
                </a:lnTo>
                <a:lnTo>
                  <a:pt x="66" y="35"/>
                </a:lnTo>
                <a:lnTo>
                  <a:pt x="30" y="30"/>
                </a:lnTo>
                <a:lnTo>
                  <a:pt x="30" y="6"/>
                </a:lnTo>
                <a:lnTo>
                  <a:pt x="89" y="0"/>
                </a:lnTo>
                <a:lnTo>
                  <a:pt x="92" y="102"/>
                </a:lnTo>
                <a:lnTo>
                  <a:pt x="0" y="8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7" name="30553508.875242.6251.1253.8755">
            <a:extLst>
              <a:ext uri="{FF2B5EF4-FFF2-40B4-BE49-F238E27FC236}">
                <a16:creationId xmlns:a16="http://schemas.microsoft.com/office/drawing/2014/main" id="{AB6BB1FF-E03D-D941-87B8-4875F0851903}"/>
              </a:ext>
            </a:extLst>
          </p:cNvPr>
          <p:cNvSpPr>
            <a:spLocks noChangeAspect="1"/>
          </p:cNvSpPr>
          <p:nvPr/>
        </p:nvSpPr>
        <p:spPr bwMode="gray">
          <a:xfrm>
            <a:off x="3564279" y="6541142"/>
            <a:ext cx="58961" cy="16821"/>
          </a:xfrm>
          <a:custGeom>
            <a:avLst/>
            <a:gdLst/>
            <a:ahLst/>
            <a:cxnLst>
              <a:cxn ang="0">
                <a:pos x="0" y="0"/>
              </a:cxn>
              <a:cxn ang="0">
                <a:pos x="62" y="6"/>
              </a:cxn>
              <a:cxn ang="0">
                <a:pos x="69" y="21"/>
              </a:cxn>
              <a:cxn ang="0">
                <a:pos x="0" y="0"/>
              </a:cxn>
            </a:cxnLst>
            <a:rect l="0" t="0" r="r" b="b"/>
            <a:pathLst>
              <a:path w="69" h="21">
                <a:moveTo>
                  <a:pt x="0" y="0"/>
                </a:moveTo>
                <a:lnTo>
                  <a:pt x="62" y="6"/>
                </a:lnTo>
                <a:lnTo>
                  <a:pt x="69" y="21"/>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8" name="30554508.125246.3750.751.755">
            <a:extLst>
              <a:ext uri="{FF2B5EF4-FFF2-40B4-BE49-F238E27FC236}">
                <a16:creationId xmlns:a16="http://schemas.microsoft.com/office/drawing/2014/main" id="{7D9E5C2E-ADE4-CF43-A1B5-6BC2BB592030}"/>
              </a:ext>
            </a:extLst>
          </p:cNvPr>
          <p:cNvSpPr>
            <a:spLocks noChangeAspect="1"/>
          </p:cNvSpPr>
          <p:nvPr/>
        </p:nvSpPr>
        <p:spPr bwMode="gray">
          <a:xfrm>
            <a:off x="3623240" y="6527686"/>
            <a:ext cx="28532" cy="13456"/>
          </a:xfrm>
          <a:custGeom>
            <a:avLst/>
            <a:gdLst/>
            <a:ahLst/>
            <a:cxnLst>
              <a:cxn ang="0">
                <a:pos x="0" y="14"/>
              </a:cxn>
              <a:cxn ang="0">
                <a:pos x="7" y="0"/>
              </a:cxn>
              <a:cxn ang="0">
                <a:pos x="32" y="14"/>
              </a:cxn>
              <a:cxn ang="0">
                <a:pos x="0" y="14"/>
              </a:cxn>
            </a:cxnLst>
            <a:rect l="0" t="0" r="r" b="b"/>
            <a:pathLst>
              <a:path w="32" h="14">
                <a:moveTo>
                  <a:pt x="0" y="14"/>
                </a:moveTo>
                <a:lnTo>
                  <a:pt x="7" y="0"/>
                </a:lnTo>
                <a:lnTo>
                  <a:pt x="32" y="14"/>
                </a:lnTo>
                <a:lnTo>
                  <a:pt x="0" y="1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19" name="30555370.125225.87531.12522.6255">
            <a:extLst>
              <a:ext uri="{FF2B5EF4-FFF2-40B4-BE49-F238E27FC236}">
                <a16:creationId xmlns:a16="http://schemas.microsoft.com/office/drawing/2014/main" id="{D18C4A86-0367-4B4E-A9C1-77D46E461899}"/>
              </a:ext>
            </a:extLst>
          </p:cNvPr>
          <p:cNvSpPr>
            <a:spLocks noChangeAspect="1"/>
          </p:cNvSpPr>
          <p:nvPr/>
        </p:nvSpPr>
        <p:spPr bwMode="gray">
          <a:xfrm>
            <a:off x="3294194" y="4292320"/>
            <a:ext cx="363284" cy="506280"/>
          </a:xfrm>
          <a:custGeom>
            <a:avLst/>
            <a:gdLst/>
            <a:ahLst/>
            <a:cxnLst>
              <a:cxn ang="0">
                <a:pos x="0" y="367"/>
              </a:cxn>
              <a:cxn ang="0">
                <a:pos x="50" y="407"/>
              </a:cxn>
              <a:cxn ang="0">
                <a:pos x="120" y="417"/>
              </a:cxn>
              <a:cxn ang="0">
                <a:pos x="193" y="491"/>
              </a:cxn>
              <a:cxn ang="0">
                <a:pos x="288" y="498"/>
              </a:cxn>
              <a:cxn ang="0">
                <a:pos x="274" y="538"/>
              </a:cxn>
              <a:cxn ang="0">
                <a:pos x="297" y="552"/>
              </a:cxn>
              <a:cxn ang="0">
                <a:pos x="312" y="455"/>
              </a:cxn>
              <a:cxn ang="0">
                <a:pos x="295" y="396"/>
              </a:cxn>
              <a:cxn ang="0">
                <a:pos x="326" y="393"/>
              </a:cxn>
              <a:cxn ang="0">
                <a:pos x="301" y="359"/>
              </a:cxn>
              <a:cxn ang="0">
                <a:pos x="381" y="347"/>
              </a:cxn>
              <a:cxn ang="0">
                <a:pos x="400" y="370"/>
              </a:cxn>
              <a:cxn ang="0">
                <a:pos x="370" y="322"/>
              </a:cxn>
              <a:cxn ang="0">
                <a:pos x="380" y="206"/>
              </a:cxn>
              <a:cxn ang="0">
                <a:pos x="315" y="211"/>
              </a:cxn>
              <a:cxn ang="0">
                <a:pos x="295" y="183"/>
              </a:cxn>
              <a:cxn ang="0">
                <a:pos x="229" y="175"/>
              </a:cxn>
              <a:cxn ang="0">
                <a:pos x="187" y="109"/>
              </a:cxn>
              <a:cxn ang="0">
                <a:pos x="251" y="21"/>
              </a:cxn>
              <a:cxn ang="0">
                <a:pos x="242" y="0"/>
              </a:cxn>
              <a:cxn ang="0">
                <a:pos x="130" y="48"/>
              </a:cxn>
              <a:cxn ang="0">
                <a:pos x="68" y="147"/>
              </a:cxn>
              <a:cxn ang="0">
                <a:pos x="49" y="124"/>
              </a:cxn>
              <a:cxn ang="0">
                <a:pos x="32" y="172"/>
              </a:cxn>
              <a:cxn ang="0">
                <a:pos x="49" y="282"/>
              </a:cxn>
              <a:cxn ang="0">
                <a:pos x="62" y="282"/>
              </a:cxn>
              <a:cxn ang="0">
                <a:pos x="0" y="367"/>
              </a:cxn>
            </a:cxnLst>
            <a:rect l="0" t="0" r="r" b="b"/>
            <a:pathLst>
              <a:path w="400" h="552">
                <a:moveTo>
                  <a:pt x="0" y="367"/>
                </a:moveTo>
                <a:lnTo>
                  <a:pt x="50" y="407"/>
                </a:lnTo>
                <a:lnTo>
                  <a:pt x="120" y="417"/>
                </a:lnTo>
                <a:lnTo>
                  <a:pt x="193" y="491"/>
                </a:lnTo>
                <a:lnTo>
                  <a:pt x="288" y="498"/>
                </a:lnTo>
                <a:lnTo>
                  <a:pt x="274" y="538"/>
                </a:lnTo>
                <a:lnTo>
                  <a:pt x="297" y="552"/>
                </a:lnTo>
                <a:lnTo>
                  <a:pt x="312" y="455"/>
                </a:lnTo>
                <a:lnTo>
                  <a:pt x="295" y="396"/>
                </a:lnTo>
                <a:lnTo>
                  <a:pt x="326" y="393"/>
                </a:lnTo>
                <a:lnTo>
                  <a:pt x="301" y="359"/>
                </a:lnTo>
                <a:lnTo>
                  <a:pt x="381" y="347"/>
                </a:lnTo>
                <a:lnTo>
                  <a:pt x="400" y="370"/>
                </a:lnTo>
                <a:lnTo>
                  <a:pt x="370" y="322"/>
                </a:lnTo>
                <a:lnTo>
                  <a:pt x="380" y="206"/>
                </a:lnTo>
                <a:lnTo>
                  <a:pt x="315" y="211"/>
                </a:lnTo>
                <a:lnTo>
                  <a:pt x="295" y="183"/>
                </a:lnTo>
                <a:lnTo>
                  <a:pt x="229" y="175"/>
                </a:lnTo>
                <a:lnTo>
                  <a:pt x="187" y="109"/>
                </a:lnTo>
                <a:lnTo>
                  <a:pt x="251" y="21"/>
                </a:lnTo>
                <a:lnTo>
                  <a:pt x="242" y="0"/>
                </a:lnTo>
                <a:lnTo>
                  <a:pt x="130" y="48"/>
                </a:lnTo>
                <a:lnTo>
                  <a:pt x="68" y="147"/>
                </a:lnTo>
                <a:lnTo>
                  <a:pt x="49" y="124"/>
                </a:lnTo>
                <a:lnTo>
                  <a:pt x="32" y="172"/>
                </a:lnTo>
                <a:lnTo>
                  <a:pt x="49" y="282"/>
                </a:lnTo>
                <a:lnTo>
                  <a:pt x="62" y="282"/>
                </a:lnTo>
                <a:lnTo>
                  <a:pt x="0" y="36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0" name="30556390.875222.12511.62510.55">
            <a:extLst>
              <a:ext uri="{FF2B5EF4-FFF2-40B4-BE49-F238E27FC236}">
                <a16:creationId xmlns:a16="http://schemas.microsoft.com/office/drawing/2014/main" id="{62E5A762-3A26-9F46-996C-3D1E7B03EB77}"/>
              </a:ext>
            </a:extLst>
          </p:cNvPr>
          <p:cNvSpPr>
            <a:spLocks noChangeAspect="1"/>
          </p:cNvSpPr>
          <p:nvPr/>
        </p:nvSpPr>
        <p:spPr bwMode="gray">
          <a:xfrm>
            <a:off x="3233329" y="4628718"/>
            <a:ext cx="169276" cy="188383"/>
          </a:xfrm>
          <a:custGeom>
            <a:avLst/>
            <a:gdLst/>
            <a:ahLst/>
            <a:cxnLst>
              <a:cxn ang="0">
                <a:pos x="0" y="80"/>
              </a:cxn>
              <a:cxn ang="0">
                <a:pos x="1" y="121"/>
              </a:cxn>
              <a:cxn ang="0">
                <a:pos x="34" y="131"/>
              </a:cxn>
              <a:cxn ang="0">
                <a:pos x="16" y="164"/>
              </a:cxn>
              <a:cxn ang="0">
                <a:pos x="11" y="198"/>
              </a:cxn>
              <a:cxn ang="0">
                <a:pos x="54" y="208"/>
              </a:cxn>
              <a:cxn ang="0">
                <a:pos x="93" y="150"/>
              </a:cxn>
              <a:cxn ang="0">
                <a:pos x="169" y="105"/>
              </a:cxn>
              <a:cxn ang="0">
                <a:pos x="185" y="50"/>
              </a:cxn>
              <a:cxn ang="0">
                <a:pos x="115" y="40"/>
              </a:cxn>
              <a:cxn ang="0">
                <a:pos x="65" y="0"/>
              </a:cxn>
              <a:cxn ang="0">
                <a:pos x="23" y="21"/>
              </a:cxn>
              <a:cxn ang="0">
                <a:pos x="0" y="80"/>
              </a:cxn>
            </a:cxnLst>
            <a:rect l="0" t="0" r="r" b="b"/>
            <a:pathLst>
              <a:path w="185" h="208">
                <a:moveTo>
                  <a:pt x="0" y="80"/>
                </a:moveTo>
                <a:lnTo>
                  <a:pt x="1" y="121"/>
                </a:lnTo>
                <a:lnTo>
                  <a:pt x="34" y="131"/>
                </a:lnTo>
                <a:lnTo>
                  <a:pt x="16" y="164"/>
                </a:lnTo>
                <a:lnTo>
                  <a:pt x="11" y="198"/>
                </a:lnTo>
                <a:lnTo>
                  <a:pt x="54" y="208"/>
                </a:lnTo>
                <a:lnTo>
                  <a:pt x="93" y="150"/>
                </a:lnTo>
                <a:lnTo>
                  <a:pt x="169" y="105"/>
                </a:lnTo>
                <a:lnTo>
                  <a:pt x="185" y="50"/>
                </a:lnTo>
                <a:lnTo>
                  <a:pt x="115" y="40"/>
                </a:lnTo>
                <a:lnTo>
                  <a:pt x="65" y="0"/>
                </a:lnTo>
                <a:lnTo>
                  <a:pt x="23" y="21"/>
                </a:lnTo>
                <a:lnTo>
                  <a:pt x="0" y="8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1" name="30557370.375236.37521.62525.255">
            <a:extLst>
              <a:ext uri="{FF2B5EF4-FFF2-40B4-BE49-F238E27FC236}">
                <a16:creationId xmlns:a16="http://schemas.microsoft.com/office/drawing/2014/main" id="{198B62A9-A55C-8849-AEB4-1EAF22D2E599}"/>
              </a:ext>
            </a:extLst>
          </p:cNvPr>
          <p:cNvSpPr>
            <a:spLocks noChangeAspect="1"/>
          </p:cNvSpPr>
          <p:nvPr/>
        </p:nvSpPr>
        <p:spPr bwMode="gray">
          <a:xfrm>
            <a:off x="3461570" y="4295681"/>
            <a:ext cx="405128" cy="351535"/>
          </a:xfrm>
          <a:custGeom>
            <a:avLst/>
            <a:gdLst/>
            <a:ahLst/>
            <a:cxnLst>
              <a:cxn ang="0">
                <a:pos x="0" y="105"/>
              </a:cxn>
              <a:cxn ang="0">
                <a:pos x="42" y="171"/>
              </a:cxn>
              <a:cxn ang="0">
                <a:pos x="108" y="179"/>
              </a:cxn>
              <a:cxn ang="0">
                <a:pos x="128" y="207"/>
              </a:cxn>
              <a:cxn ang="0">
                <a:pos x="193" y="202"/>
              </a:cxn>
              <a:cxn ang="0">
                <a:pos x="183" y="318"/>
              </a:cxn>
              <a:cxn ang="0">
                <a:pos x="213" y="366"/>
              </a:cxn>
              <a:cxn ang="0">
                <a:pos x="252" y="383"/>
              </a:cxn>
              <a:cxn ang="0">
                <a:pos x="332" y="337"/>
              </a:cxn>
              <a:cxn ang="0">
                <a:pos x="300" y="329"/>
              </a:cxn>
              <a:cxn ang="0">
                <a:pos x="283" y="266"/>
              </a:cxn>
              <a:cxn ang="0">
                <a:pos x="341" y="278"/>
              </a:cxn>
              <a:cxn ang="0">
                <a:pos x="424" y="238"/>
              </a:cxn>
              <a:cxn ang="0">
                <a:pos x="400" y="207"/>
              </a:cxn>
              <a:cxn ang="0">
                <a:pos x="429" y="178"/>
              </a:cxn>
              <a:cxn ang="0">
                <a:pos x="417" y="156"/>
              </a:cxn>
              <a:cxn ang="0">
                <a:pos x="448" y="132"/>
              </a:cxn>
              <a:cxn ang="0">
                <a:pos x="409" y="127"/>
              </a:cxn>
              <a:cxn ang="0">
                <a:pos x="409" y="96"/>
              </a:cxn>
              <a:cxn ang="0">
                <a:pos x="344" y="63"/>
              </a:cxn>
              <a:cxn ang="0">
                <a:pos x="373" y="54"/>
              </a:cxn>
              <a:cxn ang="0">
                <a:pos x="176" y="61"/>
              </a:cxn>
              <a:cxn ang="0">
                <a:pos x="112" y="0"/>
              </a:cxn>
              <a:cxn ang="0">
                <a:pos x="114" y="28"/>
              </a:cxn>
              <a:cxn ang="0">
                <a:pos x="59" y="51"/>
              </a:cxn>
              <a:cxn ang="0">
                <a:pos x="76" y="96"/>
              </a:cxn>
              <a:cxn ang="0">
                <a:pos x="55" y="113"/>
              </a:cxn>
              <a:cxn ang="0">
                <a:pos x="42" y="72"/>
              </a:cxn>
              <a:cxn ang="0">
                <a:pos x="64" y="17"/>
              </a:cxn>
              <a:cxn ang="0">
                <a:pos x="0" y="105"/>
              </a:cxn>
            </a:cxnLst>
            <a:rect l="0" t="0" r="r" b="b"/>
            <a:pathLst>
              <a:path w="448" h="383">
                <a:moveTo>
                  <a:pt x="0" y="105"/>
                </a:moveTo>
                <a:lnTo>
                  <a:pt x="42" y="171"/>
                </a:lnTo>
                <a:lnTo>
                  <a:pt x="108" y="179"/>
                </a:lnTo>
                <a:lnTo>
                  <a:pt x="128" y="207"/>
                </a:lnTo>
                <a:lnTo>
                  <a:pt x="193" y="202"/>
                </a:lnTo>
                <a:lnTo>
                  <a:pt x="183" y="318"/>
                </a:lnTo>
                <a:lnTo>
                  <a:pt x="213" y="366"/>
                </a:lnTo>
                <a:lnTo>
                  <a:pt x="252" y="383"/>
                </a:lnTo>
                <a:lnTo>
                  <a:pt x="332" y="337"/>
                </a:lnTo>
                <a:lnTo>
                  <a:pt x="300" y="329"/>
                </a:lnTo>
                <a:lnTo>
                  <a:pt x="283" y="266"/>
                </a:lnTo>
                <a:lnTo>
                  <a:pt x="341" y="278"/>
                </a:lnTo>
                <a:lnTo>
                  <a:pt x="424" y="238"/>
                </a:lnTo>
                <a:lnTo>
                  <a:pt x="400" y="207"/>
                </a:lnTo>
                <a:lnTo>
                  <a:pt x="429" y="178"/>
                </a:lnTo>
                <a:lnTo>
                  <a:pt x="417" y="156"/>
                </a:lnTo>
                <a:lnTo>
                  <a:pt x="448" y="132"/>
                </a:lnTo>
                <a:lnTo>
                  <a:pt x="409" y="127"/>
                </a:lnTo>
                <a:lnTo>
                  <a:pt x="409" y="96"/>
                </a:lnTo>
                <a:lnTo>
                  <a:pt x="344" y="63"/>
                </a:lnTo>
                <a:lnTo>
                  <a:pt x="373" y="54"/>
                </a:lnTo>
                <a:lnTo>
                  <a:pt x="176" y="61"/>
                </a:lnTo>
                <a:lnTo>
                  <a:pt x="112" y="0"/>
                </a:lnTo>
                <a:lnTo>
                  <a:pt x="114" y="28"/>
                </a:lnTo>
                <a:lnTo>
                  <a:pt x="59" y="51"/>
                </a:lnTo>
                <a:lnTo>
                  <a:pt x="76" y="96"/>
                </a:lnTo>
                <a:lnTo>
                  <a:pt x="55" y="113"/>
                </a:lnTo>
                <a:lnTo>
                  <a:pt x="42" y="72"/>
                </a:lnTo>
                <a:lnTo>
                  <a:pt x="64" y="17"/>
                </a:lnTo>
                <a:lnTo>
                  <a:pt x="0" y="10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2" name="30413317.75488.519.12526.6255">
            <a:extLst>
              <a:ext uri="{FF2B5EF4-FFF2-40B4-BE49-F238E27FC236}">
                <a16:creationId xmlns:a16="http://schemas.microsoft.com/office/drawing/2014/main" id="{8A92897A-1222-5846-A74B-986F8B788418}"/>
              </a:ext>
            </a:extLst>
          </p:cNvPr>
          <p:cNvSpPr>
            <a:spLocks noChangeAspect="1"/>
          </p:cNvSpPr>
          <p:nvPr/>
        </p:nvSpPr>
        <p:spPr bwMode="gray">
          <a:xfrm>
            <a:off x="7503333" y="3446275"/>
            <a:ext cx="427950" cy="309486"/>
          </a:xfrm>
          <a:custGeom>
            <a:avLst/>
            <a:gdLst/>
            <a:ahLst/>
            <a:cxnLst>
              <a:cxn ang="0">
                <a:pos x="0" y="163"/>
              </a:cxn>
              <a:cxn ang="0">
                <a:pos x="4" y="251"/>
              </a:cxn>
              <a:cxn ang="0">
                <a:pos x="39" y="277"/>
              </a:cxn>
              <a:cxn ang="0">
                <a:pos x="11" y="322"/>
              </a:cxn>
              <a:cxn ang="0">
                <a:pos x="63" y="339"/>
              </a:cxn>
              <a:cxn ang="0">
                <a:pos x="186" y="322"/>
              </a:cxn>
              <a:cxn ang="0">
                <a:pos x="209" y="273"/>
              </a:cxn>
              <a:cxn ang="0">
                <a:pos x="292" y="245"/>
              </a:cxn>
              <a:cxn ang="0">
                <a:pos x="300" y="204"/>
              </a:cxn>
              <a:cxn ang="0">
                <a:pos x="327" y="193"/>
              </a:cxn>
              <a:cxn ang="0">
                <a:pos x="315" y="171"/>
              </a:cxn>
              <a:cxn ang="0">
                <a:pos x="345" y="169"/>
              </a:cxn>
              <a:cxn ang="0">
                <a:pos x="367" y="127"/>
              </a:cxn>
              <a:cxn ang="0">
                <a:pos x="358" y="86"/>
              </a:cxn>
              <a:cxn ang="0">
                <a:pos x="469" y="55"/>
              </a:cxn>
              <a:cxn ang="0">
                <a:pos x="472" y="47"/>
              </a:cxn>
              <a:cxn ang="0">
                <a:pos x="430" y="39"/>
              </a:cxn>
              <a:cxn ang="0">
                <a:pos x="371" y="68"/>
              </a:cxn>
              <a:cxn ang="0">
                <a:pos x="344" y="0"/>
              </a:cxn>
              <a:cxn ang="0">
                <a:pos x="293" y="51"/>
              </a:cxn>
              <a:cxn ang="0">
                <a:pos x="147" y="47"/>
              </a:cxn>
              <a:cxn ang="0">
                <a:pos x="73" y="124"/>
              </a:cxn>
              <a:cxn ang="0">
                <a:pos x="24" y="99"/>
              </a:cxn>
              <a:cxn ang="0">
                <a:pos x="0" y="163"/>
              </a:cxn>
            </a:cxnLst>
            <a:rect l="0" t="0" r="r" b="b"/>
            <a:pathLst>
              <a:path w="472" h="339">
                <a:moveTo>
                  <a:pt x="0" y="163"/>
                </a:moveTo>
                <a:lnTo>
                  <a:pt x="4" y="251"/>
                </a:lnTo>
                <a:lnTo>
                  <a:pt x="39" y="277"/>
                </a:lnTo>
                <a:lnTo>
                  <a:pt x="11" y="322"/>
                </a:lnTo>
                <a:lnTo>
                  <a:pt x="63" y="339"/>
                </a:lnTo>
                <a:lnTo>
                  <a:pt x="186" y="322"/>
                </a:lnTo>
                <a:lnTo>
                  <a:pt x="209" y="273"/>
                </a:lnTo>
                <a:lnTo>
                  <a:pt x="292" y="245"/>
                </a:lnTo>
                <a:lnTo>
                  <a:pt x="300" y="204"/>
                </a:lnTo>
                <a:lnTo>
                  <a:pt x="327" y="193"/>
                </a:lnTo>
                <a:lnTo>
                  <a:pt x="315" y="171"/>
                </a:lnTo>
                <a:lnTo>
                  <a:pt x="345" y="169"/>
                </a:lnTo>
                <a:lnTo>
                  <a:pt x="367" y="127"/>
                </a:lnTo>
                <a:lnTo>
                  <a:pt x="358" y="86"/>
                </a:lnTo>
                <a:lnTo>
                  <a:pt x="469" y="55"/>
                </a:lnTo>
                <a:lnTo>
                  <a:pt x="472" y="47"/>
                </a:lnTo>
                <a:lnTo>
                  <a:pt x="430" y="39"/>
                </a:lnTo>
                <a:lnTo>
                  <a:pt x="371" y="68"/>
                </a:lnTo>
                <a:lnTo>
                  <a:pt x="344" y="0"/>
                </a:lnTo>
                <a:lnTo>
                  <a:pt x="293" y="51"/>
                </a:lnTo>
                <a:lnTo>
                  <a:pt x="147" y="47"/>
                </a:lnTo>
                <a:lnTo>
                  <a:pt x="73" y="124"/>
                </a:lnTo>
                <a:lnTo>
                  <a:pt x="24" y="99"/>
                </a:lnTo>
                <a:lnTo>
                  <a:pt x="0" y="16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3" name="30414308.625410.6256.53.3755">
            <a:extLst>
              <a:ext uri="{FF2B5EF4-FFF2-40B4-BE49-F238E27FC236}">
                <a16:creationId xmlns:a16="http://schemas.microsoft.com/office/drawing/2014/main" id="{AE78FC2E-303C-674F-BAF8-1DF951552CD2}"/>
              </a:ext>
            </a:extLst>
          </p:cNvPr>
          <p:cNvSpPr>
            <a:spLocks noChangeAspect="1"/>
          </p:cNvSpPr>
          <p:nvPr/>
        </p:nvSpPr>
        <p:spPr bwMode="gray">
          <a:xfrm>
            <a:off x="6257516" y="3296576"/>
            <a:ext cx="53255" cy="104285"/>
          </a:xfrm>
          <a:custGeom>
            <a:avLst/>
            <a:gdLst/>
            <a:ahLst/>
            <a:cxnLst>
              <a:cxn ang="0">
                <a:pos x="0" y="87"/>
              </a:cxn>
              <a:cxn ang="0">
                <a:pos x="3" y="28"/>
              </a:cxn>
              <a:cxn ang="0">
                <a:pos x="30" y="0"/>
              </a:cxn>
              <a:cxn ang="0">
                <a:pos x="61" y="68"/>
              </a:cxn>
              <a:cxn ang="0">
                <a:pos x="32" y="114"/>
              </a:cxn>
              <a:cxn ang="0">
                <a:pos x="0" y="87"/>
              </a:cxn>
            </a:cxnLst>
            <a:rect l="0" t="0" r="r" b="b"/>
            <a:pathLst>
              <a:path w="61" h="114">
                <a:moveTo>
                  <a:pt x="0" y="87"/>
                </a:moveTo>
                <a:lnTo>
                  <a:pt x="3" y="28"/>
                </a:lnTo>
                <a:lnTo>
                  <a:pt x="30" y="0"/>
                </a:lnTo>
                <a:lnTo>
                  <a:pt x="61" y="68"/>
                </a:lnTo>
                <a:lnTo>
                  <a:pt x="32" y="114"/>
                </a:lnTo>
                <a:lnTo>
                  <a:pt x="0" y="8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4" name="30415321.125358.12536.2538.255">
            <a:extLst>
              <a:ext uri="{FF2B5EF4-FFF2-40B4-BE49-F238E27FC236}">
                <a16:creationId xmlns:a16="http://schemas.microsoft.com/office/drawing/2014/main" id="{AA952F69-2B53-D746-ABB2-80E18B4FCBA0}"/>
              </a:ext>
            </a:extLst>
          </p:cNvPr>
          <p:cNvSpPr>
            <a:spLocks noChangeAspect="1"/>
          </p:cNvSpPr>
          <p:nvPr/>
        </p:nvSpPr>
        <p:spPr bwMode="gray">
          <a:xfrm>
            <a:off x="5414927" y="3500097"/>
            <a:ext cx="614348" cy="588698"/>
          </a:xfrm>
          <a:custGeom>
            <a:avLst/>
            <a:gdLst/>
            <a:ahLst/>
            <a:cxnLst>
              <a:cxn ang="0">
                <a:pos x="0" y="345"/>
              </a:cxn>
              <a:cxn ang="0">
                <a:pos x="3" y="358"/>
              </a:cxn>
              <a:cxn ang="0">
                <a:pos x="126" y="439"/>
              </a:cxn>
              <a:cxn ang="0">
                <a:pos x="394" y="616"/>
              </a:cxn>
              <a:cxn ang="0">
                <a:pos x="397" y="646"/>
              </a:cxn>
              <a:cxn ang="0">
                <a:pos x="423" y="642"/>
              </a:cxn>
              <a:cxn ang="0">
                <a:pos x="476" y="629"/>
              </a:cxn>
              <a:cxn ang="0">
                <a:pos x="678" y="490"/>
              </a:cxn>
              <a:cxn ang="0">
                <a:pos x="599" y="398"/>
              </a:cxn>
              <a:cxn ang="0">
                <a:pos x="601" y="249"/>
              </a:cxn>
              <a:cxn ang="0">
                <a:pos x="591" y="182"/>
              </a:cxn>
              <a:cxn ang="0">
                <a:pos x="535" y="114"/>
              </a:cxn>
              <a:cxn ang="0">
                <a:pos x="563" y="91"/>
              </a:cxn>
              <a:cxn ang="0">
                <a:pos x="577" y="0"/>
              </a:cxn>
              <a:cxn ang="0">
                <a:pos x="338" y="15"/>
              </a:cxn>
              <a:cxn ang="0">
                <a:pos x="214" y="69"/>
              </a:cxn>
              <a:cxn ang="0">
                <a:pos x="246" y="179"/>
              </a:cxn>
              <a:cxn ang="0">
                <a:pos x="192" y="182"/>
              </a:cxn>
              <a:cxn ang="0">
                <a:pos x="164" y="194"/>
              </a:cxn>
              <a:cxn ang="0">
                <a:pos x="169" y="223"/>
              </a:cxn>
              <a:cxn ang="0">
                <a:pos x="18" y="289"/>
              </a:cxn>
              <a:cxn ang="0">
                <a:pos x="0" y="345"/>
              </a:cxn>
            </a:cxnLst>
            <a:rect l="0" t="0" r="r" b="b"/>
            <a:pathLst>
              <a:path w="678" h="646">
                <a:moveTo>
                  <a:pt x="0" y="345"/>
                </a:moveTo>
                <a:lnTo>
                  <a:pt x="3" y="358"/>
                </a:lnTo>
                <a:lnTo>
                  <a:pt x="126" y="439"/>
                </a:lnTo>
                <a:lnTo>
                  <a:pt x="394" y="616"/>
                </a:lnTo>
                <a:lnTo>
                  <a:pt x="397" y="646"/>
                </a:lnTo>
                <a:lnTo>
                  <a:pt x="423" y="642"/>
                </a:lnTo>
                <a:lnTo>
                  <a:pt x="476" y="629"/>
                </a:lnTo>
                <a:lnTo>
                  <a:pt x="678" y="490"/>
                </a:lnTo>
                <a:lnTo>
                  <a:pt x="599" y="398"/>
                </a:lnTo>
                <a:lnTo>
                  <a:pt x="601" y="249"/>
                </a:lnTo>
                <a:lnTo>
                  <a:pt x="591" y="182"/>
                </a:lnTo>
                <a:lnTo>
                  <a:pt x="535" y="114"/>
                </a:lnTo>
                <a:lnTo>
                  <a:pt x="563" y="91"/>
                </a:lnTo>
                <a:lnTo>
                  <a:pt x="577" y="0"/>
                </a:lnTo>
                <a:lnTo>
                  <a:pt x="338" y="15"/>
                </a:lnTo>
                <a:lnTo>
                  <a:pt x="214" y="69"/>
                </a:lnTo>
                <a:lnTo>
                  <a:pt x="246" y="179"/>
                </a:lnTo>
                <a:lnTo>
                  <a:pt x="192" y="182"/>
                </a:lnTo>
                <a:lnTo>
                  <a:pt x="164" y="194"/>
                </a:lnTo>
                <a:lnTo>
                  <a:pt x="169" y="223"/>
                </a:lnTo>
                <a:lnTo>
                  <a:pt x="18" y="289"/>
                </a:lnTo>
                <a:lnTo>
                  <a:pt x="0" y="34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5" name="30416413.5587.37557.12576.1255">
            <a:extLst>
              <a:ext uri="{FF2B5EF4-FFF2-40B4-BE49-F238E27FC236}">
                <a16:creationId xmlns:a16="http://schemas.microsoft.com/office/drawing/2014/main" id="{1E3598F8-9671-CD40-A376-E633BDD58932}"/>
              </a:ext>
            </a:extLst>
          </p:cNvPr>
          <p:cNvSpPr>
            <a:spLocks noChangeAspect="1"/>
          </p:cNvSpPr>
          <p:nvPr/>
        </p:nvSpPr>
        <p:spPr bwMode="gray">
          <a:xfrm>
            <a:off x="9089602" y="4995392"/>
            <a:ext cx="1221089" cy="923415"/>
          </a:xfrm>
          <a:custGeom>
            <a:avLst/>
            <a:gdLst/>
            <a:ahLst/>
            <a:cxnLst>
              <a:cxn ang="0">
                <a:pos x="24" y="542"/>
              </a:cxn>
              <a:cxn ang="0">
                <a:pos x="36" y="528"/>
              </a:cxn>
              <a:cxn ang="0">
                <a:pos x="27" y="381"/>
              </a:cxn>
              <a:cxn ang="0">
                <a:pos x="119" y="334"/>
              </a:cxn>
              <a:cxn ang="0">
                <a:pos x="307" y="249"/>
              </a:cxn>
              <a:cxn ang="0">
                <a:pos x="325" y="191"/>
              </a:cxn>
              <a:cxn ang="0">
                <a:pos x="345" y="187"/>
              </a:cxn>
              <a:cxn ang="0">
                <a:pos x="378" y="164"/>
              </a:cxn>
              <a:cxn ang="0">
                <a:pos x="483" y="117"/>
              </a:cxn>
              <a:cxn ang="0">
                <a:pos x="514" y="138"/>
              </a:cxn>
              <a:cxn ang="0">
                <a:pos x="539" y="121"/>
              </a:cxn>
              <a:cxn ang="0">
                <a:pos x="650" y="48"/>
              </a:cxn>
              <a:cxn ang="0">
                <a:pos x="782" y="56"/>
              </a:cxn>
              <a:cxn ang="0">
                <a:pos x="902" y="239"/>
              </a:cxn>
              <a:cxn ang="0">
                <a:pos x="956" y="47"/>
              </a:cxn>
              <a:cxn ang="0">
                <a:pos x="1024" y="120"/>
              </a:cxn>
              <a:cxn ang="0">
                <a:pos x="1111" y="283"/>
              </a:cxn>
              <a:cxn ang="0">
                <a:pos x="1222" y="404"/>
              </a:cxn>
              <a:cxn ang="0">
                <a:pos x="1261" y="440"/>
              </a:cxn>
              <a:cxn ang="0">
                <a:pos x="1350" y="607"/>
              </a:cxn>
              <a:cxn ang="0">
                <a:pos x="1274" y="799"/>
              </a:cxn>
              <a:cxn ang="0">
                <a:pos x="1156" y="967"/>
              </a:cxn>
              <a:cxn ang="0">
                <a:pos x="1112" y="1012"/>
              </a:cxn>
              <a:cxn ang="0">
                <a:pos x="1012" y="999"/>
              </a:cxn>
              <a:cxn ang="0">
                <a:pos x="898" y="945"/>
              </a:cxn>
              <a:cxn ang="0">
                <a:pos x="836" y="878"/>
              </a:cxn>
              <a:cxn ang="0">
                <a:pos x="822" y="860"/>
              </a:cxn>
              <a:cxn ang="0">
                <a:pos x="824" y="762"/>
              </a:cxn>
              <a:cxn ang="0">
                <a:pos x="737" y="836"/>
              </a:cxn>
              <a:cxn ang="0">
                <a:pos x="608" y="722"/>
              </a:cxn>
              <a:cxn ang="0">
                <a:pos x="354" y="807"/>
              </a:cxn>
              <a:cxn ang="0">
                <a:pos x="160" y="858"/>
              </a:cxn>
              <a:cxn ang="0">
                <a:pos x="87" y="728"/>
              </a:cxn>
            </a:cxnLst>
            <a:rect l="0" t="0" r="r" b="b"/>
            <a:pathLst>
              <a:path w="1350" h="1012">
                <a:moveTo>
                  <a:pt x="0" y="534"/>
                </a:moveTo>
                <a:lnTo>
                  <a:pt x="24" y="542"/>
                </a:lnTo>
                <a:lnTo>
                  <a:pt x="10" y="512"/>
                </a:lnTo>
                <a:lnTo>
                  <a:pt x="36" y="528"/>
                </a:lnTo>
                <a:lnTo>
                  <a:pt x="9" y="470"/>
                </a:lnTo>
                <a:lnTo>
                  <a:pt x="27" y="381"/>
                </a:lnTo>
                <a:lnTo>
                  <a:pt x="35" y="404"/>
                </a:lnTo>
                <a:lnTo>
                  <a:pt x="119" y="334"/>
                </a:lnTo>
                <a:lnTo>
                  <a:pt x="259" y="301"/>
                </a:lnTo>
                <a:lnTo>
                  <a:pt x="307" y="249"/>
                </a:lnTo>
                <a:lnTo>
                  <a:pt x="306" y="216"/>
                </a:lnTo>
                <a:lnTo>
                  <a:pt x="325" y="191"/>
                </a:lnTo>
                <a:lnTo>
                  <a:pt x="345" y="231"/>
                </a:lnTo>
                <a:lnTo>
                  <a:pt x="345" y="187"/>
                </a:lnTo>
                <a:lnTo>
                  <a:pt x="377" y="197"/>
                </a:lnTo>
                <a:lnTo>
                  <a:pt x="378" y="164"/>
                </a:lnTo>
                <a:lnTo>
                  <a:pt x="429" y="114"/>
                </a:lnTo>
                <a:lnTo>
                  <a:pt x="483" y="117"/>
                </a:lnTo>
                <a:lnTo>
                  <a:pt x="494" y="166"/>
                </a:lnTo>
                <a:lnTo>
                  <a:pt x="514" y="138"/>
                </a:lnTo>
                <a:lnTo>
                  <a:pt x="554" y="154"/>
                </a:lnTo>
                <a:lnTo>
                  <a:pt x="539" y="121"/>
                </a:lnTo>
                <a:lnTo>
                  <a:pt x="571" y="69"/>
                </a:lnTo>
                <a:lnTo>
                  <a:pt x="650" y="48"/>
                </a:lnTo>
                <a:lnTo>
                  <a:pt x="630" y="14"/>
                </a:lnTo>
                <a:lnTo>
                  <a:pt x="782" y="56"/>
                </a:lnTo>
                <a:lnTo>
                  <a:pt x="749" y="146"/>
                </a:lnTo>
                <a:lnTo>
                  <a:pt x="902" y="239"/>
                </a:lnTo>
                <a:lnTo>
                  <a:pt x="939" y="202"/>
                </a:lnTo>
                <a:lnTo>
                  <a:pt x="956" y="47"/>
                </a:lnTo>
                <a:lnTo>
                  <a:pt x="993" y="0"/>
                </a:lnTo>
                <a:lnTo>
                  <a:pt x="1024" y="120"/>
                </a:lnTo>
                <a:lnTo>
                  <a:pt x="1076" y="146"/>
                </a:lnTo>
                <a:lnTo>
                  <a:pt x="1111" y="283"/>
                </a:lnTo>
                <a:lnTo>
                  <a:pt x="1193" y="327"/>
                </a:lnTo>
                <a:lnTo>
                  <a:pt x="1222" y="404"/>
                </a:lnTo>
                <a:lnTo>
                  <a:pt x="1254" y="399"/>
                </a:lnTo>
                <a:lnTo>
                  <a:pt x="1261" y="440"/>
                </a:lnTo>
                <a:lnTo>
                  <a:pt x="1328" y="499"/>
                </a:lnTo>
                <a:lnTo>
                  <a:pt x="1350" y="607"/>
                </a:lnTo>
                <a:lnTo>
                  <a:pt x="1335" y="710"/>
                </a:lnTo>
                <a:lnTo>
                  <a:pt x="1274" y="799"/>
                </a:lnTo>
                <a:lnTo>
                  <a:pt x="1232" y="950"/>
                </a:lnTo>
                <a:lnTo>
                  <a:pt x="1156" y="967"/>
                </a:lnTo>
                <a:lnTo>
                  <a:pt x="1109" y="994"/>
                </a:lnTo>
                <a:lnTo>
                  <a:pt x="1112" y="1012"/>
                </a:lnTo>
                <a:lnTo>
                  <a:pt x="1064" y="961"/>
                </a:lnTo>
                <a:lnTo>
                  <a:pt x="1012" y="999"/>
                </a:lnTo>
                <a:lnTo>
                  <a:pt x="949" y="982"/>
                </a:lnTo>
                <a:lnTo>
                  <a:pt x="898" y="945"/>
                </a:lnTo>
                <a:lnTo>
                  <a:pt x="874" y="868"/>
                </a:lnTo>
                <a:lnTo>
                  <a:pt x="836" y="878"/>
                </a:lnTo>
                <a:lnTo>
                  <a:pt x="835" y="827"/>
                </a:lnTo>
                <a:lnTo>
                  <a:pt x="822" y="860"/>
                </a:lnTo>
                <a:lnTo>
                  <a:pt x="795" y="861"/>
                </a:lnTo>
                <a:lnTo>
                  <a:pt x="824" y="762"/>
                </a:lnTo>
                <a:lnTo>
                  <a:pt x="765" y="856"/>
                </a:lnTo>
                <a:lnTo>
                  <a:pt x="737" y="836"/>
                </a:lnTo>
                <a:lnTo>
                  <a:pt x="707" y="763"/>
                </a:lnTo>
                <a:lnTo>
                  <a:pt x="608" y="722"/>
                </a:lnTo>
                <a:lnTo>
                  <a:pt x="428" y="754"/>
                </a:lnTo>
                <a:lnTo>
                  <a:pt x="354" y="807"/>
                </a:lnTo>
                <a:lnTo>
                  <a:pt x="230" y="812"/>
                </a:lnTo>
                <a:lnTo>
                  <a:pt x="160" y="858"/>
                </a:lnTo>
                <a:lnTo>
                  <a:pt x="66" y="825"/>
                </a:lnTo>
                <a:lnTo>
                  <a:pt x="87" y="728"/>
                </a:lnTo>
                <a:lnTo>
                  <a:pt x="0" y="53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6" name="304174746476.3756.6255">
            <a:extLst>
              <a:ext uri="{FF2B5EF4-FFF2-40B4-BE49-F238E27FC236}">
                <a16:creationId xmlns:a16="http://schemas.microsoft.com/office/drawing/2014/main" id="{DAD80DD3-8D3B-ED42-A828-7807EE020E69}"/>
              </a:ext>
            </a:extLst>
          </p:cNvPr>
          <p:cNvSpPr>
            <a:spLocks noChangeAspect="1"/>
          </p:cNvSpPr>
          <p:nvPr/>
        </p:nvSpPr>
        <p:spPr bwMode="gray">
          <a:xfrm>
            <a:off x="10044412" y="5975990"/>
            <a:ext cx="108415" cy="104285"/>
          </a:xfrm>
          <a:custGeom>
            <a:avLst/>
            <a:gdLst/>
            <a:ahLst/>
            <a:cxnLst>
              <a:cxn ang="0">
                <a:pos x="0" y="20"/>
              </a:cxn>
              <a:cxn ang="0">
                <a:pos x="1" y="0"/>
              </a:cxn>
              <a:cxn ang="0">
                <a:pos x="60" y="17"/>
              </a:cxn>
              <a:cxn ang="0">
                <a:pos x="105" y="3"/>
              </a:cxn>
              <a:cxn ang="0">
                <a:pos x="116" y="31"/>
              </a:cxn>
              <a:cxn ang="0">
                <a:pos x="116" y="65"/>
              </a:cxn>
              <a:cxn ang="0">
                <a:pos x="72" y="115"/>
              </a:cxn>
              <a:cxn ang="0">
                <a:pos x="42" y="112"/>
              </a:cxn>
              <a:cxn ang="0">
                <a:pos x="0" y="20"/>
              </a:cxn>
            </a:cxnLst>
            <a:rect l="0" t="0" r="r" b="b"/>
            <a:pathLst>
              <a:path w="116" h="115">
                <a:moveTo>
                  <a:pt x="0" y="20"/>
                </a:moveTo>
                <a:lnTo>
                  <a:pt x="1" y="0"/>
                </a:lnTo>
                <a:lnTo>
                  <a:pt x="60" y="17"/>
                </a:lnTo>
                <a:lnTo>
                  <a:pt x="105" y="3"/>
                </a:lnTo>
                <a:lnTo>
                  <a:pt x="116" y="31"/>
                </a:lnTo>
                <a:lnTo>
                  <a:pt x="116" y="65"/>
                </a:lnTo>
                <a:lnTo>
                  <a:pt x="72" y="115"/>
                </a:lnTo>
                <a:lnTo>
                  <a:pt x="42" y="112"/>
                </a:lnTo>
                <a:lnTo>
                  <a:pt x="0" y="2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7" name="30418294.25392.1255.37514.3755">
            <a:extLst>
              <a:ext uri="{FF2B5EF4-FFF2-40B4-BE49-F238E27FC236}">
                <a16:creationId xmlns:a16="http://schemas.microsoft.com/office/drawing/2014/main" id="{59E6CC51-05E2-E647-B0B6-EB23D6BC1DE6}"/>
              </a:ext>
            </a:extLst>
          </p:cNvPr>
          <p:cNvSpPr>
            <a:spLocks noChangeAspect="1"/>
          </p:cNvSpPr>
          <p:nvPr/>
        </p:nvSpPr>
        <p:spPr bwMode="gray">
          <a:xfrm>
            <a:off x="5958903" y="3066144"/>
            <a:ext cx="232046" cy="85783"/>
          </a:xfrm>
          <a:custGeom>
            <a:avLst/>
            <a:gdLst/>
            <a:ahLst/>
            <a:cxnLst>
              <a:cxn ang="0">
                <a:pos x="0" y="55"/>
              </a:cxn>
              <a:cxn ang="0">
                <a:pos x="4" y="59"/>
              </a:cxn>
              <a:cxn ang="0">
                <a:pos x="5" y="77"/>
              </a:cxn>
              <a:cxn ang="0">
                <a:pos x="33" y="81"/>
              </a:cxn>
              <a:cxn ang="0">
                <a:pos x="85" y="72"/>
              </a:cxn>
              <a:cxn ang="0">
                <a:pos x="142" y="98"/>
              </a:cxn>
              <a:cxn ang="0">
                <a:pos x="221" y="80"/>
              </a:cxn>
              <a:cxn ang="0">
                <a:pos x="256" y="30"/>
              </a:cxn>
              <a:cxn ang="0">
                <a:pos x="242" y="0"/>
              </a:cxn>
              <a:cxn ang="0">
                <a:pos x="143" y="1"/>
              </a:cxn>
              <a:cxn ang="0">
                <a:pos x="113" y="54"/>
              </a:cxn>
              <a:cxn ang="0">
                <a:pos x="0" y="55"/>
              </a:cxn>
            </a:cxnLst>
            <a:rect l="0" t="0" r="r" b="b"/>
            <a:pathLst>
              <a:path w="256" h="98">
                <a:moveTo>
                  <a:pt x="0" y="55"/>
                </a:moveTo>
                <a:lnTo>
                  <a:pt x="4" y="59"/>
                </a:lnTo>
                <a:lnTo>
                  <a:pt x="5" y="77"/>
                </a:lnTo>
                <a:lnTo>
                  <a:pt x="33" y="81"/>
                </a:lnTo>
                <a:lnTo>
                  <a:pt x="85" y="72"/>
                </a:lnTo>
                <a:lnTo>
                  <a:pt x="142" y="98"/>
                </a:lnTo>
                <a:lnTo>
                  <a:pt x="221" y="80"/>
                </a:lnTo>
                <a:lnTo>
                  <a:pt x="256" y="30"/>
                </a:lnTo>
                <a:lnTo>
                  <a:pt x="242" y="0"/>
                </a:lnTo>
                <a:lnTo>
                  <a:pt x="143" y="1"/>
                </a:lnTo>
                <a:lnTo>
                  <a:pt x="113" y="54"/>
                </a:lnTo>
                <a:lnTo>
                  <a:pt x="0" y="5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8" name="30419342.625539.87511.12595">
            <a:extLst>
              <a:ext uri="{FF2B5EF4-FFF2-40B4-BE49-F238E27FC236}">
                <a16:creationId xmlns:a16="http://schemas.microsoft.com/office/drawing/2014/main" id="{3BF4E817-E752-0B4C-8141-94F98E18A843}"/>
              </a:ext>
            </a:extLst>
          </p:cNvPr>
          <p:cNvSpPr>
            <a:spLocks noChangeAspect="1"/>
          </p:cNvSpPr>
          <p:nvPr/>
        </p:nvSpPr>
        <p:spPr bwMode="gray">
          <a:xfrm>
            <a:off x="8326900" y="3846589"/>
            <a:ext cx="144553" cy="181654"/>
          </a:xfrm>
          <a:custGeom>
            <a:avLst/>
            <a:gdLst/>
            <a:ahLst/>
            <a:cxnLst>
              <a:cxn ang="0">
                <a:pos x="0" y="59"/>
              </a:cxn>
              <a:cxn ang="0">
                <a:pos x="22" y="80"/>
              </a:cxn>
              <a:cxn ang="0">
                <a:pos x="34" y="172"/>
              </a:cxn>
              <a:cxn ang="0">
                <a:pos x="74" y="166"/>
              </a:cxn>
              <a:cxn ang="0">
                <a:pos x="98" y="126"/>
              </a:cxn>
              <a:cxn ang="0">
                <a:pos x="126" y="135"/>
              </a:cxn>
              <a:cxn ang="0">
                <a:pos x="146" y="198"/>
              </a:cxn>
              <a:cxn ang="0">
                <a:pos x="159" y="162"/>
              </a:cxn>
              <a:cxn ang="0">
                <a:pos x="142" y="97"/>
              </a:cxn>
              <a:cxn ang="0">
                <a:pos x="126" y="122"/>
              </a:cxn>
              <a:cxn ang="0">
                <a:pos x="106" y="91"/>
              </a:cxn>
              <a:cxn ang="0">
                <a:pos x="144" y="51"/>
              </a:cxn>
              <a:cxn ang="0">
                <a:pos x="69" y="45"/>
              </a:cxn>
              <a:cxn ang="0">
                <a:pos x="21" y="0"/>
              </a:cxn>
              <a:cxn ang="0">
                <a:pos x="5" y="25"/>
              </a:cxn>
              <a:cxn ang="0">
                <a:pos x="23" y="45"/>
              </a:cxn>
              <a:cxn ang="0">
                <a:pos x="0" y="59"/>
              </a:cxn>
            </a:cxnLst>
            <a:rect l="0" t="0" r="r" b="b"/>
            <a:pathLst>
              <a:path w="159" h="198">
                <a:moveTo>
                  <a:pt x="0" y="59"/>
                </a:moveTo>
                <a:lnTo>
                  <a:pt x="22" y="80"/>
                </a:lnTo>
                <a:lnTo>
                  <a:pt x="34" y="172"/>
                </a:lnTo>
                <a:lnTo>
                  <a:pt x="74" y="166"/>
                </a:lnTo>
                <a:lnTo>
                  <a:pt x="98" y="126"/>
                </a:lnTo>
                <a:lnTo>
                  <a:pt x="126" y="135"/>
                </a:lnTo>
                <a:lnTo>
                  <a:pt x="146" y="198"/>
                </a:lnTo>
                <a:lnTo>
                  <a:pt x="159" y="162"/>
                </a:lnTo>
                <a:lnTo>
                  <a:pt x="142" y="97"/>
                </a:lnTo>
                <a:lnTo>
                  <a:pt x="126" y="122"/>
                </a:lnTo>
                <a:lnTo>
                  <a:pt x="106" y="91"/>
                </a:lnTo>
                <a:lnTo>
                  <a:pt x="144" y="51"/>
                </a:lnTo>
                <a:lnTo>
                  <a:pt x="69" y="45"/>
                </a:lnTo>
                <a:lnTo>
                  <a:pt x="21" y="0"/>
                </a:lnTo>
                <a:lnTo>
                  <a:pt x="5" y="25"/>
                </a:lnTo>
                <a:lnTo>
                  <a:pt x="23" y="45"/>
                </a:lnTo>
                <a:lnTo>
                  <a:pt x="0" y="5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29" name="30420287.625379.754.62565">
            <a:extLst>
              <a:ext uri="{FF2B5EF4-FFF2-40B4-BE49-F238E27FC236}">
                <a16:creationId xmlns:a16="http://schemas.microsoft.com/office/drawing/2014/main" id="{47452246-87D1-4B48-B9EF-DCE9516102FB}"/>
              </a:ext>
            </a:extLst>
          </p:cNvPr>
          <p:cNvSpPr>
            <a:spLocks noChangeAspect="1"/>
          </p:cNvSpPr>
          <p:nvPr/>
        </p:nvSpPr>
        <p:spPr bwMode="gray">
          <a:xfrm>
            <a:off x="5759190" y="2958497"/>
            <a:ext cx="98904" cy="74007"/>
          </a:xfrm>
          <a:custGeom>
            <a:avLst/>
            <a:gdLst/>
            <a:ahLst/>
            <a:cxnLst>
              <a:cxn ang="0">
                <a:pos x="0" y="15"/>
              </a:cxn>
              <a:cxn ang="0">
                <a:pos x="25" y="4"/>
              </a:cxn>
              <a:cxn ang="0">
                <a:pos x="73" y="0"/>
              </a:cxn>
              <a:cxn ang="0">
                <a:pos x="106" y="32"/>
              </a:cxn>
              <a:cxn ang="0">
                <a:pos x="109" y="56"/>
              </a:cxn>
              <a:cxn ang="0">
                <a:pos x="96" y="78"/>
              </a:cxn>
              <a:cxn ang="0">
                <a:pos x="0" y="15"/>
              </a:cxn>
            </a:cxnLst>
            <a:rect l="0" t="0" r="r" b="b"/>
            <a:pathLst>
              <a:path w="109" h="78">
                <a:moveTo>
                  <a:pt x="0" y="15"/>
                </a:moveTo>
                <a:lnTo>
                  <a:pt x="25" y="4"/>
                </a:lnTo>
                <a:lnTo>
                  <a:pt x="73" y="0"/>
                </a:lnTo>
                <a:lnTo>
                  <a:pt x="106" y="32"/>
                </a:lnTo>
                <a:lnTo>
                  <a:pt x="109" y="56"/>
                </a:lnTo>
                <a:lnTo>
                  <a:pt x="96" y="78"/>
                </a:lnTo>
                <a:lnTo>
                  <a:pt x="0" y="1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0" name="30421339.125541.753.255.755">
            <a:extLst>
              <a:ext uri="{FF2B5EF4-FFF2-40B4-BE49-F238E27FC236}">
                <a16:creationId xmlns:a16="http://schemas.microsoft.com/office/drawing/2014/main" id="{2E5A3F89-A4B3-DC40-9B97-DCF0E5BFA4E0}"/>
              </a:ext>
            </a:extLst>
          </p:cNvPr>
          <p:cNvSpPr>
            <a:spLocks noChangeAspect="1"/>
          </p:cNvSpPr>
          <p:nvPr/>
        </p:nvSpPr>
        <p:spPr bwMode="gray">
          <a:xfrm>
            <a:off x="8357333" y="3791084"/>
            <a:ext cx="93199" cy="53825"/>
          </a:xfrm>
          <a:custGeom>
            <a:avLst/>
            <a:gdLst/>
            <a:ahLst/>
            <a:cxnLst>
              <a:cxn ang="0">
                <a:pos x="0" y="34"/>
              </a:cxn>
              <a:cxn ang="0">
                <a:pos x="14" y="56"/>
              </a:cxn>
              <a:cxn ang="0">
                <a:pos x="102" y="47"/>
              </a:cxn>
              <a:cxn ang="0">
                <a:pos x="97" y="16"/>
              </a:cxn>
              <a:cxn ang="0">
                <a:pos x="33" y="0"/>
              </a:cxn>
              <a:cxn ang="0">
                <a:pos x="0" y="34"/>
              </a:cxn>
            </a:cxnLst>
            <a:rect l="0" t="0" r="r" b="b"/>
            <a:pathLst>
              <a:path w="102" h="56">
                <a:moveTo>
                  <a:pt x="0" y="34"/>
                </a:moveTo>
                <a:lnTo>
                  <a:pt x="14" y="56"/>
                </a:lnTo>
                <a:lnTo>
                  <a:pt x="102" y="47"/>
                </a:lnTo>
                <a:lnTo>
                  <a:pt x="97" y="16"/>
                </a:lnTo>
                <a:lnTo>
                  <a:pt x="33" y="0"/>
                </a:lnTo>
                <a:lnTo>
                  <a:pt x="0" y="3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1" name="30424383.875589.12522.255">
            <a:extLst>
              <a:ext uri="{FF2B5EF4-FFF2-40B4-BE49-F238E27FC236}">
                <a16:creationId xmlns:a16="http://schemas.microsoft.com/office/drawing/2014/main" id="{F92649BD-DF96-A346-BDDA-63C2A8320F3C}"/>
              </a:ext>
            </a:extLst>
          </p:cNvPr>
          <p:cNvSpPr>
            <a:spLocks noChangeAspect="1"/>
          </p:cNvSpPr>
          <p:nvPr/>
        </p:nvSpPr>
        <p:spPr bwMode="gray">
          <a:xfrm>
            <a:off x="9118135" y="4516021"/>
            <a:ext cx="34238" cy="31958"/>
          </a:xfrm>
          <a:custGeom>
            <a:avLst/>
            <a:gdLst/>
            <a:ahLst/>
            <a:cxnLst>
              <a:cxn ang="0">
                <a:pos x="0" y="15"/>
              </a:cxn>
              <a:cxn ang="0">
                <a:pos x="21" y="34"/>
              </a:cxn>
              <a:cxn ang="0">
                <a:pos x="40" y="0"/>
              </a:cxn>
              <a:cxn ang="0">
                <a:pos x="0" y="15"/>
              </a:cxn>
            </a:cxnLst>
            <a:rect l="0" t="0" r="r" b="b"/>
            <a:pathLst>
              <a:path w="40" h="34">
                <a:moveTo>
                  <a:pt x="0" y="15"/>
                </a:moveTo>
                <a:lnTo>
                  <a:pt x="21" y="34"/>
                </a:lnTo>
                <a:lnTo>
                  <a:pt x="40" y="0"/>
                </a:lnTo>
                <a:lnTo>
                  <a:pt x="0" y="1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2" name="30425339.554834.875175">
            <a:extLst>
              <a:ext uri="{FF2B5EF4-FFF2-40B4-BE49-F238E27FC236}">
                <a16:creationId xmlns:a16="http://schemas.microsoft.com/office/drawing/2014/main" id="{8C912FDD-195F-BF4B-9843-71401E14E8C8}"/>
              </a:ext>
            </a:extLst>
          </p:cNvPr>
          <p:cNvSpPr>
            <a:spLocks noChangeAspect="1"/>
          </p:cNvSpPr>
          <p:nvPr/>
        </p:nvSpPr>
        <p:spPr bwMode="gray">
          <a:xfrm>
            <a:off x="8460042" y="3796130"/>
            <a:ext cx="271986" cy="565150"/>
          </a:xfrm>
          <a:custGeom>
            <a:avLst/>
            <a:gdLst/>
            <a:ahLst/>
            <a:cxnLst>
              <a:cxn ang="0">
                <a:pos x="0" y="255"/>
              </a:cxn>
              <a:cxn ang="0">
                <a:pos x="13" y="219"/>
              </a:cxn>
              <a:cxn ang="0">
                <a:pos x="100" y="58"/>
              </a:cxn>
              <a:cxn ang="0">
                <a:pos x="159" y="36"/>
              </a:cxn>
              <a:cxn ang="0">
                <a:pos x="173" y="0"/>
              </a:cxn>
              <a:cxn ang="0">
                <a:pos x="214" y="21"/>
              </a:cxn>
              <a:cxn ang="0">
                <a:pos x="215" y="53"/>
              </a:cxn>
              <a:cxn ang="0">
                <a:pos x="180" y="152"/>
              </a:cxn>
              <a:cxn ang="0">
                <a:pos x="218" y="143"/>
              </a:cxn>
              <a:cxn ang="0">
                <a:pos x="237" y="211"/>
              </a:cxn>
              <a:cxn ang="0">
                <a:pos x="301" y="229"/>
              </a:cxn>
              <a:cxn ang="0">
                <a:pos x="269" y="260"/>
              </a:cxn>
              <a:cxn ang="0">
                <a:pos x="198" y="302"/>
              </a:cxn>
              <a:cxn ang="0">
                <a:pos x="180" y="342"/>
              </a:cxn>
              <a:cxn ang="0">
                <a:pos x="218" y="417"/>
              </a:cxn>
              <a:cxn ang="0">
                <a:pos x="203" y="461"/>
              </a:cxn>
              <a:cxn ang="0">
                <a:pos x="250" y="560"/>
              </a:cxn>
              <a:cxn ang="0">
                <a:pos x="215" y="619"/>
              </a:cxn>
              <a:cxn ang="0">
                <a:pos x="181" y="408"/>
              </a:cxn>
              <a:cxn ang="0">
                <a:pos x="152" y="375"/>
              </a:cxn>
              <a:cxn ang="0">
                <a:pos x="104" y="431"/>
              </a:cxn>
              <a:cxn ang="0">
                <a:pos x="67" y="420"/>
              </a:cxn>
              <a:cxn ang="0">
                <a:pos x="74" y="343"/>
              </a:cxn>
              <a:cxn ang="0">
                <a:pos x="0" y="255"/>
              </a:cxn>
            </a:cxnLst>
            <a:rect l="0" t="0" r="r" b="b"/>
            <a:pathLst>
              <a:path w="301" h="619">
                <a:moveTo>
                  <a:pt x="0" y="255"/>
                </a:moveTo>
                <a:lnTo>
                  <a:pt x="13" y="219"/>
                </a:lnTo>
                <a:lnTo>
                  <a:pt x="100" y="58"/>
                </a:lnTo>
                <a:lnTo>
                  <a:pt x="159" y="36"/>
                </a:lnTo>
                <a:lnTo>
                  <a:pt x="173" y="0"/>
                </a:lnTo>
                <a:lnTo>
                  <a:pt x="214" y="21"/>
                </a:lnTo>
                <a:lnTo>
                  <a:pt x="215" y="53"/>
                </a:lnTo>
                <a:lnTo>
                  <a:pt x="180" y="152"/>
                </a:lnTo>
                <a:lnTo>
                  <a:pt x="218" y="143"/>
                </a:lnTo>
                <a:lnTo>
                  <a:pt x="237" y="211"/>
                </a:lnTo>
                <a:lnTo>
                  <a:pt x="301" y="229"/>
                </a:lnTo>
                <a:lnTo>
                  <a:pt x="269" y="260"/>
                </a:lnTo>
                <a:lnTo>
                  <a:pt x="198" y="302"/>
                </a:lnTo>
                <a:lnTo>
                  <a:pt x="180" y="342"/>
                </a:lnTo>
                <a:lnTo>
                  <a:pt x="218" y="417"/>
                </a:lnTo>
                <a:lnTo>
                  <a:pt x="203" y="461"/>
                </a:lnTo>
                <a:lnTo>
                  <a:pt x="250" y="560"/>
                </a:lnTo>
                <a:lnTo>
                  <a:pt x="215" y="619"/>
                </a:lnTo>
                <a:lnTo>
                  <a:pt x="181" y="408"/>
                </a:lnTo>
                <a:lnTo>
                  <a:pt x="152" y="375"/>
                </a:lnTo>
                <a:lnTo>
                  <a:pt x="104" y="431"/>
                </a:lnTo>
                <a:lnTo>
                  <a:pt x="67" y="420"/>
                </a:lnTo>
                <a:lnTo>
                  <a:pt x="74" y="343"/>
                </a:lnTo>
                <a:lnTo>
                  <a:pt x="0" y="25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3" name="30426365.625567.58.1259.55">
            <a:extLst>
              <a:ext uri="{FF2B5EF4-FFF2-40B4-BE49-F238E27FC236}">
                <a16:creationId xmlns:a16="http://schemas.microsoft.com/office/drawing/2014/main" id="{534811D4-A9A8-1D4D-9EA4-0314B253171D}"/>
              </a:ext>
            </a:extLst>
          </p:cNvPr>
          <p:cNvSpPr>
            <a:spLocks noChangeAspect="1"/>
          </p:cNvSpPr>
          <p:nvPr/>
        </p:nvSpPr>
        <p:spPr bwMode="gray">
          <a:xfrm>
            <a:off x="8770067" y="4218311"/>
            <a:ext cx="152160" cy="134559"/>
          </a:xfrm>
          <a:custGeom>
            <a:avLst/>
            <a:gdLst/>
            <a:ahLst/>
            <a:cxnLst>
              <a:cxn ang="0">
                <a:pos x="0" y="29"/>
              </a:cxn>
              <a:cxn ang="0">
                <a:pos x="12" y="100"/>
              </a:cxn>
              <a:cxn ang="0">
                <a:pos x="34" y="137"/>
              </a:cxn>
              <a:cxn ang="0">
                <a:pos x="67" y="143"/>
              </a:cxn>
              <a:cxn ang="0">
                <a:pos x="167" y="77"/>
              </a:cxn>
              <a:cxn ang="0">
                <a:pos x="163" y="0"/>
              </a:cxn>
              <a:cxn ang="0">
                <a:pos x="88" y="12"/>
              </a:cxn>
              <a:cxn ang="0">
                <a:pos x="23" y="9"/>
              </a:cxn>
              <a:cxn ang="0">
                <a:pos x="0" y="29"/>
              </a:cxn>
            </a:cxnLst>
            <a:rect l="0" t="0" r="r" b="b"/>
            <a:pathLst>
              <a:path w="167" h="143">
                <a:moveTo>
                  <a:pt x="0" y="29"/>
                </a:moveTo>
                <a:lnTo>
                  <a:pt x="12" y="100"/>
                </a:lnTo>
                <a:lnTo>
                  <a:pt x="34" y="137"/>
                </a:lnTo>
                <a:lnTo>
                  <a:pt x="67" y="143"/>
                </a:lnTo>
                <a:lnTo>
                  <a:pt x="167" y="77"/>
                </a:lnTo>
                <a:lnTo>
                  <a:pt x="163" y="0"/>
                </a:lnTo>
                <a:lnTo>
                  <a:pt x="88" y="12"/>
                </a:lnTo>
                <a:lnTo>
                  <a:pt x="23" y="9"/>
                </a:lnTo>
                <a:lnTo>
                  <a:pt x="0" y="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4" name="30446375.125524.8756.8753.55">
            <a:extLst>
              <a:ext uri="{FF2B5EF4-FFF2-40B4-BE49-F238E27FC236}">
                <a16:creationId xmlns:a16="http://schemas.microsoft.com/office/drawing/2014/main" id="{750CE9AF-E8A9-364E-95E8-2C5FACF8D890}"/>
              </a:ext>
            </a:extLst>
          </p:cNvPr>
          <p:cNvSpPr>
            <a:spLocks noChangeAspect="1"/>
          </p:cNvSpPr>
          <p:nvPr/>
        </p:nvSpPr>
        <p:spPr bwMode="gray">
          <a:xfrm>
            <a:off x="8085343" y="4373052"/>
            <a:ext cx="57060" cy="112692"/>
          </a:xfrm>
          <a:custGeom>
            <a:avLst/>
            <a:gdLst/>
            <a:ahLst/>
            <a:cxnLst>
              <a:cxn ang="0">
                <a:pos x="0" y="0"/>
              </a:cxn>
              <a:cxn ang="0">
                <a:pos x="11" y="124"/>
              </a:cxn>
              <a:cxn ang="0">
                <a:pos x="62" y="102"/>
              </a:cxn>
              <a:cxn ang="0">
                <a:pos x="37" y="29"/>
              </a:cxn>
              <a:cxn ang="0">
                <a:pos x="0" y="0"/>
              </a:cxn>
            </a:cxnLst>
            <a:rect l="0" t="0" r="r" b="b"/>
            <a:pathLst>
              <a:path w="62" h="124">
                <a:moveTo>
                  <a:pt x="0" y="0"/>
                </a:moveTo>
                <a:lnTo>
                  <a:pt x="11" y="124"/>
                </a:lnTo>
                <a:lnTo>
                  <a:pt x="62" y="102"/>
                </a:lnTo>
                <a:lnTo>
                  <a:pt x="37" y="29"/>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5" name="30447345.625600.56.1253.3755">
            <a:extLst>
              <a:ext uri="{FF2B5EF4-FFF2-40B4-BE49-F238E27FC236}">
                <a16:creationId xmlns:a16="http://schemas.microsoft.com/office/drawing/2014/main" id="{7EFAAC56-5696-574C-92C3-6103368CE24B}"/>
              </a:ext>
            </a:extLst>
          </p:cNvPr>
          <p:cNvSpPr>
            <a:spLocks noChangeAspect="1"/>
          </p:cNvSpPr>
          <p:nvPr/>
        </p:nvSpPr>
        <p:spPr bwMode="gray">
          <a:xfrm>
            <a:off x="9300727" y="3897049"/>
            <a:ext cx="55156" cy="99239"/>
          </a:xfrm>
          <a:custGeom>
            <a:avLst/>
            <a:gdLst/>
            <a:ahLst/>
            <a:cxnLst>
              <a:cxn ang="0">
                <a:pos x="0" y="44"/>
              </a:cxn>
              <a:cxn ang="0">
                <a:pos x="23" y="109"/>
              </a:cxn>
              <a:cxn ang="0">
                <a:pos x="59" y="0"/>
              </a:cxn>
              <a:cxn ang="0">
                <a:pos x="28" y="2"/>
              </a:cxn>
              <a:cxn ang="0">
                <a:pos x="0" y="44"/>
              </a:cxn>
            </a:cxnLst>
            <a:rect l="0" t="0" r="r" b="b"/>
            <a:pathLst>
              <a:path w="59" h="109">
                <a:moveTo>
                  <a:pt x="0" y="44"/>
                </a:moveTo>
                <a:lnTo>
                  <a:pt x="23" y="109"/>
                </a:lnTo>
                <a:lnTo>
                  <a:pt x="59" y="0"/>
                </a:lnTo>
                <a:lnTo>
                  <a:pt x="28" y="2"/>
                </a:lnTo>
                <a:lnTo>
                  <a:pt x="0" y="44"/>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6" name="30450271.5389.757.555">
            <a:extLst>
              <a:ext uri="{FF2B5EF4-FFF2-40B4-BE49-F238E27FC236}">
                <a16:creationId xmlns:a16="http://schemas.microsoft.com/office/drawing/2014/main" id="{ED85C4D1-9A82-FF44-88D8-7C3871355B7A}"/>
              </a:ext>
            </a:extLst>
          </p:cNvPr>
          <p:cNvSpPr>
            <a:spLocks noChangeAspect="1"/>
          </p:cNvSpPr>
          <p:nvPr/>
        </p:nvSpPr>
        <p:spPr bwMode="gray">
          <a:xfrm>
            <a:off x="5920860" y="2696107"/>
            <a:ext cx="79883" cy="122787"/>
          </a:xfrm>
          <a:custGeom>
            <a:avLst/>
            <a:gdLst/>
            <a:ahLst/>
            <a:cxnLst>
              <a:cxn ang="0">
                <a:pos x="0" y="100"/>
              </a:cxn>
              <a:cxn ang="0">
                <a:pos x="6" y="36"/>
              </a:cxn>
              <a:cxn ang="0">
                <a:pos x="76" y="0"/>
              </a:cxn>
              <a:cxn ang="0">
                <a:pos x="64" y="51"/>
              </a:cxn>
              <a:cxn ang="0">
                <a:pos x="88" y="66"/>
              </a:cxn>
              <a:cxn ang="0">
                <a:pos x="44" y="95"/>
              </a:cxn>
              <a:cxn ang="0">
                <a:pos x="43" y="132"/>
              </a:cxn>
              <a:cxn ang="0">
                <a:pos x="17" y="132"/>
              </a:cxn>
              <a:cxn ang="0">
                <a:pos x="0" y="100"/>
              </a:cxn>
            </a:cxnLst>
            <a:rect l="0" t="0" r="r" b="b"/>
            <a:pathLst>
              <a:path w="88" h="132">
                <a:moveTo>
                  <a:pt x="0" y="100"/>
                </a:moveTo>
                <a:lnTo>
                  <a:pt x="6" y="36"/>
                </a:lnTo>
                <a:lnTo>
                  <a:pt x="76" y="0"/>
                </a:lnTo>
                <a:lnTo>
                  <a:pt x="64" y="51"/>
                </a:lnTo>
                <a:lnTo>
                  <a:pt x="88" y="66"/>
                </a:lnTo>
                <a:lnTo>
                  <a:pt x="44" y="95"/>
                </a:lnTo>
                <a:lnTo>
                  <a:pt x="43" y="132"/>
                </a:lnTo>
                <a:lnTo>
                  <a:pt x="17" y="132"/>
                </a:lnTo>
                <a:lnTo>
                  <a:pt x="0" y="10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7" name="30451277.12539311.8755">
            <a:extLst>
              <a:ext uri="{FF2B5EF4-FFF2-40B4-BE49-F238E27FC236}">
                <a16:creationId xmlns:a16="http://schemas.microsoft.com/office/drawing/2014/main" id="{5EF019D4-B474-9B47-B134-89D1D3E79FB1}"/>
              </a:ext>
            </a:extLst>
          </p:cNvPr>
          <p:cNvSpPr>
            <a:spLocks noChangeAspect="1"/>
          </p:cNvSpPr>
          <p:nvPr/>
        </p:nvSpPr>
        <p:spPr bwMode="gray">
          <a:xfrm>
            <a:off x="5972215" y="2785251"/>
            <a:ext cx="30433" cy="18502"/>
          </a:xfrm>
          <a:custGeom>
            <a:avLst/>
            <a:gdLst/>
            <a:ahLst/>
            <a:cxnLst>
              <a:cxn ang="0">
                <a:pos x="0" y="16"/>
              </a:cxn>
              <a:cxn ang="0">
                <a:pos x="25" y="0"/>
              </a:cxn>
              <a:cxn ang="0">
                <a:pos x="32" y="11"/>
              </a:cxn>
              <a:cxn ang="0">
                <a:pos x="0" y="16"/>
              </a:cxn>
            </a:cxnLst>
            <a:rect l="0" t="0" r="r" b="b"/>
            <a:pathLst>
              <a:path w="32" h="16">
                <a:moveTo>
                  <a:pt x="0" y="16"/>
                </a:moveTo>
                <a:lnTo>
                  <a:pt x="25" y="0"/>
                </a:lnTo>
                <a:lnTo>
                  <a:pt x="32" y="11"/>
                </a:lnTo>
                <a:lnTo>
                  <a:pt x="0" y="1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8" name="30452275.5395.253.2535">
            <a:extLst>
              <a:ext uri="{FF2B5EF4-FFF2-40B4-BE49-F238E27FC236}">
                <a16:creationId xmlns:a16="http://schemas.microsoft.com/office/drawing/2014/main" id="{430EE4A7-1821-B548-8990-DB40B886B349}"/>
              </a:ext>
            </a:extLst>
          </p:cNvPr>
          <p:cNvSpPr>
            <a:spLocks noChangeAspect="1"/>
          </p:cNvSpPr>
          <p:nvPr/>
        </p:nvSpPr>
        <p:spPr bwMode="gray">
          <a:xfrm>
            <a:off x="6010257" y="2760019"/>
            <a:ext cx="47550" cy="52141"/>
          </a:xfrm>
          <a:custGeom>
            <a:avLst/>
            <a:gdLst/>
            <a:ahLst/>
            <a:cxnLst>
              <a:cxn ang="0">
                <a:pos x="0" y="29"/>
              </a:cxn>
              <a:cxn ang="0">
                <a:pos x="39" y="56"/>
              </a:cxn>
              <a:cxn ang="0">
                <a:pos x="53" y="27"/>
              </a:cxn>
              <a:cxn ang="0">
                <a:pos x="43" y="0"/>
              </a:cxn>
              <a:cxn ang="0">
                <a:pos x="0" y="29"/>
              </a:cxn>
            </a:cxnLst>
            <a:rect l="0" t="0" r="r" b="b"/>
            <a:pathLst>
              <a:path w="53" h="56">
                <a:moveTo>
                  <a:pt x="0" y="29"/>
                </a:moveTo>
                <a:lnTo>
                  <a:pt x="39" y="56"/>
                </a:lnTo>
                <a:lnTo>
                  <a:pt x="53" y="27"/>
                </a:lnTo>
                <a:lnTo>
                  <a:pt x="43" y="0"/>
                </a:lnTo>
                <a:lnTo>
                  <a:pt x="0" y="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39" name="30457234.75413.12530.7520.55">
            <a:extLst>
              <a:ext uri="{FF2B5EF4-FFF2-40B4-BE49-F238E27FC236}">
                <a16:creationId xmlns:a16="http://schemas.microsoft.com/office/drawing/2014/main" id="{A8A765B4-5BD1-734F-A69F-2DA38ABDB98F}"/>
              </a:ext>
            </a:extLst>
          </p:cNvPr>
          <p:cNvSpPr>
            <a:spLocks noChangeAspect="1"/>
          </p:cNvSpPr>
          <p:nvPr/>
        </p:nvSpPr>
        <p:spPr bwMode="gray">
          <a:xfrm>
            <a:off x="6295559" y="2098998"/>
            <a:ext cx="329046" cy="499550"/>
          </a:xfrm>
          <a:custGeom>
            <a:avLst/>
            <a:gdLst/>
            <a:ahLst/>
            <a:cxnLst>
              <a:cxn ang="0">
                <a:pos x="0" y="57"/>
              </a:cxn>
              <a:cxn ang="0">
                <a:pos x="24" y="40"/>
              </a:cxn>
              <a:cxn ang="0">
                <a:pos x="62" y="73"/>
              </a:cxn>
              <a:cxn ang="0">
                <a:pos x="132" y="79"/>
              </a:cxn>
              <a:cxn ang="0">
                <a:pos x="172" y="58"/>
              </a:cxn>
              <a:cxn ang="0">
                <a:pos x="183" y="13"/>
              </a:cxn>
              <a:cxn ang="0">
                <a:pos x="249" y="0"/>
              </a:cxn>
              <a:cxn ang="0">
                <a:pos x="285" y="18"/>
              </a:cxn>
              <a:cxn ang="0">
                <a:pos x="281" y="57"/>
              </a:cxn>
              <a:cxn ang="0">
                <a:pos x="267" y="95"/>
              </a:cxn>
              <a:cxn ang="0">
                <a:pos x="314" y="142"/>
              </a:cxn>
              <a:cxn ang="0">
                <a:pos x="286" y="177"/>
              </a:cxn>
              <a:cxn ang="0">
                <a:pos x="321" y="237"/>
              </a:cxn>
              <a:cxn ang="0">
                <a:pos x="307" y="291"/>
              </a:cxn>
              <a:cxn ang="0">
                <a:pos x="363" y="405"/>
              </a:cxn>
              <a:cxn ang="0">
                <a:pos x="235" y="512"/>
              </a:cxn>
              <a:cxn ang="0">
                <a:pos x="81" y="547"/>
              </a:cxn>
              <a:cxn ang="0">
                <a:pos x="73" y="525"/>
              </a:cxn>
              <a:cxn ang="0">
                <a:pos x="24" y="508"/>
              </a:cxn>
              <a:cxn ang="0">
                <a:pos x="17" y="402"/>
              </a:cxn>
              <a:cxn ang="0">
                <a:pos x="164" y="287"/>
              </a:cxn>
              <a:cxn ang="0">
                <a:pos x="116" y="230"/>
              </a:cxn>
              <a:cxn ang="0">
                <a:pos x="98" y="116"/>
              </a:cxn>
              <a:cxn ang="0">
                <a:pos x="0" y="57"/>
              </a:cxn>
            </a:cxnLst>
            <a:rect l="0" t="0" r="r" b="b"/>
            <a:pathLst>
              <a:path w="363" h="547">
                <a:moveTo>
                  <a:pt x="0" y="57"/>
                </a:moveTo>
                <a:lnTo>
                  <a:pt x="24" y="40"/>
                </a:lnTo>
                <a:lnTo>
                  <a:pt x="62" y="73"/>
                </a:lnTo>
                <a:lnTo>
                  <a:pt x="132" y="79"/>
                </a:lnTo>
                <a:lnTo>
                  <a:pt x="172" y="58"/>
                </a:lnTo>
                <a:lnTo>
                  <a:pt x="183" y="13"/>
                </a:lnTo>
                <a:lnTo>
                  <a:pt x="249" y="0"/>
                </a:lnTo>
                <a:lnTo>
                  <a:pt x="285" y="18"/>
                </a:lnTo>
                <a:lnTo>
                  <a:pt x="281" y="57"/>
                </a:lnTo>
                <a:lnTo>
                  <a:pt x="267" y="95"/>
                </a:lnTo>
                <a:lnTo>
                  <a:pt x="314" y="142"/>
                </a:lnTo>
                <a:lnTo>
                  <a:pt x="286" y="177"/>
                </a:lnTo>
                <a:lnTo>
                  <a:pt x="321" y="237"/>
                </a:lnTo>
                <a:lnTo>
                  <a:pt x="307" y="291"/>
                </a:lnTo>
                <a:lnTo>
                  <a:pt x="363" y="405"/>
                </a:lnTo>
                <a:lnTo>
                  <a:pt x="235" y="512"/>
                </a:lnTo>
                <a:lnTo>
                  <a:pt x="81" y="547"/>
                </a:lnTo>
                <a:lnTo>
                  <a:pt x="73" y="525"/>
                </a:lnTo>
                <a:lnTo>
                  <a:pt x="24" y="508"/>
                </a:lnTo>
                <a:lnTo>
                  <a:pt x="17" y="402"/>
                </a:lnTo>
                <a:lnTo>
                  <a:pt x="164" y="287"/>
                </a:lnTo>
                <a:lnTo>
                  <a:pt x="116" y="230"/>
                </a:lnTo>
                <a:lnTo>
                  <a:pt x="98" y="116"/>
                </a:lnTo>
                <a:lnTo>
                  <a:pt x="0" y="5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0" name="30458288.625365.87520.523.6255">
            <a:extLst>
              <a:ext uri="{FF2B5EF4-FFF2-40B4-BE49-F238E27FC236}">
                <a16:creationId xmlns:a16="http://schemas.microsoft.com/office/drawing/2014/main" id="{20511721-E8AD-684E-9C19-CB5AA62580B0}"/>
              </a:ext>
            </a:extLst>
          </p:cNvPr>
          <p:cNvSpPr>
            <a:spLocks noChangeAspect="1"/>
          </p:cNvSpPr>
          <p:nvPr/>
        </p:nvSpPr>
        <p:spPr bwMode="gray">
          <a:xfrm>
            <a:off x="5538559" y="2973634"/>
            <a:ext cx="380401" cy="333033"/>
          </a:xfrm>
          <a:custGeom>
            <a:avLst/>
            <a:gdLst/>
            <a:ahLst/>
            <a:cxnLst>
              <a:cxn ang="0">
                <a:pos x="0" y="111"/>
              </a:cxn>
              <a:cxn ang="0">
                <a:pos x="14" y="143"/>
              </a:cxn>
              <a:cxn ang="0">
                <a:pos x="100" y="165"/>
              </a:cxn>
              <a:cxn ang="0">
                <a:pos x="87" y="183"/>
              </a:cxn>
              <a:cxn ang="0">
                <a:pos x="118" y="206"/>
              </a:cxn>
              <a:cxn ang="0">
                <a:pos x="132" y="248"/>
              </a:cxn>
              <a:cxn ang="0">
                <a:pos x="95" y="325"/>
              </a:cxn>
              <a:cxn ang="0">
                <a:pos x="199" y="355"/>
              </a:cxn>
              <a:cxn ang="0">
                <a:pos x="210" y="359"/>
              </a:cxn>
              <a:cxn ang="0">
                <a:pos x="260" y="365"/>
              </a:cxn>
              <a:cxn ang="0">
                <a:pos x="260" y="334"/>
              </a:cxn>
              <a:cxn ang="0">
                <a:pos x="287" y="318"/>
              </a:cxn>
              <a:cxn ang="0">
                <a:pos x="357" y="337"/>
              </a:cxn>
              <a:cxn ang="0">
                <a:pos x="401" y="307"/>
              </a:cxn>
              <a:cxn ang="0">
                <a:pos x="375" y="263"/>
              </a:cxn>
              <a:cxn ang="0">
                <a:pos x="385" y="220"/>
              </a:cxn>
              <a:cxn ang="0">
                <a:pos x="352" y="197"/>
              </a:cxn>
              <a:cxn ang="0">
                <a:pos x="401" y="147"/>
              </a:cxn>
              <a:cxn ang="0">
                <a:pos x="421" y="92"/>
              </a:cxn>
              <a:cxn ang="0">
                <a:pos x="359" y="69"/>
              </a:cxn>
              <a:cxn ang="0">
                <a:pos x="342" y="63"/>
              </a:cxn>
              <a:cxn ang="0">
                <a:pos x="246" y="0"/>
              </a:cxn>
              <a:cxn ang="0">
                <a:pos x="213" y="11"/>
              </a:cxn>
              <a:cxn ang="0">
                <a:pos x="175" y="72"/>
              </a:cxn>
              <a:cxn ang="0">
                <a:pos x="94" y="61"/>
              </a:cxn>
              <a:cxn ang="0">
                <a:pos x="106" y="109"/>
              </a:cxn>
              <a:cxn ang="0">
                <a:pos x="0" y="111"/>
              </a:cxn>
            </a:cxnLst>
            <a:rect l="0" t="0" r="r" b="b"/>
            <a:pathLst>
              <a:path w="421" h="365">
                <a:moveTo>
                  <a:pt x="0" y="111"/>
                </a:moveTo>
                <a:lnTo>
                  <a:pt x="14" y="143"/>
                </a:lnTo>
                <a:lnTo>
                  <a:pt x="100" y="165"/>
                </a:lnTo>
                <a:lnTo>
                  <a:pt x="87" y="183"/>
                </a:lnTo>
                <a:lnTo>
                  <a:pt x="118" y="206"/>
                </a:lnTo>
                <a:lnTo>
                  <a:pt x="132" y="248"/>
                </a:lnTo>
                <a:lnTo>
                  <a:pt x="95" y="325"/>
                </a:lnTo>
                <a:lnTo>
                  <a:pt x="199" y="355"/>
                </a:lnTo>
                <a:lnTo>
                  <a:pt x="210" y="359"/>
                </a:lnTo>
                <a:lnTo>
                  <a:pt x="260" y="365"/>
                </a:lnTo>
                <a:lnTo>
                  <a:pt x="260" y="334"/>
                </a:lnTo>
                <a:lnTo>
                  <a:pt x="287" y="318"/>
                </a:lnTo>
                <a:lnTo>
                  <a:pt x="357" y="337"/>
                </a:lnTo>
                <a:lnTo>
                  <a:pt x="401" y="307"/>
                </a:lnTo>
                <a:lnTo>
                  <a:pt x="375" y="263"/>
                </a:lnTo>
                <a:lnTo>
                  <a:pt x="385" y="220"/>
                </a:lnTo>
                <a:lnTo>
                  <a:pt x="352" y="197"/>
                </a:lnTo>
                <a:lnTo>
                  <a:pt x="401" y="147"/>
                </a:lnTo>
                <a:lnTo>
                  <a:pt x="421" y="92"/>
                </a:lnTo>
                <a:lnTo>
                  <a:pt x="359" y="69"/>
                </a:lnTo>
                <a:lnTo>
                  <a:pt x="342" y="63"/>
                </a:lnTo>
                <a:lnTo>
                  <a:pt x="246" y="0"/>
                </a:lnTo>
                <a:lnTo>
                  <a:pt x="213" y="11"/>
                </a:lnTo>
                <a:lnTo>
                  <a:pt x="175" y="72"/>
                </a:lnTo>
                <a:lnTo>
                  <a:pt x="94" y="61"/>
                </a:lnTo>
                <a:lnTo>
                  <a:pt x="106" y="109"/>
                </a:lnTo>
                <a:lnTo>
                  <a:pt x="0" y="11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1" name="30459307.625390.53.8751.55">
            <a:extLst>
              <a:ext uri="{FF2B5EF4-FFF2-40B4-BE49-F238E27FC236}">
                <a16:creationId xmlns:a16="http://schemas.microsoft.com/office/drawing/2014/main" id="{95175401-7E38-8140-AC2B-944565BFF126}"/>
              </a:ext>
            </a:extLst>
          </p:cNvPr>
          <p:cNvSpPr>
            <a:spLocks noChangeAspect="1"/>
          </p:cNvSpPr>
          <p:nvPr/>
        </p:nvSpPr>
        <p:spPr bwMode="gray">
          <a:xfrm>
            <a:off x="5934176" y="3279759"/>
            <a:ext cx="20922" cy="65597"/>
          </a:xfrm>
          <a:custGeom>
            <a:avLst/>
            <a:gdLst/>
            <a:ahLst/>
            <a:cxnLst>
              <a:cxn ang="0">
                <a:pos x="0" y="34"/>
              </a:cxn>
              <a:cxn ang="0">
                <a:pos x="24" y="69"/>
              </a:cxn>
              <a:cxn ang="0">
                <a:pos x="27" y="0"/>
              </a:cxn>
              <a:cxn ang="0">
                <a:pos x="0" y="34"/>
              </a:cxn>
            </a:cxnLst>
            <a:rect l="0" t="0" r="r" b="b"/>
            <a:pathLst>
              <a:path w="27" h="69">
                <a:moveTo>
                  <a:pt x="0" y="34"/>
                </a:moveTo>
                <a:lnTo>
                  <a:pt x="24" y="69"/>
                </a:lnTo>
                <a:lnTo>
                  <a:pt x="27" y="0"/>
                </a:lnTo>
                <a:lnTo>
                  <a:pt x="0" y="3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2" name="30461279385.62518.2516.255">
            <a:extLst>
              <a:ext uri="{FF2B5EF4-FFF2-40B4-BE49-F238E27FC236}">
                <a16:creationId xmlns:a16="http://schemas.microsoft.com/office/drawing/2014/main" id="{FEFCE199-6856-5B4A-8ABA-44578CF99841}"/>
              </a:ext>
            </a:extLst>
          </p:cNvPr>
          <p:cNvSpPr>
            <a:spLocks noChangeAspect="1"/>
          </p:cNvSpPr>
          <p:nvPr/>
        </p:nvSpPr>
        <p:spPr bwMode="gray">
          <a:xfrm>
            <a:off x="5854293" y="2818890"/>
            <a:ext cx="260575" cy="294349"/>
          </a:xfrm>
          <a:custGeom>
            <a:avLst/>
            <a:gdLst/>
            <a:ahLst/>
            <a:cxnLst>
              <a:cxn ang="0">
                <a:pos x="0" y="133"/>
              </a:cxn>
              <a:cxn ang="0">
                <a:pos x="1" y="186"/>
              </a:cxn>
              <a:cxn ang="0">
                <a:pos x="4" y="210"/>
              </a:cxn>
              <a:cxn ang="0">
                <a:pos x="8" y="238"/>
              </a:cxn>
              <a:cxn ang="0">
                <a:pos x="70" y="261"/>
              </a:cxn>
              <a:cxn ang="0">
                <a:pos x="50" y="316"/>
              </a:cxn>
              <a:cxn ang="0">
                <a:pos x="115" y="323"/>
              </a:cxn>
              <a:cxn ang="0">
                <a:pos x="228" y="322"/>
              </a:cxn>
              <a:cxn ang="0">
                <a:pos x="258" y="269"/>
              </a:cxn>
              <a:cxn ang="0">
                <a:pos x="197" y="203"/>
              </a:cxn>
              <a:cxn ang="0">
                <a:pos x="270" y="168"/>
              </a:cxn>
              <a:cxn ang="0">
                <a:pos x="289" y="179"/>
              </a:cxn>
              <a:cxn ang="0">
                <a:pos x="270" y="49"/>
              </a:cxn>
              <a:cxn ang="0">
                <a:pos x="217" y="18"/>
              </a:cxn>
              <a:cxn ang="0">
                <a:pos x="158" y="40"/>
              </a:cxn>
              <a:cxn ang="0">
                <a:pos x="166" y="25"/>
              </a:cxn>
              <a:cxn ang="0">
                <a:pos x="115" y="0"/>
              </a:cxn>
              <a:cxn ang="0">
                <a:pos x="89" y="0"/>
              </a:cxn>
              <a:cxn ang="0">
                <a:pos x="87" y="71"/>
              </a:cxn>
              <a:cxn ang="0">
                <a:pos x="57" y="52"/>
              </a:cxn>
              <a:cxn ang="0">
                <a:pos x="39" y="74"/>
              </a:cxn>
              <a:cxn ang="0">
                <a:pos x="34" y="117"/>
              </a:cxn>
              <a:cxn ang="0">
                <a:pos x="0" y="133"/>
              </a:cxn>
            </a:cxnLst>
            <a:rect l="0" t="0" r="r" b="b"/>
            <a:pathLst>
              <a:path w="289" h="323">
                <a:moveTo>
                  <a:pt x="0" y="133"/>
                </a:moveTo>
                <a:lnTo>
                  <a:pt x="1" y="186"/>
                </a:lnTo>
                <a:lnTo>
                  <a:pt x="4" y="210"/>
                </a:lnTo>
                <a:lnTo>
                  <a:pt x="8" y="238"/>
                </a:lnTo>
                <a:lnTo>
                  <a:pt x="70" y="261"/>
                </a:lnTo>
                <a:lnTo>
                  <a:pt x="50" y="316"/>
                </a:lnTo>
                <a:lnTo>
                  <a:pt x="115" y="323"/>
                </a:lnTo>
                <a:lnTo>
                  <a:pt x="228" y="322"/>
                </a:lnTo>
                <a:lnTo>
                  <a:pt x="258" y="269"/>
                </a:lnTo>
                <a:lnTo>
                  <a:pt x="197" y="203"/>
                </a:lnTo>
                <a:lnTo>
                  <a:pt x="270" y="168"/>
                </a:lnTo>
                <a:lnTo>
                  <a:pt x="289" y="179"/>
                </a:lnTo>
                <a:lnTo>
                  <a:pt x="270" y="49"/>
                </a:lnTo>
                <a:lnTo>
                  <a:pt x="217" y="18"/>
                </a:lnTo>
                <a:lnTo>
                  <a:pt x="158" y="40"/>
                </a:lnTo>
                <a:lnTo>
                  <a:pt x="166" y="25"/>
                </a:lnTo>
                <a:lnTo>
                  <a:pt x="115" y="0"/>
                </a:lnTo>
                <a:lnTo>
                  <a:pt x="89" y="0"/>
                </a:lnTo>
                <a:lnTo>
                  <a:pt x="87" y="71"/>
                </a:lnTo>
                <a:lnTo>
                  <a:pt x="57" y="52"/>
                </a:lnTo>
                <a:lnTo>
                  <a:pt x="39" y="74"/>
                </a:lnTo>
                <a:lnTo>
                  <a:pt x="34" y="117"/>
                </a:lnTo>
                <a:lnTo>
                  <a:pt x="0" y="133"/>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3" name="30462310.375412.2511.87511.8755">
            <a:extLst>
              <a:ext uri="{FF2B5EF4-FFF2-40B4-BE49-F238E27FC236}">
                <a16:creationId xmlns:a16="http://schemas.microsoft.com/office/drawing/2014/main" id="{6C7AD30A-F084-FB4E-B692-C83A94C5B0B8}"/>
              </a:ext>
            </a:extLst>
          </p:cNvPr>
          <p:cNvSpPr>
            <a:spLocks noChangeAspect="1"/>
          </p:cNvSpPr>
          <p:nvPr/>
        </p:nvSpPr>
        <p:spPr bwMode="gray">
          <a:xfrm>
            <a:off x="6282243" y="3323489"/>
            <a:ext cx="190202" cy="193429"/>
          </a:xfrm>
          <a:custGeom>
            <a:avLst/>
            <a:gdLst/>
            <a:ahLst/>
            <a:cxnLst>
              <a:cxn ang="0">
                <a:pos x="0" y="83"/>
              </a:cxn>
              <a:cxn ang="0">
                <a:pos x="29" y="37"/>
              </a:cxn>
              <a:cxn ang="0">
                <a:pos x="94" y="19"/>
              </a:cxn>
              <a:cxn ang="0">
                <a:pos x="177" y="20"/>
              </a:cxn>
              <a:cxn ang="0">
                <a:pos x="209" y="0"/>
              </a:cxn>
              <a:cxn ang="0">
                <a:pos x="198" y="44"/>
              </a:cxn>
              <a:cxn ang="0">
                <a:pos x="141" y="34"/>
              </a:cxn>
              <a:cxn ang="0">
                <a:pos x="112" y="71"/>
              </a:cxn>
              <a:cxn ang="0">
                <a:pos x="82" y="50"/>
              </a:cxn>
              <a:cxn ang="0">
                <a:pos x="104" y="105"/>
              </a:cxn>
              <a:cxn ang="0">
                <a:pos x="77" y="116"/>
              </a:cxn>
              <a:cxn ang="0">
                <a:pos x="129" y="140"/>
              </a:cxn>
              <a:cxn ang="0">
                <a:pos x="129" y="162"/>
              </a:cxn>
              <a:cxn ang="0">
                <a:pos x="86" y="169"/>
              </a:cxn>
              <a:cxn ang="0">
                <a:pos x="100" y="209"/>
              </a:cxn>
              <a:cxn ang="0">
                <a:pos x="49" y="195"/>
              </a:cxn>
              <a:cxn ang="0">
                <a:pos x="34" y="158"/>
              </a:cxn>
              <a:cxn ang="0">
                <a:pos x="101" y="143"/>
              </a:cxn>
              <a:cxn ang="0">
                <a:pos x="34" y="137"/>
              </a:cxn>
              <a:cxn ang="0">
                <a:pos x="0" y="83"/>
              </a:cxn>
            </a:cxnLst>
            <a:rect l="0" t="0" r="r" b="b"/>
            <a:pathLst>
              <a:path w="209" h="209">
                <a:moveTo>
                  <a:pt x="0" y="83"/>
                </a:moveTo>
                <a:lnTo>
                  <a:pt x="29" y="37"/>
                </a:lnTo>
                <a:lnTo>
                  <a:pt x="94" y="19"/>
                </a:lnTo>
                <a:lnTo>
                  <a:pt x="177" y="20"/>
                </a:lnTo>
                <a:lnTo>
                  <a:pt x="209" y="0"/>
                </a:lnTo>
                <a:lnTo>
                  <a:pt x="198" y="44"/>
                </a:lnTo>
                <a:lnTo>
                  <a:pt x="141" y="34"/>
                </a:lnTo>
                <a:lnTo>
                  <a:pt x="112" y="71"/>
                </a:lnTo>
                <a:lnTo>
                  <a:pt x="82" y="50"/>
                </a:lnTo>
                <a:lnTo>
                  <a:pt x="104" y="105"/>
                </a:lnTo>
                <a:lnTo>
                  <a:pt x="77" y="116"/>
                </a:lnTo>
                <a:lnTo>
                  <a:pt x="129" y="140"/>
                </a:lnTo>
                <a:lnTo>
                  <a:pt x="129" y="162"/>
                </a:lnTo>
                <a:lnTo>
                  <a:pt x="86" y="169"/>
                </a:lnTo>
                <a:lnTo>
                  <a:pt x="100" y="209"/>
                </a:lnTo>
                <a:lnTo>
                  <a:pt x="49" y="195"/>
                </a:lnTo>
                <a:lnTo>
                  <a:pt x="34" y="158"/>
                </a:lnTo>
                <a:lnTo>
                  <a:pt x="101" y="143"/>
                </a:lnTo>
                <a:lnTo>
                  <a:pt x="34" y="137"/>
                </a:lnTo>
                <a:lnTo>
                  <a:pt x="0" y="8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4" name="30463324.125418.6250.755.55">
            <a:extLst>
              <a:ext uri="{FF2B5EF4-FFF2-40B4-BE49-F238E27FC236}">
                <a16:creationId xmlns:a16="http://schemas.microsoft.com/office/drawing/2014/main" id="{C3B9A058-086E-4542-884B-598F1EF55746}"/>
              </a:ext>
            </a:extLst>
          </p:cNvPr>
          <p:cNvSpPr>
            <a:spLocks noChangeAspect="1"/>
          </p:cNvSpPr>
          <p:nvPr/>
        </p:nvSpPr>
        <p:spPr bwMode="gray">
          <a:xfrm>
            <a:off x="6383048" y="3547195"/>
            <a:ext cx="89394" cy="11775"/>
          </a:xfrm>
          <a:custGeom>
            <a:avLst/>
            <a:gdLst/>
            <a:ahLst/>
            <a:cxnLst>
              <a:cxn ang="0">
                <a:pos x="0" y="14"/>
              </a:cxn>
              <a:cxn ang="0">
                <a:pos x="8" y="0"/>
              </a:cxn>
              <a:cxn ang="0">
                <a:pos x="98" y="14"/>
              </a:cxn>
              <a:cxn ang="0">
                <a:pos x="32" y="14"/>
              </a:cxn>
              <a:cxn ang="0">
                <a:pos x="0" y="14"/>
              </a:cxn>
            </a:cxnLst>
            <a:rect l="0" t="0" r="r" b="b"/>
            <a:pathLst>
              <a:path w="98" h="14">
                <a:moveTo>
                  <a:pt x="0" y="14"/>
                </a:moveTo>
                <a:lnTo>
                  <a:pt x="8" y="0"/>
                </a:lnTo>
                <a:lnTo>
                  <a:pt x="98" y="14"/>
                </a:lnTo>
                <a:lnTo>
                  <a:pt x="32" y="14"/>
                </a:lnTo>
                <a:lnTo>
                  <a:pt x="0" y="1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5" name="30470314.625457.530.875365">
            <a:extLst>
              <a:ext uri="{FF2B5EF4-FFF2-40B4-BE49-F238E27FC236}">
                <a16:creationId xmlns:a16="http://schemas.microsoft.com/office/drawing/2014/main" id="{A24EB226-1D4F-C647-8525-DD454AD4710A}"/>
              </a:ext>
            </a:extLst>
          </p:cNvPr>
          <p:cNvSpPr>
            <a:spLocks noChangeAspect="1"/>
          </p:cNvSpPr>
          <p:nvPr/>
        </p:nvSpPr>
        <p:spPr bwMode="gray">
          <a:xfrm>
            <a:off x="7006907" y="3395815"/>
            <a:ext cx="578209" cy="499553"/>
          </a:xfrm>
          <a:custGeom>
            <a:avLst/>
            <a:gdLst/>
            <a:ahLst/>
            <a:cxnLst>
              <a:cxn ang="0">
                <a:pos x="0" y="18"/>
              </a:cxn>
              <a:cxn ang="0">
                <a:pos x="17" y="0"/>
              </a:cxn>
              <a:cxn ang="0">
                <a:pos x="66" y="41"/>
              </a:cxn>
              <a:cxn ang="0">
                <a:pos x="127" y="8"/>
              </a:cxn>
              <a:cxn ang="0">
                <a:pos x="132" y="40"/>
              </a:cxn>
              <a:cxn ang="0">
                <a:pos x="160" y="51"/>
              </a:cxn>
              <a:cxn ang="0">
                <a:pos x="167" y="87"/>
              </a:cxn>
              <a:cxn ang="0">
                <a:pos x="255" y="125"/>
              </a:cxn>
              <a:cxn ang="0">
                <a:pos x="336" y="114"/>
              </a:cxn>
              <a:cxn ang="0">
                <a:pos x="329" y="94"/>
              </a:cxn>
              <a:cxn ang="0">
                <a:pos x="433" y="58"/>
              </a:cxn>
              <a:cxn ang="0">
                <a:pos x="569" y="120"/>
              </a:cxn>
              <a:cxn ang="0">
                <a:pos x="574" y="154"/>
              </a:cxn>
              <a:cxn ang="0">
                <a:pos x="550" y="218"/>
              </a:cxn>
              <a:cxn ang="0">
                <a:pos x="554" y="306"/>
              </a:cxn>
              <a:cxn ang="0">
                <a:pos x="589" y="332"/>
              </a:cxn>
              <a:cxn ang="0">
                <a:pos x="561" y="377"/>
              </a:cxn>
              <a:cxn ang="0">
                <a:pos x="640" y="476"/>
              </a:cxn>
              <a:cxn ang="0">
                <a:pos x="587" y="546"/>
              </a:cxn>
              <a:cxn ang="0">
                <a:pos x="444" y="523"/>
              </a:cxn>
              <a:cxn ang="0">
                <a:pos x="413" y="478"/>
              </a:cxn>
              <a:cxn ang="0">
                <a:pos x="315" y="493"/>
              </a:cxn>
              <a:cxn ang="0">
                <a:pos x="244" y="450"/>
              </a:cxn>
              <a:cxn ang="0">
                <a:pos x="196" y="366"/>
              </a:cxn>
              <a:cxn ang="0">
                <a:pos x="159" y="352"/>
              </a:cxn>
              <a:cxn ang="0">
                <a:pos x="149" y="370"/>
              </a:cxn>
              <a:cxn ang="0">
                <a:pos x="105" y="285"/>
              </a:cxn>
              <a:cxn ang="0">
                <a:pos x="43" y="234"/>
              </a:cxn>
              <a:cxn ang="0">
                <a:pos x="72" y="154"/>
              </a:cxn>
              <a:cxn ang="0">
                <a:pos x="46" y="145"/>
              </a:cxn>
              <a:cxn ang="0">
                <a:pos x="22" y="102"/>
              </a:cxn>
              <a:cxn ang="0">
                <a:pos x="0" y="18"/>
              </a:cxn>
            </a:cxnLst>
            <a:rect l="0" t="0" r="r" b="b"/>
            <a:pathLst>
              <a:path w="640" h="546">
                <a:moveTo>
                  <a:pt x="0" y="18"/>
                </a:moveTo>
                <a:lnTo>
                  <a:pt x="17" y="0"/>
                </a:lnTo>
                <a:lnTo>
                  <a:pt x="66" y="41"/>
                </a:lnTo>
                <a:lnTo>
                  <a:pt x="127" y="8"/>
                </a:lnTo>
                <a:lnTo>
                  <a:pt x="132" y="40"/>
                </a:lnTo>
                <a:lnTo>
                  <a:pt x="160" y="51"/>
                </a:lnTo>
                <a:lnTo>
                  <a:pt x="167" y="87"/>
                </a:lnTo>
                <a:lnTo>
                  <a:pt x="255" y="125"/>
                </a:lnTo>
                <a:lnTo>
                  <a:pt x="336" y="114"/>
                </a:lnTo>
                <a:lnTo>
                  <a:pt x="329" y="94"/>
                </a:lnTo>
                <a:lnTo>
                  <a:pt x="433" y="58"/>
                </a:lnTo>
                <a:lnTo>
                  <a:pt x="569" y="120"/>
                </a:lnTo>
                <a:lnTo>
                  <a:pt x="574" y="154"/>
                </a:lnTo>
                <a:lnTo>
                  <a:pt x="550" y="218"/>
                </a:lnTo>
                <a:lnTo>
                  <a:pt x="554" y="306"/>
                </a:lnTo>
                <a:lnTo>
                  <a:pt x="589" y="332"/>
                </a:lnTo>
                <a:lnTo>
                  <a:pt x="561" y="377"/>
                </a:lnTo>
                <a:lnTo>
                  <a:pt x="640" y="476"/>
                </a:lnTo>
                <a:lnTo>
                  <a:pt x="587" y="546"/>
                </a:lnTo>
                <a:lnTo>
                  <a:pt x="444" y="523"/>
                </a:lnTo>
                <a:lnTo>
                  <a:pt x="413" y="478"/>
                </a:lnTo>
                <a:lnTo>
                  <a:pt x="315" y="493"/>
                </a:lnTo>
                <a:lnTo>
                  <a:pt x="244" y="450"/>
                </a:lnTo>
                <a:lnTo>
                  <a:pt x="196" y="366"/>
                </a:lnTo>
                <a:lnTo>
                  <a:pt x="159" y="352"/>
                </a:lnTo>
                <a:lnTo>
                  <a:pt x="149" y="370"/>
                </a:lnTo>
                <a:lnTo>
                  <a:pt x="105" y="285"/>
                </a:lnTo>
                <a:lnTo>
                  <a:pt x="43" y="234"/>
                </a:lnTo>
                <a:lnTo>
                  <a:pt x="72" y="154"/>
                </a:lnTo>
                <a:lnTo>
                  <a:pt x="46" y="145"/>
                </a:lnTo>
                <a:lnTo>
                  <a:pt x="22" y="102"/>
                </a:lnTo>
                <a:lnTo>
                  <a:pt x="0" y="18"/>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6" name="30471320.375447.12517.12518.6255">
            <a:extLst>
              <a:ext uri="{FF2B5EF4-FFF2-40B4-BE49-F238E27FC236}">
                <a16:creationId xmlns:a16="http://schemas.microsoft.com/office/drawing/2014/main" id="{4AC5BDFE-454A-FB44-8303-1480A9E722A1}"/>
              </a:ext>
            </a:extLst>
          </p:cNvPr>
          <p:cNvSpPr>
            <a:spLocks noChangeAspect="1"/>
          </p:cNvSpPr>
          <p:nvPr/>
        </p:nvSpPr>
        <p:spPr bwMode="gray">
          <a:xfrm>
            <a:off x="6841431" y="3488325"/>
            <a:ext cx="298617" cy="275847"/>
          </a:xfrm>
          <a:custGeom>
            <a:avLst/>
            <a:gdLst/>
            <a:ahLst/>
            <a:cxnLst>
              <a:cxn ang="0">
                <a:pos x="0" y="147"/>
              </a:cxn>
              <a:cxn ang="0">
                <a:pos x="16" y="190"/>
              </a:cxn>
              <a:cxn ang="0">
                <a:pos x="166" y="257"/>
              </a:cxn>
              <a:cxn ang="0">
                <a:pos x="167" y="282"/>
              </a:cxn>
              <a:cxn ang="0">
                <a:pos x="203" y="298"/>
              </a:cxn>
              <a:cxn ang="0">
                <a:pos x="264" y="303"/>
              </a:cxn>
              <a:cxn ang="0">
                <a:pos x="313" y="271"/>
              </a:cxn>
              <a:cxn ang="0">
                <a:pos x="331" y="268"/>
              </a:cxn>
              <a:cxn ang="0">
                <a:pos x="287" y="183"/>
              </a:cxn>
              <a:cxn ang="0">
                <a:pos x="225" y="132"/>
              </a:cxn>
              <a:cxn ang="0">
                <a:pos x="254" y="52"/>
              </a:cxn>
              <a:cxn ang="0">
                <a:pos x="228" y="43"/>
              </a:cxn>
              <a:cxn ang="0">
                <a:pos x="204" y="0"/>
              </a:cxn>
              <a:cxn ang="0">
                <a:pos x="130" y="3"/>
              </a:cxn>
              <a:cxn ang="0">
                <a:pos x="93" y="30"/>
              </a:cxn>
              <a:cxn ang="0">
                <a:pos x="81" y="103"/>
              </a:cxn>
              <a:cxn ang="0">
                <a:pos x="0" y="147"/>
              </a:cxn>
            </a:cxnLst>
            <a:rect l="0" t="0" r="r" b="b"/>
            <a:pathLst>
              <a:path w="331" h="303">
                <a:moveTo>
                  <a:pt x="0" y="147"/>
                </a:moveTo>
                <a:lnTo>
                  <a:pt x="16" y="190"/>
                </a:lnTo>
                <a:lnTo>
                  <a:pt x="166" y="257"/>
                </a:lnTo>
                <a:lnTo>
                  <a:pt x="167" y="282"/>
                </a:lnTo>
                <a:lnTo>
                  <a:pt x="203" y="298"/>
                </a:lnTo>
                <a:lnTo>
                  <a:pt x="264" y="303"/>
                </a:lnTo>
                <a:lnTo>
                  <a:pt x="313" y="271"/>
                </a:lnTo>
                <a:lnTo>
                  <a:pt x="331" y="268"/>
                </a:lnTo>
                <a:lnTo>
                  <a:pt x="287" y="183"/>
                </a:lnTo>
                <a:lnTo>
                  <a:pt x="225" y="132"/>
                </a:lnTo>
                <a:lnTo>
                  <a:pt x="254" y="52"/>
                </a:lnTo>
                <a:lnTo>
                  <a:pt x="228" y="43"/>
                </a:lnTo>
                <a:lnTo>
                  <a:pt x="204" y="0"/>
                </a:lnTo>
                <a:lnTo>
                  <a:pt x="130" y="3"/>
                </a:lnTo>
                <a:lnTo>
                  <a:pt x="93" y="30"/>
                </a:lnTo>
                <a:lnTo>
                  <a:pt x="81" y="103"/>
                </a:lnTo>
                <a:lnTo>
                  <a:pt x="0" y="14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7" name="30472298.12538720.875225">
            <a:extLst>
              <a:ext uri="{FF2B5EF4-FFF2-40B4-BE49-F238E27FC236}">
                <a16:creationId xmlns:a16="http://schemas.microsoft.com/office/drawing/2014/main" id="{BB08F338-B50A-A040-B8B2-639B38865A91}"/>
              </a:ext>
            </a:extLst>
          </p:cNvPr>
          <p:cNvSpPr>
            <a:spLocks noChangeAspect="1"/>
          </p:cNvSpPr>
          <p:nvPr/>
        </p:nvSpPr>
        <p:spPr bwMode="gray">
          <a:xfrm>
            <a:off x="5877115" y="3128379"/>
            <a:ext cx="353773" cy="334717"/>
          </a:xfrm>
          <a:custGeom>
            <a:avLst/>
            <a:gdLst/>
            <a:ahLst/>
            <a:cxnLst>
              <a:cxn ang="0">
                <a:pos x="0" y="92"/>
              </a:cxn>
              <a:cxn ang="0">
                <a:pos x="10" y="49"/>
              </a:cxn>
              <a:cxn ang="0">
                <a:pos x="57" y="29"/>
              </a:cxn>
              <a:cxn ang="0">
                <a:pos x="77" y="48"/>
              </a:cxn>
              <a:cxn ang="0">
                <a:pos x="124" y="9"/>
              </a:cxn>
              <a:cxn ang="0">
                <a:pos x="176" y="0"/>
              </a:cxn>
              <a:cxn ang="0">
                <a:pos x="233" y="26"/>
              </a:cxn>
              <a:cxn ang="0">
                <a:pos x="233" y="66"/>
              </a:cxn>
              <a:cxn ang="0">
                <a:pos x="187" y="73"/>
              </a:cxn>
              <a:cxn ang="0">
                <a:pos x="191" y="122"/>
              </a:cxn>
              <a:cxn ang="0">
                <a:pos x="265" y="205"/>
              </a:cxn>
              <a:cxn ang="0">
                <a:pos x="312" y="210"/>
              </a:cxn>
              <a:cxn ang="0">
                <a:pos x="308" y="228"/>
              </a:cxn>
              <a:cxn ang="0">
                <a:pos x="392" y="282"/>
              </a:cxn>
              <a:cxn ang="0">
                <a:pos x="334" y="273"/>
              </a:cxn>
              <a:cxn ang="0">
                <a:pos x="347" y="326"/>
              </a:cxn>
              <a:cxn ang="0">
                <a:pos x="312" y="367"/>
              </a:cxn>
              <a:cxn ang="0">
                <a:pos x="297" y="283"/>
              </a:cxn>
              <a:cxn ang="0">
                <a:pos x="150" y="191"/>
              </a:cxn>
              <a:cxn ang="0">
                <a:pos x="116" y="130"/>
              </a:cxn>
              <a:cxn ang="0">
                <a:pos x="69" y="110"/>
              </a:cxn>
              <a:cxn ang="0">
                <a:pos x="26" y="136"/>
              </a:cxn>
              <a:cxn ang="0">
                <a:pos x="0" y="92"/>
              </a:cxn>
            </a:cxnLst>
            <a:rect l="0" t="0" r="r" b="b"/>
            <a:pathLst>
              <a:path w="392" h="367">
                <a:moveTo>
                  <a:pt x="0" y="92"/>
                </a:moveTo>
                <a:lnTo>
                  <a:pt x="10" y="49"/>
                </a:lnTo>
                <a:lnTo>
                  <a:pt x="57" y="29"/>
                </a:lnTo>
                <a:lnTo>
                  <a:pt x="77" y="48"/>
                </a:lnTo>
                <a:lnTo>
                  <a:pt x="124" y="9"/>
                </a:lnTo>
                <a:lnTo>
                  <a:pt x="176" y="0"/>
                </a:lnTo>
                <a:lnTo>
                  <a:pt x="233" y="26"/>
                </a:lnTo>
                <a:lnTo>
                  <a:pt x="233" y="66"/>
                </a:lnTo>
                <a:lnTo>
                  <a:pt x="187" y="73"/>
                </a:lnTo>
                <a:lnTo>
                  <a:pt x="191" y="122"/>
                </a:lnTo>
                <a:lnTo>
                  <a:pt x="265" y="205"/>
                </a:lnTo>
                <a:lnTo>
                  <a:pt x="312" y="210"/>
                </a:lnTo>
                <a:lnTo>
                  <a:pt x="308" y="228"/>
                </a:lnTo>
                <a:lnTo>
                  <a:pt x="392" y="282"/>
                </a:lnTo>
                <a:lnTo>
                  <a:pt x="334" y="273"/>
                </a:lnTo>
                <a:lnTo>
                  <a:pt x="347" y="326"/>
                </a:lnTo>
                <a:lnTo>
                  <a:pt x="312" y="367"/>
                </a:lnTo>
                <a:lnTo>
                  <a:pt x="297" y="283"/>
                </a:lnTo>
                <a:lnTo>
                  <a:pt x="150" y="191"/>
                </a:lnTo>
                <a:lnTo>
                  <a:pt x="116" y="130"/>
                </a:lnTo>
                <a:lnTo>
                  <a:pt x="69" y="110"/>
                </a:lnTo>
                <a:lnTo>
                  <a:pt x="26" y="136"/>
                </a:lnTo>
                <a:lnTo>
                  <a:pt x="0" y="9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8" name="30473311.625389.87552.755">
            <a:extLst>
              <a:ext uri="{FF2B5EF4-FFF2-40B4-BE49-F238E27FC236}">
                <a16:creationId xmlns:a16="http://schemas.microsoft.com/office/drawing/2014/main" id="{20D4641F-83DE-3B42-8156-BC4C678CC6C5}"/>
              </a:ext>
            </a:extLst>
          </p:cNvPr>
          <p:cNvSpPr>
            <a:spLocks noChangeAspect="1"/>
          </p:cNvSpPr>
          <p:nvPr/>
        </p:nvSpPr>
        <p:spPr bwMode="gray">
          <a:xfrm>
            <a:off x="5924665" y="3345355"/>
            <a:ext cx="43748" cy="82418"/>
          </a:xfrm>
          <a:custGeom>
            <a:avLst/>
            <a:gdLst/>
            <a:ahLst/>
            <a:cxnLst>
              <a:cxn ang="0">
                <a:pos x="0" y="14"/>
              </a:cxn>
              <a:cxn ang="0">
                <a:pos x="8" y="83"/>
              </a:cxn>
              <a:cxn ang="0">
                <a:pos x="29" y="90"/>
              </a:cxn>
              <a:cxn ang="0">
                <a:pos x="48" y="36"/>
              </a:cxn>
              <a:cxn ang="0">
                <a:pos x="30" y="0"/>
              </a:cxn>
              <a:cxn ang="0">
                <a:pos x="0" y="14"/>
              </a:cxn>
            </a:cxnLst>
            <a:rect l="0" t="0" r="r" b="b"/>
            <a:pathLst>
              <a:path w="48" h="90">
                <a:moveTo>
                  <a:pt x="0" y="14"/>
                </a:moveTo>
                <a:lnTo>
                  <a:pt x="8" y="83"/>
                </a:lnTo>
                <a:lnTo>
                  <a:pt x="29" y="90"/>
                </a:lnTo>
                <a:lnTo>
                  <a:pt x="48" y="36"/>
                </a:lnTo>
                <a:lnTo>
                  <a:pt x="30" y="0"/>
                </a:lnTo>
                <a:lnTo>
                  <a:pt x="0" y="1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49" name="30474318.253983.255.755">
            <a:extLst>
              <a:ext uri="{FF2B5EF4-FFF2-40B4-BE49-F238E27FC236}">
                <a16:creationId xmlns:a16="http://schemas.microsoft.com/office/drawing/2014/main" id="{62CCCC66-D876-624E-891D-F418AF2EA940}"/>
              </a:ext>
            </a:extLst>
          </p:cNvPr>
          <p:cNvSpPr>
            <a:spLocks noChangeAspect="1"/>
          </p:cNvSpPr>
          <p:nvPr/>
        </p:nvSpPr>
        <p:spPr bwMode="gray">
          <a:xfrm>
            <a:off x="6054002" y="3451321"/>
            <a:ext cx="91298" cy="53825"/>
          </a:xfrm>
          <a:custGeom>
            <a:avLst/>
            <a:gdLst/>
            <a:ahLst/>
            <a:cxnLst>
              <a:cxn ang="0">
                <a:pos x="0" y="14"/>
              </a:cxn>
              <a:cxn ang="0">
                <a:pos x="87" y="60"/>
              </a:cxn>
              <a:cxn ang="0">
                <a:pos x="103" y="0"/>
              </a:cxn>
              <a:cxn ang="0">
                <a:pos x="0" y="14"/>
              </a:cxn>
            </a:cxnLst>
            <a:rect l="0" t="0" r="r" b="b"/>
            <a:pathLst>
              <a:path w="103" h="60">
                <a:moveTo>
                  <a:pt x="0" y="14"/>
                </a:moveTo>
                <a:lnTo>
                  <a:pt x="87" y="60"/>
                </a:lnTo>
                <a:lnTo>
                  <a:pt x="103" y="0"/>
                </a:lnTo>
                <a:lnTo>
                  <a:pt x="0" y="1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0" name="30475327.75618.755.1254.3755">
            <a:extLst>
              <a:ext uri="{FF2B5EF4-FFF2-40B4-BE49-F238E27FC236}">
                <a16:creationId xmlns:a16="http://schemas.microsoft.com/office/drawing/2014/main" id="{2376955A-EA03-B543-9EBD-B36D0270469F}"/>
              </a:ext>
            </a:extLst>
          </p:cNvPr>
          <p:cNvSpPr>
            <a:spLocks noChangeAspect="1"/>
          </p:cNvSpPr>
          <p:nvPr/>
        </p:nvSpPr>
        <p:spPr bwMode="gray">
          <a:xfrm>
            <a:off x="9591734" y="3606065"/>
            <a:ext cx="70376" cy="84099"/>
          </a:xfrm>
          <a:custGeom>
            <a:avLst/>
            <a:gdLst/>
            <a:ahLst/>
            <a:cxnLst>
              <a:cxn ang="0">
                <a:pos x="0" y="24"/>
              </a:cxn>
              <a:cxn ang="0">
                <a:pos x="2" y="48"/>
              </a:cxn>
              <a:cxn ang="0">
                <a:pos x="20" y="24"/>
              </a:cxn>
              <a:cxn ang="0">
                <a:pos x="28" y="38"/>
              </a:cxn>
              <a:cxn ang="0">
                <a:pos x="19" y="92"/>
              </a:cxn>
              <a:cxn ang="0">
                <a:pos x="56" y="90"/>
              </a:cxn>
              <a:cxn ang="0">
                <a:pos x="78" y="35"/>
              </a:cxn>
              <a:cxn ang="0">
                <a:pos x="66" y="4"/>
              </a:cxn>
              <a:cxn ang="0">
                <a:pos x="30" y="0"/>
              </a:cxn>
              <a:cxn ang="0">
                <a:pos x="0" y="24"/>
              </a:cxn>
            </a:cxnLst>
            <a:rect l="0" t="0" r="r" b="b"/>
            <a:pathLst>
              <a:path w="78" h="92">
                <a:moveTo>
                  <a:pt x="0" y="24"/>
                </a:moveTo>
                <a:lnTo>
                  <a:pt x="2" y="48"/>
                </a:lnTo>
                <a:lnTo>
                  <a:pt x="20" y="24"/>
                </a:lnTo>
                <a:lnTo>
                  <a:pt x="28" y="38"/>
                </a:lnTo>
                <a:lnTo>
                  <a:pt x="19" y="92"/>
                </a:lnTo>
                <a:lnTo>
                  <a:pt x="56" y="90"/>
                </a:lnTo>
                <a:lnTo>
                  <a:pt x="78" y="35"/>
                </a:lnTo>
                <a:lnTo>
                  <a:pt x="66" y="4"/>
                </a:lnTo>
                <a:lnTo>
                  <a:pt x="30" y="0"/>
                </a:lnTo>
                <a:lnTo>
                  <a:pt x="0" y="2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1" name="30476311.37562117.12521.1255">
            <a:extLst>
              <a:ext uri="{FF2B5EF4-FFF2-40B4-BE49-F238E27FC236}">
                <a16:creationId xmlns:a16="http://schemas.microsoft.com/office/drawing/2014/main" id="{22A349F1-CDF8-E749-B0EC-061F960DAB01}"/>
              </a:ext>
            </a:extLst>
          </p:cNvPr>
          <p:cNvSpPr>
            <a:spLocks noChangeAspect="1"/>
          </p:cNvSpPr>
          <p:nvPr/>
        </p:nvSpPr>
        <p:spPr bwMode="gray">
          <a:xfrm>
            <a:off x="9627872" y="3341991"/>
            <a:ext cx="338557" cy="275847"/>
          </a:xfrm>
          <a:custGeom>
            <a:avLst/>
            <a:gdLst/>
            <a:ahLst/>
            <a:cxnLst>
              <a:cxn ang="0">
                <a:pos x="0" y="285"/>
              </a:cxn>
              <a:cxn ang="0">
                <a:pos x="68" y="229"/>
              </a:cxn>
              <a:cxn ang="0">
                <a:pos x="163" y="229"/>
              </a:cxn>
              <a:cxn ang="0">
                <a:pos x="201" y="160"/>
              </a:cxn>
              <a:cxn ang="0">
                <a:pos x="218" y="155"/>
              </a:cxn>
              <a:cxn ang="0">
                <a:pos x="219" y="181"/>
              </a:cxn>
              <a:cxn ang="0">
                <a:pos x="262" y="155"/>
              </a:cxn>
              <a:cxn ang="0">
                <a:pos x="299" y="102"/>
              </a:cxn>
              <a:cxn ang="0">
                <a:pos x="315" y="16"/>
              </a:cxn>
              <a:cxn ang="0">
                <a:pos x="344" y="20"/>
              </a:cxn>
              <a:cxn ang="0">
                <a:pos x="334" y="0"/>
              </a:cxn>
              <a:cxn ang="0">
                <a:pos x="354" y="2"/>
              </a:cxn>
              <a:cxn ang="0">
                <a:pos x="377" y="73"/>
              </a:cxn>
              <a:cxn ang="0">
                <a:pos x="344" y="124"/>
              </a:cxn>
              <a:cxn ang="0">
                <a:pos x="344" y="171"/>
              </a:cxn>
              <a:cxn ang="0">
                <a:pos x="321" y="240"/>
              </a:cxn>
              <a:cxn ang="0">
                <a:pos x="304" y="249"/>
              </a:cxn>
              <a:cxn ang="0">
                <a:pos x="303" y="223"/>
              </a:cxn>
              <a:cxn ang="0">
                <a:pos x="248" y="262"/>
              </a:cxn>
              <a:cxn ang="0">
                <a:pos x="201" y="245"/>
              </a:cxn>
              <a:cxn ang="0">
                <a:pos x="204" y="277"/>
              </a:cxn>
              <a:cxn ang="0">
                <a:pos x="164" y="303"/>
              </a:cxn>
              <a:cxn ang="0">
                <a:pos x="153" y="259"/>
              </a:cxn>
              <a:cxn ang="0">
                <a:pos x="0" y="285"/>
              </a:cxn>
            </a:cxnLst>
            <a:rect l="0" t="0" r="r" b="b"/>
            <a:pathLst>
              <a:path w="377" h="303">
                <a:moveTo>
                  <a:pt x="0" y="285"/>
                </a:moveTo>
                <a:lnTo>
                  <a:pt x="68" y="229"/>
                </a:lnTo>
                <a:lnTo>
                  <a:pt x="163" y="229"/>
                </a:lnTo>
                <a:lnTo>
                  <a:pt x="201" y="160"/>
                </a:lnTo>
                <a:lnTo>
                  <a:pt x="218" y="155"/>
                </a:lnTo>
                <a:lnTo>
                  <a:pt x="219" y="181"/>
                </a:lnTo>
                <a:lnTo>
                  <a:pt x="262" y="155"/>
                </a:lnTo>
                <a:lnTo>
                  <a:pt x="299" y="102"/>
                </a:lnTo>
                <a:lnTo>
                  <a:pt x="315" y="16"/>
                </a:lnTo>
                <a:lnTo>
                  <a:pt x="344" y="20"/>
                </a:lnTo>
                <a:lnTo>
                  <a:pt x="334" y="0"/>
                </a:lnTo>
                <a:lnTo>
                  <a:pt x="354" y="2"/>
                </a:lnTo>
                <a:lnTo>
                  <a:pt x="377" y="73"/>
                </a:lnTo>
                <a:lnTo>
                  <a:pt x="344" y="124"/>
                </a:lnTo>
                <a:lnTo>
                  <a:pt x="344" y="171"/>
                </a:lnTo>
                <a:lnTo>
                  <a:pt x="321" y="240"/>
                </a:lnTo>
                <a:lnTo>
                  <a:pt x="304" y="249"/>
                </a:lnTo>
                <a:lnTo>
                  <a:pt x="303" y="223"/>
                </a:lnTo>
                <a:lnTo>
                  <a:pt x="248" y="262"/>
                </a:lnTo>
                <a:lnTo>
                  <a:pt x="201" y="245"/>
                </a:lnTo>
                <a:lnTo>
                  <a:pt x="204" y="277"/>
                </a:lnTo>
                <a:lnTo>
                  <a:pt x="164" y="303"/>
                </a:lnTo>
                <a:lnTo>
                  <a:pt x="153" y="259"/>
                </a:lnTo>
                <a:lnTo>
                  <a:pt x="0" y="28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2" name="30477327623.53.1254.3755">
            <a:extLst>
              <a:ext uri="{FF2B5EF4-FFF2-40B4-BE49-F238E27FC236}">
                <a16:creationId xmlns:a16="http://schemas.microsoft.com/office/drawing/2014/main" id="{71B6DA36-8EC4-B340-84A5-71619B5E289D}"/>
              </a:ext>
            </a:extLst>
          </p:cNvPr>
          <p:cNvSpPr>
            <a:spLocks noChangeAspect="1"/>
          </p:cNvSpPr>
          <p:nvPr/>
        </p:nvSpPr>
        <p:spPr bwMode="gray">
          <a:xfrm>
            <a:off x="9667816" y="3594290"/>
            <a:ext cx="70376" cy="50460"/>
          </a:xfrm>
          <a:custGeom>
            <a:avLst/>
            <a:gdLst/>
            <a:ahLst/>
            <a:cxnLst>
              <a:cxn ang="0">
                <a:pos x="0" y="29"/>
              </a:cxn>
              <a:cxn ang="0">
                <a:pos x="26" y="55"/>
              </a:cxn>
              <a:cxn ang="0">
                <a:pos x="70" y="34"/>
              </a:cxn>
              <a:cxn ang="0">
                <a:pos x="77" y="0"/>
              </a:cxn>
              <a:cxn ang="0">
                <a:pos x="0" y="29"/>
              </a:cxn>
            </a:cxnLst>
            <a:rect l="0" t="0" r="r" b="b"/>
            <a:pathLst>
              <a:path w="77" h="55">
                <a:moveTo>
                  <a:pt x="0" y="29"/>
                </a:moveTo>
                <a:lnTo>
                  <a:pt x="26" y="55"/>
                </a:lnTo>
                <a:lnTo>
                  <a:pt x="70" y="34"/>
                </a:lnTo>
                <a:lnTo>
                  <a:pt x="77" y="0"/>
                </a:lnTo>
                <a:lnTo>
                  <a:pt x="0" y="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3" name="30478302.256389.125115">
            <a:extLst>
              <a:ext uri="{FF2B5EF4-FFF2-40B4-BE49-F238E27FC236}">
                <a16:creationId xmlns:a16="http://schemas.microsoft.com/office/drawing/2014/main" id="{B452D5FC-5FA9-884E-8E58-7412E9771D4A}"/>
              </a:ext>
            </a:extLst>
          </p:cNvPr>
          <p:cNvSpPr>
            <a:spLocks noChangeAspect="1"/>
          </p:cNvSpPr>
          <p:nvPr/>
        </p:nvSpPr>
        <p:spPr bwMode="gray">
          <a:xfrm>
            <a:off x="9899858" y="3193976"/>
            <a:ext cx="176887" cy="148015"/>
          </a:xfrm>
          <a:custGeom>
            <a:avLst/>
            <a:gdLst/>
            <a:ahLst/>
            <a:cxnLst>
              <a:cxn ang="0">
                <a:pos x="0" y="116"/>
              </a:cxn>
              <a:cxn ang="0">
                <a:pos x="8" y="162"/>
              </a:cxn>
              <a:cxn ang="0">
                <a:pos x="42" y="145"/>
              </a:cxn>
              <a:cxn ang="0">
                <a:pos x="19" y="117"/>
              </a:cxn>
              <a:cxn ang="0">
                <a:pos x="113" y="142"/>
              </a:cxn>
              <a:cxn ang="0">
                <a:pos x="135" y="103"/>
              </a:cxn>
              <a:cxn ang="0">
                <a:pos x="195" y="91"/>
              </a:cxn>
              <a:cxn ang="0">
                <a:pos x="174" y="66"/>
              </a:cxn>
              <a:cxn ang="0">
                <a:pos x="181" y="44"/>
              </a:cxn>
              <a:cxn ang="0">
                <a:pos x="129" y="48"/>
              </a:cxn>
              <a:cxn ang="0">
                <a:pos x="67" y="0"/>
              </a:cxn>
              <a:cxn ang="0">
                <a:pos x="45" y="92"/>
              </a:cxn>
              <a:cxn ang="0">
                <a:pos x="18" y="87"/>
              </a:cxn>
              <a:cxn ang="0">
                <a:pos x="0" y="116"/>
              </a:cxn>
            </a:cxnLst>
            <a:rect l="0" t="0" r="r" b="b"/>
            <a:pathLst>
              <a:path w="195" h="162">
                <a:moveTo>
                  <a:pt x="0" y="116"/>
                </a:moveTo>
                <a:lnTo>
                  <a:pt x="8" y="162"/>
                </a:lnTo>
                <a:lnTo>
                  <a:pt x="42" y="145"/>
                </a:lnTo>
                <a:lnTo>
                  <a:pt x="19" y="117"/>
                </a:lnTo>
                <a:lnTo>
                  <a:pt x="113" y="142"/>
                </a:lnTo>
                <a:lnTo>
                  <a:pt x="135" y="103"/>
                </a:lnTo>
                <a:lnTo>
                  <a:pt x="195" y="91"/>
                </a:lnTo>
                <a:lnTo>
                  <a:pt x="174" y="66"/>
                </a:lnTo>
                <a:lnTo>
                  <a:pt x="181" y="44"/>
                </a:lnTo>
                <a:lnTo>
                  <a:pt x="129" y="48"/>
                </a:lnTo>
                <a:lnTo>
                  <a:pt x="67" y="0"/>
                </a:lnTo>
                <a:lnTo>
                  <a:pt x="45" y="92"/>
                </a:lnTo>
                <a:lnTo>
                  <a:pt x="18" y="87"/>
                </a:lnTo>
                <a:lnTo>
                  <a:pt x="0" y="11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4" name="30479308.125608.511.375125">
            <a:extLst>
              <a:ext uri="{FF2B5EF4-FFF2-40B4-BE49-F238E27FC236}">
                <a16:creationId xmlns:a16="http://schemas.microsoft.com/office/drawing/2014/main" id="{188B29CA-616F-724D-A74E-294F7D5D0D17}"/>
              </a:ext>
            </a:extLst>
          </p:cNvPr>
          <p:cNvSpPr>
            <a:spLocks noChangeAspect="1"/>
          </p:cNvSpPr>
          <p:nvPr/>
        </p:nvSpPr>
        <p:spPr bwMode="gray">
          <a:xfrm>
            <a:off x="9428159" y="3288166"/>
            <a:ext cx="192103" cy="185018"/>
          </a:xfrm>
          <a:custGeom>
            <a:avLst/>
            <a:gdLst/>
            <a:ahLst/>
            <a:cxnLst>
              <a:cxn ang="0">
                <a:pos x="0" y="116"/>
              </a:cxn>
              <a:cxn ang="0">
                <a:pos x="38" y="132"/>
              </a:cxn>
              <a:cxn ang="0">
                <a:pos x="14" y="191"/>
              </a:cxn>
              <a:cxn ang="0">
                <a:pos x="74" y="204"/>
              </a:cxn>
              <a:cxn ang="0">
                <a:pos x="136" y="169"/>
              </a:cxn>
              <a:cxn ang="0">
                <a:pos x="107" y="121"/>
              </a:cxn>
              <a:cxn ang="0">
                <a:pos x="179" y="79"/>
              </a:cxn>
              <a:cxn ang="0">
                <a:pos x="212" y="20"/>
              </a:cxn>
              <a:cxn ang="0">
                <a:pos x="207" y="11"/>
              </a:cxn>
              <a:cxn ang="0">
                <a:pos x="194" y="0"/>
              </a:cxn>
              <a:cxn ang="0">
                <a:pos x="131" y="39"/>
              </a:cxn>
              <a:cxn ang="0">
                <a:pos x="131" y="61"/>
              </a:cxn>
              <a:cxn ang="0">
                <a:pos x="85" y="54"/>
              </a:cxn>
              <a:cxn ang="0">
                <a:pos x="0" y="116"/>
              </a:cxn>
            </a:cxnLst>
            <a:rect l="0" t="0" r="r" b="b"/>
            <a:pathLst>
              <a:path w="212" h="204">
                <a:moveTo>
                  <a:pt x="0" y="116"/>
                </a:moveTo>
                <a:lnTo>
                  <a:pt x="38" y="132"/>
                </a:lnTo>
                <a:lnTo>
                  <a:pt x="14" y="191"/>
                </a:lnTo>
                <a:lnTo>
                  <a:pt x="74" y="204"/>
                </a:lnTo>
                <a:lnTo>
                  <a:pt x="136" y="169"/>
                </a:lnTo>
                <a:lnTo>
                  <a:pt x="107" y="121"/>
                </a:lnTo>
                <a:lnTo>
                  <a:pt x="179" y="79"/>
                </a:lnTo>
                <a:lnTo>
                  <a:pt x="212" y="20"/>
                </a:lnTo>
                <a:lnTo>
                  <a:pt x="207" y="11"/>
                </a:lnTo>
                <a:lnTo>
                  <a:pt x="194" y="0"/>
                </a:lnTo>
                <a:lnTo>
                  <a:pt x="131" y="39"/>
                </a:lnTo>
                <a:lnTo>
                  <a:pt x="131" y="61"/>
                </a:lnTo>
                <a:lnTo>
                  <a:pt x="85" y="54"/>
                </a:lnTo>
                <a:lnTo>
                  <a:pt x="0" y="11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5" name="30480350.625563.2515.87513.55">
            <a:extLst>
              <a:ext uri="{FF2B5EF4-FFF2-40B4-BE49-F238E27FC236}">
                <a16:creationId xmlns:a16="http://schemas.microsoft.com/office/drawing/2014/main" id="{A19D0D68-100D-7A45-ACDF-E1C67CDFF019}"/>
              </a:ext>
            </a:extLst>
          </p:cNvPr>
          <p:cNvSpPr>
            <a:spLocks noChangeAspect="1"/>
          </p:cNvSpPr>
          <p:nvPr/>
        </p:nvSpPr>
        <p:spPr bwMode="gray">
          <a:xfrm>
            <a:off x="8703496" y="3977783"/>
            <a:ext cx="214926" cy="255664"/>
          </a:xfrm>
          <a:custGeom>
            <a:avLst/>
            <a:gdLst/>
            <a:ahLst/>
            <a:cxnLst>
              <a:cxn ang="0">
                <a:pos x="0" y="60"/>
              </a:cxn>
              <a:cxn ang="0">
                <a:pos x="32" y="100"/>
              </a:cxn>
              <a:cxn ang="0">
                <a:pos x="22" y="169"/>
              </a:cxn>
              <a:cxn ang="0">
                <a:pos x="107" y="139"/>
              </a:cxn>
              <a:cxn ang="0">
                <a:pos x="143" y="169"/>
              </a:cxn>
              <a:cxn ang="0">
                <a:pos x="175" y="236"/>
              </a:cxn>
              <a:cxn ang="0">
                <a:pos x="164" y="279"/>
              </a:cxn>
              <a:cxn ang="0">
                <a:pos x="239" y="267"/>
              </a:cxn>
              <a:cxn ang="0">
                <a:pos x="203" y="177"/>
              </a:cxn>
              <a:cxn ang="0">
                <a:pos x="122" y="111"/>
              </a:cxn>
              <a:cxn ang="0">
                <a:pos x="144" y="73"/>
              </a:cxn>
              <a:cxn ang="0">
                <a:pos x="99" y="52"/>
              </a:cxn>
              <a:cxn ang="0">
                <a:pos x="65" y="0"/>
              </a:cxn>
              <a:cxn ang="0">
                <a:pos x="44" y="1"/>
              </a:cxn>
              <a:cxn ang="0">
                <a:pos x="47" y="38"/>
              </a:cxn>
              <a:cxn ang="0">
                <a:pos x="32" y="29"/>
              </a:cxn>
              <a:cxn ang="0">
                <a:pos x="0" y="60"/>
              </a:cxn>
            </a:cxnLst>
            <a:rect l="0" t="0" r="r" b="b"/>
            <a:pathLst>
              <a:path w="239" h="279">
                <a:moveTo>
                  <a:pt x="0" y="60"/>
                </a:moveTo>
                <a:lnTo>
                  <a:pt x="32" y="100"/>
                </a:lnTo>
                <a:lnTo>
                  <a:pt x="22" y="169"/>
                </a:lnTo>
                <a:lnTo>
                  <a:pt x="107" y="139"/>
                </a:lnTo>
                <a:lnTo>
                  <a:pt x="143" y="169"/>
                </a:lnTo>
                <a:lnTo>
                  <a:pt x="175" y="236"/>
                </a:lnTo>
                <a:lnTo>
                  <a:pt x="164" y="279"/>
                </a:lnTo>
                <a:lnTo>
                  <a:pt x="239" y="267"/>
                </a:lnTo>
                <a:lnTo>
                  <a:pt x="203" y="177"/>
                </a:lnTo>
                <a:lnTo>
                  <a:pt x="122" y="111"/>
                </a:lnTo>
                <a:lnTo>
                  <a:pt x="144" y="73"/>
                </a:lnTo>
                <a:lnTo>
                  <a:pt x="99" y="52"/>
                </a:lnTo>
                <a:lnTo>
                  <a:pt x="65" y="0"/>
                </a:lnTo>
                <a:lnTo>
                  <a:pt x="44" y="1"/>
                </a:lnTo>
                <a:lnTo>
                  <a:pt x="47" y="38"/>
                </a:lnTo>
                <a:lnTo>
                  <a:pt x="32" y="29"/>
                </a:lnTo>
                <a:lnTo>
                  <a:pt x="0" y="6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6" name="30481291385.1251.3750.8755">
            <a:extLst>
              <a:ext uri="{FF2B5EF4-FFF2-40B4-BE49-F238E27FC236}">
                <a16:creationId xmlns:a16="http://schemas.microsoft.com/office/drawing/2014/main" id="{66F6B762-33B8-1745-BFBB-08072A9CFC96}"/>
              </a:ext>
            </a:extLst>
          </p:cNvPr>
          <p:cNvSpPr>
            <a:spLocks noChangeAspect="1"/>
          </p:cNvSpPr>
          <p:nvPr/>
        </p:nvSpPr>
        <p:spPr bwMode="gray">
          <a:xfrm>
            <a:off x="5848583" y="3012319"/>
            <a:ext cx="13316" cy="20183"/>
          </a:xfrm>
          <a:custGeom>
            <a:avLst/>
            <a:gdLst/>
            <a:ahLst/>
            <a:cxnLst>
              <a:cxn ang="0">
                <a:pos x="0" y="22"/>
              </a:cxn>
              <a:cxn ang="0">
                <a:pos x="13" y="0"/>
              </a:cxn>
              <a:cxn ang="0">
                <a:pos x="17" y="28"/>
              </a:cxn>
              <a:cxn ang="0">
                <a:pos x="0" y="22"/>
              </a:cxn>
            </a:cxnLst>
            <a:rect l="0" t="0" r="r" b="b"/>
            <a:pathLst>
              <a:path w="17" h="28">
                <a:moveTo>
                  <a:pt x="0" y="22"/>
                </a:moveTo>
                <a:lnTo>
                  <a:pt x="13" y="0"/>
                </a:lnTo>
                <a:lnTo>
                  <a:pt x="17" y="28"/>
                </a:lnTo>
                <a:lnTo>
                  <a:pt x="0" y="2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7" name="30483285.875539.752559.6255">
            <a:extLst>
              <a:ext uri="{FF2B5EF4-FFF2-40B4-BE49-F238E27FC236}">
                <a16:creationId xmlns:a16="http://schemas.microsoft.com/office/drawing/2014/main" id="{AFFB999B-F633-7540-9F98-CDB8866FB4AD}"/>
              </a:ext>
            </a:extLst>
          </p:cNvPr>
          <p:cNvSpPr>
            <a:spLocks noChangeAspect="1"/>
          </p:cNvSpPr>
          <p:nvPr/>
        </p:nvSpPr>
        <p:spPr bwMode="gray">
          <a:xfrm>
            <a:off x="8326900" y="2928220"/>
            <a:ext cx="954809" cy="405360"/>
          </a:xfrm>
          <a:custGeom>
            <a:avLst/>
            <a:gdLst/>
            <a:ahLst/>
            <a:cxnLst>
              <a:cxn ang="0">
                <a:pos x="0" y="139"/>
              </a:cxn>
              <a:cxn ang="0">
                <a:pos x="34" y="184"/>
              </a:cxn>
              <a:cxn ang="0">
                <a:pos x="81" y="201"/>
              </a:cxn>
              <a:cxn ang="0">
                <a:pos x="100" y="296"/>
              </a:cxn>
              <a:cxn ang="0">
                <a:pos x="247" y="333"/>
              </a:cxn>
              <a:cxn ang="0">
                <a:pos x="309" y="397"/>
              </a:cxn>
              <a:cxn ang="0">
                <a:pos x="430" y="393"/>
              </a:cxn>
              <a:cxn ang="0">
                <a:pos x="567" y="444"/>
              </a:cxn>
              <a:cxn ang="0">
                <a:pos x="750" y="397"/>
              </a:cxn>
              <a:cxn ang="0">
                <a:pos x="806" y="360"/>
              </a:cxn>
              <a:cxn ang="0">
                <a:pos x="806" y="309"/>
              </a:cxn>
              <a:cxn ang="0">
                <a:pos x="857" y="315"/>
              </a:cxn>
              <a:cxn ang="0">
                <a:pos x="968" y="241"/>
              </a:cxn>
              <a:cxn ang="0">
                <a:pos x="1058" y="236"/>
              </a:cxn>
              <a:cxn ang="0">
                <a:pos x="1015" y="180"/>
              </a:cxn>
              <a:cxn ang="0">
                <a:pos x="930" y="195"/>
              </a:cxn>
              <a:cxn ang="0">
                <a:pos x="929" y="132"/>
              </a:cxn>
              <a:cxn ang="0">
                <a:pos x="951" y="98"/>
              </a:cxn>
              <a:cxn ang="0">
                <a:pos x="890" y="88"/>
              </a:cxn>
              <a:cxn ang="0">
                <a:pos x="732" y="126"/>
              </a:cxn>
              <a:cxn ang="0">
                <a:pos x="593" y="70"/>
              </a:cxn>
              <a:cxn ang="0">
                <a:pos x="504" y="78"/>
              </a:cxn>
              <a:cxn ang="0">
                <a:pos x="471" y="32"/>
              </a:cxn>
              <a:cxn ang="0">
                <a:pos x="383" y="0"/>
              </a:cxn>
              <a:cxn ang="0">
                <a:pos x="336" y="33"/>
              </a:cxn>
              <a:cxn ang="0">
                <a:pos x="334" y="96"/>
              </a:cxn>
              <a:cxn ang="0">
                <a:pos x="133" y="69"/>
              </a:cxn>
              <a:cxn ang="0">
                <a:pos x="0" y="139"/>
              </a:cxn>
            </a:cxnLst>
            <a:rect l="0" t="0" r="r" b="b"/>
            <a:pathLst>
              <a:path w="1058" h="444">
                <a:moveTo>
                  <a:pt x="0" y="139"/>
                </a:moveTo>
                <a:lnTo>
                  <a:pt x="34" y="184"/>
                </a:lnTo>
                <a:lnTo>
                  <a:pt x="81" y="201"/>
                </a:lnTo>
                <a:lnTo>
                  <a:pt x="100" y="296"/>
                </a:lnTo>
                <a:lnTo>
                  <a:pt x="247" y="333"/>
                </a:lnTo>
                <a:lnTo>
                  <a:pt x="309" y="397"/>
                </a:lnTo>
                <a:lnTo>
                  <a:pt x="430" y="393"/>
                </a:lnTo>
                <a:lnTo>
                  <a:pt x="567" y="444"/>
                </a:lnTo>
                <a:lnTo>
                  <a:pt x="750" y="397"/>
                </a:lnTo>
                <a:lnTo>
                  <a:pt x="806" y="360"/>
                </a:lnTo>
                <a:lnTo>
                  <a:pt x="806" y="309"/>
                </a:lnTo>
                <a:lnTo>
                  <a:pt x="857" y="315"/>
                </a:lnTo>
                <a:lnTo>
                  <a:pt x="968" y="241"/>
                </a:lnTo>
                <a:lnTo>
                  <a:pt x="1058" y="236"/>
                </a:lnTo>
                <a:lnTo>
                  <a:pt x="1015" y="180"/>
                </a:lnTo>
                <a:lnTo>
                  <a:pt x="930" y="195"/>
                </a:lnTo>
                <a:lnTo>
                  <a:pt x="929" y="132"/>
                </a:lnTo>
                <a:lnTo>
                  <a:pt x="951" y="98"/>
                </a:lnTo>
                <a:lnTo>
                  <a:pt x="890" y="88"/>
                </a:lnTo>
                <a:lnTo>
                  <a:pt x="732" y="126"/>
                </a:lnTo>
                <a:lnTo>
                  <a:pt x="593" y="70"/>
                </a:lnTo>
                <a:lnTo>
                  <a:pt x="504" y="78"/>
                </a:lnTo>
                <a:lnTo>
                  <a:pt x="471" y="32"/>
                </a:lnTo>
                <a:lnTo>
                  <a:pt x="383" y="0"/>
                </a:lnTo>
                <a:lnTo>
                  <a:pt x="336" y="33"/>
                </a:lnTo>
                <a:lnTo>
                  <a:pt x="334" y="96"/>
                </a:lnTo>
                <a:lnTo>
                  <a:pt x="133" y="69"/>
                </a:lnTo>
                <a:lnTo>
                  <a:pt x="0" y="13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8" name="30484345.75472.37516.37514.3755">
            <a:extLst>
              <a:ext uri="{FF2B5EF4-FFF2-40B4-BE49-F238E27FC236}">
                <a16:creationId xmlns:a16="http://schemas.microsoft.com/office/drawing/2014/main" id="{93C1109D-287D-4748-BC0C-2174B9F4BE31}"/>
              </a:ext>
            </a:extLst>
          </p:cNvPr>
          <p:cNvSpPr>
            <a:spLocks noChangeAspect="1"/>
          </p:cNvSpPr>
          <p:nvPr/>
        </p:nvSpPr>
        <p:spPr bwMode="gray">
          <a:xfrm>
            <a:off x="7246559" y="3897049"/>
            <a:ext cx="228241" cy="265756"/>
          </a:xfrm>
          <a:custGeom>
            <a:avLst/>
            <a:gdLst/>
            <a:ahLst/>
            <a:cxnLst>
              <a:cxn ang="0">
                <a:pos x="0" y="204"/>
              </a:cxn>
              <a:cxn ang="0">
                <a:pos x="35" y="288"/>
              </a:cxn>
              <a:cxn ang="0">
                <a:pos x="95" y="275"/>
              </a:cxn>
              <a:cxn ang="0">
                <a:pos x="191" y="203"/>
              </a:cxn>
              <a:cxn ang="0">
                <a:pos x="190" y="169"/>
              </a:cxn>
              <a:cxn ang="0">
                <a:pos x="252" y="105"/>
              </a:cxn>
              <a:cxn ang="0">
                <a:pos x="256" y="85"/>
              </a:cxn>
              <a:cxn ang="0">
                <a:pos x="222" y="48"/>
              </a:cxn>
              <a:cxn ang="0">
                <a:pos x="143" y="0"/>
              </a:cxn>
              <a:cxn ang="0">
                <a:pos x="123" y="1"/>
              </a:cxn>
              <a:cxn ang="0">
                <a:pos x="134" y="27"/>
              </a:cxn>
              <a:cxn ang="0">
                <a:pos x="106" y="77"/>
              </a:cxn>
              <a:cxn ang="0">
                <a:pos x="123" y="101"/>
              </a:cxn>
              <a:cxn ang="0">
                <a:pos x="98" y="170"/>
              </a:cxn>
              <a:cxn ang="0">
                <a:pos x="0" y="204"/>
              </a:cxn>
            </a:cxnLst>
            <a:rect l="0" t="0" r="r" b="b"/>
            <a:pathLst>
              <a:path w="256" h="288">
                <a:moveTo>
                  <a:pt x="0" y="204"/>
                </a:moveTo>
                <a:lnTo>
                  <a:pt x="35" y="288"/>
                </a:lnTo>
                <a:lnTo>
                  <a:pt x="95" y="275"/>
                </a:lnTo>
                <a:lnTo>
                  <a:pt x="191" y="203"/>
                </a:lnTo>
                <a:lnTo>
                  <a:pt x="190" y="169"/>
                </a:lnTo>
                <a:lnTo>
                  <a:pt x="252" y="105"/>
                </a:lnTo>
                <a:lnTo>
                  <a:pt x="256" y="85"/>
                </a:lnTo>
                <a:lnTo>
                  <a:pt x="222" y="48"/>
                </a:lnTo>
                <a:lnTo>
                  <a:pt x="143" y="0"/>
                </a:lnTo>
                <a:lnTo>
                  <a:pt x="123" y="1"/>
                </a:lnTo>
                <a:lnTo>
                  <a:pt x="134" y="27"/>
                </a:lnTo>
                <a:lnTo>
                  <a:pt x="106" y="77"/>
                </a:lnTo>
                <a:lnTo>
                  <a:pt x="123" y="101"/>
                </a:lnTo>
                <a:lnTo>
                  <a:pt x="98" y="170"/>
                </a:lnTo>
                <a:lnTo>
                  <a:pt x="0" y="20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59" name="30485335.25525.1257.62515.1255">
            <a:extLst>
              <a:ext uri="{FF2B5EF4-FFF2-40B4-BE49-F238E27FC236}">
                <a16:creationId xmlns:a16="http://schemas.microsoft.com/office/drawing/2014/main" id="{3848FD71-C395-B342-B3C0-A7A0B1856627}"/>
              </a:ext>
            </a:extLst>
          </p:cNvPr>
          <p:cNvSpPr>
            <a:spLocks noChangeAspect="1"/>
          </p:cNvSpPr>
          <p:nvPr/>
        </p:nvSpPr>
        <p:spPr bwMode="gray">
          <a:xfrm>
            <a:off x="8092953" y="3728849"/>
            <a:ext cx="239653" cy="124467"/>
          </a:xfrm>
          <a:custGeom>
            <a:avLst/>
            <a:gdLst/>
            <a:ahLst/>
            <a:cxnLst>
              <a:cxn ang="0">
                <a:pos x="0" y="54"/>
              </a:cxn>
              <a:cxn ang="0">
                <a:pos x="33" y="0"/>
              </a:cxn>
              <a:cxn ang="0">
                <a:pos x="139" y="35"/>
              </a:cxn>
              <a:cxn ang="0">
                <a:pos x="195" y="87"/>
              </a:cxn>
              <a:cxn ang="0">
                <a:pos x="268" y="87"/>
              </a:cxn>
              <a:cxn ang="0">
                <a:pos x="264" y="138"/>
              </a:cxn>
              <a:cxn ang="0">
                <a:pos x="90" y="105"/>
              </a:cxn>
              <a:cxn ang="0">
                <a:pos x="0" y="54"/>
              </a:cxn>
            </a:cxnLst>
            <a:rect l="0" t="0" r="r" b="b"/>
            <a:pathLst>
              <a:path w="268" h="138">
                <a:moveTo>
                  <a:pt x="0" y="54"/>
                </a:moveTo>
                <a:lnTo>
                  <a:pt x="33" y="0"/>
                </a:lnTo>
                <a:lnTo>
                  <a:pt x="139" y="35"/>
                </a:lnTo>
                <a:lnTo>
                  <a:pt x="195" y="87"/>
                </a:lnTo>
                <a:lnTo>
                  <a:pt x="268" y="87"/>
                </a:lnTo>
                <a:lnTo>
                  <a:pt x="264" y="138"/>
                </a:lnTo>
                <a:lnTo>
                  <a:pt x="90" y="105"/>
                </a:lnTo>
                <a:lnTo>
                  <a:pt x="0" y="5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0" name="30486283.253816.256.8755">
            <a:extLst>
              <a:ext uri="{FF2B5EF4-FFF2-40B4-BE49-F238E27FC236}">
                <a16:creationId xmlns:a16="http://schemas.microsoft.com/office/drawing/2014/main" id="{09684CB0-AB97-894A-B7BA-34016F32822D}"/>
              </a:ext>
            </a:extLst>
          </p:cNvPr>
          <p:cNvSpPr>
            <a:spLocks noChangeAspect="1"/>
          </p:cNvSpPr>
          <p:nvPr/>
        </p:nvSpPr>
        <p:spPr bwMode="gray">
          <a:xfrm>
            <a:off x="5782016" y="2887851"/>
            <a:ext cx="110316" cy="100920"/>
          </a:xfrm>
          <a:custGeom>
            <a:avLst/>
            <a:gdLst/>
            <a:ahLst/>
            <a:cxnLst>
              <a:cxn ang="0">
                <a:pos x="0" y="84"/>
              </a:cxn>
              <a:cxn ang="0">
                <a:pos x="47" y="70"/>
              </a:cxn>
              <a:cxn ang="0">
                <a:pos x="22" y="57"/>
              </a:cxn>
              <a:cxn ang="0">
                <a:pos x="45" y="18"/>
              </a:cxn>
              <a:cxn ang="0">
                <a:pos x="63" y="43"/>
              </a:cxn>
              <a:cxn ang="0">
                <a:pos x="64" y="0"/>
              </a:cxn>
              <a:cxn ang="0">
                <a:pos x="119" y="0"/>
              </a:cxn>
              <a:cxn ang="0">
                <a:pos x="114" y="43"/>
              </a:cxn>
              <a:cxn ang="0">
                <a:pos x="80" y="59"/>
              </a:cxn>
              <a:cxn ang="0">
                <a:pos x="81" y="112"/>
              </a:cxn>
              <a:cxn ang="0">
                <a:pos x="48" y="80"/>
              </a:cxn>
              <a:cxn ang="0">
                <a:pos x="0" y="84"/>
              </a:cxn>
            </a:cxnLst>
            <a:rect l="0" t="0" r="r" b="b"/>
            <a:pathLst>
              <a:path w="119" h="112">
                <a:moveTo>
                  <a:pt x="0" y="84"/>
                </a:moveTo>
                <a:lnTo>
                  <a:pt x="47" y="70"/>
                </a:lnTo>
                <a:lnTo>
                  <a:pt x="22" y="57"/>
                </a:lnTo>
                <a:lnTo>
                  <a:pt x="45" y="18"/>
                </a:lnTo>
                <a:lnTo>
                  <a:pt x="63" y="43"/>
                </a:lnTo>
                <a:lnTo>
                  <a:pt x="64" y="0"/>
                </a:lnTo>
                <a:lnTo>
                  <a:pt x="119" y="0"/>
                </a:lnTo>
                <a:lnTo>
                  <a:pt x="114" y="43"/>
                </a:lnTo>
                <a:lnTo>
                  <a:pt x="80" y="59"/>
                </a:lnTo>
                <a:lnTo>
                  <a:pt x="81" y="112"/>
                </a:lnTo>
                <a:lnTo>
                  <a:pt x="48" y="80"/>
                </a:lnTo>
                <a:lnTo>
                  <a:pt x="0" y="8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1" name="3048747468813.62514.55">
            <a:extLst>
              <a:ext uri="{FF2B5EF4-FFF2-40B4-BE49-F238E27FC236}">
                <a16:creationId xmlns:a16="http://schemas.microsoft.com/office/drawing/2014/main" id="{9AEA5216-F86A-0F41-926D-B4E88FFADC89}"/>
              </a:ext>
            </a:extLst>
          </p:cNvPr>
          <p:cNvSpPr>
            <a:spLocks noChangeAspect="1"/>
          </p:cNvSpPr>
          <p:nvPr/>
        </p:nvSpPr>
        <p:spPr bwMode="gray">
          <a:xfrm>
            <a:off x="10702504" y="5975990"/>
            <a:ext cx="232046" cy="220341"/>
          </a:xfrm>
          <a:custGeom>
            <a:avLst/>
            <a:gdLst/>
            <a:ahLst/>
            <a:cxnLst>
              <a:cxn ang="0">
                <a:pos x="0" y="212"/>
              </a:cxn>
              <a:cxn ang="0">
                <a:pos x="54" y="138"/>
              </a:cxn>
              <a:cxn ang="0">
                <a:pos x="147" y="83"/>
              </a:cxn>
              <a:cxn ang="0">
                <a:pos x="194" y="0"/>
              </a:cxn>
              <a:cxn ang="0">
                <a:pos x="223" y="25"/>
              </a:cxn>
              <a:cxn ang="0">
                <a:pos x="254" y="14"/>
              </a:cxn>
              <a:cxn ang="0">
                <a:pos x="257" y="43"/>
              </a:cxn>
              <a:cxn ang="0">
                <a:pos x="209" y="101"/>
              </a:cxn>
              <a:cxn ang="0">
                <a:pos x="220" y="127"/>
              </a:cxn>
              <a:cxn ang="0">
                <a:pos x="165" y="137"/>
              </a:cxn>
              <a:cxn ang="0">
                <a:pos x="139" y="218"/>
              </a:cxn>
              <a:cxn ang="0">
                <a:pos x="83" y="243"/>
              </a:cxn>
              <a:cxn ang="0">
                <a:pos x="0" y="212"/>
              </a:cxn>
            </a:cxnLst>
            <a:rect l="0" t="0" r="r" b="b"/>
            <a:pathLst>
              <a:path w="257" h="243">
                <a:moveTo>
                  <a:pt x="0" y="212"/>
                </a:moveTo>
                <a:lnTo>
                  <a:pt x="54" y="138"/>
                </a:lnTo>
                <a:lnTo>
                  <a:pt x="147" y="83"/>
                </a:lnTo>
                <a:lnTo>
                  <a:pt x="194" y="0"/>
                </a:lnTo>
                <a:lnTo>
                  <a:pt x="223" y="25"/>
                </a:lnTo>
                <a:lnTo>
                  <a:pt x="254" y="14"/>
                </a:lnTo>
                <a:lnTo>
                  <a:pt x="257" y="43"/>
                </a:lnTo>
                <a:lnTo>
                  <a:pt x="209" y="101"/>
                </a:lnTo>
                <a:lnTo>
                  <a:pt x="220" y="127"/>
                </a:lnTo>
                <a:lnTo>
                  <a:pt x="165" y="137"/>
                </a:lnTo>
                <a:lnTo>
                  <a:pt x="139" y="218"/>
                </a:lnTo>
                <a:lnTo>
                  <a:pt x="83" y="243"/>
                </a:lnTo>
                <a:lnTo>
                  <a:pt x="0" y="21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2" name="30488460.625699.515115">
            <a:extLst>
              <a:ext uri="{FF2B5EF4-FFF2-40B4-BE49-F238E27FC236}">
                <a16:creationId xmlns:a16="http://schemas.microsoft.com/office/drawing/2014/main" id="{14AD5F3D-32CC-5C4A-9E39-E63A3F6820B2}"/>
              </a:ext>
            </a:extLst>
          </p:cNvPr>
          <p:cNvSpPr>
            <a:spLocks noChangeAspect="1"/>
          </p:cNvSpPr>
          <p:nvPr/>
        </p:nvSpPr>
        <p:spPr bwMode="gray">
          <a:xfrm>
            <a:off x="10887001" y="5759013"/>
            <a:ext cx="176887" cy="243889"/>
          </a:xfrm>
          <a:custGeom>
            <a:avLst/>
            <a:gdLst/>
            <a:ahLst/>
            <a:cxnLst>
              <a:cxn ang="0">
                <a:pos x="0" y="0"/>
              </a:cxn>
              <a:cxn ang="0">
                <a:pos x="53" y="30"/>
              </a:cxn>
              <a:cxn ang="0">
                <a:pos x="67" y="89"/>
              </a:cxn>
              <a:cxn ang="0">
                <a:pos x="90" y="105"/>
              </a:cxn>
              <a:cxn ang="0">
                <a:pos x="104" y="81"/>
              </a:cxn>
              <a:cxn ang="0">
                <a:pos x="115" y="121"/>
              </a:cxn>
              <a:cxn ang="0">
                <a:pos x="193" y="121"/>
              </a:cxn>
              <a:cxn ang="0">
                <a:pos x="177" y="180"/>
              </a:cxn>
              <a:cxn ang="0">
                <a:pos x="138" y="188"/>
              </a:cxn>
              <a:cxn ang="0">
                <a:pos x="105" y="265"/>
              </a:cxn>
              <a:cxn ang="0">
                <a:pos x="68" y="266"/>
              </a:cxn>
              <a:cxn ang="0">
                <a:pos x="85" y="239"/>
              </a:cxn>
              <a:cxn ang="0">
                <a:pos x="37" y="184"/>
              </a:cxn>
              <a:cxn ang="0">
                <a:pos x="75" y="136"/>
              </a:cxn>
              <a:cxn ang="0">
                <a:pos x="68" y="96"/>
              </a:cxn>
              <a:cxn ang="0">
                <a:pos x="0" y="0"/>
              </a:cxn>
            </a:cxnLst>
            <a:rect l="0" t="0" r="r" b="b"/>
            <a:pathLst>
              <a:path w="193" h="266">
                <a:moveTo>
                  <a:pt x="0" y="0"/>
                </a:moveTo>
                <a:lnTo>
                  <a:pt x="53" y="30"/>
                </a:lnTo>
                <a:lnTo>
                  <a:pt x="67" y="89"/>
                </a:lnTo>
                <a:lnTo>
                  <a:pt x="90" y="105"/>
                </a:lnTo>
                <a:lnTo>
                  <a:pt x="104" y="81"/>
                </a:lnTo>
                <a:lnTo>
                  <a:pt x="115" y="121"/>
                </a:lnTo>
                <a:lnTo>
                  <a:pt x="193" y="121"/>
                </a:lnTo>
                <a:lnTo>
                  <a:pt x="177" y="180"/>
                </a:lnTo>
                <a:lnTo>
                  <a:pt x="138" y="188"/>
                </a:lnTo>
                <a:lnTo>
                  <a:pt x="105" y="265"/>
                </a:lnTo>
                <a:lnTo>
                  <a:pt x="68" y="266"/>
                </a:lnTo>
                <a:lnTo>
                  <a:pt x="85" y="239"/>
                </a:lnTo>
                <a:lnTo>
                  <a:pt x="37" y="184"/>
                </a:lnTo>
                <a:lnTo>
                  <a:pt x="75" y="136"/>
                </a:lnTo>
                <a:lnTo>
                  <a:pt x="68" y="96"/>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3" name="30490231.125383.87539.12548.755">
            <a:extLst>
              <a:ext uri="{FF2B5EF4-FFF2-40B4-BE49-F238E27FC236}">
                <a16:creationId xmlns:a16="http://schemas.microsoft.com/office/drawing/2014/main" id="{7672144A-065D-E54B-B140-C2D7CD0DAAFD}"/>
              </a:ext>
            </a:extLst>
          </p:cNvPr>
          <p:cNvSpPr>
            <a:spLocks noChangeAspect="1"/>
          </p:cNvSpPr>
          <p:nvPr/>
        </p:nvSpPr>
        <p:spPr bwMode="gray">
          <a:xfrm>
            <a:off x="5825761" y="2043493"/>
            <a:ext cx="781724" cy="632428"/>
          </a:xfrm>
          <a:custGeom>
            <a:avLst/>
            <a:gdLst/>
            <a:ahLst/>
            <a:cxnLst>
              <a:cxn ang="0">
                <a:pos x="3" y="548"/>
              </a:cxn>
              <a:cxn ang="0">
                <a:pos x="84" y="539"/>
              </a:cxn>
              <a:cxn ang="0">
                <a:pos x="22" y="571"/>
              </a:cxn>
              <a:cxn ang="0">
                <a:pos x="69" y="577"/>
              </a:cxn>
              <a:cxn ang="0">
                <a:pos x="43" y="629"/>
              </a:cxn>
              <a:cxn ang="0">
                <a:pos x="105" y="693"/>
              </a:cxn>
              <a:cxn ang="0">
                <a:pos x="184" y="610"/>
              </a:cxn>
              <a:cxn ang="0">
                <a:pos x="244" y="600"/>
              </a:cxn>
              <a:cxn ang="0">
                <a:pos x="255" y="537"/>
              </a:cxn>
              <a:cxn ang="0">
                <a:pos x="239" y="417"/>
              </a:cxn>
              <a:cxn ang="0">
                <a:pos x="289" y="363"/>
              </a:cxn>
              <a:cxn ang="0">
                <a:pos x="374" y="233"/>
              </a:cxn>
              <a:cxn ang="0">
                <a:pos x="428" y="179"/>
              </a:cxn>
              <a:cxn ang="0">
                <a:pos x="502" y="157"/>
              </a:cxn>
              <a:cxn ang="0">
                <a:pos x="518" y="120"/>
              </a:cxn>
              <a:cxn ang="0">
                <a:pos x="580" y="136"/>
              </a:cxn>
              <a:cxn ang="0">
                <a:pos x="690" y="121"/>
              </a:cxn>
              <a:cxn ang="0">
                <a:pos x="767" y="63"/>
              </a:cxn>
              <a:cxn ang="0">
                <a:pos x="799" y="120"/>
              </a:cxn>
              <a:cxn ang="0">
                <a:pos x="819" y="83"/>
              </a:cxn>
              <a:cxn ang="0">
                <a:pos x="788" y="59"/>
              </a:cxn>
              <a:cxn ang="0">
                <a:pos x="803" y="13"/>
              </a:cxn>
              <a:cxn ang="0">
                <a:pos x="784" y="4"/>
              </a:cxn>
              <a:cxn ang="0">
                <a:pos x="731" y="39"/>
              </a:cxn>
              <a:cxn ang="0">
                <a:pos x="720" y="8"/>
              </a:cxn>
              <a:cxn ang="0">
                <a:pos x="694" y="14"/>
              </a:cxn>
              <a:cxn ang="0">
                <a:pos x="606" y="66"/>
              </a:cxn>
              <a:cxn ang="0">
                <a:pos x="565" y="81"/>
              </a:cxn>
              <a:cxn ang="0">
                <a:pos x="503" y="105"/>
              </a:cxn>
              <a:cxn ang="0">
                <a:pos x="487" y="99"/>
              </a:cxn>
              <a:cxn ang="0">
                <a:pos x="481" y="109"/>
              </a:cxn>
              <a:cxn ang="0">
                <a:pos x="424" y="138"/>
              </a:cxn>
              <a:cxn ang="0">
                <a:pos x="421" y="156"/>
              </a:cxn>
              <a:cxn ang="0">
                <a:pos x="340" y="205"/>
              </a:cxn>
              <a:cxn ang="0">
                <a:pos x="277" y="253"/>
              </a:cxn>
              <a:cxn ang="0">
                <a:pos x="154" y="405"/>
              </a:cxn>
              <a:cxn ang="0">
                <a:pos x="211" y="410"/>
              </a:cxn>
              <a:cxn ang="0">
                <a:pos x="69" y="458"/>
              </a:cxn>
              <a:cxn ang="0">
                <a:pos x="46" y="473"/>
              </a:cxn>
              <a:cxn ang="0">
                <a:pos x="4" y="495"/>
              </a:cxn>
              <a:cxn ang="0">
                <a:pos x="0" y="519"/>
              </a:cxn>
            </a:cxnLst>
            <a:rect l="0" t="0" r="r" b="b"/>
            <a:pathLst>
              <a:path w="863" h="693">
                <a:moveTo>
                  <a:pt x="0" y="519"/>
                </a:moveTo>
                <a:lnTo>
                  <a:pt x="3" y="548"/>
                </a:lnTo>
                <a:lnTo>
                  <a:pt x="81" y="528"/>
                </a:lnTo>
                <a:lnTo>
                  <a:pt x="84" y="539"/>
                </a:lnTo>
                <a:lnTo>
                  <a:pt x="2" y="560"/>
                </a:lnTo>
                <a:lnTo>
                  <a:pt x="22" y="571"/>
                </a:lnTo>
                <a:lnTo>
                  <a:pt x="14" y="608"/>
                </a:lnTo>
                <a:lnTo>
                  <a:pt x="69" y="577"/>
                </a:lnTo>
                <a:lnTo>
                  <a:pt x="9" y="629"/>
                </a:lnTo>
                <a:lnTo>
                  <a:pt x="43" y="629"/>
                </a:lnTo>
                <a:lnTo>
                  <a:pt x="22" y="674"/>
                </a:lnTo>
                <a:lnTo>
                  <a:pt x="105" y="693"/>
                </a:lnTo>
                <a:lnTo>
                  <a:pt x="171" y="649"/>
                </a:lnTo>
                <a:lnTo>
                  <a:pt x="184" y="610"/>
                </a:lnTo>
                <a:lnTo>
                  <a:pt x="205" y="649"/>
                </a:lnTo>
                <a:lnTo>
                  <a:pt x="244" y="600"/>
                </a:lnTo>
                <a:lnTo>
                  <a:pt x="237" y="556"/>
                </a:lnTo>
                <a:lnTo>
                  <a:pt x="255" y="537"/>
                </a:lnTo>
                <a:lnTo>
                  <a:pt x="237" y="516"/>
                </a:lnTo>
                <a:lnTo>
                  <a:pt x="239" y="417"/>
                </a:lnTo>
                <a:lnTo>
                  <a:pt x="301" y="394"/>
                </a:lnTo>
                <a:lnTo>
                  <a:pt x="289" y="363"/>
                </a:lnTo>
                <a:lnTo>
                  <a:pt x="316" y="288"/>
                </a:lnTo>
                <a:lnTo>
                  <a:pt x="374" y="233"/>
                </a:lnTo>
                <a:lnTo>
                  <a:pt x="386" y="187"/>
                </a:lnTo>
                <a:lnTo>
                  <a:pt x="428" y="179"/>
                </a:lnTo>
                <a:lnTo>
                  <a:pt x="440" y="150"/>
                </a:lnTo>
                <a:lnTo>
                  <a:pt x="502" y="157"/>
                </a:lnTo>
                <a:lnTo>
                  <a:pt x="503" y="120"/>
                </a:lnTo>
                <a:lnTo>
                  <a:pt x="518" y="120"/>
                </a:lnTo>
                <a:lnTo>
                  <a:pt x="542" y="103"/>
                </a:lnTo>
                <a:lnTo>
                  <a:pt x="580" y="136"/>
                </a:lnTo>
                <a:lnTo>
                  <a:pt x="650" y="142"/>
                </a:lnTo>
                <a:lnTo>
                  <a:pt x="690" y="121"/>
                </a:lnTo>
                <a:lnTo>
                  <a:pt x="701" y="76"/>
                </a:lnTo>
                <a:lnTo>
                  <a:pt x="767" y="63"/>
                </a:lnTo>
                <a:lnTo>
                  <a:pt x="803" y="81"/>
                </a:lnTo>
                <a:lnTo>
                  <a:pt x="799" y="120"/>
                </a:lnTo>
                <a:lnTo>
                  <a:pt x="861" y="76"/>
                </a:lnTo>
                <a:lnTo>
                  <a:pt x="819" y="83"/>
                </a:lnTo>
                <a:lnTo>
                  <a:pt x="830" y="72"/>
                </a:lnTo>
                <a:lnTo>
                  <a:pt x="788" y="59"/>
                </a:lnTo>
                <a:lnTo>
                  <a:pt x="863" y="39"/>
                </a:lnTo>
                <a:lnTo>
                  <a:pt x="803" y="13"/>
                </a:lnTo>
                <a:lnTo>
                  <a:pt x="763" y="39"/>
                </a:lnTo>
                <a:lnTo>
                  <a:pt x="784" y="4"/>
                </a:lnTo>
                <a:lnTo>
                  <a:pt x="752" y="0"/>
                </a:lnTo>
                <a:lnTo>
                  <a:pt x="731" y="39"/>
                </a:lnTo>
                <a:lnTo>
                  <a:pt x="720" y="41"/>
                </a:lnTo>
                <a:lnTo>
                  <a:pt x="720" y="8"/>
                </a:lnTo>
                <a:lnTo>
                  <a:pt x="665" y="63"/>
                </a:lnTo>
                <a:lnTo>
                  <a:pt x="694" y="14"/>
                </a:lnTo>
                <a:lnTo>
                  <a:pt x="665" y="6"/>
                </a:lnTo>
                <a:lnTo>
                  <a:pt x="606" y="66"/>
                </a:lnTo>
                <a:lnTo>
                  <a:pt x="550" y="47"/>
                </a:lnTo>
                <a:lnTo>
                  <a:pt x="565" y="81"/>
                </a:lnTo>
                <a:lnTo>
                  <a:pt x="542" y="63"/>
                </a:lnTo>
                <a:lnTo>
                  <a:pt x="503" y="105"/>
                </a:lnTo>
                <a:lnTo>
                  <a:pt x="507" y="70"/>
                </a:lnTo>
                <a:lnTo>
                  <a:pt x="487" y="99"/>
                </a:lnTo>
                <a:lnTo>
                  <a:pt x="469" y="79"/>
                </a:lnTo>
                <a:lnTo>
                  <a:pt x="481" y="109"/>
                </a:lnTo>
                <a:lnTo>
                  <a:pt x="436" y="96"/>
                </a:lnTo>
                <a:lnTo>
                  <a:pt x="424" y="138"/>
                </a:lnTo>
                <a:lnTo>
                  <a:pt x="382" y="153"/>
                </a:lnTo>
                <a:lnTo>
                  <a:pt x="421" y="156"/>
                </a:lnTo>
                <a:lnTo>
                  <a:pt x="352" y="176"/>
                </a:lnTo>
                <a:lnTo>
                  <a:pt x="340" y="205"/>
                </a:lnTo>
                <a:lnTo>
                  <a:pt x="360" y="205"/>
                </a:lnTo>
                <a:lnTo>
                  <a:pt x="277" y="253"/>
                </a:lnTo>
                <a:lnTo>
                  <a:pt x="245" y="336"/>
                </a:lnTo>
                <a:lnTo>
                  <a:pt x="154" y="405"/>
                </a:lnTo>
                <a:lnTo>
                  <a:pt x="171" y="422"/>
                </a:lnTo>
                <a:lnTo>
                  <a:pt x="211" y="410"/>
                </a:lnTo>
                <a:lnTo>
                  <a:pt x="118" y="431"/>
                </a:lnTo>
                <a:lnTo>
                  <a:pt x="69" y="458"/>
                </a:lnTo>
                <a:lnTo>
                  <a:pt x="81" y="473"/>
                </a:lnTo>
                <a:lnTo>
                  <a:pt x="46" y="473"/>
                </a:lnTo>
                <a:lnTo>
                  <a:pt x="48" y="495"/>
                </a:lnTo>
                <a:lnTo>
                  <a:pt x="4" y="495"/>
                </a:lnTo>
                <a:lnTo>
                  <a:pt x="46" y="506"/>
                </a:lnTo>
                <a:lnTo>
                  <a:pt x="0" y="51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4" name="30492398.25640.2514.62518.6255">
            <a:extLst>
              <a:ext uri="{FF2B5EF4-FFF2-40B4-BE49-F238E27FC236}">
                <a16:creationId xmlns:a16="http://schemas.microsoft.com/office/drawing/2014/main" id="{96CBAB87-F410-1244-B241-769C5CE523DB}"/>
              </a:ext>
            </a:extLst>
          </p:cNvPr>
          <p:cNvSpPr>
            <a:spLocks noChangeAspect="1"/>
          </p:cNvSpPr>
          <p:nvPr/>
        </p:nvSpPr>
        <p:spPr bwMode="gray">
          <a:xfrm>
            <a:off x="9937897" y="4748138"/>
            <a:ext cx="296713" cy="237163"/>
          </a:xfrm>
          <a:custGeom>
            <a:avLst/>
            <a:gdLst/>
            <a:ahLst/>
            <a:cxnLst>
              <a:cxn ang="0">
                <a:pos x="0" y="0"/>
              </a:cxn>
              <a:cxn ang="0">
                <a:pos x="5" y="216"/>
              </a:cxn>
              <a:cxn ang="0">
                <a:pos x="59" y="223"/>
              </a:cxn>
              <a:cxn ang="0">
                <a:pos x="112" y="164"/>
              </a:cxn>
              <a:cxn ang="0">
                <a:pos x="171" y="190"/>
              </a:cxn>
              <a:cxn ang="0">
                <a:pos x="226" y="248"/>
              </a:cxn>
              <a:cxn ang="0">
                <a:pos x="331" y="259"/>
              </a:cxn>
              <a:cxn ang="0">
                <a:pos x="211" y="162"/>
              </a:cxn>
              <a:cxn ang="0">
                <a:pos x="220" y="116"/>
              </a:cxn>
              <a:cxn ang="0">
                <a:pos x="163" y="99"/>
              </a:cxn>
              <a:cxn ang="0">
                <a:pos x="111" y="40"/>
              </a:cxn>
              <a:cxn ang="0">
                <a:pos x="0" y="0"/>
              </a:cxn>
            </a:cxnLst>
            <a:rect l="0" t="0" r="r" b="b"/>
            <a:pathLst>
              <a:path w="331" h="259">
                <a:moveTo>
                  <a:pt x="0" y="0"/>
                </a:moveTo>
                <a:lnTo>
                  <a:pt x="5" y="216"/>
                </a:lnTo>
                <a:lnTo>
                  <a:pt x="59" y="223"/>
                </a:lnTo>
                <a:lnTo>
                  <a:pt x="112" y="164"/>
                </a:lnTo>
                <a:lnTo>
                  <a:pt x="171" y="190"/>
                </a:lnTo>
                <a:lnTo>
                  <a:pt x="226" y="248"/>
                </a:lnTo>
                <a:lnTo>
                  <a:pt x="331" y="259"/>
                </a:lnTo>
                <a:lnTo>
                  <a:pt x="211" y="162"/>
                </a:lnTo>
                <a:lnTo>
                  <a:pt x="220" y="116"/>
                </a:lnTo>
                <a:lnTo>
                  <a:pt x="163" y="99"/>
                </a:lnTo>
                <a:lnTo>
                  <a:pt x="111" y="40"/>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5" name="30493401.375653.8753.757.755">
            <a:extLst>
              <a:ext uri="{FF2B5EF4-FFF2-40B4-BE49-F238E27FC236}">
                <a16:creationId xmlns:a16="http://schemas.microsoft.com/office/drawing/2014/main" id="{17B57F43-86F6-214D-AE17-3CF0925C3FD7}"/>
              </a:ext>
            </a:extLst>
          </p:cNvPr>
          <p:cNvSpPr>
            <a:spLocks noChangeAspect="1"/>
          </p:cNvSpPr>
          <p:nvPr/>
        </p:nvSpPr>
        <p:spPr bwMode="gray">
          <a:xfrm>
            <a:off x="10156632" y="4798598"/>
            <a:ext cx="123631" cy="62235"/>
          </a:xfrm>
          <a:custGeom>
            <a:avLst/>
            <a:gdLst/>
            <a:ahLst/>
            <a:cxnLst>
              <a:cxn ang="0">
                <a:pos x="0" y="44"/>
              </a:cxn>
              <a:cxn ang="0">
                <a:pos x="81" y="67"/>
              </a:cxn>
              <a:cxn ang="0">
                <a:pos x="137" y="21"/>
              </a:cxn>
              <a:cxn ang="0">
                <a:pos x="115" y="0"/>
              </a:cxn>
              <a:cxn ang="0">
                <a:pos x="97" y="26"/>
              </a:cxn>
              <a:cxn ang="0">
                <a:pos x="0" y="44"/>
              </a:cxn>
            </a:cxnLst>
            <a:rect l="0" t="0" r="r" b="b"/>
            <a:pathLst>
              <a:path w="137" h="67">
                <a:moveTo>
                  <a:pt x="0" y="44"/>
                </a:moveTo>
                <a:lnTo>
                  <a:pt x="81" y="67"/>
                </a:lnTo>
                <a:lnTo>
                  <a:pt x="137" y="21"/>
                </a:lnTo>
                <a:lnTo>
                  <a:pt x="115" y="0"/>
                </a:lnTo>
                <a:lnTo>
                  <a:pt x="97" y="26"/>
                </a:lnTo>
                <a:lnTo>
                  <a:pt x="0" y="4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6" name="30494398.5658.6253.754.1255">
            <a:extLst>
              <a:ext uri="{FF2B5EF4-FFF2-40B4-BE49-F238E27FC236}">
                <a16:creationId xmlns:a16="http://schemas.microsoft.com/office/drawing/2014/main" id="{1DDC45A1-ABC9-3D41-921F-6185CA7D3FB7}"/>
              </a:ext>
            </a:extLst>
          </p:cNvPr>
          <p:cNvSpPr>
            <a:spLocks noChangeAspect="1"/>
          </p:cNvSpPr>
          <p:nvPr/>
        </p:nvSpPr>
        <p:spPr bwMode="gray">
          <a:xfrm>
            <a:off x="10232709" y="4753183"/>
            <a:ext cx="64667" cy="60551"/>
          </a:xfrm>
          <a:custGeom>
            <a:avLst/>
            <a:gdLst/>
            <a:ahLst/>
            <a:cxnLst>
              <a:cxn ang="0">
                <a:pos x="0" y="0"/>
              </a:cxn>
              <a:cxn ang="0">
                <a:pos x="55" y="30"/>
              </a:cxn>
              <a:cxn ang="0">
                <a:pos x="73" y="66"/>
              </a:cxn>
              <a:cxn ang="0">
                <a:pos x="72" y="40"/>
              </a:cxn>
              <a:cxn ang="0">
                <a:pos x="0" y="0"/>
              </a:cxn>
            </a:cxnLst>
            <a:rect l="0" t="0" r="r" b="b"/>
            <a:pathLst>
              <a:path w="73" h="66">
                <a:moveTo>
                  <a:pt x="0" y="0"/>
                </a:moveTo>
                <a:lnTo>
                  <a:pt x="55" y="30"/>
                </a:lnTo>
                <a:lnTo>
                  <a:pt x="73" y="66"/>
                </a:lnTo>
                <a:lnTo>
                  <a:pt x="72" y="40"/>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7" name="30497310.37535710.565">
            <a:extLst>
              <a:ext uri="{FF2B5EF4-FFF2-40B4-BE49-F238E27FC236}">
                <a16:creationId xmlns:a16="http://schemas.microsoft.com/office/drawing/2014/main" id="{28285E6A-ECFE-6845-B7F7-5F9018B9AA02}"/>
              </a:ext>
            </a:extLst>
          </p:cNvPr>
          <p:cNvSpPr>
            <a:spLocks noChangeAspect="1"/>
          </p:cNvSpPr>
          <p:nvPr/>
        </p:nvSpPr>
        <p:spPr bwMode="gray">
          <a:xfrm>
            <a:off x="5395906" y="3323489"/>
            <a:ext cx="98904" cy="173246"/>
          </a:xfrm>
          <a:custGeom>
            <a:avLst/>
            <a:gdLst/>
            <a:ahLst/>
            <a:cxnLst>
              <a:cxn ang="0">
                <a:pos x="0" y="121"/>
              </a:cxn>
              <a:cxn ang="0">
                <a:pos x="18" y="0"/>
              </a:cxn>
              <a:cxn ang="0">
                <a:pos x="104" y="8"/>
              </a:cxn>
              <a:cxn ang="0">
                <a:pos x="66" y="85"/>
              </a:cxn>
              <a:cxn ang="0">
                <a:pos x="66" y="180"/>
              </a:cxn>
              <a:cxn ang="0">
                <a:pos x="15" y="185"/>
              </a:cxn>
              <a:cxn ang="0">
                <a:pos x="22" y="127"/>
              </a:cxn>
              <a:cxn ang="0">
                <a:pos x="0" y="121"/>
              </a:cxn>
            </a:cxnLst>
            <a:rect l="0" t="0" r="r" b="b"/>
            <a:pathLst>
              <a:path w="104" h="185">
                <a:moveTo>
                  <a:pt x="0" y="121"/>
                </a:moveTo>
                <a:lnTo>
                  <a:pt x="18" y="0"/>
                </a:lnTo>
                <a:lnTo>
                  <a:pt x="104" y="8"/>
                </a:lnTo>
                <a:lnTo>
                  <a:pt x="66" y="85"/>
                </a:lnTo>
                <a:lnTo>
                  <a:pt x="66" y="180"/>
                </a:lnTo>
                <a:lnTo>
                  <a:pt x="15" y="185"/>
                </a:lnTo>
                <a:lnTo>
                  <a:pt x="22" y="127"/>
                </a:lnTo>
                <a:lnTo>
                  <a:pt x="0" y="12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8" name="30498331.125439.62532.87539.6255">
            <a:extLst>
              <a:ext uri="{FF2B5EF4-FFF2-40B4-BE49-F238E27FC236}">
                <a16:creationId xmlns:a16="http://schemas.microsoft.com/office/drawing/2014/main" id="{A1D6B67B-04D9-0441-8C4A-FA0003355D38}"/>
              </a:ext>
            </a:extLst>
          </p:cNvPr>
          <p:cNvSpPr>
            <a:spLocks noChangeAspect="1"/>
          </p:cNvSpPr>
          <p:nvPr/>
        </p:nvSpPr>
        <p:spPr bwMode="gray">
          <a:xfrm>
            <a:off x="6721605" y="3663252"/>
            <a:ext cx="633369" cy="531511"/>
          </a:xfrm>
          <a:custGeom>
            <a:avLst/>
            <a:gdLst/>
            <a:ahLst/>
            <a:cxnLst>
              <a:cxn ang="0">
                <a:pos x="0" y="153"/>
              </a:cxn>
              <a:cxn ang="0">
                <a:pos x="10" y="102"/>
              </a:cxn>
              <a:cxn ang="0">
                <a:pos x="47" y="113"/>
              </a:cxn>
              <a:cxn ang="0">
                <a:pos x="92" y="81"/>
              </a:cxn>
              <a:cxn ang="0">
                <a:pos x="112" y="59"/>
              </a:cxn>
              <a:cxn ang="0">
                <a:pos x="75" y="25"/>
              </a:cxn>
              <a:cxn ang="0">
                <a:pos x="150" y="0"/>
              </a:cxn>
              <a:cxn ang="0">
                <a:pos x="300" y="67"/>
              </a:cxn>
              <a:cxn ang="0">
                <a:pos x="301" y="92"/>
              </a:cxn>
              <a:cxn ang="0">
                <a:pos x="337" y="108"/>
              </a:cxn>
              <a:cxn ang="0">
                <a:pos x="369" y="125"/>
              </a:cxn>
              <a:cxn ang="0">
                <a:pos x="398" y="113"/>
              </a:cxn>
              <a:cxn ang="0">
                <a:pos x="458" y="132"/>
              </a:cxn>
              <a:cxn ang="0">
                <a:pos x="539" y="265"/>
              </a:cxn>
              <a:cxn ang="0">
                <a:pos x="549" y="275"/>
              </a:cxn>
              <a:cxn ang="0">
                <a:pos x="580" y="327"/>
              </a:cxn>
              <a:cxn ang="0">
                <a:pos x="686" y="340"/>
              </a:cxn>
              <a:cxn ang="0">
                <a:pos x="703" y="364"/>
              </a:cxn>
              <a:cxn ang="0">
                <a:pos x="678" y="433"/>
              </a:cxn>
              <a:cxn ang="0">
                <a:pos x="580" y="467"/>
              </a:cxn>
              <a:cxn ang="0">
                <a:pos x="473" y="491"/>
              </a:cxn>
              <a:cxn ang="0">
                <a:pos x="388" y="584"/>
              </a:cxn>
              <a:cxn ang="0">
                <a:pos x="388" y="549"/>
              </a:cxn>
              <a:cxn ang="0">
                <a:pos x="327" y="525"/>
              </a:cxn>
              <a:cxn ang="0">
                <a:pos x="267" y="557"/>
              </a:cxn>
              <a:cxn ang="0">
                <a:pos x="207" y="451"/>
              </a:cxn>
              <a:cxn ang="0">
                <a:pos x="157" y="410"/>
              </a:cxn>
              <a:cxn ang="0">
                <a:pos x="125" y="300"/>
              </a:cxn>
              <a:cxn ang="0">
                <a:pos x="0" y="153"/>
              </a:cxn>
            </a:cxnLst>
            <a:rect l="0" t="0" r="r" b="b"/>
            <a:pathLst>
              <a:path w="703" h="584">
                <a:moveTo>
                  <a:pt x="0" y="153"/>
                </a:moveTo>
                <a:lnTo>
                  <a:pt x="10" y="102"/>
                </a:lnTo>
                <a:lnTo>
                  <a:pt x="47" y="113"/>
                </a:lnTo>
                <a:lnTo>
                  <a:pt x="92" y="81"/>
                </a:lnTo>
                <a:lnTo>
                  <a:pt x="112" y="59"/>
                </a:lnTo>
                <a:lnTo>
                  <a:pt x="75" y="25"/>
                </a:lnTo>
                <a:lnTo>
                  <a:pt x="150" y="0"/>
                </a:lnTo>
                <a:lnTo>
                  <a:pt x="300" y="67"/>
                </a:lnTo>
                <a:lnTo>
                  <a:pt x="301" y="92"/>
                </a:lnTo>
                <a:lnTo>
                  <a:pt x="337" y="108"/>
                </a:lnTo>
                <a:lnTo>
                  <a:pt x="369" y="125"/>
                </a:lnTo>
                <a:lnTo>
                  <a:pt x="398" y="113"/>
                </a:lnTo>
                <a:lnTo>
                  <a:pt x="458" y="132"/>
                </a:lnTo>
                <a:lnTo>
                  <a:pt x="539" y="265"/>
                </a:lnTo>
                <a:lnTo>
                  <a:pt x="549" y="275"/>
                </a:lnTo>
                <a:lnTo>
                  <a:pt x="580" y="327"/>
                </a:lnTo>
                <a:lnTo>
                  <a:pt x="686" y="340"/>
                </a:lnTo>
                <a:lnTo>
                  <a:pt x="703" y="364"/>
                </a:lnTo>
                <a:lnTo>
                  <a:pt x="678" y="433"/>
                </a:lnTo>
                <a:lnTo>
                  <a:pt x="580" y="467"/>
                </a:lnTo>
                <a:lnTo>
                  <a:pt x="473" y="491"/>
                </a:lnTo>
                <a:lnTo>
                  <a:pt x="388" y="584"/>
                </a:lnTo>
                <a:lnTo>
                  <a:pt x="388" y="549"/>
                </a:lnTo>
                <a:lnTo>
                  <a:pt x="327" y="525"/>
                </a:lnTo>
                <a:lnTo>
                  <a:pt x="267" y="557"/>
                </a:lnTo>
                <a:lnTo>
                  <a:pt x="207" y="451"/>
                </a:lnTo>
                <a:lnTo>
                  <a:pt x="157" y="410"/>
                </a:lnTo>
                <a:lnTo>
                  <a:pt x="125" y="300"/>
                </a:lnTo>
                <a:lnTo>
                  <a:pt x="0" y="15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69" name="30499206.625411.25103.25321.6255">
            <a:extLst>
              <a:ext uri="{FF2B5EF4-FFF2-40B4-BE49-F238E27FC236}">
                <a16:creationId xmlns:a16="http://schemas.microsoft.com/office/drawing/2014/main" id="{F0D2CECB-D719-5848-BD27-2A969C1D7161}"/>
              </a:ext>
            </a:extLst>
          </p:cNvPr>
          <p:cNvSpPr>
            <a:spLocks noChangeAspect="1"/>
          </p:cNvSpPr>
          <p:nvPr/>
        </p:nvSpPr>
        <p:spPr bwMode="gray">
          <a:xfrm>
            <a:off x="6267027" y="1644859"/>
            <a:ext cx="5154439" cy="1673584"/>
          </a:xfrm>
          <a:custGeom>
            <a:avLst/>
            <a:gdLst/>
            <a:ahLst/>
            <a:cxnLst>
              <a:cxn ang="0">
                <a:pos x="93" y="1148"/>
              </a:cxn>
              <a:cxn ang="0">
                <a:pos x="301" y="1001"/>
              </a:cxn>
              <a:cxn ang="0">
                <a:pos x="298" y="591"/>
              </a:cxn>
              <a:cxn ang="0">
                <a:pos x="541" y="545"/>
              </a:cxn>
              <a:cxn ang="0">
                <a:pos x="598" y="844"/>
              </a:cxn>
              <a:cxn ang="0">
                <a:pos x="672" y="747"/>
              </a:cxn>
              <a:cxn ang="0">
                <a:pos x="846" y="645"/>
              </a:cxn>
              <a:cxn ang="0">
                <a:pos x="1311" y="554"/>
              </a:cxn>
              <a:cxn ang="0">
                <a:pos x="1652" y="567"/>
              </a:cxn>
              <a:cxn ang="0">
                <a:pos x="1660" y="318"/>
              </a:cxn>
              <a:cxn ang="0">
                <a:pos x="1784" y="629"/>
              </a:cxn>
              <a:cxn ang="0">
                <a:pos x="1858" y="567"/>
              </a:cxn>
              <a:cxn ang="0">
                <a:pos x="1938" y="567"/>
              </a:cxn>
              <a:cxn ang="0">
                <a:pos x="1854" y="411"/>
              </a:cxn>
              <a:cxn ang="0">
                <a:pos x="2123" y="399"/>
              </a:cxn>
              <a:cxn ang="0">
                <a:pos x="2237" y="257"/>
              </a:cxn>
              <a:cxn ang="0">
                <a:pos x="2542" y="107"/>
              </a:cxn>
              <a:cxn ang="0">
                <a:pos x="2724" y="47"/>
              </a:cxn>
              <a:cxn ang="0">
                <a:pos x="3143" y="124"/>
              </a:cxn>
              <a:cxn ang="0">
                <a:pos x="2895" y="301"/>
              </a:cxn>
              <a:cxn ang="0">
                <a:pos x="3172" y="304"/>
              </a:cxn>
              <a:cxn ang="0">
                <a:pos x="3460" y="264"/>
              </a:cxn>
              <a:cxn ang="0">
                <a:pos x="3868" y="399"/>
              </a:cxn>
              <a:cxn ang="0">
                <a:pos x="4318" y="397"/>
              </a:cxn>
              <a:cxn ang="0">
                <a:pos x="4766" y="514"/>
              </a:cxn>
              <a:cxn ang="0">
                <a:pos x="5041" y="496"/>
              </a:cxn>
              <a:cxn ang="0">
                <a:pos x="5579" y="678"/>
              </a:cxn>
              <a:cxn ang="0">
                <a:pos x="5552" y="810"/>
              </a:cxn>
              <a:cxn ang="0">
                <a:pos x="5376" y="708"/>
              </a:cxn>
              <a:cxn ang="0">
                <a:pos x="5321" y="917"/>
              </a:cxn>
              <a:cxn ang="0">
                <a:pos x="4890" y="1011"/>
              </a:cxn>
              <a:cxn ang="0">
                <a:pos x="4762" y="1214"/>
              </a:cxn>
              <a:cxn ang="0">
                <a:pos x="4582" y="1462"/>
              </a:cxn>
              <a:cxn ang="0">
                <a:pos x="4826" y="926"/>
              </a:cxn>
              <a:cxn ang="0">
                <a:pos x="4492" y="1044"/>
              </a:cxn>
              <a:cxn ang="0">
                <a:pos x="4106" y="1078"/>
              </a:cxn>
              <a:cxn ang="0">
                <a:pos x="3965" y="1344"/>
              </a:cxn>
              <a:cxn ang="0">
                <a:pos x="4035" y="1469"/>
              </a:cxn>
              <a:cxn ang="0">
                <a:pos x="3727" y="1776"/>
              </a:cxn>
              <a:cxn ang="0">
                <a:pos x="3540" y="1370"/>
              </a:cxn>
              <a:cxn ang="0">
                <a:pos x="3166" y="1491"/>
              </a:cxn>
              <a:cxn ang="0">
                <a:pos x="2610" y="1499"/>
              </a:cxn>
              <a:cxn ang="0">
                <a:pos x="2013" y="1498"/>
              </a:cxn>
              <a:cxn ang="0">
                <a:pos x="1747" y="1363"/>
              </a:cxn>
              <a:cxn ang="0">
                <a:pos x="1418" y="1265"/>
              </a:cxn>
              <a:cxn ang="0">
                <a:pos x="1193" y="1308"/>
              </a:cxn>
              <a:cxn ang="0">
                <a:pos x="1245" y="1463"/>
              </a:cxn>
              <a:cxn ang="0">
                <a:pos x="1090" y="1448"/>
              </a:cxn>
              <a:cxn ang="0">
                <a:pos x="894" y="1483"/>
              </a:cxn>
              <a:cxn ang="0">
                <a:pos x="888" y="1575"/>
              </a:cxn>
              <a:cxn ang="0">
                <a:pos x="930" y="1652"/>
              </a:cxn>
              <a:cxn ang="0">
                <a:pos x="870" y="1795"/>
              </a:cxn>
              <a:cxn ang="0">
                <a:pos x="643" y="1739"/>
              </a:cxn>
              <a:cxn ang="0">
                <a:pos x="653" y="1525"/>
              </a:cxn>
              <a:cxn ang="0">
                <a:pos x="442" y="1397"/>
              </a:cxn>
              <a:cxn ang="0">
                <a:pos x="383" y="1362"/>
              </a:cxn>
              <a:cxn ang="0">
                <a:pos x="231" y="1252"/>
              </a:cxn>
              <a:cxn ang="0">
                <a:pos x="139" y="1341"/>
              </a:cxn>
            </a:cxnLst>
            <a:rect l="0" t="0" r="r" b="b"/>
            <a:pathLst>
              <a:path w="5699" h="1829">
                <a:moveTo>
                  <a:pt x="0" y="1300"/>
                </a:moveTo>
                <a:lnTo>
                  <a:pt x="47" y="1257"/>
                </a:lnTo>
                <a:lnTo>
                  <a:pt x="31" y="1275"/>
                </a:lnTo>
                <a:lnTo>
                  <a:pt x="52" y="1280"/>
                </a:lnTo>
                <a:lnTo>
                  <a:pt x="47" y="1194"/>
                </a:lnTo>
                <a:lnTo>
                  <a:pt x="66" y="1154"/>
                </a:lnTo>
                <a:lnTo>
                  <a:pt x="93" y="1148"/>
                </a:lnTo>
                <a:lnTo>
                  <a:pt x="148" y="1186"/>
                </a:lnTo>
                <a:lnTo>
                  <a:pt x="161" y="1114"/>
                </a:lnTo>
                <a:lnTo>
                  <a:pt x="137" y="1115"/>
                </a:lnTo>
                <a:lnTo>
                  <a:pt x="128" y="1074"/>
                </a:lnTo>
                <a:lnTo>
                  <a:pt x="353" y="1037"/>
                </a:lnTo>
                <a:lnTo>
                  <a:pt x="298" y="1022"/>
                </a:lnTo>
                <a:lnTo>
                  <a:pt x="301" y="1001"/>
                </a:lnTo>
                <a:lnTo>
                  <a:pt x="266" y="1008"/>
                </a:lnTo>
                <a:lnTo>
                  <a:pt x="394" y="901"/>
                </a:lnTo>
                <a:lnTo>
                  <a:pt x="338" y="787"/>
                </a:lnTo>
                <a:lnTo>
                  <a:pt x="352" y="733"/>
                </a:lnTo>
                <a:lnTo>
                  <a:pt x="317" y="673"/>
                </a:lnTo>
                <a:lnTo>
                  <a:pt x="345" y="638"/>
                </a:lnTo>
                <a:lnTo>
                  <a:pt x="298" y="591"/>
                </a:lnTo>
                <a:lnTo>
                  <a:pt x="312" y="553"/>
                </a:lnTo>
                <a:lnTo>
                  <a:pt x="374" y="509"/>
                </a:lnTo>
                <a:lnTo>
                  <a:pt x="408" y="503"/>
                </a:lnTo>
                <a:lnTo>
                  <a:pt x="451" y="513"/>
                </a:lnTo>
                <a:lnTo>
                  <a:pt x="413" y="523"/>
                </a:lnTo>
                <a:lnTo>
                  <a:pt x="442" y="539"/>
                </a:lnTo>
                <a:lnTo>
                  <a:pt x="541" y="545"/>
                </a:lnTo>
                <a:lnTo>
                  <a:pt x="716" y="637"/>
                </a:lnTo>
                <a:lnTo>
                  <a:pt x="720" y="681"/>
                </a:lnTo>
                <a:lnTo>
                  <a:pt x="644" y="721"/>
                </a:lnTo>
                <a:lnTo>
                  <a:pt x="409" y="666"/>
                </a:lnTo>
                <a:lnTo>
                  <a:pt x="506" y="732"/>
                </a:lnTo>
                <a:lnTo>
                  <a:pt x="503" y="807"/>
                </a:lnTo>
                <a:lnTo>
                  <a:pt x="598" y="844"/>
                </a:lnTo>
                <a:lnTo>
                  <a:pt x="622" y="838"/>
                </a:lnTo>
                <a:lnTo>
                  <a:pt x="610" y="807"/>
                </a:lnTo>
                <a:lnTo>
                  <a:pt x="566" y="795"/>
                </a:lnTo>
                <a:lnTo>
                  <a:pt x="577" y="769"/>
                </a:lnTo>
                <a:lnTo>
                  <a:pt x="620" y="798"/>
                </a:lnTo>
                <a:lnTo>
                  <a:pt x="712" y="807"/>
                </a:lnTo>
                <a:lnTo>
                  <a:pt x="672" y="747"/>
                </a:lnTo>
                <a:lnTo>
                  <a:pt x="757" y="696"/>
                </a:lnTo>
                <a:lnTo>
                  <a:pt x="819" y="732"/>
                </a:lnTo>
                <a:lnTo>
                  <a:pt x="817" y="595"/>
                </a:lnTo>
                <a:lnTo>
                  <a:pt x="791" y="575"/>
                </a:lnTo>
                <a:lnTo>
                  <a:pt x="894" y="605"/>
                </a:lnTo>
                <a:lnTo>
                  <a:pt x="901" y="622"/>
                </a:lnTo>
                <a:lnTo>
                  <a:pt x="846" y="645"/>
                </a:lnTo>
                <a:lnTo>
                  <a:pt x="901" y="689"/>
                </a:lnTo>
                <a:lnTo>
                  <a:pt x="948" y="638"/>
                </a:lnTo>
                <a:lnTo>
                  <a:pt x="1140" y="558"/>
                </a:lnTo>
                <a:lnTo>
                  <a:pt x="1169" y="554"/>
                </a:lnTo>
                <a:lnTo>
                  <a:pt x="1140" y="568"/>
                </a:lnTo>
                <a:lnTo>
                  <a:pt x="1172" y="607"/>
                </a:lnTo>
                <a:lnTo>
                  <a:pt x="1311" y="554"/>
                </a:lnTo>
                <a:lnTo>
                  <a:pt x="1342" y="593"/>
                </a:lnTo>
                <a:lnTo>
                  <a:pt x="1375" y="564"/>
                </a:lnTo>
                <a:lnTo>
                  <a:pt x="1359" y="520"/>
                </a:lnTo>
                <a:lnTo>
                  <a:pt x="1378" y="506"/>
                </a:lnTo>
                <a:lnTo>
                  <a:pt x="1484" y="527"/>
                </a:lnTo>
                <a:lnTo>
                  <a:pt x="1624" y="604"/>
                </a:lnTo>
                <a:lnTo>
                  <a:pt x="1652" y="567"/>
                </a:lnTo>
                <a:lnTo>
                  <a:pt x="1621" y="528"/>
                </a:lnTo>
                <a:lnTo>
                  <a:pt x="1579" y="517"/>
                </a:lnTo>
                <a:lnTo>
                  <a:pt x="1595" y="457"/>
                </a:lnTo>
                <a:lnTo>
                  <a:pt x="1566" y="448"/>
                </a:lnTo>
                <a:lnTo>
                  <a:pt x="1576" y="421"/>
                </a:lnTo>
                <a:lnTo>
                  <a:pt x="1627" y="391"/>
                </a:lnTo>
                <a:lnTo>
                  <a:pt x="1660" y="318"/>
                </a:lnTo>
                <a:lnTo>
                  <a:pt x="1733" y="319"/>
                </a:lnTo>
                <a:lnTo>
                  <a:pt x="1767" y="330"/>
                </a:lnTo>
                <a:lnTo>
                  <a:pt x="1741" y="407"/>
                </a:lnTo>
                <a:lnTo>
                  <a:pt x="1771" y="446"/>
                </a:lnTo>
                <a:lnTo>
                  <a:pt x="1762" y="553"/>
                </a:lnTo>
                <a:lnTo>
                  <a:pt x="1797" y="590"/>
                </a:lnTo>
                <a:lnTo>
                  <a:pt x="1784" y="629"/>
                </a:lnTo>
                <a:lnTo>
                  <a:pt x="1729" y="659"/>
                </a:lnTo>
                <a:lnTo>
                  <a:pt x="1747" y="673"/>
                </a:lnTo>
                <a:lnTo>
                  <a:pt x="1674" y="688"/>
                </a:lnTo>
                <a:lnTo>
                  <a:pt x="1751" y="714"/>
                </a:lnTo>
                <a:lnTo>
                  <a:pt x="1837" y="629"/>
                </a:lnTo>
                <a:lnTo>
                  <a:pt x="1828" y="575"/>
                </a:lnTo>
                <a:lnTo>
                  <a:pt x="1858" y="567"/>
                </a:lnTo>
                <a:lnTo>
                  <a:pt x="1903" y="557"/>
                </a:lnTo>
                <a:lnTo>
                  <a:pt x="1925" y="587"/>
                </a:lnTo>
                <a:lnTo>
                  <a:pt x="1922" y="627"/>
                </a:lnTo>
                <a:lnTo>
                  <a:pt x="1979" y="640"/>
                </a:lnTo>
                <a:lnTo>
                  <a:pt x="1935" y="626"/>
                </a:lnTo>
                <a:lnTo>
                  <a:pt x="1954" y="602"/>
                </a:lnTo>
                <a:lnTo>
                  <a:pt x="1938" y="567"/>
                </a:lnTo>
                <a:lnTo>
                  <a:pt x="1807" y="543"/>
                </a:lnTo>
                <a:lnTo>
                  <a:pt x="1828" y="459"/>
                </a:lnTo>
                <a:lnTo>
                  <a:pt x="1782" y="407"/>
                </a:lnTo>
                <a:lnTo>
                  <a:pt x="1847" y="359"/>
                </a:lnTo>
                <a:lnTo>
                  <a:pt x="1839" y="325"/>
                </a:lnTo>
                <a:lnTo>
                  <a:pt x="1869" y="344"/>
                </a:lnTo>
                <a:lnTo>
                  <a:pt x="1854" y="411"/>
                </a:lnTo>
                <a:lnTo>
                  <a:pt x="1874" y="421"/>
                </a:lnTo>
                <a:lnTo>
                  <a:pt x="1962" y="441"/>
                </a:lnTo>
                <a:lnTo>
                  <a:pt x="1883" y="385"/>
                </a:lnTo>
                <a:lnTo>
                  <a:pt x="1943" y="388"/>
                </a:lnTo>
                <a:lnTo>
                  <a:pt x="1929" y="366"/>
                </a:lnTo>
                <a:lnTo>
                  <a:pt x="1962" y="355"/>
                </a:lnTo>
                <a:lnTo>
                  <a:pt x="2123" y="399"/>
                </a:lnTo>
                <a:lnTo>
                  <a:pt x="2093" y="428"/>
                </a:lnTo>
                <a:lnTo>
                  <a:pt x="2089" y="472"/>
                </a:lnTo>
                <a:lnTo>
                  <a:pt x="2122" y="496"/>
                </a:lnTo>
                <a:lnTo>
                  <a:pt x="2138" y="399"/>
                </a:lnTo>
                <a:lnTo>
                  <a:pt x="2050" y="349"/>
                </a:lnTo>
                <a:lnTo>
                  <a:pt x="2032" y="282"/>
                </a:lnTo>
                <a:lnTo>
                  <a:pt x="2237" y="257"/>
                </a:lnTo>
                <a:lnTo>
                  <a:pt x="2211" y="195"/>
                </a:lnTo>
                <a:lnTo>
                  <a:pt x="2237" y="209"/>
                </a:lnTo>
                <a:lnTo>
                  <a:pt x="2271" y="184"/>
                </a:lnTo>
                <a:lnTo>
                  <a:pt x="2247" y="177"/>
                </a:lnTo>
                <a:lnTo>
                  <a:pt x="2461" y="126"/>
                </a:lnTo>
                <a:lnTo>
                  <a:pt x="2443" y="113"/>
                </a:lnTo>
                <a:lnTo>
                  <a:pt x="2542" y="107"/>
                </a:lnTo>
                <a:lnTo>
                  <a:pt x="2541" y="124"/>
                </a:lnTo>
                <a:lnTo>
                  <a:pt x="2566" y="124"/>
                </a:lnTo>
                <a:lnTo>
                  <a:pt x="2637" y="102"/>
                </a:lnTo>
                <a:lnTo>
                  <a:pt x="2671" y="114"/>
                </a:lnTo>
                <a:lnTo>
                  <a:pt x="2640" y="87"/>
                </a:lnTo>
                <a:lnTo>
                  <a:pt x="2721" y="81"/>
                </a:lnTo>
                <a:lnTo>
                  <a:pt x="2724" y="47"/>
                </a:lnTo>
                <a:lnTo>
                  <a:pt x="2820" y="0"/>
                </a:lnTo>
                <a:lnTo>
                  <a:pt x="2886" y="27"/>
                </a:lnTo>
                <a:lnTo>
                  <a:pt x="2829" y="52"/>
                </a:lnTo>
                <a:lnTo>
                  <a:pt x="2926" y="51"/>
                </a:lnTo>
                <a:lnTo>
                  <a:pt x="2887" y="87"/>
                </a:lnTo>
                <a:lnTo>
                  <a:pt x="3052" y="69"/>
                </a:lnTo>
                <a:lnTo>
                  <a:pt x="3143" y="124"/>
                </a:lnTo>
                <a:lnTo>
                  <a:pt x="3129" y="144"/>
                </a:lnTo>
                <a:lnTo>
                  <a:pt x="3099" y="132"/>
                </a:lnTo>
                <a:lnTo>
                  <a:pt x="3140" y="150"/>
                </a:lnTo>
                <a:lnTo>
                  <a:pt x="3119" y="183"/>
                </a:lnTo>
                <a:lnTo>
                  <a:pt x="2820" y="342"/>
                </a:lnTo>
                <a:lnTo>
                  <a:pt x="2915" y="322"/>
                </a:lnTo>
                <a:lnTo>
                  <a:pt x="2895" y="301"/>
                </a:lnTo>
                <a:lnTo>
                  <a:pt x="3047" y="271"/>
                </a:lnTo>
                <a:lnTo>
                  <a:pt x="3005" y="276"/>
                </a:lnTo>
                <a:lnTo>
                  <a:pt x="3015" y="249"/>
                </a:lnTo>
                <a:lnTo>
                  <a:pt x="3099" y="271"/>
                </a:lnTo>
                <a:lnTo>
                  <a:pt x="3111" y="249"/>
                </a:lnTo>
                <a:lnTo>
                  <a:pt x="3130" y="301"/>
                </a:lnTo>
                <a:lnTo>
                  <a:pt x="3172" y="304"/>
                </a:lnTo>
                <a:lnTo>
                  <a:pt x="3133" y="283"/>
                </a:lnTo>
                <a:lnTo>
                  <a:pt x="3213" y="270"/>
                </a:lnTo>
                <a:lnTo>
                  <a:pt x="3309" y="282"/>
                </a:lnTo>
                <a:lnTo>
                  <a:pt x="3301" y="301"/>
                </a:lnTo>
                <a:lnTo>
                  <a:pt x="3385" y="318"/>
                </a:lnTo>
                <a:lnTo>
                  <a:pt x="3458" y="314"/>
                </a:lnTo>
                <a:lnTo>
                  <a:pt x="3460" y="264"/>
                </a:lnTo>
                <a:lnTo>
                  <a:pt x="3482" y="259"/>
                </a:lnTo>
                <a:lnTo>
                  <a:pt x="3668" y="314"/>
                </a:lnTo>
                <a:lnTo>
                  <a:pt x="3642" y="399"/>
                </a:lnTo>
                <a:lnTo>
                  <a:pt x="3728" y="457"/>
                </a:lnTo>
                <a:lnTo>
                  <a:pt x="3775" y="377"/>
                </a:lnTo>
                <a:lnTo>
                  <a:pt x="3807" y="411"/>
                </a:lnTo>
                <a:lnTo>
                  <a:pt x="3868" y="399"/>
                </a:lnTo>
                <a:lnTo>
                  <a:pt x="3951" y="428"/>
                </a:lnTo>
                <a:lnTo>
                  <a:pt x="4018" y="410"/>
                </a:lnTo>
                <a:lnTo>
                  <a:pt x="4011" y="377"/>
                </a:lnTo>
                <a:lnTo>
                  <a:pt x="4057" y="323"/>
                </a:lnTo>
                <a:lnTo>
                  <a:pt x="4334" y="362"/>
                </a:lnTo>
                <a:lnTo>
                  <a:pt x="4352" y="386"/>
                </a:lnTo>
                <a:lnTo>
                  <a:pt x="4318" y="397"/>
                </a:lnTo>
                <a:lnTo>
                  <a:pt x="4407" y="410"/>
                </a:lnTo>
                <a:lnTo>
                  <a:pt x="4440" y="448"/>
                </a:lnTo>
                <a:lnTo>
                  <a:pt x="4649" y="441"/>
                </a:lnTo>
                <a:lnTo>
                  <a:pt x="4687" y="472"/>
                </a:lnTo>
                <a:lnTo>
                  <a:pt x="4674" y="509"/>
                </a:lnTo>
                <a:lnTo>
                  <a:pt x="4734" y="535"/>
                </a:lnTo>
                <a:lnTo>
                  <a:pt x="4766" y="514"/>
                </a:lnTo>
                <a:lnTo>
                  <a:pt x="4914" y="529"/>
                </a:lnTo>
                <a:lnTo>
                  <a:pt x="4944" y="509"/>
                </a:lnTo>
                <a:lnTo>
                  <a:pt x="4962" y="542"/>
                </a:lnTo>
                <a:lnTo>
                  <a:pt x="5024" y="569"/>
                </a:lnTo>
                <a:lnTo>
                  <a:pt x="5053" y="550"/>
                </a:lnTo>
                <a:lnTo>
                  <a:pt x="5023" y="520"/>
                </a:lnTo>
                <a:lnTo>
                  <a:pt x="5041" y="496"/>
                </a:lnTo>
                <a:lnTo>
                  <a:pt x="5300" y="534"/>
                </a:lnTo>
                <a:lnTo>
                  <a:pt x="5472" y="630"/>
                </a:lnTo>
                <a:lnTo>
                  <a:pt x="5508" y="630"/>
                </a:lnTo>
                <a:lnTo>
                  <a:pt x="5552" y="708"/>
                </a:lnTo>
                <a:lnTo>
                  <a:pt x="5534" y="666"/>
                </a:lnTo>
                <a:lnTo>
                  <a:pt x="5562" y="662"/>
                </a:lnTo>
                <a:lnTo>
                  <a:pt x="5579" y="678"/>
                </a:lnTo>
                <a:lnTo>
                  <a:pt x="5629" y="673"/>
                </a:lnTo>
                <a:lnTo>
                  <a:pt x="5699" y="718"/>
                </a:lnTo>
                <a:lnTo>
                  <a:pt x="5599" y="767"/>
                </a:lnTo>
                <a:lnTo>
                  <a:pt x="5619" y="781"/>
                </a:lnTo>
                <a:lnTo>
                  <a:pt x="5584" y="791"/>
                </a:lnTo>
                <a:lnTo>
                  <a:pt x="5612" y="809"/>
                </a:lnTo>
                <a:lnTo>
                  <a:pt x="5552" y="810"/>
                </a:lnTo>
                <a:lnTo>
                  <a:pt x="5533" y="781"/>
                </a:lnTo>
                <a:lnTo>
                  <a:pt x="5509" y="792"/>
                </a:lnTo>
                <a:lnTo>
                  <a:pt x="5471" y="747"/>
                </a:lnTo>
                <a:lnTo>
                  <a:pt x="5403" y="748"/>
                </a:lnTo>
                <a:lnTo>
                  <a:pt x="5386" y="721"/>
                </a:lnTo>
                <a:lnTo>
                  <a:pt x="5402" y="708"/>
                </a:lnTo>
                <a:lnTo>
                  <a:pt x="5376" y="708"/>
                </a:lnTo>
                <a:lnTo>
                  <a:pt x="5354" y="718"/>
                </a:lnTo>
                <a:lnTo>
                  <a:pt x="5379" y="750"/>
                </a:lnTo>
                <a:lnTo>
                  <a:pt x="5364" y="769"/>
                </a:lnTo>
                <a:lnTo>
                  <a:pt x="5306" y="800"/>
                </a:lnTo>
                <a:lnTo>
                  <a:pt x="5267" y="794"/>
                </a:lnTo>
                <a:lnTo>
                  <a:pt x="5332" y="883"/>
                </a:lnTo>
                <a:lnTo>
                  <a:pt x="5321" y="917"/>
                </a:lnTo>
                <a:lnTo>
                  <a:pt x="5255" y="893"/>
                </a:lnTo>
                <a:lnTo>
                  <a:pt x="5258" y="906"/>
                </a:lnTo>
                <a:lnTo>
                  <a:pt x="5137" y="950"/>
                </a:lnTo>
                <a:lnTo>
                  <a:pt x="5030" y="1041"/>
                </a:lnTo>
                <a:lnTo>
                  <a:pt x="4957" y="1007"/>
                </a:lnTo>
                <a:lnTo>
                  <a:pt x="4890" y="1044"/>
                </a:lnTo>
                <a:lnTo>
                  <a:pt x="4890" y="1011"/>
                </a:lnTo>
                <a:lnTo>
                  <a:pt x="4851" y="1045"/>
                </a:lnTo>
                <a:lnTo>
                  <a:pt x="4804" y="1043"/>
                </a:lnTo>
                <a:lnTo>
                  <a:pt x="4753" y="1131"/>
                </a:lnTo>
                <a:lnTo>
                  <a:pt x="4793" y="1148"/>
                </a:lnTo>
                <a:lnTo>
                  <a:pt x="4777" y="1177"/>
                </a:lnTo>
                <a:lnTo>
                  <a:pt x="4796" y="1223"/>
                </a:lnTo>
                <a:lnTo>
                  <a:pt x="4762" y="1214"/>
                </a:lnTo>
                <a:lnTo>
                  <a:pt x="4741" y="1254"/>
                </a:lnTo>
                <a:lnTo>
                  <a:pt x="4755" y="1290"/>
                </a:lnTo>
                <a:lnTo>
                  <a:pt x="4682" y="1320"/>
                </a:lnTo>
                <a:lnTo>
                  <a:pt x="4687" y="1360"/>
                </a:lnTo>
                <a:lnTo>
                  <a:pt x="4639" y="1371"/>
                </a:lnTo>
                <a:lnTo>
                  <a:pt x="4626" y="1415"/>
                </a:lnTo>
                <a:lnTo>
                  <a:pt x="4582" y="1462"/>
                </a:lnTo>
                <a:lnTo>
                  <a:pt x="4545" y="1290"/>
                </a:lnTo>
                <a:lnTo>
                  <a:pt x="4549" y="1198"/>
                </a:lnTo>
                <a:lnTo>
                  <a:pt x="4582" y="1143"/>
                </a:lnTo>
                <a:lnTo>
                  <a:pt x="4633" y="1132"/>
                </a:lnTo>
                <a:lnTo>
                  <a:pt x="4751" y="1016"/>
                </a:lnTo>
                <a:lnTo>
                  <a:pt x="4807" y="993"/>
                </a:lnTo>
                <a:lnTo>
                  <a:pt x="4826" y="926"/>
                </a:lnTo>
                <a:lnTo>
                  <a:pt x="4851" y="908"/>
                </a:lnTo>
                <a:lnTo>
                  <a:pt x="4806" y="906"/>
                </a:lnTo>
                <a:lnTo>
                  <a:pt x="4792" y="961"/>
                </a:lnTo>
                <a:lnTo>
                  <a:pt x="4692" y="1008"/>
                </a:lnTo>
                <a:lnTo>
                  <a:pt x="4701" y="938"/>
                </a:lnTo>
                <a:lnTo>
                  <a:pt x="4594" y="953"/>
                </a:lnTo>
                <a:lnTo>
                  <a:pt x="4492" y="1044"/>
                </a:lnTo>
                <a:lnTo>
                  <a:pt x="4512" y="1081"/>
                </a:lnTo>
                <a:lnTo>
                  <a:pt x="4403" y="1093"/>
                </a:lnTo>
                <a:lnTo>
                  <a:pt x="4389" y="1082"/>
                </a:lnTo>
                <a:lnTo>
                  <a:pt x="4426" y="1077"/>
                </a:lnTo>
                <a:lnTo>
                  <a:pt x="4336" y="1054"/>
                </a:lnTo>
                <a:lnTo>
                  <a:pt x="4311" y="1077"/>
                </a:lnTo>
                <a:lnTo>
                  <a:pt x="4106" y="1078"/>
                </a:lnTo>
                <a:lnTo>
                  <a:pt x="3862" y="1287"/>
                </a:lnTo>
                <a:lnTo>
                  <a:pt x="3911" y="1296"/>
                </a:lnTo>
                <a:lnTo>
                  <a:pt x="3911" y="1333"/>
                </a:lnTo>
                <a:lnTo>
                  <a:pt x="3940" y="1309"/>
                </a:lnTo>
                <a:lnTo>
                  <a:pt x="3932" y="1341"/>
                </a:lnTo>
                <a:lnTo>
                  <a:pt x="3969" y="1323"/>
                </a:lnTo>
                <a:lnTo>
                  <a:pt x="3965" y="1344"/>
                </a:lnTo>
                <a:lnTo>
                  <a:pt x="3976" y="1309"/>
                </a:lnTo>
                <a:lnTo>
                  <a:pt x="4011" y="1311"/>
                </a:lnTo>
                <a:lnTo>
                  <a:pt x="4064" y="1355"/>
                </a:lnTo>
                <a:lnTo>
                  <a:pt x="4017" y="1359"/>
                </a:lnTo>
                <a:lnTo>
                  <a:pt x="4058" y="1373"/>
                </a:lnTo>
                <a:lnTo>
                  <a:pt x="4068" y="1403"/>
                </a:lnTo>
                <a:lnTo>
                  <a:pt x="4035" y="1469"/>
                </a:lnTo>
                <a:lnTo>
                  <a:pt x="4028" y="1568"/>
                </a:lnTo>
                <a:lnTo>
                  <a:pt x="3856" y="1776"/>
                </a:lnTo>
                <a:lnTo>
                  <a:pt x="3796" y="1803"/>
                </a:lnTo>
                <a:lnTo>
                  <a:pt x="3749" y="1776"/>
                </a:lnTo>
                <a:lnTo>
                  <a:pt x="3708" y="1816"/>
                </a:lnTo>
                <a:lnTo>
                  <a:pt x="3703" y="1807"/>
                </a:lnTo>
                <a:lnTo>
                  <a:pt x="3727" y="1776"/>
                </a:lnTo>
                <a:lnTo>
                  <a:pt x="3717" y="1723"/>
                </a:lnTo>
                <a:lnTo>
                  <a:pt x="3790" y="1703"/>
                </a:lnTo>
                <a:lnTo>
                  <a:pt x="3848" y="1564"/>
                </a:lnTo>
                <a:lnTo>
                  <a:pt x="3723" y="1597"/>
                </a:lnTo>
                <a:lnTo>
                  <a:pt x="3703" y="1545"/>
                </a:lnTo>
                <a:lnTo>
                  <a:pt x="3602" y="1513"/>
                </a:lnTo>
                <a:lnTo>
                  <a:pt x="3540" y="1370"/>
                </a:lnTo>
                <a:lnTo>
                  <a:pt x="3473" y="1344"/>
                </a:lnTo>
                <a:lnTo>
                  <a:pt x="3352" y="1382"/>
                </a:lnTo>
                <a:lnTo>
                  <a:pt x="3375" y="1413"/>
                </a:lnTo>
                <a:lnTo>
                  <a:pt x="3326" y="1498"/>
                </a:lnTo>
                <a:lnTo>
                  <a:pt x="3277" y="1520"/>
                </a:lnTo>
                <a:lnTo>
                  <a:pt x="3227" y="1501"/>
                </a:lnTo>
                <a:lnTo>
                  <a:pt x="3166" y="1491"/>
                </a:lnTo>
                <a:lnTo>
                  <a:pt x="3008" y="1529"/>
                </a:lnTo>
                <a:lnTo>
                  <a:pt x="2869" y="1473"/>
                </a:lnTo>
                <a:lnTo>
                  <a:pt x="2780" y="1481"/>
                </a:lnTo>
                <a:lnTo>
                  <a:pt x="2747" y="1435"/>
                </a:lnTo>
                <a:lnTo>
                  <a:pt x="2659" y="1403"/>
                </a:lnTo>
                <a:lnTo>
                  <a:pt x="2612" y="1436"/>
                </a:lnTo>
                <a:lnTo>
                  <a:pt x="2610" y="1499"/>
                </a:lnTo>
                <a:lnTo>
                  <a:pt x="2409" y="1472"/>
                </a:lnTo>
                <a:lnTo>
                  <a:pt x="2303" y="1529"/>
                </a:lnTo>
                <a:lnTo>
                  <a:pt x="2247" y="1553"/>
                </a:lnTo>
                <a:lnTo>
                  <a:pt x="2175" y="1507"/>
                </a:lnTo>
                <a:lnTo>
                  <a:pt x="2130" y="1532"/>
                </a:lnTo>
                <a:lnTo>
                  <a:pt x="2045" y="1501"/>
                </a:lnTo>
                <a:lnTo>
                  <a:pt x="2013" y="1498"/>
                </a:lnTo>
                <a:lnTo>
                  <a:pt x="1988" y="1448"/>
                </a:lnTo>
                <a:lnTo>
                  <a:pt x="1943" y="1448"/>
                </a:lnTo>
                <a:lnTo>
                  <a:pt x="1924" y="1457"/>
                </a:lnTo>
                <a:lnTo>
                  <a:pt x="1888" y="1419"/>
                </a:lnTo>
                <a:lnTo>
                  <a:pt x="1863" y="1429"/>
                </a:lnTo>
                <a:lnTo>
                  <a:pt x="1840" y="1441"/>
                </a:lnTo>
                <a:lnTo>
                  <a:pt x="1747" y="1363"/>
                </a:lnTo>
                <a:lnTo>
                  <a:pt x="1719" y="1356"/>
                </a:lnTo>
                <a:lnTo>
                  <a:pt x="1656" y="1297"/>
                </a:lnTo>
                <a:lnTo>
                  <a:pt x="1597" y="1333"/>
                </a:lnTo>
                <a:lnTo>
                  <a:pt x="1586" y="1308"/>
                </a:lnTo>
                <a:lnTo>
                  <a:pt x="1498" y="1305"/>
                </a:lnTo>
                <a:lnTo>
                  <a:pt x="1465" y="1261"/>
                </a:lnTo>
                <a:lnTo>
                  <a:pt x="1418" y="1265"/>
                </a:lnTo>
                <a:lnTo>
                  <a:pt x="1402" y="1283"/>
                </a:lnTo>
                <a:lnTo>
                  <a:pt x="1342" y="1294"/>
                </a:lnTo>
                <a:lnTo>
                  <a:pt x="1326" y="1283"/>
                </a:lnTo>
                <a:lnTo>
                  <a:pt x="1304" y="1316"/>
                </a:lnTo>
                <a:lnTo>
                  <a:pt x="1286" y="1308"/>
                </a:lnTo>
                <a:lnTo>
                  <a:pt x="1216" y="1318"/>
                </a:lnTo>
                <a:lnTo>
                  <a:pt x="1193" y="1308"/>
                </a:lnTo>
                <a:lnTo>
                  <a:pt x="1184" y="1318"/>
                </a:lnTo>
                <a:lnTo>
                  <a:pt x="1220" y="1356"/>
                </a:lnTo>
                <a:lnTo>
                  <a:pt x="1195" y="1378"/>
                </a:lnTo>
                <a:lnTo>
                  <a:pt x="1198" y="1410"/>
                </a:lnTo>
                <a:lnTo>
                  <a:pt x="1238" y="1411"/>
                </a:lnTo>
                <a:lnTo>
                  <a:pt x="1255" y="1441"/>
                </a:lnTo>
                <a:lnTo>
                  <a:pt x="1245" y="1463"/>
                </a:lnTo>
                <a:lnTo>
                  <a:pt x="1216" y="1448"/>
                </a:lnTo>
                <a:lnTo>
                  <a:pt x="1193" y="1462"/>
                </a:lnTo>
                <a:lnTo>
                  <a:pt x="1171" y="1450"/>
                </a:lnTo>
                <a:lnTo>
                  <a:pt x="1160" y="1429"/>
                </a:lnTo>
                <a:lnTo>
                  <a:pt x="1132" y="1441"/>
                </a:lnTo>
                <a:lnTo>
                  <a:pt x="1112" y="1430"/>
                </a:lnTo>
                <a:lnTo>
                  <a:pt x="1090" y="1448"/>
                </a:lnTo>
                <a:lnTo>
                  <a:pt x="1058" y="1452"/>
                </a:lnTo>
                <a:lnTo>
                  <a:pt x="1040" y="1429"/>
                </a:lnTo>
                <a:lnTo>
                  <a:pt x="932" y="1422"/>
                </a:lnTo>
                <a:lnTo>
                  <a:pt x="919" y="1435"/>
                </a:lnTo>
                <a:lnTo>
                  <a:pt x="908" y="1433"/>
                </a:lnTo>
                <a:lnTo>
                  <a:pt x="893" y="1458"/>
                </a:lnTo>
                <a:lnTo>
                  <a:pt x="894" y="1483"/>
                </a:lnTo>
                <a:lnTo>
                  <a:pt x="882" y="1484"/>
                </a:lnTo>
                <a:lnTo>
                  <a:pt x="872" y="1463"/>
                </a:lnTo>
                <a:lnTo>
                  <a:pt x="857" y="1466"/>
                </a:lnTo>
                <a:lnTo>
                  <a:pt x="853" y="1536"/>
                </a:lnTo>
                <a:lnTo>
                  <a:pt x="870" y="1558"/>
                </a:lnTo>
                <a:lnTo>
                  <a:pt x="870" y="1578"/>
                </a:lnTo>
                <a:lnTo>
                  <a:pt x="888" y="1575"/>
                </a:lnTo>
                <a:lnTo>
                  <a:pt x="908" y="1565"/>
                </a:lnTo>
                <a:lnTo>
                  <a:pt x="929" y="1597"/>
                </a:lnTo>
                <a:lnTo>
                  <a:pt x="944" y="1617"/>
                </a:lnTo>
                <a:lnTo>
                  <a:pt x="959" y="1644"/>
                </a:lnTo>
                <a:lnTo>
                  <a:pt x="982" y="1651"/>
                </a:lnTo>
                <a:lnTo>
                  <a:pt x="952" y="1671"/>
                </a:lnTo>
                <a:lnTo>
                  <a:pt x="930" y="1652"/>
                </a:lnTo>
                <a:lnTo>
                  <a:pt x="907" y="1732"/>
                </a:lnTo>
                <a:lnTo>
                  <a:pt x="934" y="1752"/>
                </a:lnTo>
                <a:lnTo>
                  <a:pt x="958" y="1829"/>
                </a:lnTo>
                <a:lnTo>
                  <a:pt x="936" y="1816"/>
                </a:lnTo>
                <a:lnTo>
                  <a:pt x="914" y="1807"/>
                </a:lnTo>
                <a:lnTo>
                  <a:pt x="888" y="1803"/>
                </a:lnTo>
                <a:lnTo>
                  <a:pt x="870" y="1795"/>
                </a:lnTo>
                <a:lnTo>
                  <a:pt x="852" y="1792"/>
                </a:lnTo>
                <a:lnTo>
                  <a:pt x="837" y="1765"/>
                </a:lnTo>
                <a:lnTo>
                  <a:pt x="802" y="1781"/>
                </a:lnTo>
                <a:lnTo>
                  <a:pt x="771" y="1780"/>
                </a:lnTo>
                <a:lnTo>
                  <a:pt x="750" y="1756"/>
                </a:lnTo>
                <a:lnTo>
                  <a:pt x="697" y="1734"/>
                </a:lnTo>
                <a:lnTo>
                  <a:pt x="643" y="1739"/>
                </a:lnTo>
                <a:lnTo>
                  <a:pt x="587" y="1700"/>
                </a:lnTo>
                <a:lnTo>
                  <a:pt x="631" y="1664"/>
                </a:lnTo>
                <a:lnTo>
                  <a:pt x="636" y="1634"/>
                </a:lnTo>
                <a:lnTo>
                  <a:pt x="635" y="1604"/>
                </a:lnTo>
                <a:lnTo>
                  <a:pt x="639" y="1580"/>
                </a:lnTo>
                <a:lnTo>
                  <a:pt x="668" y="1572"/>
                </a:lnTo>
                <a:lnTo>
                  <a:pt x="653" y="1525"/>
                </a:lnTo>
                <a:lnTo>
                  <a:pt x="618" y="1513"/>
                </a:lnTo>
                <a:lnTo>
                  <a:pt x="602" y="1505"/>
                </a:lnTo>
                <a:lnTo>
                  <a:pt x="578" y="1512"/>
                </a:lnTo>
                <a:lnTo>
                  <a:pt x="529" y="1499"/>
                </a:lnTo>
                <a:lnTo>
                  <a:pt x="489" y="1454"/>
                </a:lnTo>
                <a:lnTo>
                  <a:pt x="457" y="1440"/>
                </a:lnTo>
                <a:lnTo>
                  <a:pt x="442" y="1397"/>
                </a:lnTo>
                <a:lnTo>
                  <a:pt x="413" y="1393"/>
                </a:lnTo>
                <a:lnTo>
                  <a:pt x="387" y="1407"/>
                </a:lnTo>
                <a:lnTo>
                  <a:pt x="369" y="1415"/>
                </a:lnTo>
                <a:lnTo>
                  <a:pt x="361" y="1396"/>
                </a:lnTo>
                <a:lnTo>
                  <a:pt x="347" y="1377"/>
                </a:lnTo>
                <a:lnTo>
                  <a:pt x="386" y="1374"/>
                </a:lnTo>
                <a:lnTo>
                  <a:pt x="383" y="1362"/>
                </a:lnTo>
                <a:lnTo>
                  <a:pt x="374" y="1352"/>
                </a:lnTo>
                <a:lnTo>
                  <a:pt x="361" y="1342"/>
                </a:lnTo>
                <a:lnTo>
                  <a:pt x="341" y="1294"/>
                </a:lnTo>
                <a:lnTo>
                  <a:pt x="312" y="1268"/>
                </a:lnTo>
                <a:lnTo>
                  <a:pt x="282" y="1267"/>
                </a:lnTo>
                <a:lnTo>
                  <a:pt x="253" y="1267"/>
                </a:lnTo>
                <a:lnTo>
                  <a:pt x="231" y="1252"/>
                </a:lnTo>
                <a:lnTo>
                  <a:pt x="211" y="1249"/>
                </a:lnTo>
                <a:lnTo>
                  <a:pt x="194" y="1249"/>
                </a:lnTo>
                <a:lnTo>
                  <a:pt x="183" y="1261"/>
                </a:lnTo>
                <a:lnTo>
                  <a:pt x="162" y="1282"/>
                </a:lnTo>
                <a:lnTo>
                  <a:pt x="159" y="1303"/>
                </a:lnTo>
                <a:lnTo>
                  <a:pt x="150" y="1308"/>
                </a:lnTo>
                <a:lnTo>
                  <a:pt x="139" y="1341"/>
                </a:lnTo>
                <a:lnTo>
                  <a:pt x="130" y="1331"/>
                </a:lnTo>
                <a:lnTo>
                  <a:pt x="126" y="1319"/>
                </a:lnTo>
                <a:lnTo>
                  <a:pt x="0" y="1300"/>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0" name="30500193.25462.12549.3755">
            <a:extLst>
              <a:ext uri="{FF2B5EF4-FFF2-40B4-BE49-F238E27FC236}">
                <a16:creationId xmlns:a16="http://schemas.microsoft.com/office/drawing/2014/main" id="{8FCC3D5A-5D36-6541-8A96-B6458534C082}"/>
              </a:ext>
            </a:extLst>
          </p:cNvPr>
          <p:cNvSpPr>
            <a:spLocks noChangeAspect="1"/>
          </p:cNvSpPr>
          <p:nvPr/>
        </p:nvSpPr>
        <p:spPr bwMode="gray">
          <a:xfrm>
            <a:off x="7082988" y="1427883"/>
            <a:ext cx="148358" cy="65597"/>
          </a:xfrm>
          <a:custGeom>
            <a:avLst/>
            <a:gdLst/>
            <a:ahLst/>
            <a:cxnLst>
              <a:cxn ang="0">
                <a:pos x="0" y="51"/>
              </a:cxn>
              <a:cxn ang="0">
                <a:pos x="34" y="34"/>
              </a:cxn>
              <a:cxn ang="0">
                <a:pos x="8" y="21"/>
              </a:cxn>
              <a:cxn ang="0">
                <a:pos x="128" y="0"/>
              </a:cxn>
              <a:cxn ang="0">
                <a:pos x="148" y="1"/>
              </a:cxn>
              <a:cxn ang="0">
                <a:pos x="125" y="19"/>
              </a:cxn>
              <a:cxn ang="0">
                <a:pos x="166" y="18"/>
              </a:cxn>
              <a:cxn ang="0">
                <a:pos x="59" y="59"/>
              </a:cxn>
              <a:cxn ang="0">
                <a:pos x="34" y="71"/>
              </a:cxn>
              <a:cxn ang="0">
                <a:pos x="40" y="54"/>
              </a:cxn>
              <a:cxn ang="0">
                <a:pos x="0" y="51"/>
              </a:cxn>
            </a:cxnLst>
            <a:rect l="0" t="0" r="r" b="b"/>
            <a:pathLst>
              <a:path w="166" h="71">
                <a:moveTo>
                  <a:pt x="0" y="51"/>
                </a:moveTo>
                <a:lnTo>
                  <a:pt x="34" y="34"/>
                </a:lnTo>
                <a:lnTo>
                  <a:pt x="8" y="21"/>
                </a:lnTo>
                <a:lnTo>
                  <a:pt x="128" y="0"/>
                </a:lnTo>
                <a:lnTo>
                  <a:pt x="148" y="1"/>
                </a:lnTo>
                <a:lnTo>
                  <a:pt x="125" y="19"/>
                </a:lnTo>
                <a:lnTo>
                  <a:pt x="166" y="18"/>
                </a:lnTo>
                <a:lnTo>
                  <a:pt x="59" y="59"/>
                </a:lnTo>
                <a:lnTo>
                  <a:pt x="34" y="71"/>
                </a:lnTo>
                <a:lnTo>
                  <a:pt x="40" y="54"/>
                </a:lnTo>
                <a:lnTo>
                  <a:pt x="0" y="51"/>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1" name="30501236.5465.1252.253.755">
            <a:extLst>
              <a:ext uri="{FF2B5EF4-FFF2-40B4-BE49-F238E27FC236}">
                <a16:creationId xmlns:a16="http://schemas.microsoft.com/office/drawing/2014/main" id="{1F48A821-AA87-B740-8F1A-A9BDA1762717}"/>
              </a:ext>
            </a:extLst>
          </p:cNvPr>
          <p:cNvSpPr>
            <a:spLocks noChangeAspect="1"/>
          </p:cNvSpPr>
          <p:nvPr/>
        </p:nvSpPr>
        <p:spPr bwMode="gray">
          <a:xfrm>
            <a:off x="7130538" y="2129276"/>
            <a:ext cx="58961" cy="35323"/>
          </a:xfrm>
          <a:custGeom>
            <a:avLst/>
            <a:gdLst/>
            <a:ahLst/>
            <a:cxnLst>
              <a:cxn ang="0">
                <a:pos x="0" y="38"/>
              </a:cxn>
              <a:cxn ang="0">
                <a:pos x="19" y="0"/>
              </a:cxn>
              <a:cxn ang="0">
                <a:pos x="66" y="21"/>
              </a:cxn>
              <a:cxn ang="0">
                <a:pos x="0" y="38"/>
              </a:cxn>
            </a:cxnLst>
            <a:rect l="0" t="0" r="r" b="b"/>
            <a:pathLst>
              <a:path w="66" h="38">
                <a:moveTo>
                  <a:pt x="0" y="38"/>
                </a:moveTo>
                <a:lnTo>
                  <a:pt x="19" y="0"/>
                </a:lnTo>
                <a:lnTo>
                  <a:pt x="66" y="21"/>
                </a:lnTo>
                <a:lnTo>
                  <a:pt x="0" y="38"/>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2" name="30502223.625471.58.7511.55">
            <a:extLst>
              <a:ext uri="{FF2B5EF4-FFF2-40B4-BE49-F238E27FC236}">
                <a16:creationId xmlns:a16="http://schemas.microsoft.com/office/drawing/2014/main" id="{2B7443B4-A384-AE45-91F6-83A0831B46DB}"/>
              </a:ext>
            </a:extLst>
          </p:cNvPr>
          <p:cNvSpPr>
            <a:spLocks noChangeAspect="1"/>
          </p:cNvSpPr>
          <p:nvPr/>
        </p:nvSpPr>
        <p:spPr bwMode="gray">
          <a:xfrm>
            <a:off x="7231343" y="1920706"/>
            <a:ext cx="184493" cy="142969"/>
          </a:xfrm>
          <a:custGeom>
            <a:avLst/>
            <a:gdLst/>
            <a:ahLst/>
            <a:cxnLst>
              <a:cxn ang="0">
                <a:pos x="0" y="76"/>
              </a:cxn>
              <a:cxn ang="0">
                <a:pos x="16" y="109"/>
              </a:cxn>
              <a:cxn ang="0">
                <a:pos x="38" y="98"/>
              </a:cxn>
              <a:cxn ang="0">
                <a:pos x="63" y="120"/>
              </a:cxn>
              <a:cxn ang="0">
                <a:pos x="82" y="109"/>
              </a:cxn>
              <a:cxn ang="0">
                <a:pos x="75" y="147"/>
              </a:cxn>
              <a:cxn ang="0">
                <a:pos x="203" y="154"/>
              </a:cxn>
              <a:cxn ang="0">
                <a:pos x="154" y="127"/>
              </a:cxn>
              <a:cxn ang="0">
                <a:pos x="129" y="79"/>
              </a:cxn>
              <a:cxn ang="0">
                <a:pos x="132" y="29"/>
              </a:cxn>
              <a:cxn ang="0">
                <a:pos x="163" y="0"/>
              </a:cxn>
              <a:cxn ang="0">
                <a:pos x="52" y="10"/>
              </a:cxn>
              <a:cxn ang="0">
                <a:pos x="26" y="76"/>
              </a:cxn>
              <a:cxn ang="0">
                <a:pos x="0" y="76"/>
              </a:cxn>
            </a:cxnLst>
            <a:rect l="0" t="0" r="r" b="b"/>
            <a:pathLst>
              <a:path w="203" h="154">
                <a:moveTo>
                  <a:pt x="0" y="76"/>
                </a:moveTo>
                <a:lnTo>
                  <a:pt x="16" y="109"/>
                </a:lnTo>
                <a:lnTo>
                  <a:pt x="38" y="98"/>
                </a:lnTo>
                <a:lnTo>
                  <a:pt x="63" y="120"/>
                </a:lnTo>
                <a:lnTo>
                  <a:pt x="82" y="109"/>
                </a:lnTo>
                <a:lnTo>
                  <a:pt x="75" y="147"/>
                </a:lnTo>
                <a:lnTo>
                  <a:pt x="203" y="154"/>
                </a:lnTo>
                <a:lnTo>
                  <a:pt x="154" y="127"/>
                </a:lnTo>
                <a:lnTo>
                  <a:pt x="129" y="79"/>
                </a:lnTo>
                <a:lnTo>
                  <a:pt x="132" y="29"/>
                </a:lnTo>
                <a:lnTo>
                  <a:pt x="163" y="0"/>
                </a:lnTo>
                <a:lnTo>
                  <a:pt x="52" y="10"/>
                </a:lnTo>
                <a:lnTo>
                  <a:pt x="26" y="76"/>
                </a:lnTo>
                <a:lnTo>
                  <a:pt x="0" y="76"/>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3" name="30503209.625475.51428.8755">
            <a:extLst>
              <a:ext uri="{FF2B5EF4-FFF2-40B4-BE49-F238E27FC236}">
                <a16:creationId xmlns:a16="http://schemas.microsoft.com/office/drawing/2014/main" id="{1D81DC27-F004-4A45-9AA2-78663EB90DA1}"/>
              </a:ext>
            </a:extLst>
          </p:cNvPr>
          <p:cNvSpPr>
            <a:spLocks noChangeAspect="1"/>
          </p:cNvSpPr>
          <p:nvPr/>
        </p:nvSpPr>
        <p:spPr bwMode="gray">
          <a:xfrm>
            <a:off x="7294109" y="1695319"/>
            <a:ext cx="465993" cy="225387"/>
          </a:xfrm>
          <a:custGeom>
            <a:avLst/>
            <a:gdLst/>
            <a:ahLst/>
            <a:cxnLst>
              <a:cxn ang="0">
                <a:pos x="0" y="213"/>
              </a:cxn>
              <a:cxn ang="0">
                <a:pos x="48" y="220"/>
              </a:cxn>
              <a:cxn ang="0">
                <a:pos x="17" y="242"/>
              </a:cxn>
              <a:cxn ang="0">
                <a:pos x="102" y="249"/>
              </a:cxn>
              <a:cxn ang="0">
                <a:pos x="105" y="220"/>
              </a:cxn>
              <a:cxn ang="0">
                <a:pos x="128" y="225"/>
              </a:cxn>
              <a:cxn ang="0">
                <a:pos x="103" y="209"/>
              </a:cxn>
              <a:cxn ang="0">
                <a:pos x="138" y="214"/>
              </a:cxn>
              <a:cxn ang="0">
                <a:pos x="130" y="183"/>
              </a:cxn>
              <a:cxn ang="0">
                <a:pos x="147" y="202"/>
              </a:cxn>
              <a:cxn ang="0">
                <a:pos x="171" y="184"/>
              </a:cxn>
              <a:cxn ang="0">
                <a:pos x="156" y="163"/>
              </a:cxn>
              <a:cxn ang="0">
                <a:pos x="208" y="166"/>
              </a:cxn>
              <a:cxn ang="0">
                <a:pos x="194" y="154"/>
              </a:cxn>
              <a:cxn ang="0">
                <a:pos x="217" y="157"/>
              </a:cxn>
              <a:cxn ang="0">
                <a:pos x="231" y="132"/>
              </a:cxn>
              <a:cxn ang="0">
                <a:pos x="487" y="52"/>
              </a:cxn>
              <a:cxn ang="0">
                <a:pos x="513" y="22"/>
              </a:cxn>
              <a:cxn ang="0">
                <a:pos x="463" y="0"/>
              </a:cxn>
              <a:cxn ang="0">
                <a:pos x="356" y="49"/>
              </a:cxn>
              <a:cxn ang="0">
                <a:pos x="245" y="49"/>
              </a:cxn>
              <a:cxn ang="0">
                <a:pos x="127" y="117"/>
              </a:cxn>
              <a:cxn ang="0">
                <a:pos x="62" y="125"/>
              </a:cxn>
              <a:cxn ang="0">
                <a:pos x="65" y="154"/>
              </a:cxn>
              <a:cxn ang="0">
                <a:pos x="101" y="157"/>
              </a:cxn>
              <a:cxn ang="0">
                <a:pos x="61" y="158"/>
              </a:cxn>
              <a:cxn ang="0">
                <a:pos x="79" y="170"/>
              </a:cxn>
              <a:cxn ang="0">
                <a:pos x="48" y="184"/>
              </a:cxn>
              <a:cxn ang="0">
                <a:pos x="83" y="198"/>
              </a:cxn>
              <a:cxn ang="0">
                <a:pos x="0" y="213"/>
              </a:cxn>
            </a:cxnLst>
            <a:rect l="0" t="0" r="r" b="b"/>
            <a:pathLst>
              <a:path w="513" h="249">
                <a:moveTo>
                  <a:pt x="0" y="213"/>
                </a:moveTo>
                <a:lnTo>
                  <a:pt x="48" y="220"/>
                </a:lnTo>
                <a:lnTo>
                  <a:pt x="17" y="242"/>
                </a:lnTo>
                <a:lnTo>
                  <a:pt x="102" y="249"/>
                </a:lnTo>
                <a:lnTo>
                  <a:pt x="105" y="220"/>
                </a:lnTo>
                <a:lnTo>
                  <a:pt x="128" y="225"/>
                </a:lnTo>
                <a:lnTo>
                  <a:pt x="103" y="209"/>
                </a:lnTo>
                <a:lnTo>
                  <a:pt x="138" y="214"/>
                </a:lnTo>
                <a:lnTo>
                  <a:pt x="130" y="183"/>
                </a:lnTo>
                <a:lnTo>
                  <a:pt x="147" y="202"/>
                </a:lnTo>
                <a:lnTo>
                  <a:pt x="171" y="184"/>
                </a:lnTo>
                <a:lnTo>
                  <a:pt x="156" y="163"/>
                </a:lnTo>
                <a:lnTo>
                  <a:pt x="208" y="166"/>
                </a:lnTo>
                <a:lnTo>
                  <a:pt x="194" y="154"/>
                </a:lnTo>
                <a:lnTo>
                  <a:pt x="217" y="157"/>
                </a:lnTo>
                <a:lnTo>
                  <a:pt x="231" y="132"/>
                </a:lnTo>
                <a:lnTo>
                  <a:pt x="487" y="52"/>
                </a:lnTo>
                <a:lnTo>
                  <a:pt x="513" y="22"/>
                </a:lnTo>
                <a:lnTo>
                  <a:pt x="463" y="0"/>
                </a:lnTo>
                <a:lnTo>
                  <a:pt x="356" y="49"/>
                </a:lnTo>
                <a:lnTo>
                  <a:pt x="245" y="49"/>
                </a:lnTo>
                <a:lnTo>
                  <a:pt x="127" y="117"/>
                </a:lnTo>
                <a:lnTo>
                  <a:pt x="62" y="125"/>
                </a:lnTo>
                <a:lnTo>
                  <a:pt x="65" y="154"/>
                </a:lnTo>
                <a:lnTo>
                  <a:pt x="101" y="157"/>
                </a:lnTo>
                <a:lnTo>
                  <a:pt x="61" y="158"/>
                </a:lnTo>
                <a:lnTo>
                  <a:pt x="79" y="170"/>
                </a:lnTo>
                <a:lnTo>
                  <a:pt x="48" y="184"/>
                </a:lnTo>
                <a:lnTo>
                  <a:pt x="83" y="198"/>
                </a:lnTo>
                <a:lnTo>
                  <a:pt x="0" y="213"/>
                </a:lnTo>
                <a:close/>
              </a:path>
            </a:pathLst>
          </a:custGeom>
          <a:solidFill>
            <a:srgbClr val="70AD47"/>
          </a:solidFill>
          <a:ln w="1270">
            <a:solidFill>
              <a:sysClr val="window" lastClr="FFFFFF">
                <a:lumMod val="75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4" name="30504191.125492.1252.8755.55">
            <a:extLst>
              <a:ext uri="{FF2B5EF4-FFF2-40B4-BE49-F238E27FC236}">
                <a16:creationId xmlns:a16="http://schemas.microsoft.com/office/drawing/2014/main" id="{28FD6753-963F-AD42-AFCE-96212DD4565A}"/>
              </a:ext>
            </a:extLst>
          </p:cNvPr>
          <p:cNvSpPr>
            <a:spLocks noChangeAspect="1"/>
          </p:cNvSpPr>
          <p:nvPr/>
        </p:nvSpPr>
        <p:spPr bwMode="gray">
          <a:xfrm>
            <a:off x="7564194" y="1394244"/>
            <a:ext cx="85592" cy="45414"/>
          </a:xfrm>
          <a:custGeom>
            <a:avLst/>
            <a:gdLst/>
            <a:ahLst/>
            <a:cxnLst>
              <a:cxn ang="0">
                <a:pos x="0" y="36"/>
              </a:cxn>
              <a:cxn ang="0">
                <a:pos x="31" y="51"/>
              </a:cxn>
              <a:cxn ang="0">
                <a:pos x="99" y="33"/>
              </a:cxn>
              <a:cxn ang="0">
                <a:pos x="58" y="0"/>
              </a:cxn>
              <a:cxn ang="0">
                <a:pos x="0" y="36"/>
              </a:cxn>
            </a:cxnLst>
            <a:rect l="0" t="0" r="r" b="b"/>
            <a:pathLst>
              <a:path w="99" h="51">
                <a:moveTo>
                  <a:pt x="0" y="36"/>
                </a:moveTo>
                <a:lnTo>
                  <a:pt x="31" y="51"/>
                </a:lnTo>
                <a:lnTo>
                  <a:pt x="99" y="33"/>
                </a:lnTo>
                <a:lnTo>
                  <a:pt x="58" y="0"/>
                </a:lnTo>
                <a:lnTo>
                  <a:pt x="0" y="3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5" name="30505196.75545.751.8755.1255">
            <a:extLst>
              <a:ext uri="{FF2B5EF4-FFF2-40B4-BE49-F238E27FC236}">
                <a16:creationId xmlns:a16="http://schemas.microsoft.com/office/drawing/2014/main" id="{11FDCDA3-6ACD-374E-B03B-A5CB10D2D3C7}"/>
              </a:ext>
            </a:extLst>
          </p:cNvPr>
          <p:cNvSpPr>
            <a:spLocks noChangeAspect="1"/>
          </p:cNvSpPr>
          <p:nvPr/>
        </p:nvSpPr>
        <p:spPr bwMode="gray">
          <a:xfrm>
            <a:off x="8421999" y="1483388"/>
            <a:ext cx="81787" cy="33639"/>
          </a:xfrm>
          <a:custGeom>
            <a:avLst/>
            <a:gdLst/>
            <a:ahLst/>
            <a:cxnLst>
              <a:cxn ang="0">
                <a:pos x="0" y="0"/>
              </a:cxn>
              <a:cxn ang="0">
                <a:pos x="40" y="26"/>
              </a:cxn>
              <a:cxn ang="0">
                <a:pos x="26" y="33"/>
              </a:cxn>
              <a:cxn ang="0">
                <a:pos x="62" y="31"/>
              </a:cxn>
              <a:cxn ang="0">
                <a:pos x="89" y="15"/>
              </a:cxn>
              <a:cxn ang="0">
                <a:pos x="0" y="0"/>
              </a:cxn>
            </a:cxnLst>
            <a:rect l="0" t="0" r="r" b="b"/>
            <a:pathLst>
              <a:path w="89" h="33">
                <a:moveTo>
                  <a:pt x="0" y="0"/>
                </a:moveTo>
                <a:lnTo>
                  <a:pt x="40" y="26"/>
                </a:lnTo>
                <a:lnTo>
                  <a:pt x="26" y="33"/>
                </a:lnTo>
                <a:lnTo>
                  <a:pt x="62" y="31"/>
                </a:lnTo>
                <a:lnTo>
                  <a:pt x="89" y="15"/>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6" name="30506191.75546.6255.2511.8755">
            <a:extLst>
              <a:ext uri="{FF2B5EF4-FFF2-40B4-BE49-F238E27FC236}">
                <a16:creationId xmlns:a16="http://schemas.microsoft.com/office/drawing/2014/main" id="{A60B25C8-8C65-C74F-971F-2252C0FC289E}"/>
              </a:ext>
            </a:extLst>
          </p:cNvPr>
          <p:cNvSpPr>
            <a:spLocks noChangeAspect="1"/>
          </p:cNvSpPr>
          <p:nvPr/>
        </p:nvSpPr>
        <p:spPr bwMode="gray">
          <a:xfrm>
            <a:off x="8437216" y="1404335"/>
            <a:ext cx="190202" cy="85783"/>
          </a:xfrm>
          <a:custGeom>
            <a:avLst/>
            <a:gdLst/>
            <a:ahLst/>
            <a:cxnLst>
              <a:cxn ang="0">
                <a:pos x="0" y="75"/>
              </a:cxn>
              <a:cxn ang="0">
                <a:pos x="56" y="25"/>
              </a:cxn>
              <a:cxn ang="0">
                <a:pos x="136" y="0"/>
              </a:cxn>
              <a:cxn ang="0">
                <a:pos x="212" y="44"/>
              </a:cxn>
              <a:cxn ang="0">
                <a:pos x="187" y="52"/>
              </a:cxn>
              <a:cxn ang="0">
                <a:pos x="194" y="73"/>
              </a:cxn>
              <a:cxn ang="0">
                <a:pos x="84" y="92"/>
              </a:cxn>
              <a:cxn ang="0">
                <a:pos x="0" y="75"/>
              </a:cxn>
            </a:cxnLst>
            <a:rect l="0" t="0" r="r" b="b"/>
            <a:pathLst>
              <a:path w="212" h="92">
                <a:moveTo>
                  <a:pt x="0" y="75"/>
                </a:moveTo>
                <a:lnTo>
                  <a:pt x="56" y="25"/>
                </a:lnTo>
                <a:lnTo>
                  <a:pt x="136" y="0"/>
                </a:lnTo>
                <a:lnTo>
                  <a:pt x="212" y="44"/>
                </a:lnTo>
                <a:lnTo>
                  <a:pt x="187" y="52"/>
                </a:lnTo>
                <a:lnTo>
                  <a:pt x="194" y="73"/>
                </a:lnTo>
                <a:lnTo>
                  <a:pt x="84" y="92"/>
                </a:lnTo>
                <a:lnTo>
                  <a:pt x="0" y="75"/>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7" name="30507196.25549.256.12513.55">
            <a:extLst>
              <a:ext uri="{FF2B5EF4-FFF2-40B4-BE49-F238E27FC236}">
                <a16:creationId xmlns:a16="http://schemas.microsoft.com/office/drawing/2014/main" id="{D1E8EF9C-A584-7F4C-A178-99623CDD7BAA}"/>
              </a:ext>
            </a:extLst>
          </p:cNvPr>
          <p:cNvSpPr>
            <a:spLocks noChangeAspect="1"/>
          </p:cNvSpPr>
          <p:nvPr/>
        </p:nvSpPr>
        <p:spPr bwMode="gray">
          <a:xfrm>
            <a:off x="8479060" y="1478343"/>
            <a:ext cx="214926" cy="97555"/>
          </a:xfrm>
          <a:custGeom>
            <a:avLst/>
            <a:gdLst/>
            <a:ahLst/>
            <a:cxnLst>
              <a:cxn ang="0">
                <a:pos x="0" y="46"/>
              </a:cxn>
              <a:cxn ang="0">
                <a:pos x="44" y="52"/>
              </a:cxn>
              <a:cxn ang="0">
                <a:pos x="74" y="89"/>
              </a:cxn>
              <a:cxn ang="0">
                <a:pos x="98" y="78"/>
              </a:cxn>
              <a:cxn ang="0">
                <a:pos x="197" y="107"/>
              </a:cxn>
              <a:cxn ang="0">
                <a:pos x="230" y="95"/>
              </a:cxn>
              <a:cxn ang="0">
                <a:pos x="205" y="67"/>
              </a:cxn>
              <a:cxn ang="0">
                <a:pos x="224" y="74"/>
              </a:cxn>
              <a:cxn ang="0">
                <a:pos x="239" y="31"/>
              </a:cxn>
              <a:cxn ang="0">
                <a:pos x="187" y="9"/>
              </a:cxn>
              <a:cxn ang="0">
                <a:pos x="136" y="39"/>
              </a:cxn>
              <a:cxn ang="0">
                <a:pos x="178" y="23"/>
              </a:cxn>
              <a:cxn ang="0">
                <a:pos x="153" y="0"/>
              </a:cxn>
              <a:cxn ang="0">
                <a:pos x="70" y="8"/>
              </a:cxn>
              <a:cxn ang="0">
                <a:pos x="0" y="46"/>
              </a:cxn>
            </a:cxnLst>
            <a:rect l="0" t="0" r="r" b="b"/>
            <a:pathLst>
              <a:path w="239" h="107">
                <a:moveTo>
                  <a:pt x="0" y="46"/>
                </a:moveTo>
                <a:lnTo>
                  <a:pt x="44" y="52"/>
                </a:lnTo>
                <a:lnTo>
                  <a:pt x="74" y="89"/>
                </a:lnTo>
                <a:lnTo>
                  <a:pt x="98" y="78"/>
                </a:lnTo>
                <a:lnTo>
                  <a:pt x="197" y="107"/>
                </a:lnTo>
                <a:lnTo>
                  <a:pt x="230" y="95"/>
                </a:lnTo>
                <a:lnTo>
                  <a:pt x="205" y="67"/>
                </a:lnTo>
                <a:lnTo>
                  <a:pt x="224" y="74"/>
                </a:lnTo>
                <a:lnTo>
                  <a:pt x="239" y="31"/>
                </a:lnTo>
                <a:lnTo>
                  <a:pt x="187" y="9"/>
                </a:lnTo>
                <a:lnTo>
                  <a:pt x="136" y="39"/>
                </a:lnTo>
                <a:lnTo>
                  <a:pt x="178" y="23"/>
                </a:lnTo>
                <a:lnTo>
                  <a:pt x="153" y="0"/>
                </a:lnTo>
                <a:lnTo>
                  <a:pt x="70" y="8"/>
                </a:lnTo>
                <a:lnTo>
                  <a:pt x="0" y="46"/>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8" name="30508199.375561.756.2511.255">
            <a:extLst>
              <a:ext uri="{FF2B5EF4-FFF2-40B4-BE49-F238E27FC236}">
                <a16:creationId xmlns:a16="http://schemas.microsoft.com/office/drawing/2014/main" id="{4043C7A0-8A69-6548-9C76-036218A9323C}"/>
              </a:ext>
            </a:extLst>
          </p:cNvPr>
          <p:cNvSpPr>
            <a:spLocks noChangeAspect="1"/>
          </p:cNvSpPr>
          <p:nvPr/>
        </p:nvSpPr>
        <p:spPr bwMode="gray">
          <a:xfrm>
            <a:off x="8678769" y="1528803"/>
            <a:ext cx="178787" cy="100920"/>
          </a:xfrm>
          <a:custGeom>
            <a:avLst/>
            <a:gdLst/>
            <a:ahLst/>
            <a:cxnLst>
              <a:cxn ang="0">
                <a:pos x="0" y="92"/>
              </a:cxn>
              <a:cxn ang="0">
                <a:pos x="15" y="109"/>
              </a:cxn>
              <a:cxn ang="0">
                <a:pos x="183" y="87"/>
              </a:cxn>
              <a:cxn ang="0">
                <a:pos x="199" y="51"/>
              </a:cxn>
              <a:cxn ang="0">
                <a:pos x="152" y="22"/>
              </a:cxn>
              <a:cxn ang="0">
                <a:pos x="113" y="33"/>
              </a:cxn>
              <a:cxn ang="0">
                <a:pos x="119" y="10"/>
              </a:cxn>
              <a:cxn ang="0">
                <a:pos x="96" y="0"/>
              </a:cxn>
              <a:cxn ang="0">
                <a:pos x="19" y="81"/>
              </a:cxn>
              <a:cxn ang="0">
                <a:pos x="0" y="92"/>
              </a:cxn>
            </a:cxnLst>
            <a:rect l="0" t="0" r="r" b="b"/>
            <a:pathLst>
              <a:path w="199" h="109">
                <a:moveTo>
                  <a:pt x="0" y="92"/>
                </a:moveTo>
                <a:lnTo>
                  <a:pt x="15" y="109"/>
                </a:lnTo>
                <a:lnTo>
                  <a:pt x="183" y="87"/>
                </a:lnTo>
                <a:lnTo>
                  <a:pt x="199" y="51"/>
                </a:lnTo>
                <a:lnTo>
                  <a:pt x="152" y="22"/>
                </a:lnTo>
                <a:lnTo>
                  <a:pt x="113" y="33"/>
                </a:lnTo>
                <a:lnTo>
                  <a:pt x="119" y="10"/>
                </a:lnTo>
                <a:lnTo>
                  <a:pt x="96" y="0"/>
                </a:lnTo>
                <a:lnTo>
                  <a:pt x="19" y="81"/>
                </a:lnTo>
                <a:lnTo>
                  <a:pt x="0" y="92"/>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79" name="30509212.5631.755.87512.6255">
            <a:extLst>
              <a:ext uri="{FF2B5EF4-FFF2-40B4-BE49-F238E27FC236}">
                <a16:creationId xmlns:a16="http://schemas.microsoft.com/office/drawing/2014/main" id="{0AD81698-6B41-7443-A38C-3BF5EEA98D25}"/>
              </a:ext>
            </a:extLst>
          </p:cNvPr>
          <p:cNvSpPr>
            <a:spLocks noChangeAspect="1"/>
          </p:cNvSpPr>
          <p:nvPr/>
        </p:nvSpPr>
        <p:spPr bwMode="gray">
          <a:xfrm>
            <a:off x="9800954" y="1739053"/>
            <a:ext cx="203514" cy="95874"/>
          </a:xfrm>
          <a:custGeom>
            <a:avLst/>
            <a:gdLst/>
            <a:ahLst/>
            <a:cxnLst>
              <a:cxn ang="0">
                <a:pos x="0" y="56"/>
              </a:cxn>
              <a:cxn ang="0">
                <a:pos x="45" y="4"/>
              </a:cxn>
              <a:cxn ang="0">
                <a:pos x="77" y="0"/>
              </a:cxn>
              <a:cxn ang="0">
                <a:pos x="128" y="40"/>
              </a:cxn>
              <a:cxn ang="0">
                <a:pos x="136" y="11"/>
              </a:cxn>
              <a:cxn ang="0">
                <a:pos x="192" y="34"/>
              </a:cxn>
              <a:cxn ang="0">
                <a:pos x="187" y="72"/>
              </a:cxn>
              <a:cxn ang="0">
                <a:pos x="223" y="85"/>
              </a:cxn>
              <a:cxn ang="0">
                <a:pos x="106" y="92"/>
              </a:cxn>
              <a:cxn ang="0">
                <a:pos x="99" y="76"/>
              </a:cxn>
              <a:cxn ang="0">
                <a:pos x="80" y="103"/>
              </a:cxn>
              <a:cxn ang="0">
                <a:pos x="0" y="56"/>
              </a:cxn>
            </a:cxnLst>
            <a:rect l="0" t="0" r="r" b="b"/>
            <a:pathLst>
              <a:path w="223" h="103">
                <a:moveTo>
                  <a:pt x="0" y="56"/>
                </a:moveTo>
                <a:lnTo>
                  <a:pt x="45" y="4"/>
                </a:lnTo>
                <a:lnTo>
                  <a:pt x="77" y="0"/>
                </a:lnTo>
                <a:lnTo>
                  <a:pt x="128" y="40"/>
                </a:lnTo>
                <a:lnTo>
                  <a:pt x="136" y="11"/>
                </a:lnTo>
                <a:lnTo>
                  <a:pt x="192" y="34"/>
                </a:lnTo>
                <a:lnTo>
                  <a:pt x="187" y="72"/>
                </a:lnTo>
                <a:lnTo>
                  <a:pt x="223" y="85"/>
                </a:lnTo>
                <a:lnTo>
                  <a:pt x="106" y="92"/>
                </a:lnTo>
                <a:lnTo>
                  <a:pt x="99" y="76"/>
                </a:lnTo>
                <a:lnTo>
                  <a:pt x="80" y="103"/>
                </a:lnTo>
                <a:lnTo>
                  <a:pt x="0" y="56"/>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0" name="30510212.75640.62547.6255">
            <a:extLst>
              <a:ext uri="{FF2B5EF4-FFF2-40B4-BE49-F238E27FC236}">
                <a16:creationId xmlns:a16="http://schemas.microsoft.com/office/drawing/2014/main" id="{FF4DF117-D7B8-5F4B-B9A2-716FAC5A13A2}"/>
              </a:ext>
            </a:extLst>
          </p:cNvPr>
          <p:cNvSpPr>
            <a:spLocks noChangeAspect="1"/>
          </p:cNvSpPr>
          <p:nvPr/>
        </p:nvSpPr>
        <p:spPr bwMode="gray">
          <a:xfrm>
            <a:off x="9943607" y="1745779"/>
            <a:ext cx="119826" cy="62232"/>
          </a:xfrm>
          <a:custGeom>
            <a:avLst/>
            <a:gdLst/>
            <a:ahLst/>
            <a:cxnLst>
              <a:cxn ang="0">
                <a:pos x="0" y="0"/>
              </a:cxn>
              <a:cxn ang="0">
                <a:pos x="46" y="26"/>
              </a:cxn>
              <a:cxn ang="0">
                <a:pos x="33" y="50"/>
              </a:cxn>
              <a:cxn ang="0">
                <a:pos x="57" y="70"/>
              </a:cxn>
              <a:cxn ang="0">
                <a:pos x="98" y="70"/>
              </a:cxn>
              <a:cxn ang="0">
                <a:pos x="138" y="44"/>
              </a:cxn>
              <a:cxn ang="0">
                <a:pos x="0" y="0"/>
              </a:cxn>
            </a:cxnLst>
            <a:rect l="0" t="0" r="r" b="b"/>
            <a:pathLst>
              <a:path w="138" h="70">
                <a:moveTo>
                  <a:pt x="0" y="0"/>
                </a:moveTo>
                <a:lnTo>
                  <a:pt x="46" y="26"/>
                </a:lnTo>
                <a:lnTo>
                  <a:pt x="33" y="50"/>
                </a:lnTo>
                <a:lnTo>
                  <a:pt x="57" y="70"/>
                </a:lnTo>
                <a:lnTo>
                  <a:pt x="98" y="70"/>
                </a:lnTo>
                <a:lnTo>
                  <a:pt x="138" y="44"/>
                </a:lnTo>
                <a:lnTo>
                  <a:pt x="0" y="0"/>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1" name="30511280.5641.2520.3755.8755">
            <a:extLst>
              <a:ext uri="{FF2B5EF4-FFF2-40B4-BE49-F238E27FC236}">
                <a16:creationId xmlns:a16="http://schemas.microsoft.com/office/drawing/2014/main" id="{CF5D052C-95D9-C741-BB3D-327336F6B1E7}"/>
              </a:ext>
            </a:extLst>
          </p:cNvPr>
          <p:cNvSpPr>
            <a:spLocks noChangeAspect="1"/>
          </p:cNvSpPr>
          <p:nvPr/>
        </p:nvSpPr>
        <p:spPr bwMode="gray">
          <a:xfrm>
            <a:off x="9953113" y="2842441"/>
            <a:ext cx="95099" cy="329672"/>
          </a:xfrm>
          <a:custGeom>
            <a:avLst/>
            <a:gdLst/>
            <a:ahLst/>
            <a:cxnLst>
              <a:cxn ang="0">
                <a:pos x="0" y="92"/>
              </a:cxn>
              <a:cxn ang="0">
                <a:pos x="18" y="137"/>
              </a:cxn>
              <a:cxn ang="0">
                <a:pos x="18" y="363"/>
              </a:cxn>
              <a:cxn ang="0">
                <a:pos x="36" y="335"/>
              </a:cxn>
              <a:cxn ang="0">
                <a:pos x="62" y="353"/>
              </a:cxn>
              <a:cxn ang="0">
                <a:pos x="32" y="291"/>
              </a:cxn>
              <a:cxn ang="0">
                <a:pos x="48" y="228"/>
              </a:cxn>
              <a:cxn ang="0">
                <a:pos x="103" y="247"/>
              </a:cxn>
              <a:cxn ang="0">
                <a:pos x="51" y="128"/>
              </a:cxn>
              <a:cxn ang="0">
                <a:pos x="36" y="0"/>
              </a:cxn>
              <a:cxn ang="0">
                <a:pos x="0" y="92"/>
              </a:cxn>
            </a:cxnLst>
            <a:rect l="0" t="0" r="r" b="b"/>
            <a:pathLst>
              <a:path w="103" h="363">
                <a:moveTo>
                  <a:pt x="0" y="92"/>
                </a:moveTo>
                <a:lnTo>
                  <a:pt x="18" y="137"/>
                </a:lnTo>
                <a:lnTo>
                  <a:pt x="18" y="363"/>
                </a:lnTo>
                <a:lnTo>
                  <a:pt x="36" y="335"/>
                </a:lnTo>
                <a:lnTo>
                  <a:pt x="62" y="353"/>
                </a:lnTo>
                <a:lnTo>
                  <a:pt x="32" y="291"/>
                </a:lnTo>
                <a:lnTo>
                  <a:pt x="48" y="228"/>
                </a:lnTo>
                <a:lnTo>
                  <a:pt x="103" y="247"/>
                </a:lnTo>
                <a:lnTo>
                  <a:pt x="51" y="128"/>
                </a:lnTo>
                <a:lnTo>
                  <a:pt x="36" y="0"/>
                </a:lnTo>
                <a:lnTo>
                  <a:pt x="0" y="9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2" name="30512215649.8752.8758.755">
            <a:extLst>
              <a:ext uri="{FF2B5EF4-FFF2-40B4-BE49-F238E27FC236}">
                <a16:creationId xmlns:a16="http://schemas.microsoft.com/office/drawing/2014/main" id="{E49992D2-CF86-204C-8C6B-BE2D55210B90}"/>
              </a:ext>
            </a:extLst>
          </p:cNvPr>
          <p:cNvSpPr>
            <a:spLocks noChangeAspect="1"/>
          </p:cNvSpPr>
          <p:nvPr/>
        </p:nvSpPr>
        <p:spPr bwMode="gray">
          <a:xfrm>
            <a:off x="10091961" y="1781102"/>
            <a:ext cx="140748" cy="47095"/>
          </a:xfrm>
          <a:custGeom>
            <a:avLst/>
            <a:gdLst/>
            <a:ahLst/>
            <a:cxnLst>
              <a:cxn ang="0">
                <a:pos x="0" y="0"/>
              </a:cxn>
              <a:cxn ang="0">
                <a:pos x="28" y="36"/>
              </a:cxn>
              <a:cxn ang="0">
                <a:pos x="99" y="52"/>
              </a:cxn>
              <a:cxn ang="0">
                <a:pos x="155" y="41"/>
              </a:cxn>
              <a:cxn ang="0">
                <a:pos x="0" y="0"/>
              </a:cxn>
            </a:cxnLst>
            <a:rect l="0" t="0" r="r" b="b"/>
            <a:pathLst>
              <a:path w="155" h="52">
                <a:moveTo>
                  <a:pt x="0" y="0"/>
                </a:moveTo>
                <a:lnTo>
                  <a:pt x="28" y="36"/>
                </a:lnTo>
                <a:lnTo>
                  <a:pt x="99" y="52"/>
                </a:lnTo>
                <a:lnTo>
                  <a:pt x="155" y="41"/>
                </a:lnTo>
                <a:lnTo>
                  <a:pt x="0" y="0"/>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3" name="30513306.25357.2516.7523.255">
            <a:extLst>
              <a:ext uri="{FF2B5EF4-FFF2-40B4-BE49-F238E27FC236}">
                <a16:creationId xmlns:a16="http://schemas.microsoft.com/office/drawing/2014/main" id="{1CB876DF-C80A-974A-AC65-AF1A3BF4EC36}"/>
              </a:ext>
            </a:extLst>
          </p:cNvPr>
          <p:cNvSpPr>
            <a:spLocks noChangeAspect="1"/>
          </p:cNvSpPr>
          <p:nvPr/>
        </p:nvSpPr>
        <p:spPr bwMode="gray">
          <a:xfrm>
            <a:off x="5399711" y="3257892"/>
            <a:ext cx="372795" cy="270801"/>
          </a:xfrm>
          <a:custGeom>
            <a:avLst/>
            <a:gdLst/>
            <a:ahLst/>
            <a:cxnLst>
              <a:cxn ang="0">
                <a:pos x="0" y="24"/>
              </a:cxn>
              <a:cxn ang="0">
                <a:pos x="14" y="73"/>
              </a:cxn>
              <a:cxn ang="0">
                <a:pos x="100" y="81"/>
              </a:cxn>
              <a:cxn ang="0">
                <a:pos x="62" y="158"/>
              </a:cxn>
              <a:cxn ang="0">
                <a:pos x="62" y="253"/>
              </a:cxn>
              <a:cxn ang="0">
                <a:pos x="124" y="295"/>
              </a:cxn>
              <a:cxn ang="0">
                <a:pos x="243" y="268"/>
              </a:cxn>
              <a:cxn ang="0">
                <a:pos x="310" y="196"/>
              </a:cxn>
              <a:cxn ang="0">
                <a:pos x="297" y="167"/>
              </a:cxn>
              <a:cxn ang="0">
                <a:pos x="332" y="115"/>
              </a:cxn>
              <a:cxn ang="0">
                <a:pos x="409" y="74"/>
              </a:cxn>
              <a:cxn ang="0">
                <a:pos x="411" y="51"/>
              </a:cxn>
              <a:cxn ang="0">
                <a:pos x="361" y="45"/>
              </a:cxn>
              <a:cxn ang="0">
                <a:pos x="350" y="41"/>
              </a:cxn>
              <a:cxn ang="0">
                <a:pos x="246" y="11"/>
              </a:cxn>
              <a:cxn ang="0">
                <a:pos x="36" y="0"/>
              </a:cxn>
              <a:cxn ang="0">
                <a:pos x="0" y="24"/>
              </a:cxn>
            </a:cxnLst>
            <a:rect l="0" t="0" r="r" b="b"/>
            <a:pathLst>
              <a:path w="411" h="295">
                <a:moveTo>
                  <a:pt x="0" y="24"/>
                </a:moveTo>
                <a:lnTo>
                  <a:pt x="14" y="73"/>
                </a:lnTo>
                <a:lnTo>
                  <a:pt x="100" y="81"/>
                </a:lnTo>
                <a:lnTo>
                  <a:pt x="62" y="158"/>
                </a:lnTo>
                <a:lnTo>
                  <a:pt x="62" y="253"/>
                </a:lnTo>
                <a:lnTo>
                  <a:pt x="124" y="295"/>
                </a:lnTo>
                <a:lnTo>
                  <a:pt x="243" y="268"/>
                </a:lnTo>
                <a:lnTo>
                  <a:pt x="310" y="196"/>
                </a:lnTo>
                <a:lnTo>
                  <a:pt x="297" y="167"/>
                </a:lnTo>
                <a:lnTo>
                  <a:pt x="332" y="115"/>
                </a:lnTo>
                <a:lnTo>
                  <a:pt x="409" y="74"/>
                </a:lnTo>
                <a:lnTo>
                  <a:pt x="411" y="51"/>
                </a:lnTo>
                <a:lnTo>
                  <a:pt x="361" y="45"/>
                </a:lnTo>
                <a:lnTo>
                  <a:pt x="350" y="41"/>
                </a:lnTo>
                <a:lnTo>
                  <a:pt x="246" y="11"/>
                </a:lnTo>
                <a:lnTo>
                  <a:pt x="36" y="0"/>
                </a:lnTo>
                <a:lnTo>
                  <a:pt x="0" y="2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4" name="30515196.75394.7514.12519.8755">
            <a:extLst>
              <a:ext uri="{FF2B5EF4-FFF2-40B4-BE49-F238E27FC236}">
                <a16:creationId xmlns:a16="http://schemas.microsoft.com/office/drawing/2014/main" id="{FF4D1425-688E-9547-B4FC-35BA7D8AF0D2}"/>
              </a:ext>
            </a:extLst>
          </p:cNvPr>
          <p:cNvSpPr>
            <a:spLocks noChangeAspect="1"/>
          </p:cNvSpPr>
          <p:nvPr/>
        </p:nvSpPr>
        <p:spPr bwMode="gray">
          <a:xfrm>
            <a:off x="6000747" y="1483388"/>
            <a:ext cx="319535" cy="230433"/>
          </a:xfrm>
          <a:custGeom>
            <a:avLst/>
            <a:gdLst/>
            <a:ahLst/>
            <a:cxnLst>
              <a:cxn ang="0">
                <a:pos x="0" y="31"/>
              </a:cxn>
              <a:cxn ang="0">
                <a:pos x="3" y="62"/>
              </a:cxn>
              <a:cxn ang="0">
                <a:pos x="39" y="62"/>
              </a:cxn>
              <a:cxn ang="0">
                <a:pos x="28" y="77"/>
              </a:cxn>
              <a:cxn ang="0">
                <a:pos x="54" y="87"/>
              </a:cxn>
              <a:cxn ang="0">
                <a:pos x="20" y="85"/>
              </a:cxn>
              <a:cxn ang="0">
                <a:pos x="83" y="111"/>
              </a:cxn>
              <a:cxn ang="0">
                <a:pos x="55" y="121"/>
              </a:cxn>
              <a:cxn ang="0">
                <a:pos x="75" y="140"/>
              </a:cxn>
              <a:cxn ang="0">
                <a:pos x="129" y="129"/>
              </a:cxn>
              <a:cxn ang="0">
                <a:pos x="128" y="103"/>
              </a:cxn>
              <a:cxn ang="0">
                <a:pos x="157" y="93"/>
              </a:cxn>
              <a:cxn ang="0">
                <a:pos x="161" y="122"/>
              </a:cxn>
              <a:cxn ang="0">
                <a:pos x="195" y="103"/>
              </a:cxn>
              <a:cxn ang="0">
                <a:pos x="189" y="122"/>
              </a:cxn>
              <a:cxn ang="0">
                <a:pos x="220" y="124"/>
              </a:cxn>
              <a:cxn ang="0">
                <a:pos x="98" y="153"/>
              </a:cxn>
              <a:cxn ang="0">
                <a:pos x="103" y="175"/>
              </a:cxn>
              <a:cxn ang="0">
                <a:pos x="204" y="158"/>
              </a:cxn>
              <a:cxn ang="0">
                <a:pos x="135" y="179"/>
              </a:cxn>
              <a:cxn ang="0">
                <a:pos x="175" y="191"/>
              </a:cxn>
              <a:cxn ang="0">
                <a:pos x="106" y="201"/>
              </a:cxn>
              <a:cxn ang="0">
                <a:pos x="209" y="252"/>
              </a:cxn>
              <a:cxn ang="0">
                <a:pos x="275" y="122"/>
              </a:cxn>
              <a:cxn ang="0">
                <a:pos x="354" y="92"/>
              </a:cxn>
              <a:cxn ang="0">
                <a:pos x="267" y="70"/>
              </a:cxn>
              <a:cxn ang="0">
                <a:pos x="255" y="37"/>
              </a:cxn>
              <a:cxn ang="0">
                <a:pos x="230" y="56"/>
              </a:cxn>
              <a:cxn ang="0">
                <a:pos x="241" y="26"/>
              </a:cxn>
              <a:cxn ang="0">
                <a:pos x="182" y="0"/>
              </a:cxn>
              <a:cxn ang="0">
                <a:pos x="162" y="26"/>
              </a:cxn>
              <a:cxn ang="0">
                <a:pos x="190" y="87"/>
              </a:cxn>
              <a:cxn ang="0">
                <a:pos x="124" y="25"/>
              </a:cxn>
              <a:cxn ang="0">
                <a:pos x="103" y="37"/>
              </a:cxn>
              <a:cxn ang="0">
                <a:pos x="117" y="69"/>
              </a:cxn>
              <a:cxn ang="0">
                <a:pos x="53" y="40"/>
              </a:cxn>
              <a:cxn ang="0">
                <a:pos x="98" y="22"/>
              </a:cxn>
              <a:cxn ang="0">
                <a:pos x="0" y="31"/>
              </a:cxn>
            </a:cxnLst>
            <a:rect l="0" t="0" r="r" b="b"/>
            <a:pathLst>
              <a:path w="354" h="252">
                <a:moveTo>
                  <a:pt x="0" y="31"/>
                </a:moveTo>
                <a:lnTo>
                  <a:pt x="3" y="62"/>
                </a:lnTo>
                <a:lnTo>
                  <a:pt x="39" y="62"/>
                </a:lnTo>
                <a:lnTo>
                  <a:pt x="28" y="77"/>
                </a:lnTo>
                <a:lnTo>
                  <a:pt x="54" y="87"/>
                </a:lnTo>
                <a:lnTo>
                  <a:pt x="20" y="85"/>
                </a:lnTo>
                <a:lnTo>
                  <a:pt x="83" y="111"/>
                </a:lnTo>
                <a:lnTo>
                  <a:pt x="55" y="121"/>
                </a:lnTo>
                <a:lnTo>
                  <a:pt x="75" y="140"/>
                </a:lnTo>
                <a:lnTo>
                  <a:pt x="129" y="129"/>
                </a:lnTo>
                <a:lnTo>
                  <a:pt x="128" y="103"/>
                </a:lnTo>
                <a:lnTo>
                  <a:pt x="157" y="93"/>
                </a:lnTo>
                <a:lnTo>
                  <a:pt x="161" y="122"/>
                </a:lnTo>
                <a:lnTo>
                  <a:pt x="195" y="103"/>
                </a:lnTo>
                <a:lnTo>
                  <a:pt x="189" y="122"/>
                </a:lnTo>
                <a:lnTo>
                  <a:pt x="220" y="124"/>
                </a:lnTo>
                <a:lnTo>
                  <a:pt x="98" y="153"/>
                </a:lnTo>
                <a:lnTo>
                  <a:pt x="103" y="175"/>
                </a:lnTo>
                <a:lnTo>
                  <a:pt x="204" y="158"/>
                </a:lnTo>
                <a:lnTo>
                  <a:pt x="135" y="179"/>
                </a:lnTo>
                <a:lnTo>
                  <a:pt x="175" y="191"/>
                </a:lnTo>
                <a:lnTo>
                  <a:pt x="106" y="201"/>
                </a:lnTo>
                <a:lnTo>
                  <a:pt x="209" y="252"/>
                </a:lnTo>
                <a:lnTo>
                  <a:pt x="275" y="122"/>
                </a:lnTo>
                <a:lnTo>
                  <a:pt x="354" y="92"/>
                </a:lnTo>
                <a:lnTo>
                  <a:pt x="267" y="70"/>
                </a:lnTo>
                <a:lnTo>
                  <a:pt x="255" y="37"/>
                </a:lnTo>
                <a:lnTo>
                  <a:pt x="230" y="56"/>
                </a:lnTo>
                <a:lnTo>
                  <a:pt x="241" y="26"/>
                </a:lnTo>
                <a:lnTo>
                  <a:pt x="182" y="0"/>
                </a:lnTo>
                <a:lnTo>
                  <a:pt x="162" y="26"/>
                </a:lnTo>
                <a:lnTo>
                  <a:pt x="190" y="87"/>
                </a:lnTo>
                <a:lnTo>
                  <a:pt x="124" y="25"/>
                </a:lnTo>
                <a:lnTo>
                  <a:pt x="103" y="37"/>
                </a:lnTo>
                <a:lnTo>
                  <a:pt x="117" y="69"/>
                </a:lnTo>
                <a:lnTo>
                  <a:pt x="53" y="40"/>
                </a:lnTo>
                <a:lnTo>
                  <a:pt x="98" y="22"/>
                </a:lnTo>
                <a:lnTo>
                  <a:pt x="0" y="3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5" name="30516194.75407.56185">
            <a:extLst>
              <a:ext uri="{FF2B5EF4-FFF2-40B4-BE49-F238E27FC236}">
                <a16:creationId xmlns:a16="http://schemas.microsoft.com/office/drawing/2014/main" id="{FA25F971-91C8-5940-AE31-A328DF0AB3B9}"/>
              </a:ext>
            </a:extLst>
          </p:cNvPr>
          <p:cNvSpPr>
            <a:spLocks noChangeAspect="1"/>
          </p:cNvSpPr>
          <p:nvPr/>
        </p:nvSpPr>
        <p:spPr bwMode="gray">
          <a:xfrm>
            <a:off x="6206162" y="1454795"/>
            <a:ext cx="287202" cy="94190"/>
          </a:xfrm>
          <a:custGeom>
            <a:avLst/>
            <a:gdLst/>
            <a:ahLst/>
            <a:cxnLst>
              <a:cxn ang="0">
                <a:pos x="0" y="29"/>
              </a:cxn>
              <a:cxn ang="0">
                <a:pos x="47" y="38"/>
              </a:cxn>
              <a:cxn ang="0">
                <a:pos x="17" y="50"/>
              </a:cxn>
              <a:cxn ang="0">
                <a:pos x="29" y="60"/>
              </a:cxn>
              <a:cxn ang="0">
                <a:pos x="147" y="58"/>
              </a:cxn>
              <a:cxn ang="0">
                <a:pos x="73" y="73"/>
              </a:cxn>
              <a:cxn ang="0">
                <a:pos x="191" y="106"/>
              </a:cxn>
              <a:cxn ang="0">
                <a:pos x="269" y="87"/>
              </a:cxn>
              <a:cxn ang="0">
                <a:pos x="320" y="50"/>
              </a:cxn>
              <a:cxn ang="0">
                <a:pos x="307" y="32"/>
              </a:cxn>
              <a:cxn ang="0">
                <a:pos x="231" y="33"/>
              </a:cxn>
              <a:cxn ang="0">
                <a:pos x="243" y="14"/>
              </a:cxn>
              <a:cxn ang="0">
                <a:pos x="181" y="33"/>
              </a:cxn>
              <a:cxn ang="0">
                <a:pos x="173" y="0"/>
              </a:cxn>
              <a:cxn ang="0">
                <a:pos x="158" y="43"/>
              </a:cxn>
              <a:cxn ang="0">
                <a:pos x="73" y="0"/>
              </a:cxn>
              <a:cxn ang="0">
                <a:pos x="76" y="27"/>
              </a:cxn>
              <a:cxn ang="0">
                <a:pos x="50" y="14"/>
              </a:cxn>
              <a:cxn ang="0">
                <a:pos x="61" y="39"/>
              </a:cxn>
              <a:cxn ang="0">
                <a:pos x="0" y="29"/>
              </a:cxn>
            </a:cxnLst>
            <a:rect l="0" t="0" r="r" b="b"/>
            <a:pathLst>
              <a:path w="320" h="106">
                <a:moveTo>
                  <a:pt x="0" y="29"/>
                </a:moveTo>
                <a:lnTo>
                  <a:pt x="47" y="38"/>
                </a:lnTo>
                <a:lnTo>
                  <a:pt x="17" y="50"/>
                </a:lnTo>
                <a:lnTo>
                  <a:pt x="29" y="60"/>
                </a:lnTo>
                <a:lnTo>
                  <a:pt x="147" y="58"/>
                </a:lnTo>
                <a:lnTo>
                  <a:pt x="73" y="73"/>
                </a:lnTo>
                <a:lnTo>
                  <a:pt x="191" y="106"/>
                </a:lnTo>
                <a:lnTo>
                  <a:pt x="269" y="87"/>
                </a:lnTo>
                <a:lnTo>
                  <a:pt x="320" y="50"/>
                </a:lnTo>
                <a:lnTo>
                  <a:pt x="307" y="32"/>
                </a:lnTo>
                <a:lnTo>
                  <a:pt x="231" y="33"/>
                </a:lnTo>
                <a:lnTo>
                  <a:pt x="243" y="14"/>
                </a:lnTo>
                <a:lnTo>
                  <a:pt x="181" y="33"/>
                </a:lnTo>
                <a:lnTo>
                  <a:pt x="173" y="0"/>
                </a:lnTo>
                <a:lnTo>
                  <a:pt x="158" y="43"/>
                </a:lnTo>
                <a:lnTo>
                  <a:pt x="73" y="0"/>
                </a:lnTo>
                <a:lnTo>
                  <a:pt x="76" y="27"/>
                </a:lnTo>
                <a:lnTo>
                  <a:pt x="50" y="14"/>
                </a:lnTo>
                <a:lnTo>
                  <a:pt x="61" y="39"/>
                </a:lnTo>
                <a:lnTo>
                  <a:pt x="0" y="2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6" name="30517204.5413.62547.8755">
            <a:extLst>
              <a:ext uri="{FF2B5EF4-FFF2-40B4-BE49-F238E27FC236}">
                <a16:creationId xmlns:a16="http://schemas.microsoft.com/office/drawing/2014/main" id="{B14D4FF2-A117-724B-B17E-CA60D1BD0BD1}"/>
              </a:ext>
            </a:extLst>
          </p:cNvPr>
          <p:cNvSpPr>
            <a:spLocks noChangeAspect="1"/>
          </p:cNvSpPr>
          <p:nvPr/>
        </p:nvSpPr>
        <p:spPr bwMode="gray">
          <a:xfrm>
            <a:off x="6305066" y="1611221"/>
            <a:ext cx="125532" cy="63916"/>
          </a:xfrm>
          <a:custGeom>
            <a:avLst/>
            <a:gdLst/>
            <a:ahLst/>
            <a:cxnLst>
              <a:cxn ang="0">
                <a:pos x="0" y="55"/>
              </a:cxn>
              <a:cxn ang="0">
                <a:pos x="11" y="20"/>
              </a:cxn>
              <a:cxn ang="0">
                <a:pos x="67" y="0"/>
              </a:cxn>
              <a:cxn ang="0">
                <a:pos x="77" y="20"/>
              </a:cxn>
              <a:cxn ang="0">
                <a:pos x="137" y="36"/>
              </a:cxn>
              <a:cxn ang="0">
                <a:pos x="54" y="69"/>
              </a:cxn>
              <a:cxn ang="0">
                <a:pos x="67" y="51"/>
              </a:cxn>
              <a:cxn ang="0">
                <a:pos x="0" y="55"/>
              </a:cxn>
            </a:cxnLst>
            <a:rect l="0" t="0" r="r" b="b"/>
            <a:pathLst>
              <a:path w="137" h="69">
                <a:moveTo>
                  <a:pt x="0" y="55"/>
                </a:moveTo>
                <a:lnTo>
                  <a:pt x="11" y="20"/>
                </a:lnTo>
                <a:lnTo>
                  <a:pt x="67" y="0"/>
                </a:lnTo>
                <a:lnTo>
                  <a:pt x="77" y="20"/>
                </a:lnTo>
                <a:lnTo>
                  <a:pt x="137" y="36"/>
                </a:lnTo>
                <a:lnTo>
                  <a:pt x="54" y="69"/>
                </a:lnTo>
                <a:lnTo>
                  <a:pt x="67" y="51"/>
                </a:lnTo>
                <a:lnTo>
                  <a:pt x="0" y="5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7" name="30518237.875395.539.7524.1255">
            <a:extLst>
              <a:ext uri="{FF2B5EF4-FFF2-40B4-BE49-F238E27FC236}">
                <a16:creationId xmlns:a16="http://schemas.microsoft.com/office/drawing/2014/main" id="{47A63D9F-8CD0-904C-908F-5122559FE4EC}"/>
              </a:ext>
            </a:extLst>
          </p:cNvPr>
          <p:cNvSpPr>
            <a:spLocks noChangeAspect="1"/>
          </p:cNvSpPr>
          <p:nvPr/>
        </p:nvSpPr>
        <p:spPr bwMode="gray">
          <a:xfrm>
            <a:off x="6012158" y="2149458"/>
            <a:ext cx="386106" cy="645884"/>
          </a:xfrm>
          <a:custGeom>
            <a:avLst/>
            <a:gdLst/>
            <a:ahLst/>
            <a:cxnLst>
              <a:cxn ang="0">
                <a:pos x="0" y="529"/>
              </a:cxn>
              <a:cxn ang="0">
                <a:pos x="18" y="611"/>
              </a:cxn>
              <a:cxn ang="0">
                <a:pos x="55" y="649"/>
              </a:cxn>
              <a:cxn ang="0">
                <a:pos x="51" y="704"/>
              </a:cxn>
              <a:cxn ang="0">
                <a:pos x="155" y="667"/>
              </a:cxn>
              <a:cxn ang="0">
                <a:pos x="183" y="556"/>
              </a:cxn>
              <a:cxn ang="0">
                <a:pos x="162" y="551"/>
              </a:cxn>
              <a:cxn ang="0">
                <a:pos x="241" y="517"/>
              </a:cxn>
              <a:cxn ang="0">
                <a:pos x="166" y="509"/>
              </a:cxn>
              <a:cxn ang="0">
                <a:pos x="223" y="517"/>
              </a:cxn>
              <a:cxn ang="0">
                <a:pos x="253" y="488"/>
              </a:cxn>
              <a:cxn ang="0">
                <a:pos x="208" y="452"/>
              </a:cxn>
              <a:cxn ang="0">
                <a:pos x="165" y="477"/>
              </a:cxn>
              <a:cxn ang="0">
                <a:pos x="199" y="455"/>
              </a:cxn>
              <a:cxn ang="0">
                <a:pos x="201" y="353"/>
              </a:cxn>
              <a:cxn ang="0">
                <a:pos x="345" y="257"/>
              </a:cxn>
              <a:cxn ang="0">
                <a:pos x="334" y="236"/>
              </a:cxn>
              <a:cxn ang="0">
                <a:pos x="359" y="188"/>
              </a:cxn>
              <a:cxn ang="0">
                <a:pos x="429" y="173"/>
              </a:cxn>
              <a:cxn ang="0">
                <a:pos x="411" y="59"/>
              </a:cxn>
              <a:cxn ang="0">
                <a:pos x="313" y="0"/>
              </a:cxn>
              <a:cxn ang="0">
                <a:pos x="298" y="0"/>
              </a:cxn>
              <a:cxn ang="0">
                <a:pos x="297" y="37"/>
              </a:cxn>
              <a:cxn ang="0">
                <a:pos x="235" y="30"/>
              </a:cxn>
              <a:cxn ang="0">
                <a:pos x="223" y="59"/>
              </a:cxn>
              <a:cxn ang="0">
                <a:pos x="181" y="67"/>
              </a:cxn>
              <a:cxn ang="0">
                <a:pos x="169" y="113"/>
              </a:cxn>
              <a:cxn ang="0">
                <a:pos x="111" y="168"/>
              </a:cxn>
              <a:cxn ang="0">
                <a:pos x="84" y="243"/>
              </a:cxn>
              <a:cxn ang="0">
                <a:pos x="96" y="274"/>
              </a:cxn>
              <a:cxn ang="0">
                <a:pos x="34" y="297"/>
              </a:cxn>
              <a:cxn ang="0">
                <a:pos x="32" y="396"/>
              </a:cxn>
              <a:cxn ang="0">
                <a:pos x="50" y="417"/>
              </a:cxn>
              <a:cxn ang="0">
                <a:pos x="32" y="436"/>
              </a:cxn>
              <a:cxn ang="0">
                <a:pos x="39" y="480"/>
              </a:cxn>
              <a:cxn ang="0">
                <a:pos x="0" y="529"/>
              </a:cxn>
            </a:cxnLst>
            <a:rect l="0" t="0" r="r" b="b"/>
            <a:pathLst>
              <a:path w="429" h="704">
                <a:moveTo>
                  <a:pt x="0" y="529"/>
                </a:moveTo>
                <a:lnTo>
                  <a:pt x="18" y="611"/>
                </a:lnTo>
                <a:lnTo>
                  <a:pt x="55" y="649"/>
                </a:lnTo>
                <a:lnTo>
                  <a:pt x="51" y="704"/>
                </a:lnTo>
                <a:lnTo>
                  <a:pt x="155" y="667"/>
                </a:lnTo>
                <a:lnTo>
                  <a:pt x="183" y="556"/>
                </a:lnTo>
                <a:lnTo>
                  <a:pt x="162" y="551"/>
                </a:lnTo>
                <a:lnTo>
                  <a:pt x="241" y="517"/>
                </a:lnTo>
                <a:lnTo>
                  <a:pt x="166" y="509"/>
                </a:lnTo>
                <a:lnTo>
                  <a:pt x="223" y="517"/>
                </a:lnTo>
                <a:lnTo>
                  <a:pt x="253" y="488"/>
                </a:lnTo>
                <a:lnTo>
                  <a:pt x="208" y="452"/>
                </a:lnTo>
                <a:lnTo>
                  <a:pt x="165" y="477"/>
                </a:lnTo>
                <a:lnTo>
                  <a:pt x="199" y="455"/>
                </a:lnTo>
                <a:lnTo>
                  <a:pt x="201" y="353"/>
                </a:lnTo>
                <a:lnTo>
                  <a:pt x="345" y="257"/>
                </a:lnTo>
                <a:lnTo>
                  <a:pt x="334" y="236"/>
                </a:lnTo>
                <a:lnTo>
                  <a:pt x="359" y="188"/>
                </a:lnTo>
                <a:lnTo>
                  <a:pt x="429" y="173"/>
                </a:lnTo>
                <a:lnTo>
                  <a:pt x="411" y="59"/>
                </a:lnTo>
                <a:lnTo>
                  <a:pt x="313" y="0"/>
                </a:lnTo>
                <a:lnTo>
                  <a:pt x="298" y="0"/>
                </a:lnTo>
                <a:lnTo>
                  <a:pt x="297" y="37"/>
                </a:lnTo>
                <a:lnTo>
                  <a:pt x="235" y="30"/>
                </a:lnTo>
                <a:lnTo>
                  <a:pt x="223" y="59"/>
                </a:lnTo>
                <a:lnTo>
                  <a:pt x="181" y="67"/>
                </a:lnTo>
                <a:lnTo>
                  <a:pt x="169" y="113"/>
                </a:lnTo>
                <a:lnTo>
                  <a:pt x="111" y="168"/>
                </a:lnTo>
                <a:lnTo>
                  <a:pt x="84" y="243"/>
                </a:lnTo>
                <a:lnTo>
                  <a:pt x="96" y="274"/>
                </a:lnTo>
                <a:lnTo>
                  <a:pt x="34" y="297"/>
                </a:lnTo>
                <a:lnTo>
                  <a:pt x="32" y="396"/>
                </a:lnTo>
                <a:lnTo>
                  <a:pt x="50" y="417"/>
                </a:lnTo>
                <a:lnTo>
                  <a:pt x="32" y="436"/>
                </a:lnTo>
                <a:lnTo>
                  <a:pt x="39" y="480"/>
                </a:lnTo>
                <a:lnTo>
                  <a:pt x="0" y="5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8" name="30519296.875385.6254.1258.255">
            <a:extLst>
              <a:ext uri="{FF2B5EF4-FFF2-40B4-BE49-F238E27FC236}">
                <a16:creationId xmlns:a16="http://schemas.microsoft.com/office/drawing/2014/main" id="{1DE84CE2-C137-3C46-ABE7-CB64F5672D7A}"/>
              </a:ext>
            </a:extLst>
          </p:cNvPr>
          <p:cNvSpPr>
            <a:spLocks noChangeAspect="1"/>
          </p:cNvSpPr>
          <p:nvPr/>
        </p:nvSpPr>
        <p:spPr bwMode="gray">
          <a:xfrm>
            <a:off x="5854293" y="3106512"/>
            <a:ext cx="133142" cy="65597"/>
          </a:xfrm>
          <a:custGeom>
            <a:avLst/>
            <a:gdLst/>
            <a:ahLst/>
            <a:cxnLst>
              <a:cxn ang="0">
                <a:pos x="0" y="50"/>
              </a:cxn>
              <a:cxn ang="0">
                <a:pos x="33" y="73"/>
              </a:cxn>
              <a:cxn ang="0">
                <a:pos x="80" y="53"/>
              </a:cxn>
              <a:cxn ang="0">
                <a:pos x="100" y="72"/>
              </a:cxn>
              <a:cxn ang="0">
                <a:pos x="147" y="33"/>
              </a:cxn>
              <a:cxn ang="0">
                <a:pos x="119" y="29"/>
              </a:cxn>
              <a:cxn ang="0">
                <a:pos x="118" y="11"/>
              </a:cxn>
              <a:cxn ang="0">
                <a:pos x="114" y="7"/>
              </a:cxn>
              <a:cxn ang="0">
                <a:pos x="49" y="0"/>
              </a:cxn>
              <a:cxn ang="0">
                <a:pos x="0" y="50"/>
              </a:cxn>
            </a:cxnLst>
            <a:rect l="0" t="0" r="r" b="b"/>
            <a:pathLst>
              <a:path w="147" h="73">
                <a:moveTo>
                  <a:pt x="0" y="50"/>
                </a:moveTo>
                <a:lnTo>
                  <a:pt x="33" y="73"/>
                </a:lnTo>
                <a:lnTo>
                  <a:pt x="80" y="53"/>
                </a:lnTo>
                <a:lnTo>
                  <a:pt x="100" y="72"/>
                </a:lnTo>
                <a:lnTo>
                  <a:pt x="147" y="33"/>
                </a:lnTo>
                <a:lnTo>
                  <a:pt x="119" y="29"/>
                </a:lnTo>
                <a:lnTo>
                  <a:pt x="118" y="11"/>
                </a:lnTo>
                <a:lnTo>
                  <a:pt x="114" y="7"/>
                </a:lnTo>
                <a:lnTo>
                  <a:pt x="49" y="0"/>
                </a:lnTo>
                <a:lnTo>
                  <a:pt x="0" y="5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89" name="30520320.5441.12510.37513.3755">
            <a:extLst>
              <a:ext uri="{FF2B5EF4-FFF2-40B4-BE49-F238E27FC236}">
                <a16:creationId xmlns:a16="http://schemas.microsoft.com/office/drawing/2014/main" id="{7007F4C3-CAEE-D54B-A3D8-397FAC235A84}"/>
              </a:ext>
            </a:extLst>
          </p:cNvPr>
          <p:cNvSpPr>
            <a:spLocks noChangeAspect="1"/>
          </p:cNvSpPr>
          <p:nvPr/>
        </p:nvSpPr>
        <p:spPr bwMode="gray">
          <a:xfrm>
            <a:off x="6744431" y="3490005"/>
            <a:ext cx="214926" cy="166517"/>
          </a:xfrm>
          <a:custGeom>
            <a:avLst/>
            <a:gdLst/>
            <a:ahLst/>
            <a:cxnLst>
              <a:cxn ang="0">
                <a:pos x="0" y="169"/>
              </a:cxn>
              <a:cxn ang="0">
                <a:pos x="4" y="150"/>
              </a:cxn>
              <a:cxn ang="0">
                <a:pos x="38" y="111"/>
              </a:cxn>
              <a:cxn ang="0">
                <a:pos x="19" y="93"/>
              </a:cxn>
              <a:cxn ang="0">
                <a:pos x="17" y="47"/>
              </a:cxn>
              <a:cxn ang="0">
                <a:pos x="38" y="9"/>
              </a:cxn>
              <a:cxn ang="0">
                <a:pos x="237" y="0"/>
              </a:cxn>
              <a:cxn ang="0">
                <a:pos x="200" y="27"/>
              </a:cxn>
              <a:cxn ang="0">
                <a:pos x="188" y="100"/>
              </a:cxn>
              <a:cxn ang="0">
                <a:pos x="107" y="144"/>
              </a:cxn>
              <a:cxn ang="0">
                <a:pos x="35" y="183"/>
              </a:cxn>
              <a:cxn ang="0">
                <a:pos x="0" y="169"/>
              </a:cxn>
            </a:cxnLst>
            <a:rect l="0" t="0" r="r" b="b"/>
            <a:pathLst>
              <a:path w="237" h="183">
                <a:moveTo>
                  <a:pt x="0" y="169"/>
                </a:moveTo>
                <a:lnTo>
                  <a:pt x="4" y="150"/>
                </a:lnTo>
                <a:lnTo>
                  <a:pt x="38" y="111"/>
                </a:lnTo>
                <a:lnTo>
                  <a:pt x="19" y="93"/>
                </a:lnTo>
                <a:lnTo>
                  <a:pt x="17" y="47"/>
                </a:lnTo>
                <a:lnTo>
                  <a:pt x="38" y="9"/>
                </a:lnTo>
                <a:lnTo>
                  <a:pt x="237" y="0"/>
                </a:lnTo>
                <a:lnTo>
                  <a:pt x="200" y="27"/>
                </a:lnTo>
                <a:lnTo>
                  <a:pt x="188" y="100"/>
                </a:lnTo>
                <a:lnTo>
                  <a:pt x="107" y="144"/>
                </a:lnTo>
                <a:lnTo>
                  <a:pt x="35" y="183"/>
                </a:lnTo>
                <a:lnTo>
                  <a:pt x="0" y="16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0" name="30522343.5470.56.75105">
            <a:extLst>
              <a:ext uri="{FF2B5EF4-FFF2-40B4-BE49-F238E27FC236}">
                <a16:creationId xmlns:a16="http://schemas.microsoft.com/office/drawing/2014/main" id="{BB3CABCB-FF70-E54E-9DB1-7ED47D44EC8E}"/>
              </a:ext>
            </a:extLst>
          </p:cNvPr>
          <p:cNvSpPr>
            <a:spLocks noChangeAspect="1"/>
          </p:cNvSpPr>
          <p:nvPr/>
        </p:nvSpPr>
        <p:spPr bwMode="gray">
          <a:xfrm>
            <a:off x="7216126" y="3861726"/>
            <a:ext cx="161670" cy="111011"/>
          </a:xfrm>
          <a:custGeom>
            <a:avLst/>
            <a:gdLst/>
            <a:ahLst/>
            <a:cxnLst>
              <a:cxn ang="0">
                <a:pos x="0" y="55"/>
              </a:cxn>
              <a:cxn ang="0">
                <a:pos x="9" y="52"/>
              </a:cxn>
              <a:cxn ang="0">
                <a:pos x="23" y="71"/>
              </a:cxn>
              <a:cxn ang="0">
                <a:pos x="97" y="70"/>
              </a:cxn>
              <a:cxn ang="0">
                <a:pos x="165" y="0"/>
              </a:cxn>
              <a:cxn ang="0">
                <a:pos x="174" y="43"/>
              </a:cxn>
              <a:cxn ang="0">
                <a:pos x="154" y="44"/>
              </a:cxn>
              <a:cxn ang="0">
                <a:pos x="165" y="70"/>
              </a:cxn>
              <a:cxn ang="0">
                <a:pos x="137" y="120"/>
              </a:cxn>
              <a:cxn ang="0">
                <a:pos x="31" y="107"/>
              </a:cxn>
              <a:cxn ang="0">
                <a:pos x="0" y="55"/>
              </a:cxn>
            </a:cxnLst>
            <a:rect l="0" t="0" r="r" b="b"/>
            <a:pathLst>
              <a:path w="174" h="120">
                <a:moveTo>
                  <a:pt x="0" y="55"/>
                </a:moveTo>
                <a:lnTo>
                  <a:pt x="9" y="52"/>
                </a:lnTo>
                <a:lnTo>
                  <a:pt x="23" y="71"/>
                </a:lnTo>
                <a:lnTo>
                  <a:pt x="97" y="70"/>
                </a:lnTo>
                <a:lnTo>
                  <a:pt x="165" y="0"/>
                </a:lnTo>
                <a:lnTo>
                  <a:pt x="174" y="43"/>
                </a:lnTo>
                <a:lnTo>
                  <a:pt x="154" y="44"/>
                </a:lnTo>
                <a:lnTo>
                  <a:pt x="165" y="70"/>
                </a:lnTo>
                <a:lnTo>
                  <a:pt x="137" y="120"/>
                </a:lnTo>
                <a:lnTo>
                  <a:pt x="31" y="107"/>
                </a:lnTo>
                <a:lnTo>
                  <a:pt x="0" y="5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1" name="30523320.875388.2514.257.55">
            <a:extLst>
              <a:ext uri="{FF2B5EF4-FFF2-40B4-BE49-F238E27FC236}">
                <a16:creationId xmlns:a16="http://schemas.microsoft.com/office/drawing/2014/main" id="{3D16CFBA-2233-2247-8EE5-0BC5E0ED8800}"/>
              </a:ext>
            </a:extLst>
          </p:cNvPr>
          <p:cNvSpPr>
            <a:spLocks noChangeAspect="1"/>
          </p:cNvSpPr>
          <p:nvPr/>
        </p:nvSpPr>
        <p:spPr bwMode="gray">
          <a:xfrm>
            <a:off x="5896137" y="3496735"/>
            <a:ext cx="119826" cy="228752"/>
          </a:xfrm>
          <a:custGeom>
            <a:avLst/>
            <a:gdLst/>
            <a:ahLst/>
            <a:cxnLst>
              <a:cxn ang="0">
                <a:pos x="0" y="117"/>
              </a:cxn>
              <a:cxn ang="0">
                <a:pos x="28" y="94"/>
              </a:cxn>
              <a:cxn ang="0">
                <a:pos x="42" y="3"/>
              </a:cxn>
              <a:cxn ang="0">
                <a:pos x="123" y="0"/>
              </a:cxn>
              <a:cxn ang="0">
                <a:pos x="103" y="31"/>
              </a:cxn>
              <a:cxn ang="0">
                <a:pos x="126" y="69"/>
              </a:cxn>
              <a:cxn ang="0">
                <a:pos x="79" y="117"/>
              </a:cxn>
              <a:cxn ang="0">
                <a:pos x="132" y="147"/>
              </a:cxn>
              <a:cxn ang="0">
                <a:pos x="66" y="252"/>
              </a:cxn>
              <a:cxn ang="0">
                <a:pos x="56" y="185"/>
              </a:cxn>
              <a:cxn ang="0">
                <a:pos x="0" y="117"/>
              </a:cxn>
            </a:cxnLst>
            <a:rect l="0" t="0" r="r" b="b"/>
            <a:pathLst>
              <a:path w="132" h="252">
                <a:moveTo>
                  <a:pt x="0" y="117"/>
                </a:moveTo>
                <a:lnTo>
                  <a:pt x="28" y="94"/>
                </a:lnTo>
                <a:lnTo>
                  <a:pt x="42" y="3"/>
                </a:lnTo>
                <a:lnTo>
                  <a:pt x="123" y="0"/>
                </a:lnTo>
                <a:lnTo>
                  <a:pt x="103" y="31"/>
                </a:lnTo>
                <a:lnTo>
                  <a:pt x="126" y="69"/>
                </a:lnTo>
                <a:lnTo>
                  <a:pt x="79" y="117"/>
                </a:lnTo>
                <a:lnTo>
                  <a:pt x="132" y="147"/>
                </a:lnTo>
                <a:lnTo>
                  <a:pt x="66" y="252"/>
                </a:lnTo>
                <a:lnTo>
                  <a:pt x="56" y="185"/>
                </a:lnTo>
                <a:lnTo>
                  <a:pt x="0" y="11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2" name="30524310.25423.545.255">
            <a:extLst>
              <a:ext uri="{FF2B5EF4-FFF2-40B4-BE49-F238E27FC236}">
                <a16:creationId xmlns:a16="http://schemas.microsoft.com/office/drawing/2014/main" id="{83C15166-71F3-2748-A8B0-623B34B5E90E}"/>
              </a:ext>
            </a:extLst>
          </p:cNvPr>
          <p:cNvSpPr>
            <a:spLocks noChangeAspect="1"/>
          </p:cNvSpPr>
          <p:nvPr/>
        </p:nvSpPr>
        <p:spPr bwMode="gray">
          <a:xfrm>
            <a:off x="6462935" y="3323489"/>
            <a:ext cx="85589" cy="65597"/>
          </a:xfrm>
          <a:custGeom>
            <a:avLst/>
            <a:gdLst/>
            <a:ahLst/>
            <a:cxnLst>
              <a:cxn ang="0">
                <a:pos x="0" y="47"/>
              </a:cxn>
              <a:cxn ang="0">
                <a:pos x="11" y="3"/>
              </a:cxn>
              <a:cxn ang="0">
                <a:pos x="63" y="0"/>
              </a:cxn>
              <a:cxn ang="0">
                <a:pos x="93" y="34"/>
              </a:cxn>
              <a:cxn ang="0">
                <a:pos x="50" y="36"/>
              </a:cxn>
              <a:cxn ang="0">
                <a:pos x="4" y="70"/>
              </a:cxn>
              <a:cxn ang="0">
                <a:pos x="24" y="49"/>
              </a:cxn>
              <a:cxn ang="0">
                <a:pos x="0" y="47"/>
              </a:cxn>
            </a:cxnLst>
            <a:rect l="0" t="0" r="r" b="b"/>
            <a:pathLst>
              <a:path w="93" h="70">
                <a:moveTo>
                  <a:pt x="0" y="47"/>
                </a:moveTo>
                <a:lnTo>
                  <a:pt x="11" y="3"/>
                </a:lnTo>
                <a:lnTo>
                  <a:pt x="63" y="0"/>
                </a:lnTo>
                <a:lnTo>
                  <a:pt x="93" y="34"/>
                </a:lnTo>
                <a:lnTo>
                  <a:pt x="50" y="36"/>
                </a:lnTo>
                <a:lnTo>
                  <a:pt x="4" y="70"/>
                </a:lnTo>
                <a:lnTo>
                  <a:pt x="24" y="49"/>
                </a:lnTo>
                <a:lnTo>
                  <a:pt x="0" y="4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3" name="30525309.7542413.534.755">
            <a:extLst>
              <a:ext uri="{FF2B5EF4-FFF2-40B4-BE49-F238E27FC236}">
                <a16:creationId xmlns:a16="http://schemas.microsoft.com/office/drawing/2014/main" id="{151DCA62-2209-7D46-97FB-945E6931B59F}"/>
              </a:ext>
            </a:extLst>
          </p:cNvPr>
          <p:cNvSpPr>
            <a:spLocks noChangeAspect="1"/>
          </p:cNvSpPr>
          <p:nvPr/>
        </p:nvSpPr>
        <p:spPr bwMode="gray">
          <a:xfrm>
            <a:off x="6472442" y="3315078"/>
            <a:ext cx="557287" cy="220341"/>
          </a:xfrm>
          <a:custGeom>
            <a:avLst/>
            <a:gdLst/>
            <a:ahLst/>
            <a:cxnLst>
              <a:cxn ang="0">
                <a:pos x="0" y="79"/>
              </a:cxn>
              <a:cxn ang="0">
                <a:pos x="26" y="141"/>
              </a:cxn>
              <a:cxn ang="0">
                <a:pos x="2" y="148"/>
              </a:cxn>
              <a:cxn ang="0">
                <a:pos x="26" y="158"/>
              </a:cxn>
              <a:cxn ang="0">
                <a:pos x="36" y="196"/>
              </a:cxn>
              <a:cxn ang="0">
                <a:pos x="70" y="192"/>
              </a:cxn>
              <a:cxn ang="0">
                <a:pos x="36" y="209"/>
              </a:cxn>
              <a:cxn ang="0">
                <a:pos x="76" y="202"/>
              </a:cxn>
              <a:cxn ang="0">
                <a:pos x="118" y="227"/>
              </a:cxn>
              <a:cxn ang="0">
                <a:pos x="157" y="200"/>
              </a:cxn>
              <a:cxn ang="0">
                <a:pos x="217" y="235"/>
              </a:cxn>
              <a:cxn ang="0">
                <a:pos x="323" y="200"/>
              </a:cxn>
              <a:cxn ang="0">
                <a:pos x="320" y="238"/>
              </a:cxn>
              <a:cxn ang="0">
                <a:pos x="341" y="200"/>
              </a:cxn>
              <a:cxn ang="0">
                <a:pos x="540" y="191"/>
              </a:cxn>
              <a:cxn ang="0">
                <a:pos x="614" y="188"/>
              </a:cxn>
              <a:cxn ang="0">
                <a:pos x="592" y="104"/>
              </a:cxn>
              <a:cxn ang="0">
                <a:pos x="609" y="86"/>
              </a:cxn>
              <a:cxn ang="0">
                <a:pos x="546" y="16"/>
              </a:cxn>
              <a:cxn ang="0">
                <a:pos x="505" y="16"/>
              </a:cxn>
              <a:cxn ang="0">
                <a:pos x="393" y="45"/>
              </a:cxn>
              <a:cxn ang="0">
                <a:pos x="296" y="0"/>
              </a:cxn>
              <a:cxn ang="0">
                <a:pos x="235" y="1"/>
              </a:cxn>
              <a:cxn ang="0">
                <a:pos x="158" y="42"/>
              </a:cxn>
              <a:cxn ang="0">
                <a:pos x="96" y="31"/>
              </a:cxn>
              <a:cxn ang="0">
                <a:pos x="116" y="53"/>
              </a:cxn>
              <a:cxn ang="0">
                <a:pos x="0" y="79"/>
              </a:cxn>
            </a:cxnLst>
            <a:rect l="0" t="0" r="r" b="b"/>
            <a:pathLst>
              <a:path w="614" h="238">
                <a:moveTo>
                  <a:pt x="0" y="79"/>
                </a:moveTo>
                <a:lnTo>
                  <a:pt x="26" y="141"/>
                </a:lnTo>
                <a:lnTo>
                  <a:pt x="2" y="148"/>
                </a:lnTo>
                <a:lnTo>
                  <a:pt x="26" y="158"/>
                </a:lnTo>
                <a:lnTo>
                  <a:pt x="36" y="196"/>
                </a:lnTo>
                <a:lnTo>
                  <a:pt x="70" y="192"/>
                </a:lnTo>
                <a:lnTo>
                  <a:pt x="36" y="209"/>
                </a:lnTo>
                <a:lnTo>
                  <a:pt x="76" y="202"/>
                </a:lnTo>
                <a:lnTo>
                  <a:pt x="118" y="227"/>
                </a:lnTo>
                <a:lnTo>
                  <a:pt x="157" y="200"/>
                </a:lnTo>
                <a:lnTo>
                  <a:pt x="217" y="235"/>
                </a:lnTo>
                <a:lnTo>
                  <a:pt x="323" y="200"/>
                </a:lnTo>
                <a:lnTo>
                  <a:pt x="320" y="238"/>
                </a:lnTo>
                <a:lnTo>
                  <a:pt x="341" y="200"/>
                </a:lnTo>
                <a:lnTo>
                  <a:pt x="540" y="191"/>
                </a:lnTo>
                <a:lnTo>
                  <a:pt x="614" y="188"/>
                </a:lnTo>
                <a:lnTo>
                  <a:pt x="592" y="104"/>
                </a:lnTo>
                <a:lnTo>
                  <a:pt x="609" y="86"/>
                </a:lnTo>
                <a:lnTo>
                  <a:pt x="546" y="16"/>
                </a:lnTo>
                <a:lnTo>
                  <a:pt x="505" y="16"/>
                </a:lnTo>
                <a:lnTo>
                  <a:pt x="393" y="45"/>
                </a:lnTo>
                <a:lnTo>
                  <a:pt x="296" y="0"/>
                </a:lnTo>
                <a:lnTo>
                  <a:pt x="235" y="1"/>
                </a:lnTo>
                <a:lnTo>
                  <a:pt x="158" y="42"/>
                </a:lnTo>
                <a:lnTo>
                  <a:pt x="96" y="31"/>
                </a:lnTo>
                <a:lnTo>
                  <a:pt x="116" y="53"/>
                </a:lnTo>
                <a:lnTo>
                  <a:pt x="0" y="79"/>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4" name="30526278.375355.37597.6255">
            <a:extLst>
              <a:ext uri="{FF2B5EF4-FFF2-40B4-BE49-F238E27FC236}">
                <a16:creationId xmlns:a16="http://schemas.microsoft.com/office/drawing/2014/main" id="{58A98334-00E2-3746-A425-0789395C7494}"/>
              </a:ext>
            </a:extLst>
          </p:cNvPr>
          <p:cNvSpPr>
            <a:spLocks noChangeAspect="1"/>
          </p:cNvSpPr>
          <p:nvPr/>
        </p:nvSpPr>
        <p:spPr bwMode="gray">
          <a:xfrm>
            <a:off x="5371183" y="2807118"/>
            <a:ext cx="123631" cy="144650"/>
          </a:xfrm>
          <a:custGeom>
            <a:avLst/>
            <a:gdLst/>
            <a:ahLst/>
            <a:cxnLst>
              <a:cxn ang="0">
                <a:pos x="0" y="132"/>
              </a:cxn>
              <a:cxn ang="0">
                <a:pos x="18" y="146"/>
              </a:cxn>
              <a:cxn ang="0">
                <a:pos x="4" y="158"/>
              </a:cxn>
              <a:cxn ang="0">
                <a:pos x="127" y="133"/>
              </a:cxn>
              <a:cxn ang="0">
                <a:pos x="136" y="51"/>
              </a:cxn>
              <a:cxn ang="0">
                <a:pos x="120" y="32"/>
              </a:cxn>
              <a:cxn ang="0">
                <a:pos x="84" y="41"/>
              </a:cxn>
              <a:cxn ang="0">
                <a:pos x="72" y="29"/>
              </a:cxn>
              <a:cxn ang="0">
                <a:pos x="87" y="9"/>
              </a:cxn>
              <a:cxn ang="0">
                <a:pos x="72" y="0"/>
              </a:cxn>
              <a:cxn ang="0">
                <a:pos x="57" y="40"/>
              </a:cxn>
              <a:cxn ang="0">
                <a:pos x="4" y="51"/>
              </a:cxn>
              <a:cxn ang="0">
                <a:pos x="21" y="60"/>
              </a:cxn>
              <a:cxn ang="0">
                <a:pos x="11" y="82"/>
              </a:cxn>
              <a:cxn ang="0">
                <a:pos x="44" y="88"/>
              </a:cxn>
              <a:cxn ang="0">
                <a:pos x="14" y="118"/>
              </a:cxn>
              <a:cxn ang="0">
                <a:pos x="50" y="111"/>
              </a:cxn>
              <a:cxn ang="0">
                <a:pos x="0" y="132"/>
              </a:cxn>
            </a:cxnLst>
            <a:rect l="0" t="0" r="r" b="b"/>
            <a:pathLst>
              <a:path w="136" h="158">
                <a:moveTo>
                  <a:pt x="0" y="132"/>
                </a:moveTo>
                <a:lnTo>
                  <a:pt x="18" y="146"/>
                </a:lnTo>
                <a:lnTo>
                  <a:pt x="4" y="158"/>
                </a:lnTo>
                <a:lnTo>
                  <a:pt x="127" y="133"/>
                </a:lnTo>
                <a:lnTo>
                  <a:pt x="136" y="51"/>
                </a:lnTo>
                <a:lnTo>
                  <a:pt x="120" y="32"/>
                </a:lnTo>
                <a:lnTo>
                  <a:pt x="84" y="41"/>
                </a:lnTo>
                <a:lnTo>
                  <a:pt x="72" y="29"/>
                </a:lnTo>
                <a:lnTo>
                  <a:pt x="87" y="9"/>
                </a:lnTo>
                <a:lnTo>
                  <a:pt x="72" y="0"/>
                </a:lnTo>
                <a:lnTo>
                  <a:pt x="57" y="40"/>
                </a:lnTo>
                <a:lnTo>
                  <a:pt x="4" y="51"/>
                </a:lnTo>
                <a:lnTo>
                  <a:pt x="21" y="60"/>
                </a:lnTo>
                <a:lnTo>
                  <a:pt x="11" y="82"/>
                </a:lnTo>
                <a:lnTo>
                  <a:pt x="44" y="88"/>
                </a:lnTo>
                <a:lnTo>
                  <a:pt x="14" y="118"/>
                </a:lnTo>
                <a:lnTo>
                  <a:pt x="50" y="111"/>
                </a:lnTo>
                <a:lnTo>
                  <a:pt x="0" y="132"/>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5" name="30527277.75359.253.54.8755">
            <a:extLst>
              <a:ext uri="{FF2B5EF4-FFF2-40B4-BE49-F238E27FC236}">
                <a16:creationId xmlns:a16="http://schemas.microsoft.com/office/drawing/2014/main" id="{96E320A0-32A5-8642-BFF1-83F527905E23}"/>
              </a:ext>
            </a:extLst>
          </p:cNvPr>
          <p:cNvSpPr>
            <a:spLocks noChangeAspect="1"/>
          </p:cNvSpPr>
          <p:nvPr/>
        </p:nvSpPr>
        <p:spPr bwMode="gray">
          <a:xfrm>
            <a:off x="5433949" y="2798707"/>
            <a:ext cx="76082" cy="55506"/>
          </a:xfrm>
          <a:custGeom>
            <a:avLst/>
            <a:gdLst/>
            <a:ahLst/>
            <a:cxnLst>
              <a:cxn ang="0">
                <a:pos x="0" y="40"/>
              </a:cxn>
              <a:cxn ang="0">
                <a:pos x="12" y="52"/>
              </a:cxn>
              <a:cxn ang="0">
                <a:pos x="48" y="43"/>
              </a:cxn>
              <a:cxn ang="0">
                <a:pos x="64" y="62"/>
              </a:cxn>
              <a:cxn ang="0">
                <a:pos x="85" y="40"/>
              </a:cxn>
              <a:cxn ang="0">
                <a:pos x="66" y="9"/>
              </a:cxn>
              <a:cxn ang="0">
                <a:pos x="24" y="0"/>
              </a:cxn>
              <a:cxn ang="0">
                <a:pos x="15" y="20"/>
              </a:cxn>
              <a:cxn ang="0">
                <a:pos x="0" y="40"/>
              </a:cxn>
            </a:cxnLst>
            <a:rect l="0" t="0" r="r" b="b"/>
            <a:pathLst>
              <a:path w="85" h="62">
                <a:moveTo>
                  <a:pt x="0" y="40"/>
                </a:moveTo>
                <a:lnTo>
                  <a:pt x="12" y="52"/>
                </a:lnTo>
                <a:lnTo>
                  <a:pt x="48" y="43"/>
                </a:lnTo>
                <a:lnTo>
                  <a:pt x="64" y="62"/>
                </a:lnTo>
                <a:lnTo>
                  <a:pt x="85" y="40"/>
                </a:lnTo>
                <a:lnTo>
                  <a:pt x="66" y="9"/>
                </a:lnTo>
                <a:lnTo>
                  <a:pt x="24" y="0"/>
                </a:lnTo>
                <a:lnTo>
                  <a:pt x="15" y="20"/>
                </a:lnTo>
                <a:lnTo>
                  <a:pt x="0" y="4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6" name="30528270361.3751.51.255">
            <a:extLst>
              <a:ext uri="{FF2B5EF4-FFF2-40B4-BE49-F238E27FC236}">
                <a16:creationId xmlns:a16="http://schemas.microsoft.com/office/drawing/2014/main" id="{4684E064-8685-734C-994D-B2E8072711E1}"/>
              </a:ext>
            </a:extLst>
          </p:cNvPr>
          <p:cNvSpPr>
            <a:spLocks noChangeAspect="1"/>
          </p:cNvSpPr>
          <p:nvPr/>
        </p:nvSpPr>
        <p:spPr bwMode="gray">
          <a:xfrm>
            <a:off x="5466282" y="2672556"/>
            <a:ext cx="20922" cy="23547"/>
          </a:xfrm>
          <a:custGeom>
            <a:avLst/>
            <a:gdLst/>
            <a:ahLst/>
            <a:cxnLst>
              <a:cxn ang="0">
                <a:pos x="0" y="27"/>
              </a:cxn>
              <a:cxn ang="0">
                <a:pos x="0" y="5"/>
              </a:cxn>
              <a:cxn ang="0">
                <a:pos x="22" y="0"/>
              </a:cxn>
              <a:cxn ang="0">
                <a:pos x="0" y="27"/>
              </a:cxn>
            </a:cxnLst>
            <a:rect l="0" t="0" r="r" b="b"/>
            <a:pathLst>
              <a:path w="22" h="27">
                <a:moveTo>
                  <a:pt x="0" y="27"/>
                </a:moveTo>
                <a:lnTo>
                  <a:pt x="0" y="5"/>
                </a:lnTo>
                <a:lnTo>
                  <a:pt x="22" y="0"/>
                </a:lnTo>
                <a:lnTo>
                  <a:pt x="0" y="2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7" name="30529271.536211.1255">
            <a:extLst>
              <a:ext uri="{FF2B5EF4-FFF2-40B4-BE49-F238E27FC236}">
                <a16:creationId xmlns:a16="http://schemas.microsoft.com/office/drawing/2014/main" id="{1033FE97-B1BC-8D4A-B212-7F203F67A248}"/>
              </a:ext>
            </a:extLst>
          </p:cNvPr>
          <p:cNvSpPr>
            <a:spLocks noChangeAspect="1"/>
          </p:cNvSpPr>
          <p:nvPr/>
        </p:nvSpPr>
        <p:spPr bwMode="gray">
          <a:xfrm>
            <a:off x="5475793" y="2696107"/>
            <a:ext cx="19021" cy="15137"/>
          </a:xfrm>
          <a:custGeom>
            <a:avLst/>
            <a:gdLst/>
            <a:ahLst/>
            <a:cxnLst>
              <a:cxn ang="0">
                <a:pos x="0" y="14"/>
              </a:cxn>
              <a:cxn ang="0">
                <a:pos x="11" y="0"/>
              </a:cxn>
              <a:cxn ang="0">
                <a:pos x="21" y="18"/>
              </a:cxn>
              <a:cxn ang="0">
                <a:pos x="0" y="14"/>
              </a:cxn>
            </a:cxnLst>
            <a:rect l="0" t="0" r="r" b="b"/>
            <a:pathLst>
              <a:path w="21" h="18">
                <a:moveTo>
                  <a:pt x="0" y="14"/>
                </a:moveTo>
                <a:lnTo>
                  <a:pt x="11" y="0"/>
                </a:lnTo>
                <a:lnTo>
                  <a:pt x="21" y="18"/>
                </a:lnTo>
                <a:lnTo>
                  <a:pt x="0" y="1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8" name="30530269.125363.12522.2514.55">
            <a:extLst>
              <a:ext uri="{FF2B5EF4-FFF2-40B4-BE49-F238E27FC236}">
                <a16:creationId xmlns:a16="http://schemas.microsoft.com/office/drawing/2014/main" id="{17A38D3B-5A54-A94B-B11F-CEE680A8D88B}"/>
              </a:ext>
            </a:extLst>
          </p:cNvPr>
          <p:cNvSpPr>
            <a:spLocks noChangeAspect="1"/>
          </p:cNvSpPr>
          <p:nvPr/>
        </p:nvSpPr>
        <p:spPr bwMode="gray">
          <a:xfrm>
            <a:off x="5494810" y="2659103"/>
            <a:ext cx="233947" cy="358265"/>
          </a:xfrm>
          <a:custGeom>
            <a:avLst/>
            <a:gdLst/>
            <a:ahLst/>
            <a:cxnLst>
              <a:cxn ang="0">
                <a:pos x="0" y="92"/>
              </a:cxn>
              <a:cxn ang="0">
                <a:pos x="10" y="39"/>
              </a:cxn>
              <a:cxn ang="0">
                <a:pos x="38" y="0"/>
              </a:cxn>
              <a:cxn ang="0">
                <a:pos x="98" y="0"/>
              </a:cxn>
              <a:cxn ang="0">
                <a:pos x="63" y="47"/>
              </a:cxn>
              <a:cxn ang="0">
                <a:pos x="142" y="57"/>
              </a:cxn>
              <a:cxn ang="0">
                <a:pos x="92" y="121"/>
              </a:cxn>
              <a:cxn ang="0">
                <a:pos x="151" y="143"/>
              </a:cxn>
              <a:cxn ang="0">
                <a:pos x="207" y="224"/>
              </a:cxn>
              <a:cxn ang="0">
                <a:pos x="191" y="230"/>
              </a:cxn>
              <a:cxn ang="0">
                <a:pos x="216" y="249"/>
              </a:cxn>
              <a:cxn ang="0">
                <a:pos x="202" y="270"/>
              </a:cxn>
              <a:cxn ang="0">
                <a:pos x="258" y="274"/>
              </a:cxn>
              <a:cxn ang="0">
                <a:pos x="224" y="328"/>
              </a:cxn>
              <a:cxn ang="0">
                <a:pos x="247" y="343"/>
              </a:cxn>
              <a:cxn ang="0">
                <a:pos x="15" y="394"/>
              </a:cxn>
              <a:cxn ang="0">
                <a:pos x="118" y="321"/>
              </a:cxn>
              <a:cxn ang="0">
                <a:pos x="88" y="332"/>
              </a:cxn>
              <a:cxn ang="0">
                <a:pos x="29" y="310"/>
              </a:cxn>
              <a:cxn ang="0">
                <a:pos x="73" y="282"/>
              </a:cxn>
              <a:cxn ang="0">
                <a:pos x="45" y="270"/>
              </a:cxn>
              <a:cxn ang="0">
                <a:pos x="104" y="241"/>
              </a:cxn>
              <a:cxn ang="0">
                <a:pos x="111" y="205"/>
              </a:cxn>
              <a:cxn ang="0">
                <a:pos x="81" y="194"/>
              </a:cxn>
              <a:cxn ang="0">
                <a:pos x="98" y="173"/>
              </a:cxn>
              <a:cxn ang="0">
                <a:pos x="37" y="183"/>
              </a:cxn>
              <a:cxn ang="0">
                <a:pos x="38" y="127"/>
              </a:cxn>
              <a:cxn ang="0">
                <a:pos x="10" y="153"/>
              </a:cxn>
              <a:cxn ang="0">
                <a:pos x="26" y="95"/>
              </a:cxn>
              <a:cxn ang="0">
                <a:pos x="0" y="92"/>
              </a:cxn>
            </a:cxnLst>
            <a:rect l="0" t="0" r="r" b="b"/>
            <a:pathLst>
              <a:path w="258" h="394">
                <a:moveTo>
                  <a:pt x="0" y="92"/>
                </a:moveTo>
                <a:lnTo>
                  <a:pt x="10" y="39"/>
                </a:lnTo>
                <a:lnTo>
                  <a:pt x="38" y="0"/>
                </a:lnTo>
                <a:lnTo>
                  <a:pt x="98" y="0"/>
                </a:lnTo>
                <a:lnTo>
                  <a:pt x="63" y="47"/>
                </a:lnTo>
                <a:lnTo>
                  <a:pt x="142" y="57"/>
                </a:lnTo>
                <a:lnTo>
                  <a:pt x="92" y="121"/>
                </a:lnTo>
                <a:lnTo>
                  <a:pt x="151" y="143"/>
                </a:lnTo>
                <a:lnTo>
                  <a:pt x="207" y="224"/>
                </a:lnTo>
                <a:lnTo>
                  <a:pt x="191" y="230"/>
                </a:lnTo>
                <a:lnTo>
                  <a:pt x="216" y="249"/>
                </a:lnTo>
                <a:lnTo>
                  <a:pt x="202" y="270"/>
                </a:lnTo>
                <a:lnTo>
                  <a:pt x="258" y="274"/>
                </a:lnTo>
                <a:lnTo>
                  <a:pt x="224" y="328"/>
                </a:lnTo>
                <a:lnTo>
                  <a:pt x="247" y="343"/>
                </a:lnTo>
                <a:lnTo>
                  <a:pt x="15" y="394"/>
                </a:lnTo>
                <a:lnTo>
                  <a:pt x="118" y="321"/>
                </a:lnTo>
                <a:lnTo>
                  <a:pt x="88" y="332"/>
                </a:lnTo>
                <a:lnTo>
                  <a:pt x="29" y="310"/>
                </a:lnTo>
                <a:lnTo>
                  <a:pt x="73" y="282"/>
                </a:lnTo>
                <a:lnTo>
                  <a:pt x="45" y="270"/>
                </a:lnTo>
                <a:lnTo>
                  <a:pt x="104" y="241"/>
                </a:lnTo>
                <a:lnTo>
                  <a:pt x="111" y="205"/>
                </a:lnTo>
                <a:lnTo>
                  <a:pt x="81" y="194"/>
                </a:lnTo>
                <a:lnTo>
                  <a:pt x="98" y="173"/>
                </a:lnTo>
                <a:lnTo>
                  <a:pt x="37" y="183"/>
                </a:lnTo>
                <a:lnTo>
                  <a:pt x="38" y="127"/>
                </a:lnTo>
                <a:lnTo>
                  <a:pt x="10" y="153"/>
                </a:lnTo>
                <a:lnTo>
                  <a:pt x="26" y="95"/>
                </a:lnTo>
                <a:lnTo>
                  <a:pt x="0" y="9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399" name="30541254.75728.51.755.755">
            <a:extLst>
              <a:ext uri="{FF2B5EF4-FFF2-40B4-BE49-F238E27FC236}">
                <a16:creationId xmlns:a16="http://schemas.microsoft.com/office/drawing/2014/main" id="{E9655202-2C3F-674F-A6B9-7AB709B847E8}"/>
              </a:ext>
            </a:extLst>
          </p:cNvPr>
          <p:cNvSpPr>
            <a:spLocks noChangeAspect="1"/>
          </p:cNvSpPr>
          <p:nvPr/>
        </p:nvSpPr>
        <p:spPr bwMode="gray">
          <a:xfrm>
            <a:off x="11352990" y="2423621"/>
            <a:ext cx="91298" cy="30277"/>
          </a:xfrm>
          <a:custGeom>
            <a:avLst/>
            <a:gdLst/>
            <a:ahLst/>
            <a:cxnLst>
              <a:cxn ang="0">
                <a:pos x="0" y="10"/>
              </a:cxn>
              <a:cxn ang="0">
                <a:pos x="61" y="0"/>
              </a:cxn>
              <a:cxn ang="0">
                <a:pos x="101" y="15"/>
              </a:cxn>
              <a:cxn ang="0">
                <a:pos x="81" y="32"/>
              </a:cxn>
              <a:cxn ang="0">
                <a:pos x="0" y="10"/>
              </a:cxn>
            </a:cxnLst>
            <a:rect l="0" t="0" r="r" b="b"/>
            <a:pathLst>
              <a:path w="101" h="32">
                <a:moveTo>
                  <a:pt x="0" y="10"/>
                </a:moveTo>
                <a:lnTo>
                  <a:pt x="61" y="0"/>
                </a:lnTo>
                <a:lnTo>
                  <a:pt x="101" y="15"/>
                </a:lnTo>
                <a:lnTo>
                  <a:pt x="81" y="32"/>
                </a:lnTo>
                <a:lnTo>
                  <a:pt x="0" y="1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0" name="30559355.5579.253.545">
            <a:extLst>
              <a:ext uri="{FF2B5EF4-FFF2-40B4-BE49-F238E27FC236}">
                <a16:creationId xmlns:a16="http://schemas.microsoft.com/office/drawing/2014/main" id="{9E8EA773-3E93-CC43-B3FE-567860208CB4}"/>
              </a:ext>
            </a:extLst>
          </p:cNvPr>
          <p:cNvSpPr>
            <a:spLocks noChangeAspect="1"/>
          </p:cNvSpPr>
          <p:nvPr/>
        </p:nvSpPr>
        <p:spPr bwMode="gray">
          <a:xfrm>
            <a:off x="8960269" y="4055155"/>
            <a:ext cx="62766" cy="57186"/>
          </a:xfrm>
          <a:custGeom>
            <a:avLst/>
            <a:gdLst/>
            <a:ahLst/>
            <a:cxnLst>
              <a:cxn ang="0">
                <a:pos x="0" y="48"/>
              </a:cxn>
              <a:cxn ang="0">
                <a:pos x="23" y="0"/>
              </a:cxn>
              <a:cxn ang="0">
                <a:pos x="73" y="11"/>
              </a:cxn>
              <a:cxn ang="0">
                <a:pos x="33" y="62"/>
              </a:cxn>
              <a:cxn ang="0">
                <a:pos x="0" y="48"/>
              </a:cxn>
            </a:cxnLst>
            <a:rect l="0" t="0" r="r" b="b"/>
            <a:pathLst>
              <a:path w="73" h="62">
                <a:moveTo>
                  <a:pt x="0" y="48"/>
                </a:moveTo>
                <a:lnTo>
                  <a:pt x="23" y="0"/>
                </a:lnTo>
                <a:lnTo>
                  <a:pt x="73" y="11"/>
                </a:lnTo>
                <a:lnTo>
                  <a:pt x="33" y="62"/>
                </a:lnTo>
                <a:lnTo>
                  <a:pt x="0" y="48"/>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1" name="30560323.25502.554.87555.255">
            <a:extLst>
              <a:ext uri="{FF2B5EF4-FFF2-40B4-BE49-F238E27FC236}">
                <a16:creationId xmlns:a16="http://schemas.microsoft.com/office/drawing/2014/main" id="{A293B23D-0537-AF4F-B222-03501D908645}"/>
              </a:ext>
            </a:extLst>
          </p:cNvPr>
          <p:cNvSpPr>
            <a:spLocks noChangeAspect="1"/>
          </p:cNvSpPr>
          <p:nvPr/>
        </p:nvSpPr>
        <p:spPr bwMode="gray">
          <a:xfrm>
            <a:off x="7727769" y="3535420"/>
            <a:ext cx="886334" cy="888092"/>
          </a:xfrm>
          <a:custGeom>
            <a:avLst/>
            <a:gdLst/>
            <a:ahLst/>
            <a:cxnLst>
              <a:cxn ang="0">
                <a:pos x="0" y="444"/>
              </a:cxn>
              <a:cxn ang="0">
                <a:pos x="27" y="422"/>
              </a:cxn>
              <a:cxn ang="0">
                <a:pos x="103" y="422"/>
              </a:cxn>
              <a:cxn ang="0">
                <a:pos x="51" y="320"/>
              </a:cxn>
              <a:cxn ang="0">
                <a:pos x="81" y="293"/>
              </a:cxn>
              <a:cxn ang="0">
                <a:pos x="125" y="295"/>
              </a:cxn>
              <a:cxn ang="0">
                <a:pos x="224" y="184"/>
              </a:cxn>
              <a:cxn ang="0">
                <a:pos x="217" y="154"/>
              </a:cxn>
              <a:cxn ang="0">
                <a:pos x="243" y="136"/>
              </a:cxn>
              <a:cxn ang="0">
                <a:pos x="199" y="101"/>
              </a:cxn>
              <a:cxn ang="0">
                <a:pos x="198" y="46"/>
              </a:cxn>
              <a:cxn ang="0">
                <a:pos x="294" y="46"/>
              </a:cxn>
              <a:cxn ang="0">
                <a:pos x="322" y="20"/>
              </a:cxn>
              <a:cxn ang="0">
                <a:pos x="374" y="0"/>
              </a:cxn>
              <a:cxn ang="0">
                <a:pos x="409" y="19"/>
              </a:cxn>
              <a:cxn ang="0">
                <a:pos x="363" y="75"/>
              </a:cxn>
              <a:cxn ang="0">
                <a:pos x="385" y="122"/>
              </a:cxn>
              <a:cxn ang="0">
                <a:pos x="349" y="129"/>
              </a:cxn>
              <a:cxn ang="0">
                <a:pos x="366" y="187"/>
              </a:cxn>
              <a:cxn ang="0">
                <a:pos x="434" y="211"/>
              </a:cxn>
              <a:cxn ang="0">
                <a:pos x="401" y="265"/>
              </a:cxn>
              <a:cxn ang="0">
                <a:pos x="491" y="316"/>
              </a:cxn>
              <a:cxn ang="0">
                <a:pos x="665" y="349"/>
              </a:cxn>
              <a:cxn ang="0">
                <a:pos x="669" y="298"/>
              </a:cxn>
              <a:cxn ang="0">
                <a:pos x="691" y="293"/>
              </a:cxn>
              <a:cxn ang="0">
                <a:pos x="695" y="317"/>
              </a:cxn>
              <a:cxn ang="0">
                <a:pos x="709" y="339"/>
              </a:cxn>
              <a:cxn ang="0">
                <a:pos x="797" y="330"/>
              </a:cxn>
              <a:cxn ang="0">
                <a:pos x="792" y="299"/>
              </a:cxn>
              <a:cxn ang="0">
                <a:pos x="934" y="239"/>
              </a:cxn>
              <a:cxn ang="0">
                <a:pos x="945" y="275"/>
              </a:cxn>
              <a:cxn ang="0">
                <a:pos x="980" y="288"/>
              </a:cxn>
              <a:cxn ang="0">
                <a:pos x="966" y="324"/>
              </a:cxn>
              <a:cxn ang="0">
                <a:pos x="907" y="346"/>
              </a:cxn>
              <a:cxn ang="0">
                <a:pos x="820" y="507"/>
              </a:cxn>
              <a:cxn ang="0">
                <a:pos x="803" y="442"/>
              </a:cxn>
              <a:cxn ang="0">
                <a:pos x="787" y="467"/>
              </a:cxn>
              <a:cxn ang="0">
                <a:pos x="767" y="436"/>
              </a:cxn>
              <a:cxn ang="0">
                <a:pos x="805" y="396"/>
              </a:cxn>
              <a:cxn ang="0">
                <a:pos x="730" y="390"/>
              </a:cxn>
              <a:cxn ang="0">
                <a:pos x="682" y="345"/>
              </a:cxn>
              <a:cxn ang="0">
                <a:pos x="666" y="370"/>
              </a:cxn>
              <a:cxn ang="0">
                <a:pos x="684" y="390"/>
              </a:cxn>
              <a:cxn ang="0">
                <a:pos x="661" y="404"/>
              </a:cxn>
              <a:cxn ang="0">
                <a:pos x="683" y="425"/>
              </a:cxn>
              <a:cxn ang="0">
                <a:pos x="695" y="517"/>
              </a:cxn>
              <a:cxn ang="0">
                <a:pos x="666" y="502"/>
              </a:cxn>
              <a:cxn ang="0">
                <a:pos x="610" y="574"/>
              </a:cxn>
              <a:cxn ang="0">
                <a:pos x="408" y="722"/>
              </a:cxn>
              <a:cxn ang="0">
                <a:pos x="393" y="903"/>
              </a:cxn>
              <a:cxn ang="0">
                <a:pos x="309" y="976"/>
              </a:cxn>
              <a:cxn ang="0">
                <a:pos x="234" y="836"/>
              </a:cxn>
              <a:cxn ang="0">
                <a:pos x="203" y="724"/>
              </a:cxn>
              <a:cxn ang="0">
                <a:pos x="176" y="698"/>
              </a:cxn>
              <a:cxn ang="0">
                <a:pos x="155" y="496"/>
              </a:cxn>
              <a:cxn ang="0">
                <a:pos x="139" y="489"/>
              </a:cxn>
              <a:cxn ang="0">
                <a:pos x="126" y="533"/>
              </a:cxn>
              <a:cxn ang="0">
                <a:pos x="78" y="546"/>
              </a:cxn>
              <a:cxn ang="0">
                <a:pos x="30" y="492"/>
              </a:cxn>
              <a:cxn ang="0">
                <a:pos x="77" y="464"/>
              </a:cxn>
              <a:cxn ang="0">
                <a:pos x="30" y="474"/>
              </a:cxn>
              <a:cxn ang="0">
                <a:pos x="0" y="444"/>
              </a:cxn>
            </a:cxnLst>
            <a:rect l="0" t="0" r="r" b="b"/>
            <a:pathLst>
              <a:path w="980" h="976">
                <a:moveTo>
                  <a:pt x="0" y="444"/>
                </a:moveTo>
                <a:lnTo>
                  <a:pt x="27" y="422"/>
                </a:lnTo>
                <a:lnTo>
                  <a:pt x="103" y="422"/>
                </a:lnTo>
                <a:lnTo>
                  <a:pt x="51" y="320"/>
                </a:lnTo>
                <a:lnTo>
                  <a:pt x="81" y="293"/>
                </a:lnTo>
                <a:lnTo>
                  <a:pt x="125" y="295"/>
                </a:lnTo>
                <a:lnTo>
                  <a:pt x="224" y="184"/>
                </a:lnTo>
                <a:lnTo>
                  <a:pt x="217" y="154"/>
                </a:lnTo>
                <a:lnTo>
                  <a:pt x="243" y="136"/>
                </a:lnTo>
                <a:lnTo>
                  <a:pt x="199" y="101"/>
                </a:lnTo>
                <a:lnTo>
                  <a:pt x="198" y="46"/>
                </a:lnTo>
                <a:lnTo>
                  <a:pt x="294" y="46"/>
                </a:lnTo>
                <a:lnTo>
                  <a:pt x="322" y="20"/>
                </a:lnTo>
                <a:lnTo>
                  <a:pt x="374" y="0"/>
                </a:lnTo>
                <a:lnTo>
                  <a:pt x="409" y="19"/>
                </a:lnTo>
                <a:lnTo>
                  <a:pt x="363" y="75"/>
                </a:lnTo>
                <a:lnTo>
                  <a:pt x="385" y="122"/>
                </a:lnTo>
                <a:lnTo>
                  <a:pt x="349" y="129"/>
                </a:lnTo>
                <a:lnTo>
                  <a:pt x="366" y="187"/>
                </a:lnTo>
                <a:lnTo>
                  <a:pt x="434" y="211"/>
                </a:lnTo>
                <a:lnTo>
                  <a:pt x="401" y="265"/>
                </a:lnTo>
                <a:lnTo>
                  <a:pt x="491" y="316"/>
                </a:lnTo>
                <a:lnTo>
                  <a:pt x="665" y="349"/>
                </a:lnTo>
                <a:lnTo>
                  <a:pt x="669" y="298"/>
                </a:lnTo>
                <a:lnTo>
                  <a:pt x="691" y="293"/>
                </a:lnTo>
                <a:lnTo>
                  <a:pt x="695" y="317"/>
                </a:lnTo>
                <a:lnTo>
                  <a:pt x="709" y="339"/>
                </a:lnTo>
                <a:lnTo>
                  <a:pt x="797" y="330"/>
                </a:lnTo>
                <a:lnTo>
                  <a:pt x="792" y="299"/>
                </a:lnTo>
                <a:lnTo>
                  <a:pt x="934" y="239"/>
                </a:lnTo>
                <a:lnTo>
                  <a:pt x="945" y="275"/>
                </a:lnTo>
                <a:lnTo>
                  <a:pt x="980" y="288"/>
                </a:lnTo>
                <a:lnTo>
                  <a:pt x="966" y="324"/>
                </a:lnTo>
                <a:lnTo>
                  <a:pt x="907" y="346"/>
                </a:lnTo>
                <a:lnTo>
                  <a:pt x="820" y="507"/>
                </a:lnTo>
                <a:lnTo>
                  <a:pt x="803" y="442"/>
                </a:lnTo>
                <a:lnTo>
                  <a:pt x="787" y="467"/>
                </a:lnTo>
                <a:lnTo>
                  <a:pt x="767" y="436"/>
                </a:lnTo>
                <a:lnTo>
                  <a:pt x="805" y="396"/>
                </a:lnTo>
                <a:lnTo>
                  <a:pt x="730" y="390"/>
                </a:lnTo>
                <a:lnTo>
                  <a:pt x="682" y="345"/>
                </a:lnTo>
                <a:lnTo>
                  <a:pt x="666" y="370"/>
                </a:lnTo>
                <a:lnTo>
                  <a:pt x="684" y="390"/>
                </a:lnTo>
                <a:lnTo>
                  <a:pt x="661" y="404"/>
                </a:lnTo>
                <a:lnTo>
                  <a:pt x="683" y="425"/>
                </a:lnTo>
                <a:lnTo>
                  <a:pt x="695" y="517"/>
                </a:lnTo>
                <a:lnTo>
                  <a:pt x="666" y="502"/>
                </a:lnTo>
                <a:lnTo>
                  <a:pt x="610" y="574"/>
                </a:lnTo>
                <a:lnTo>
                  <a:pt x="408" y="722"/>
                </a:lnTo>
                <a:lnTo>
                  <a:pt x="393" y="903"/>
                </a:lnTo>
                <a:lnTo>
                  <a:pt x="309" y="976"/>
                </a:lnTo>
                <a:lnTo>
                  <a:pt x="234" y="836"/>
                </a:lnTo>
                <a:lnTo>
                  <a:pt x="203" y="724"/>
                </a:lnTo>
                <a:lnTo>
                  <a:pt x="176" y="698"/>
                </a:lnTo>
                <a:lnTo>
                  <a:pt x="155" y="496"/>
                </a:lnTo>
                <a:lnTo>
                  <a:pt x="139" y="489"/>
                </a:lnTo>
                <a:lnTo>
                  <a:pt x="126" y="533"/>
                </a:lnTo>
                <a:lnTo>
                  <a:pt x="78" y="546"/>
                </a:lnTo>
                <a:lnTo>
                  <a:pt x="30" y="492"/>
                </a:lnTo>
                <a:lnTo>
                  <a:pt x="77" y="464"/>
                </a:lnTo>
                <a:lnTo>
                  <a:pt x="30" y="474"/>
                </a:lnTo>
                <a:lnTo>
                  <a:pt x="0" y="44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2" name="30561382.875553.87521.37520.3755">
            <a:extLst>
              <a:ext uri="{FF2B5EF4-FFF2-40B4-BE49-F238E27FC236}">
                <a16:creationId xmlns:a16="http://schemas.microsoft.com/office/drawing/2014/main" id="{9587D780-2D1D-924F-A640-22A54EA8F8E3}"/>
              </a:ext>
            </a:extLst>
          </p:cNvPr>
          <p:cNvSpPr>
            <a:spLocks noChangeAspect="1"/>
          </p:cNvSpPr>
          <p:nvPr/>
        </p:nvSpPr>
        <p:spPr bwMode="gray">
          <a:xfrm>
            <a:off x="8551336" y="4497519"/>
            <a:ext cx="329046" cy="348174"/>
          </a:xfrm>
          <a:custGeom>
            <a:avLst/>
            <a:gdLst/>
            <a:ahLst/>
            <a:cxnLst>
              <a:cxn ang="0">
                <a:pos x="0" y="0"/>
              </a:cxn>
              <a:cxn ang="0">
                <a:pos x="80" y="15"/>
              </a:cxn>
              <a:cxn ang="0">
                <a:pos x="182" y="114"/>
              </a:cxn>
              <a:cxn ang="0">
                <a:pos x="264" y="150"/>
              </a:cxn>
              <a:cxn ang="0">
                <a:pos x="255" y="177"/>
              </a:cxn>
              <a:cxn ang="0">
                <a:pos x="283" y="175"/>
              </a:cxn>
              <a:cxn ang="0">
                <a:pos x="279" y="212"/>
              </a:cxn>
              <a:cxn ang="0">
                <a:pos x="363" y="282"/>
              </a:cxn>
              <a:cxn ang="0">
                <a:pos x="354" y="377"/>
              </a:cxn>
              <a:cxn ang="0">
                <a:pos x="318" y="378"/>
              </a:cxn>
              <a:cxn ang="0">
                <a:pos x="244" y="323"/>
              </a:cxn>
              <a:cxn ang="0">
                <a:pos x="124" y="132"/>
              </a:cxn>
              <a:cxn ang="0">
                <a:pos x="0" y="0"/>
              </a:cxn>
            </a:cxnLst>
            <a:rect l="0" t="0" r="r" b="b"/>
            <a:pathLst>
              <a:path w="363" h="378">
                <a:moveTo>
                  <a:pt x="0" y="0"/>
                </a:moveTo>
                <a:lnTo>
                  <a:pt x="80" y="15"/>
                </a:lnTo>
                <a:lnTo>
                  <a:pt x="182" y="114"/>
                </a:lnTo>
                <a:lnTo>
                  <a:pt x="264" y="150"/>
                </a:lnTo>
                <a:lnTo>
                  <a:pt x="255" y="177"/>
                </a:lnTo>
                <a:lnTo>
                  <a:pt x="283" y="175"/>
                </a:lnTo>
                <a:lnTo>
                  <a:pt x="279" y="212"/>
                </a:lnTo>
                <a:lnTo>
                  <a:pt x="363" y="282"/>
                </a:lnTo>
                <a:lnTo>
                  <a:pt x="354" y="377"/>
                </a:lnTo>
                <a:lnTo>
                  <a:pt x="318" y="378"/>
                </a:lnTo>
                <a:lnTo>
                  <a:pt x="244" y="323"/>
                </a:lnTo>
                <a:lnTo>
                  <a:pt x="124" y="132"/>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3" name="30562404.6255735.2517.1255">
            <a:extLst>
              <a:ext uri="{FF2B5EF4-FFF2-40B4-BE49-F238E27FC236}">
                <a16:creationId xmlns:a16="http://schemas.microsoft.com/office/drawing/2014/main" id="{6B650613-E6AA-294D-9457-12D2B8AA30C5}"/>
              </a:ext>
            </a:extLst>
          </p:cNvPr>
          <p:cNvSpPr>
            <a:spLocks noChangeAspect="1"/>
          </p:cNvSpPr>
          <p:nvPr/>
        </p:nvSpPr>
        <p:spPr bwMode="gray">
          <a:xfrm>
            <a:off x="8857560" y="4852419"/>
            <a:ext cx="275791" cy="85783"/>
          </a:xfrm>
          <a:custGeom>
            <a:avLst/>
            <a:gdLst/>
            <a:ahLst/>
            <a:cxnLst>
              <a:cxn ang="0">
                <a:pos x="0" y="26"/>
              </a:cxn>
              <a:cxn ang="0">
                <a:pos x="21" y="0"/>
              </a:cxn>
              <a:cxn ang="0">
                <a:pos x="234" y="29"/>
              </a:cxn>
              <a:cxn ang="0">
                <a:pos x="254" y="53"/>
              </a:cxn>
              <a:cxn ang="0">
                <a:pos x="298" y="62"/>
              </a:cxn>
              <a:cxn ang="0">
                <a:pos x="304" y="95"/>
              </a:cxn>
              <a:cxn ang="0">
                <a:pos x="54" y="49"/>
              </a:cxn>
              <a:cxn ang="0">
                <a:pos x="0" y="26"/>
              </a:cxn>
            </a:cxnLst>
            <a:rect l="0" t="0" r="r" b="b"/>
            <a:pathLst>
              <a:path w="304" h="95">
                <a:moveTo>
                  <a:pt x="0" y="26"/>
                </a:moveTo>
                <a:lnTo>
                  <a:pt x="21" y="0"/>
                </a:lnTo>
                <a:lnTo>
                  <a:pt x="234" y="29"/>
                </a:lnTo>
                <a:lnTo>
                  <a:pt x="254" y="53"/>
                </a:lnTo>
                <a:lnTo>
                  <a:pt x="298" y="62"/>
                </a:lnTo>
                <a:lnTo>
                  <a:pt x="304" y="95"/>
                </a:lnTo>
                <a:lnTo>
                  <a:pt x="54" y="49"/>
                </a:lnTo>
                <a:lnTo>
                  <a:pt x="0" y="26"/>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4" name="30563385.25579.8751618.55">
            <a:extLst>
              <a:ext uri="{FF2B5EF4-FFF2-40B4-BE49-F238E27FC236}">
                <a16:creationId xmlns:a16="http://schemas.microsoft.com/office/drawing/2014/main" id="{4EA61461-3C94-AE49-8AD8-DF8E3DDB7C5A}"/>
              </a:ext>
            </a:extLst>
          </p:cNvPr>
          <p:cNvSpPr>
            <a:spLocks noChangeAspect="1"/>
          </p:cNvSpPr>
          <p:nvPr/>
        </p:nvSpPr>
        <p:spPr bwMode="gray">
          <a:xfrm>
            <a:off x="8969780" y="4536207"/>
            <a:ext cx="296713" cy="262391"/>
          </a:xfrm>
          <a:custGeom>
            <a:avLst/>
            <a:gdLst/>
            <a:ahLst/>
            <a:cxnLst>
              <a:cxn ang="0">
                <a:pos x="0" y="126"/>
              </a:cxn>
              <a:cxn ang="0">
                <a:pos x="22" y="89"/>
              </a:cxn>
              <a:cxn ang="0">
                <a:pos x="50" y="112"/>
              </a:cxn>
              <a:cxn ang="0">
                <a:pos x="150" y="104"/>
              </a:cxn>
              <a:cxn ang="0">
                <a:pos x="183" y="92"/>
              </a:cxn>
              <a:cxn ang="0">
                <a:pos x="227" y="0"/>
              </a:cxn>
              <a:cxn ang="0">
                <a:pos x="285" y="4"/>
              </a:cxn>
              <a:cxn ang="0">
                <a:pos x="272" y="27"/>
              </a:cxn>
              <a:cxn ang="0">
                <a:pos x="329" y="112"/>
              </a:cxn>
              <a:cxn ang="0">
                <a:pos x="297" y="106"/>
              </a:cxn>
              <a:cxn ang="0">
                <a:pos x="241" y="202"/>
              </a:cxn>
              <a:cxn ang="0">
                <a:pos x="232" y="262"/>
              </a:cxn>
              <a:cxn ang="0">
                <a:pos x="197" y="280"/>
              </a:cxn>
              <a:cxn ang="0">
                <a:pos x="133" y="245"/>
              </a:cxn>
              <a:cxn ang="0">
                <a:pos x="96" y="261"/>
              </a:cxn>
              <a:cxn ang="0">
                <a:pos x="91" y="232"/>
              </a:cxn>
              <a:cxn ang="0">
                <a:pos x="40" y="238"/>
              </a:cxn>
              <a:cxn ang="0">
                <a:pos x="0" y="126"/>
              </a:cxn>
            </a:cxnLst>
            <a:rect l="0" t="0" r="r" b="b"/>
            <a:pathLst>
              <a:path w="329" h="280">
                <a:moveTo>
                  <a:pt x="0" y="126"/>
                </a:moveTo>
                <a:lnTo>
                  <a:pt x="22" y="89"/>
                </a:lnTo>
                <a:lnTo>
                  <a:pt x="50" y="112"/>
                </a:lnTo>
                <a:lnTo>
                  <a:pt x="150" y="104"/>
                </a:lnTo>
                <a:lnTo>
                  <a:pt x="183" y="92"/>
                </a:lnTo>
                <a:lnTo>
                  <a:pt x="227" y="0"/>
                </a:lnTo>
                <a:lnTo>
                  <a:pt x="285" y="4"/>
                </a:lnTo>
                <a:lnTo>
                  <a:pt x="272" y="27"/>
                </a:lnTo>
                <a:lnTo>
                  <a:pt x="329" y="112"/>
                </a:lnTo>
                <a:lnTo>
                  <a:pt x="297" y="106"/>
                </a:lnTo>
                <a:lnTo>
                  <a:pt x="241" y="202"/>
                </a:lnTo>
                <a:lnTo>
                  <a:pt x="232" y="262"/>
                </a:lnTo>
                <a:lnTo>
                  <a:pt x="197" y="280"/>
                </a:lnTo>
                <a:lnTo>
                  <a:pt x="133" y="245"/>
                </a:lnTo>
                <a:lnTo>
                  <a:pt x="96" y="261"/>
                </a:lnTo>
                <a:lnTo>
                  <a:pt x="91" y="232"/>
                </a:lnTo>
                <a:lnTo>
                  <a:pt x="40" y="238"/>
                </a:lnTo>
                <a:lnTo>
                  <a:pt x="0" y="126"/>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5" name="30564409.25594.51.1254.55">
            <a:extLst>
              <a:ext uri="{FF2B5EF4-FFF2-40B4-BE49-F238E27FC236}">
                <a16:creationId xmlns:a16="http://schemas.microsoft.com/office/drawing/2014/main" id="{DE0FA3A3-860C-8542-A271-9E4F50855BE3}"/>
              </a:ext>
            </a:extLst>
          </p:cNvPr>
          <p:cNvSpPr>
            <a:spLocks noChangeAspect="1"/>
          </p:cNvSpPr>
          <p:nvPr/>
        </p:nvSpPr>
        <p:spPr bwMode="gray">
          <a:xfrm>
            <a:off x="9203723" y="4926426"/>
            <a:ext cx="72277" cy="16821"/>
          </a:xfrm>
          <a:custGeom>
            <a:avLst/>
            <a:gdLst/>
            <a:ahLst/>
            <a:cxnLst>
              <a:cxn ang="0">
                <a:pos x="0" y="4"/>
              </a:cxn>
              <a:cxn ang="0">
                <a:pos x="10" y="21"/>
              </a:cxn>
              <a:cxn ang="0">
                <a:pos x="82" y="7"/>
              </a:cxn>
              <a:cxn ang="0">
                <a:pos x="27" y="0"/>
              </a:cxn>
              <a:cxn ang="0">
                <a:pos x="0" y="4"/>
              </a:cxn>
            </a:cxnLst>
            <a:rect l="0" t="0" r="r" b="b"/>
            <a:pathLst>
              <a:path w="82" h="21">
                <a:moveTo>
                  <a:pt x="0" y="4"/>
                </a:moveTo>
                <a:lnTo>
                  <a:pt x="10" y="21"/>
                </a:lnTo>
                <a:lnTo>
                  <a:pt x="82" y="7"/>
                </a:lnTo>
                <a:lnTo>
                  <a:pt x="27" y="0"/>
                </a:lnTo>
                <a:lnTo>
                  <a:pt x="0" y="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6" name="30565390598.37513.87511.6255">
            <a:extLst>
              <a:ext uri="{FF2B5EF4-FFF2-40B4-BE49-F238E27FC236}">
                <a16:creationId xmlns:a16="http://schemas.microsoft.com/office/drawing/2014/main" id="{8C6D0756-96F0-9045-AF2E-965F555D8504}"/>
              </a:ext>
            </a:extLst>
          </p:cNvPr>
          <p:cNvSpPr>
            <a:spLocks noChangeAspect="1"/>
          </p:cNvSpPr>
          <p:nvPr/>
        </p:nvSpPr>
        <p:spPr bwMode="gray">
          <a:xfrm>
            <a:off x="9266493" y="4613576"/>
            <a:ext cx="186397" cy="227071"/>
          </a:xfrm>
          <a:custGeom>
            <a:avLst/>
            <a:gdLst/>
            <a:ahLst/>
            <a:cxnLst>
              <a:cxn ang="0">
                <a:pos x="0" y="145"/>
              </a:cxn>
              <a:cxn ang="0">
                <a:pos x="26" y="191"/>
              </a:cxn>
              <a:cxn ang="0">
                <a:pos x="17" y="235"/>
              </a:cxn>
              <a:cxn ang="0">
                <a:pos x="50" y="244"/>
              </a:cxn>
              <a:cxn ang="0">
                <a:pos x="48" y="154"/>
              </a:cxn>
              <a:cxn ang="0">
                <a:pos x="70" y="145"/>
              </a:cxn>
              <a:cxn ang="0">
                <a:pos x="72" y="180"/>
              </a:cxn>
              <a:cxn ang="0">
                <a:pos x="92" y="220"/>
              </a:cxn>
              <a:cxn ang="0">
                <a:pos x="129" y="202"/>
              </a:cxn>
              <a:cxn ang="0">
                <a:pos x="83" y="118"/>
              </a:cxn>
              <a:cxn ang="0">
                <a:pos x="152" y="81"/>
              </a:cxn>
              <a:cxn ang="0">
                <a:pos x="60" y="104"/>
              </a:cxn>
              <a:cxn ang="0">
                <a:pos x="46" y="50"/>
              </a:cxn>
              <a:cxn ang="0">
                <a:pos x="181" y="45"/>
              </a:cxn>
              <a:cxn ang="0">
                <a:pos x="206" y="0"/>
              </a:cxn>
              <a:cxn ang="0">
                <a:pos x="166" y="28"/>
              </a:cxn>
              <a:cxn ang="0">
                <a:pos x="70" y="13"/>
              </a:cxn>
              <a:cxn ang="0">
                <a:pos x="37" y="34"/>
              </a:cxn>
              <a:cxn ang="0">
                <a:pos x="0" y="145"/>
              </a:cxn>
            </a:cxnLst>
            <a:rect l="0" t="0" r="r" b="b"/>
            <a:pathLst>
              <a:path w="206" h="244">
                <a:moveTo>
                  <a:pt x="0" y="145"/>
                </a:moveTo>
                <a:lnTo>
                  <a:pt x="26" y="191"/>
                </a:lnTo>
                <a:lnTo>
                  <a:pt x="17" y="235"/>
                </a:lnTo>
                <a:lnTo>
                  <a:pt x="50" y="244"/>
                </a:lnTo>
                <a:lnTo>
                  <a:pt x="48" y="154"/>
                </a:lnTo>
                <a:lnTo>
                  <a:pt x="70" y="145"/>
                </a:lnTo>
                <a:lnTo>
                  <a:pt x="72" y="180"/>
                </a:lnTo>
                <a:lnTo>
                  <a:pt x="92" y="220"/>
                </a:lnTo>
                <a:lnTo>
                  <a:pt x="129" y="202"/>
                </a:lnTo>
                <a:lnTo>
                  <a:pt x="83" y="118"/>
                </a:lnTo>
                <a:lnTo>
                  <a:pt x="152" y="81"/>
                </a:lnTo>
                <a:lnTo>
                  <a:pt x="60" y="104"/>
                </a:lnTo>
                <a:lnTo>
                  <a:pt x="46" y="50"/>
                </a:lnTo>
                <a:lnTo>
                  <a:pt x="181" y="45"/>
                </a:lnTo>
                <a:lnTo>
                  <a:pt x="206" y="0"/>
                </a:lnTo>
                <a:lnTo>
                  <a:pt x="166" y="28"/>
                </a:lnTo>
                <a:lnTo>
                  <a:pt x="70" y="13"/>
                </a:lnTo>
                <a:lnTo>
                  <a:pt x="37" y="34"/>
                </a:lnTo>
                <a:lnTo>
                  <a:pt x="0" y="14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7" name="30566409.375607.53.56.6255">
            <a:extLst>
              <a:ext uri="{FF2B5EF4-FFF2-40B4-BE49-F238E27FC236}">
                <a16:creationId xmlns:a16="http://schemas.microsoft.com/office/drawing/2014/main" id="{376B6A03-1013-1F46-B060-B362B2CE155A}"/>
              </a:ext>
            </a:extLst>
          </p:cNvPr>
          <p:cNvSpPr>
            <a:spLocks noChangeAspect="1"/>
          </p:cNvSpPr>
          <p:nvPr/>
        </p:nvSpPr>
        <p:spPr bwMode="gray">
          <a:xfrm>
            <a:off x="9412947" y="4929791"/>
            <a:ext cx="106511" cy="55506"/>
          </a:xfrm>
          <a:custGeom>
            <a:avLst/>
            <a:gdLst/>
            <a:ahLst/>
            <a:cxnLst>
              <a:cxn ang="0">
                <a:pos x="0" y="37"/>
              </a:cxn>
              <a:cxn ang="0">
                <a:pos x="5" y="63"/>
              </a:cxn>
              <a:cxn ang="0">
                <a:pos x="115" y="0"/>
              </a:cxn>
              <a:cxn ang="0">
                <a:pos x="33" y="19"/>
              </a:cxn>
              <a:cxn ang="0">
                <a:pos x="0" y="37"/>
              </a:cxn>
            </a:cxnLst>
            <a:rect l="0" t="0" r="r" b="b"/>
            <a:pathLst>
              <a:path w="115" h="63">
                <a:moveTo>
                  <a:pt x="0" y="37"/>
                </a:moveTo>
                <a:lnTo>
                  <a:pt x="5" y="63"/>
                </a:lnTo>
                <a:lnTo>
                  <a:pt x="115" y="0"/>
                </a:lnTo>
                <a:lnTo>
                  <a:pt x="33" y="19"/>
                </a:lnTo>
                <a:lnTo>
                  <a:pt x="0" y="37"/>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8" name="30567389.375614.3755.6252.255">
            <a:extLst>
              <a:ext uri="{FF2B5EF4-FFF2-40B4-BE49-F238E27FC236}">
                <a16:creationId xmlns:a16="http://schemas.microsoft.com/office/drawing/2014/main" id="{3AAA3359-CE76-9449-BDB4-ABF6112F0282}"/>
              </a:ext>
            </a:extLst>
          </p:cNvPr>
          <p:cNvSpPr>
            <a:spLocks noChangeAspect="1"/>
          </p:cNvSpPr>
          <p:nvPr/>
        </p:nvSpPr>
        <p:spPr bwMode="gray">
          <a:xfrm>
            <a:off x="9523262" y="4605169"/>
            <a:ext cx="34238" cy="89144"/>
          </a:xfrm>
          <a:custGeom>
            <a:avLst/>
            <a:gdLst/>
            <a:ahLst/>
            <a:cxnLst>
              <a:cxn ang="0">
                <a:pos x="0" y="35"/>
              </a:cxn>
              <a:cxn ang="0">
                <a:pos x="8" y="80"/>
              </a:cxn>
              <a:cxn ang="0">
                <a:pos x="32" y="99"/>
              </a:cxn>
              <a:cxn ang="0">
                <a:pos x="17" y="58"/>
              </a:cxn>
              <a:cxn ang="0">
                <a:pos x="40" y="52"/>
              </a:cxn>
              <a:cxn ang="0">
                <a:pos x="37" y="21"/>
              </a:cxn>
              <a:cxn ang="0">
                <a:pos x="8" y="41"/>
              </a:cxn>
              <a:cxn ang="0">
                <a:pos x="21" y="0"/>
              </a:cxn>
              <a:cxn ang="0">
                <a:pos x="0" y="35"/>
              </a:cxn>
            </a:cxnLst>
            <a:rect l="0" t="0" r="r" b="b"/>
            <a:pathLst>
              <a:path w="40" h="99">
                <a:moveTo>
                  <a:pt x="0" y="35"/>
                </a:moveTo>
                <a:lnTo>
                  <a:pt x="8" y="80"/>
                </a:lnTo>
                <a:lnTo>
                  <a:pt x="32" y="99"/>
                </a:lnTo>
                <a:lnTo>
                  <a:pt x="17" y="58"/>
                </a:lnTo>
                <a:lnTo>
                  <a:pt x="40" y="52"/>
                </a:lnTo>
                <a:lnTo>
                  <a:pt x="37" y="21"/>
                </a:lnTo>
                <a:lnTo>
                  <a:pt x="8" y="41"/>
                </a:lnTo>
                <a:lnTo>
                  <a:pt x="21" y="0"/>
                </a:lnTo>
                <a:lnTo>
                  <a:pt x="0" y="3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09" name="30568398.5615.3751.755.3755">
            <a:extLst>
              <a:ext uri="{FF2B5EF4-FFF2-40B4-BE49-F238E27FC236}">
                <a16:creationId xmlns:a16="http://schemas.microsoft.com/office/drawing/2014/main" id="{550623E6-F936-CE4B-8668-DCAC989AE49A}"/>
              </a:ext>
            </a:extLst>
          </p:cNvPr>
          <p:cNvSpPr>
            <a:spLocks noChangeAspect="1"/>
          </p:cNvSpPr>
          <p:nvPr/>
        </p:nvSpPr>
        <p:spPr bwMode="gray">
          <a:xfrm>
            <a:off x="9538479" y="4753183"/>
            <a:ext cx="85592" cy="26912"/>
          </a:xfrm>
          <a:custGeom>
            <a:avLst/>
            <a:gdLst/>
            <a:ahLst/>
            <a:cxnLst>
              <a:cxn ang="0">
                <a:pos x="0" y="12"/>
              </a:cxn>
              <a:cxn ang="0">
                <a:pos x="53" y="0"/>
              </a:cxn>
              <a:cxn ang="0">
                <a:pos x="96" y="31"/>
              </a:cxn>
              <a:cxn ang="0">
                <a:pos x="0" y="12"/>
              </a:cxn>
            </a:cxnLst>
            <a:rect l="0" t="0" r="r" b="b"/>
            <a:pathLst>
              <a:path w="96" h="31">
                <a:moveTo>
                  <a:pt x="0" y="12"/>
                </a:moveTo>
                <a:lnTo>
                  <a:pt x="53" y="0"/>
                </a:lnTo>
                <a:lnTo>
                  <a:pt x="96" y="31"/>
                </a:lnTo>
                <a:lnTo>
                  <a:pt x="0" y="1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0" name="30569394.125620.87516.2519.755">
            <a:extLst>
              <a:ext uri="{FF2B5EF4-FFF2-40B4-BE49-F238E27FC236}">
                <a16:creationId xmlns:a16="http://schemas.microsoft.com/office/drawing/2014/main" id="{AC243C5B-02EE-F64D-AE5D-DB48F4E4C336}"/>
              </a:ext>
            </a:extLst>
          </p:cNvPr>
          <p:cNvSpPr>
            <a:spLocks noChangeAspect="1"/>
          </p:cNvSpPr>
          <p:nvPr/>
        </p:nvSpPr>
        <p:spPr bwMode="gray">
          <a:xfrm>
            <a:off x="9627872" y="4682538"/>
            <a:ext cx="315734" cy="260710"/>
          </a:xfrm>
          <a:custGeom>
            <a:avLst/>
            <a:gdLst/>
            <a:ahLst/>
            <a:cxnLst>
              <a:cxn ang="0">
                <a:pos x="0" y="36"/>
              </a:cxn>
              <a:cxn ang="0">
                <a:pos x="51" y="63"/>
              </a:cxn>
              <a:cxn ang="0">
                <a:pos x="102" y="56"/>
              </a:cxn>
              <a:cxn ang="0">
                <a:pos x="37" y="77"/>
              </a:cxn>
              <a:cxn ang="0">
                <a:pos x="69" y="124"/>
              </a:cxn>
              <a:cxn ang="0">
                <a:pos x="99" y="84"/>
              </a:cxn>
              <a:cxn ang="0">
                <a:pos x="120" y="124"/>
              </a:cxn>
              <a:cxn ang="0">
                <a:pos x="245" y="168"/>
              </a:cxn>
              <a:cxn ang="0">
                <a:pos x="275" y="238"/>
              </a:cxn>
              <a:cxn ang="0">
                <a:pos x="252" y="235"/>
              </a:cxn>
              <a:cxn ang="0">
                <a:pos x="232" y="268"/>
              </a:cxn>
              <a:cxn ang="0">
                <a:pos x="308" y="253"/>
              </a:cxn>
              <a:cxn ang="0">
                <a:pos x="349" y="289"/>
              </a:cxn>
              <a:cxn ang="0">
                <a:pos x="344" y="73"/>
              </a:cxn>
              <a:cxn ang="0">
                <a:pos x="236" y="36"/>
              </a:cxn>
              <a:cxn ang="0">
                <a:pos x="149" y="99"/>
              </a:cxn>
              <a:cxn ang="0">
                <a:pos x="114" y="66"/>
              </a:cxn>
              <a:cxn ang="0">
                <a:pos x="103" y="14"/>
              </a:cxn>
              <a:cxn ang="0">
                <a:pos x="51" y="0"/>
              </a:cxn>
              <a:cxn ang="0">
                <a:pos x="0" y="36"/>
              </a:cxn>
            </a:cxnLst>
            <a:rect l="0" t="0" r="r" b="b"/>
            <a:pathLst>
              <a:path w="349" h="289">
                <a:moveTo>
                  <a:pt x="0" y="36"/>
                </a:moveTo>
                <a:lnTo>
                  <a:pt x="51" y="63"/>
                </a:lnTo>
                <a:lnTo>
                  <a:pt x="102" y="56"/>
                </a:lnTo>
                <a:lnTo>
                  <a:pt x="37" y="77"/>
                </a:lnTo>
                <a:lnTo>
                  <a:pt x="69" y="124"/>
                </a:lnTo>
                <a:lnTo>
                  <a:pt x="99" y="84"/>
                </a:lnTo>
                <a:lnTo>
                  <a:pt x="120" y="124"/>
                </a:lnTo>
                <a:lnTo>
                  <a:pt x="245" y="168"/>
                </a:lnTo>
                <a:lnTo>
                  <a:pt x="275" y="238"/>
                </a:lnTo>
                <a:lnTo>
                  <a:pt x="252" y="235"/>
                </a:lnTo>
                <a:lnTo>
                  <a:pt x="232" y="268"/>
                </a:lnTo>
                <a:lnTo>
                  <a:pt x="308" y="253"/>
                </a:lnTo>
                <a:lnTo>
                  <a:pt x="349" y="289"/>
                </a:lnTo>
                <a:lnTo>
                  <a:pt x="344" y="73"/>
                </a:lnTo>
                <a:lnTo>
                  <a:pt x="236" y="36"/>
                </a:lnTo>
                <a:lnTo>
                  <a:pt x="149" y="99"/>
                </a:lnTo>
                <a:lnTo>
                  <a:pt x="114" y="66"/>
                </a:lnTo>
                <a:lnTo>
                  <a:pt x="103" y="14"/>
                </a:lnTo>
                <a:lnTo>
                  <a:pt x="51" y="0"/>
                </a:lnTo>
                <a:lnTo>
                  <a:pt x="0" y="3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1" name="30570406.75621.51.50.8755">
            <a:extLst>
              <a:ext uri="{FF2B5EF4-FFF2-40B4-BE49-F238E27FC236}">
                <a16:creationId xmlns:a16="http://schemas.microsoft.com/office/drawing/2014/main" id="{072CB13F-6EE3-DA41-AF08-45E9CF76AC78}"/>
              </a:ext>
            </a:extLst>
          </p:cNvPr>
          <p:cNvSpPr>
            <a:spLocks noChangeAspect="1"/>
          </p:cNvSpPr>
          <p:nvPr/>
        </p:nvSpPr>
        <p:spPr bwMode="gray">
          <a:xfrm>
            <a:off x="9637383" y="4887742"/>
            <a:ext cx="11411" cy="23547"/>
          </a:xfrm>
          <a:custGeom>
            <a:avLst/>
            <a:gdLst/>
            <a:ahLst/>
            <a:cxnLst>
              <a:cxn ang="0">
                <a:pos x="0" y="25"/>
              </a:cxn>
              <a:cxn ang="0">
                <a:pos x="10" y="0"/>
              </a:cxn>
              <a:cxn ang="0">
                <a:pos x="16" y="14"/>
              </a:cxn>
              <a:cxn ang="0">
                <a:pos x="0" y="25"/>
              </a:cxn>
            </a:cxnLst>
            <a:rect l="0" t="0" r="r" b="b"/>
            <a:pathLst>
              <a:path w="16" h="25">
                <a:moveTo>
                  <a:pt x="0" y="25"/>
                </a:moveTo>
                <a:lnTo>
                  <a:pt x="10" y="0"/>
                </a:lnTo>
                <a:lnTo>
                  <a:pt x="16" y="14"/>
                </a:lnTo>
                <a:lnTo>
                  <a:pt x="0" y="2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2" name="30571317.62561296.6255">
            <a:extLst>
              <a:ext uri="{FF2B5EF4-FFF2-40B4-BE49-F238E27FC236}">
                <a16:creationId xmlns:a16="http://schemas.microsoft.com/office/drawing/2014/main" id="{B15CA9E5-E280-1E41-ADBD-680EC3036E23}"/>
              </a:ext>
            </a:extLst>
          </p:cNvPr>
          <p:cNvSpPr>
            <a:spLocks noChangeAspect="1"/>
          </p:cNvSpPr>
          <p:nvPr/>
        </p:nvSpPr>
        <p:spPr bwMode="gray">
          <a:xfrm>
            <a:off x="9485220" y="3442910"/>
            <a:ext cx="104610" cy="146334"/>
          </a:xfrm>
          <a:custGeom>
            <a:avLst/>
            <a:gdLst/>
            <a:ahLst/>
            <a:cxnLst>
              <a:cxn ang="0">
                <a:pos x="0" y="160"/>
              </a:cxn>
              <a:cxn ang="0">
                <a:pos x="12" y="35"/>
              </a:cxn>
              <a:cxn ang="0">
                <a:pos x="74" y="0"/>
              </a:cxn>
              <a:cxn ang="0">
                <a:pos x="115" y="98"/>
              </a:cxn>
              <a:cxn ang="0">
                <a:pos x="73" y="144"/>
              </a:cxn>
              <a:cxn ang="0">
                <a:pos x="0" y="160"/>
              </a:cxn>
            </a:cxnLst>
            <a:rect l="0" t="0" r="r" b="b"/>
            <a:pathLst>
              <a:path w="115" h="160">
                <a:moveTo>
                  <a:pt x="0" y="160"/>
                </a:moveTo>
                <a:lnTo>
                  <a:pt x="12" y="35"/>
                </a:lnTo>
                <a:lnTo>
                  <a:pt x="74" y="0"/>
                </a:lnTo>
                <a:lnTo>
                  <a:pt x="115" y="98"/>
                </a:lnTo>
                <a:lnTo>
                  <a:pt x="73" y="144"/>
                </a:lnTo>
                <a:lnTo>
                  <a:pt x="0" y="16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3" name="30572381.125563.259.3757.1255">
            <a:extLst>
              <a:ext uri="{FF2B5EF4-FFF2-40B4-BE49-F238E27FC236}">
                <a16:creationId xmlns:a16="http://schemas.microsoft.com/office/drawing/2014/main" id="{E166FB04-2626-9D4B-B021-0C3DFE20C06A}"/>
              </a:ext>
            </a:extLst>
          </p:cNvPr>
          <p:cNvSpPr>
            <a:spLocks noChangeAspect="1"/>
          </p:cNvSpPr>
          <p:nvPr/>
        </p:nvSpPr>
        <p:spPr bwMode="gray">
          <a:xfrm>
            <a:off x="8703496" y="4472291"/>
            <a:ext cx="114121" cy="151380"/>
          </a:xfrm>
          <a:custGeom>
            <a:avLst/>
            <a:gdLst/>
            <a:ahLst/>
            <a:cxnLst>
              <a:cxn ang="0">
                <a:pos x="0" y="0"/>
              </a:cxn>
              <a:cxn ang="0">
                <a:pos x="25" y="0"/>
              </a:cxn>
              <a:cxn ang="0">
                <a:pos x="33" y="31"/>
              </a:cxn>
              <a:cxn ang="0">
                <a:pos x="65" y="11"/>
              </a:cxn>
              <a:cxn ang="0">
                <a:pos x="106" y="50"/>
              </a:cxn>
              <a:cxn ang="0">
                <a:pos x="125" y="167"/>
              </a:cxn>
              <a:cxn ang="0">
                <a:pos x="124" y="167"/>
              </a:cxn>
              <a:cxn ang="0">
                <a:pos x="39" y="117"/>
              </a:cxn>
              <a:cxn ang="0">
                <a:pos x="0" y="0"/>
              </a:cxn>
            </a:cxnLst>
            <a:rect l="0" t="0" r="r" b="b"/>
            <a:pathLst>
              <a:path w="125" h="167">
                <a:moveTo>
                  <a:pt x="0" y="0"/>
                </a:moveTo>
                <a:lnTo>
                  <a:pt x="25" y="0"/>
                </a:lnTo>
                <a:lnTo>
                  <a:pt x="33" y="31"/>
                </a:lnTo>
                <a:lnTo>
                  <a:pt x="65" y="11"/>
                </a:lnTo>
                <a:lnTo>
                  <a:pt x="106" y="50"/>
                </a:lnTo>
                <a:lnTo>
                  <a:pt x="125" y="167"/>
                </a:lnTo>
                <a:lnTo>
                  <a:pt x="124" y="167"/>
                </a:lnTo>
                <a:lnTo>
                  <a:pt x="39" y="117"/>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4" name="30573380.375581.12511.375185">
            <a:extLst>
              <a:ext uri="{FF2B5EF4-FFF2-40B4-BE49-F238E27FC236}">
                <a16:creationId xmlns:a16="http://schemas.microsoft.com/office/drawing/2014/main" id="{1A66749F-C9BC-574A-83C4-75AAA0164E12}"/>
              </a:ext>
            </a:extLst>
          </p:cNvPr>
          <p:cNvSpPr>
            <a:spLocks noChangeAspect="1"/>
          </p:cNvSpPr>
          <p:nvPr/>
        </p:nvSpPr>
        <p:spPr bwMode="gray">
          <a:xfrm>
            <a:off x="8988798" y="4458835"/>
            <a:ext cx="291007" cy="185018"/>
          </a:xfrm>
          <a:custGeom>
            <a:avLst/>
            <a:gdLst/>
            <a:ahLst/>
            <a:cxnLst>
              <a:cxn ang="0">
                <a:pos x="0" y="176"/>
              </a:cxn>
              <a:cxn ang="0">
                <a:pos x="28" y="199"/>
              </a:cxn>
              <a:cxn ang="0">
                <a:pos x="128" y="191"/>
              </a:cxn>
              <a:cxn ang="0">
                <a:pos x="161" y="179"/>
              </a:cxn>
              <a:cxn ang="0">
                <a:pos x="205" y="87"/>
              </a:cxn>
              <a:cxn ang="0">
                <a:pos x="263" y="91"/>
              </a:cxn>
              <a:cxn ang="0">
                <a:pos x="319" y="59"/>
              </a:cxn>
              <a:cxn ang="0">
                <a:pos x="265" y="33"/>
              </a:cxn>
              <a:cxn ang="0">
                <a:pos x="249" y="0"/>
              </a:cxn>
              <a:cxn ang="0">
                <a:pos x="183" y="62"/>
              </a:cxn>
              <a:cxn ang="0">
                <a:pos x="164" y="96"/>
              </a:cxn>
              <a:cxn ang="0">
                <a:pos x="143" y="77"/>
              </a:cxn>
              <a:cxn ang="0">
                <a:pos x="105" y="127"/>
              </a:cxn>
              <a:cxn ang="0">
                <a:pos x="62" y="133"/>
              </a:cxn>
              <a:cxn ang="0">
                <a:pos x="48" y="179"/>
              </a:cxn>
              <a:cxn ang="0">
                <a:pos x="0" y="176"/>
              </a:cxn>
            </a:cxnLst>
            <a:rect l="0" t="0" r="r" b="b"/>
            <a:pathLst>
              <a:path w="319" h="199">
                <a:moveTo>
                  <a:pt x="0" y="176"/>
                </a:moveTo>
                <a:lnTo>
                  <a:pt x="28" y="199"/>
                </a:lnTo>
                <a:lnTo>
                  <a:pt x="128" y="191"/>
                </a:lnTo>
                <a:lnTo>
                  <a:pt x="161" y="179"/>
                </a:lnTo>
                <a:lnTo>
                  <a:pt x="205" y="87"/>
                </a:lnTo>
                <a:lnTo>
                  <a:pt x="263" y="91"/>
                </a:lnTo>
                <a:lnTo>
                  <a:pt x="319" y="59"/>
                </a:lnTo>
                <a:lnTo>
                  <a:pt x="265" y="33"/>
                </a:lnTo>
                <a:lnTo>
                  <a:pt x="249" y="0"/>
                </a:lnTo>
                <a:lnTo>
                  <a:pt x="183" y="62"/>
                </a:lnTo>
                <a:lnTo>
                  <a:pt x="164" y="96"/>
                </a:lnTo>
                <a:lnTo>
                  <a:pt x="143" y="77"/>
                </a:lnTo>
                <a:lnTo>
                  <a:pt x="105" y="127"/>
                </a:lnTo>
                <a:lnTo>
                  <a:pt x="62" y="133"/>
                </a:lnTo>
                <a:lnTo>
                  <a:pt x="48" y="179"/>
                </a:lnTo>
                <a:lnTo>
                  <a:pt x="0" y="176"/>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5" name="30574320.875489.12527.2531.55">
            <a:extLst>
              <a:ext uri="{FF2B5EF4-FFF2-40B4-BE49-F238E27FC236}">
                <a16:creationId xmlns:a16="http://schemas.microsoft.com/office/drawing/2014/main" id="{A86560E8-B049-0841-A4E4-4E70CB936521}"/>
              </a:ext>
            </a:extLst>
          </p:cNvPr>
          <p:cNvSpPr>
            <a:spLocks noChangeAspect="1"/>
          </p:cNvSpPr>
          <p:nvPr/>
        </p:nvSpPr>
        <p:spPr bwMode="gray">
          <a:xfrm>
            <a:off x="7512843" y="3496735"/>
            <a:ext cx="505933" cy="439002"/>
          </a:xfrm>
          <a:custGeom>
            <a:avLst/>
            <a:gdLst/>
            <a:ahLst/>
            <a:cxnLst>
              <a:cxn ang="0">
                <a:pos x="0" y="267"/>
              </a:cxn>
              <a:cxn ang="0">
                <a:pos x="52" y="284"/>
              </a:cxn>
              <a:cxn ang="0">
                <a:pos x="175" y="267"/>
              </a:cxn>
              <a:cxn ang="0">
                <a:pos x="198" y="218"/>
              </a:cxn>
              <a:cxn ang="0">
                <a:pos x="281" y="190"/>
              </a:cxn>
              <a:cxn ang="0">
                <a:pos x="289" y="149"/>
              </a:cxn>
              <a:cxn ang="0">
                <a:pos x="316" y="138"/>
              </a:cxn>
              <a:cxn ang="0">
                <a:pos x="304" y="116"/>
              </a:cxn>
              <a:cxn ang="0">
                <a:pos x="334" y="114"/>
              </a:cxn>
              <a:cxn ang="0">
                <a:pos x="356" y="72"/>
              </a:cxn>
              <a:cxn ang="0">
                <a:pos x="347" y="31"/>
              </a:cxn>
              <a:cxn ang="0">
                <a:pos x="458" y="0"/>
              </a:cxn>
              <a:cxn ang="0">
                <a:pos x="560" y="62"/>
              </a:cxn>
              <a:cxn ang="0">
                <a:pos x="532" y="88"/>
              </a:cxn>
              <a:cxn ang="0">
                <a:pos x="436" y="88"/>
              </a:cxn>
              <a:cxn ang="0">
                <a:pos x="437" y="143"/>
              </a:cxn>
              <a:cxn ang="0">
                <a:pos x="481" y="178"/>
              </a:cxn>
              <a:cxn ang="0">
                <a:pos x="455" y="196"/>
              </a:cxn>
              <a:cxn ang="0">
                <a:pos x="462" y="226"/>
              </a:cxn>
              <a:cxn ang="0">
                <a:pos x="363" y="337"/>
              </a:cxn>
              <a:cxn ang="0">
                <a:pos x="319" y="335"/>
              </a:cxn>
              <a:cxn ang="0">
                <a:pos x="289" y="362"/>
              </a:cxn>
              <a:cxn ang="0">
                <a:pos x="341" y="464"/>
              </a:cxn>
              <a:cxn ang="0">
                <a:pos x="265" y="464"/>
              </a:cxn>
              <a:cxn ang="0">
                <a:pos x="238" y="486"/>
              </a:cxn>
              <a:cxn ang="0">
                <a:pos x="182" y="425"/>
              </a:cxn>
              <a:cxn ang="0">
                <a:pos x="26" y="436"/>
              </a:cxn>
              <a:cxn ang="0">
                <a:pos x="79" y="366"/>
              </a:cxn>
              <a:cxn ang="0">
                <a:pos x="0" y="267"/>
              </a:cxn>
            </a:cxnLst>
            <a:rect l="0" t="0" r="r" b="b"/>
            <a:pathLst>
              <a:path w="560" h="486">
                <a:moveTo>
                  <a:pt x="0" y="267"/>
                </a:moveTo>
                <a:lnTo>
                  <a:pt x="52" y="284"/>
                </a:lnTo>
                <a:lnTo>
                  <a:pt x="175" y="267"/>
                </a:lnTo>
                <a:lnTo>
                  <a:pt x="198" y="218"/>
                </a:lnTo>
                <a:lnTo>
                  <a:pt x="281" y="190"/>
                </a:lnTo>
                <a:lnTo>
                  <a:pt x="289" y="149"/>
                </a:lnTo>
                <a:lnTo>
                  <a:pt x="316" y="138"/>
                </a:lnTo>
                <a:lnTo>
                  <a:pt x="304" y="116"/>
                </a:lnTo>
                <a:lnTo>
                  <a:pt x="334" y="114"/>
                </a:lnTo>
                <a:lnTo>
                  <a:pt x="356" y="72"/>
                </a:lnTo>
                <a:lnTo>
                  <a:pt x="347" y="31"/>
                </a:lnTo>
                <a:lnTo>
                  <a:pt x="458" y="0"/>
                </a:lnTo>
                <a:lnTo>
                  <a:pt x="560" y="62"/>
                </a:lnTo>
                <a:lnTo>
                  <a:pt x="532" y="88"/>
                </a:lnTo>
                <a:lnTo>
                  <a:pt x="436" y="88"/>
                </a:lnTo>
                <a:lnTo>
                  <a:pt x="437" y="143"/>
                </a:lnTo>
                <a:lnTo>
                  <a:pt x="481" y="178"/>
                </a:lnTo>
                <a:lnTo>
                  <a:pt x="455" y="196"/>
                </a:lnTo>
                <a:lnTo>
                  <a:pt x="462" y="226"/>
                </a:lnTo>
                <a:lnTo>
                  <a:pt x="363" y="337"/>
                </a:lnTo>
                <a:lnTo>
                  <a:pt x="319" y="335"/>
                </a:lnTo>
                <a:lnTo>
                  <a:pt x="289" y="362"/>
                </a:lnTo>
                <a:lnTo>
                  <a:pt x="341" y="464"/>
                </a:lnTo>
                <a:lnTo>
                  <a:pt x="265" y="464"/>
                </a:lnTo>
                <a:lnTo>
                  <a:pt x="238" y="486"/>
                </a:lnTo>
                <a:lnTo>
                  <a:pt x="182" y="425"/>
                </a:lnTo>
                <a:lnTo>
                  <a:pt x="26" y="436"/>
                </a:lnTo>
                <a:lnTo>
                  <a:pt x="79" y="366"/>
                </a:lnTo>
                <a:lnTo>
                  <a:pt x="0" y="26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6" name="30575372.125595.255.3754.255">
            <a:extLst>
              <a:ext uri="{FF2B5EF4-FFF2-40B4-BE49-F238E27FC236}">
                <a16:creationId xmlns:a16="http://schemas.microsoft.com/office/drawing/2014/main" id="{0CC8D3E8-99B2-3448-961C-00E9CDBF3DF8}"/>
              </a:ext>
            </a:extLst>
          </p:cNvPr>
          <p:cNvSpPr>
            <a:spLocks noChangeAspect="1"/>
          </p:cNvSpPr>
          <p:nvPr/>
        </p:nvSpPr>
        <p:spPr bwMode="gray">
          <a:xfrm>
            <a:off x="9215138" y="4325957"/>
            <a:ext cx="66571" cy="85779"/>
          </a:xfrm>
          <a:custGeom>
            <a:avLst/>
            <a:gdLst/>
            <a:ahLst/>
            <a:cxnLst>
              <a:cxn ang="0">
                <a:pos x="0" y="97"/>
              </a:cxn>
              <a:cxn ang="0">
                <a:pos x="54" y="51"/>
              </a:cxn>
              <a:cxn ang="0">
                <a:pos x="77" y="0"/>
              </a:cxn>
              <a:cxn ang="0">
                <a:pos x="0" y="97"/>
              </a:cxn>
            </a:cxnLst>
            <a:rect l="0" t="0" r="r" b="b"/>
            <a:pathLst>
              <a:path w="77" h="97">
                <a:moveTo>
                  <a:pt x="0" y="97"/>
                </a:moveTo>
                <a:lnTo>
                  <a:pt x="54" y="51"/>
                </a:lnTo>
                <a:lnTo>
                  <a:pt x="77" y="0"/>
                </a:lnTo>
                <a:lnTo>
                  <a:pt x="0" y="9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7" name="30576358.25600.2511.57.755">
            <a:extLst>
              <a:ext uri="{FF2B5EF4-FFF2-40B4-BE49-F238E27FC236}">
                <a16:creationId xmlns:a16="http://schemas.microsoft.com/office/drawing/2014/main" id="{1906A50E-7780-4645-B608-0D32D4946A8B}"/>
              </a:ext>
            </a:extLst>
          </p:cNvPr>
          <p:cNvSpPr>
            <a:spLocks noChangeAspect="1"/>
          </p:cNvSpPr>
          <p:nvPr/>
        </p:nvSpPr>
        <p:spPr bwMode="gray">
          <a:xfrm>
            <a:off x="9295021" y="4100570"/>
            <a:ext cx="127436" cy="186699"/>
          </a:xfrm>
          <a:custGeom>
            <a:avLst/>
            <a:gdLst/>
            <a:ahLst/>
            <a:cxnLst>
              <a:cxn ang="0">
                <a:pos x="0" y="79"/>
              </a:cxn>
              <a:cxn ang="0">
                <a:pos x="26" y="0"/>
              </a:cxn>
              <a:cxn ang="0">
                <a:pos x="74" y="2"/>
              </a:cxn>
              <a:cxn ang="0">
                <a:pos x="87" y="55"/>
              </a:cxn>
              <a:cxn ang="0">
                <a:pos x="49" y="110"/>
              </a:cxn>
              <a:cxn ang="0">
                <a:pos x="58" y="141"/>
              </a:cxn>
              <a:cxn ang="0">
                <a:pos x="130" y="161"/>
              </a:cxn>
              <a:cxn ang="0">
                <a:pos x="136" y="203"/>
              </a:cxn>
              <a:cxn ang="0">
                <a:pos x="92" y="161"/>
              </a:cxn>
              <a:cxn ang="0">
                <a:pos x="92" y="181"/>
              </a:cxn>
              <a:cxn ang="0">
                <a:pos x="26" y="161"/>
              </a:cxn>
              <a:cxn ang="0">
                <a:pos x="0" y="79"/>
              </a:cxn>
            </a:cxnLst>
            <a:rect l="0" t="0" r="r" b="b"/>
            <a:pathLst>
              <a:path w="136" h="203">
                <a:moveTo>
                  <a:pt x="0" y="79"/>
                </a:moveTo>
                <a:lnTo>
                  <a:pt x="26" y="0"/>
                </a:lnTo>
                <a:lnTo>
                  <a:pt x="74" y="2"/>
                </a:lnTo>
                <a:lnTo>
                  <a:pt x="87" y="55"/>
                </a:lnTo>
                <a:lnTo>
                  <a:pt x="49" y="110"/>
                </a:lnTo>
                <a:lnTo>
                  <a:pt x="58" y="141"/>
                </a:lnTo>
                <a:lnTo>
                  <a:pt x="130" y="161"/>
                </a:lnTo>
                <a:lnTo>
                  <a:pt x="136" y="203"/>
                </a:lnTo>
                <a:lnTo>
                  <a:pt x="92" y="161"/>
                </a:lnTo>
                <a:lnTo>
                  <a:pt x="92" y="181"/>
                </a:lnTo>
                <a:lnTo>
                  <a:pt x="26" y="161"/>
                </a:lnTo>
                <a:lnTo>
                  <a:pt x="0" y="79"/>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8" name="305773686012.3752.1255">
            <a:extLst>
              <a:ext uri="{FF2B5EF4-FFF2-40B4-BE49-F238E27FC236}">
                <a16:creationId xmlns:a16="http://schemas.microsoft.com/office/drawing/2014/main" id="{2DFB3F10-DE63-FB44-B9B9-39018A32E5F1}"/>
              </a:ext>
            </a:extLst>
          </p:cNvPr>
          <p:cNvSpPr>
            <a:spLocks noChangeAspect="1"/>
          </p:cNvSpPr>
          <p:nvPr/>
        </p:nvSpPr>
        <p:spPr bwMode="gray">
          <a:xfrm>
            <a:off x="9308337" y="4256995"/>
            <a:ext cx="34238" cy="38688"/>
          </a:xfrm>
          <a:custGeom>
            <a:avLst/>
            <a:gdLst/>
            <a:ahLst/>
            <a:cxnLst>
              <a:cxn ang="0">
                <a:pos x="0" y="0"/>
              </a:cxn>
              <a:cxn ang="0">
                <a:pos x="20" y="0"/>
              </a:cxn>
              <a:cxn ang="0">
                <a:pos x="39" y="8"/>
              </a:cxn>
              <a:cxn ang="0">
                <a:pos x="29" y="41"/>
              </a:cxn>
              <a:cxn ang="0">
                <a:pos x="0" y="0"/>
              </a:cxn>
            </a:cxnLst>
            <a:rect l="0" t="0" r="r" b="b"/>
            <a:pathLst>
              <a:path w="39" h="41">
                <a:moveTo>
                  <a:pt x="0" y="0"/>
                </a:moveTo>
                <a:lnTo>
                  <a:pt x="20" y="0"/>
                </a:lnTo>
                <a:lnTo>
                  <a:pt x="39" y="8"/>
                </a:lnTo>
                <a:lnTo>
                  <a:pt x="29" y="41"/>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19" name="305783716042.87525">
            <a:extLst>
              <a:ext uri="{FF2B5EF4-FFF2-40B4-BE49-F238E27FC236}">
                <a16:creationId xmlns:a16="http://schemas.microsoft.com/office/drawing/2014/main" id="{B1920BEC-DED7-FB4F-B96E-63F3C330B82A}"/>
              </a:ext>
            </a:extLst>
          </p:cNvPr>
          <p:cNvSpPr>
            <a:spLocks noChangeAspect="1"/>
          </p:cNvSpPr>
          <p:nvPr/>
        </p:nvSpPr>
        <p:spPr bwMode="gray">
          <a:xfrm>
            <a:off x="9355887" y="4307455"/>
            <a:ext cx="30433" cy="45414"/>
          </a:xfrm>
          <a:custGeom>
            <a:avLst/>
            <a:gdLst/>
            <a:ahLst/>
            <a:cxnLst>
              <a:cxn ang="0">
                <a:pos x="0" y="0"/>
              </a:cxn>
              <a:cxn ang="0">
                <a:pos x="3" y="52"/>
              </a:cxn>
              <a:cxn ang="0">
                <a:pos x="36" y="30"/>
              </a:cxn>
              <a:cxn ang="0">
                <a:pos x="0" y="0"/>
              </a:cxn>
            </a:cxnLst>
            <a:rect l="0" t="0" r="r" b="b"/>
            <a:pathLst>
              <a:path w="36" h="52">
                <a:moveTo>
                  <a:pt x="0" y="0"/>
                </a:moveTo>
                <a:lnTo>
                  <a:pt x="3" y="52"/>
                </a:lnTo>
                <a:lnTo>
                  <a:pt x="36" y="30"/>
                </a:lnTo>
                <a:lnTo>
                  <a:pt x="0" y="0"/>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0" name="30579375.125604.1257.758.255">
            <a:extLst>
              <a:ext uri="{FF2B5EF4-FFF2-40B4-BE49-F238E27FC236}">
                <a16:creationId xmlns:a16="http://schemas.microsoft.com/office/drawing/2014/main" id="{BE2FE805-BE80-6242-9D5B-6E1DCD8B6A4D}"/>
              </a:ext>
            </a:extLst>
          </p:cNvPr>
          <p:cNvSpPr>
            <a:spLocks noChangeAspect="1"/>
          </p:cNvSpPr>
          <p:nvPr/>
        </p:nvSpPr>
        <p:spPr bwMode="gray">
          <a:xfrm>
            <a:off x="9357787" y="4373052"/>
            <a:ext cx="133142" cy="124467"/>
          </a:xfrm>
          <a:custGeom>
            <a:avLst/>
            <a:gdLst/>
            <a:ahLst/>
            <a:cxnLst>
              <a:cxn ang="0">
                <a:pos x="0" y="95"/>
              </a:cxn>
              <a:cxn ang="0">
                <a:pos x="31" y="45"/>
              </a:cxn>
              <a:cxn ang="0">
                <a:pos x="68" y="54"/>
              </a:cxn>
              <a:cxn ang="0">
                <a:pos x="121" y="0"/>
              </a:cxn>
              <a:cxn ang="0">
                <a:pos x="145" y="32"/>
              </a:cxn>
              <a:cxn ang="0">
                <a:pos x="141" y="114"/>
              </a:cxn>
              <a:cxn ang="0">
                <a:pos x="129" y="80"/>
              </a:cxn>
              <a:cxn ang="0">
                <a:pos x="115" y="139"/>
              </a:cxn>
              <a:cxn ang="0">
                <a:pos x="78" y="123"/>
              </a:cxn>
              <a:cxn ang="0">
                <a:pos x="56" y="62"/>
              </a:cxn>
              <a:cxn ang="0">
                <a:pos x="0" y="95"/>
              </a:cxn>
            </a:cxnLst>
            <a:rect l="0" t="0" r="r" b="b"/>
            <a:pathLst>
              <a:path w="145" h="139">
                <a:moveTo>
                  <a:pt x="0" y="95"/>
                </a:moveTo>
                <a:lnTo>
                  <a:pt x="31" y="45"/>
                </a:lnTo>
                <a:lnTo>
                  <a:pt x="68" y="54"/>
                </a:lnTo>
                <a:lnTo>
                  <a:pt x="121" y="0"/>
                </a:lnTo>
                <a:lnTo>
                  <a:pt x="145" y="32"/>
                </a:lnTo>
                <a:lnTo>
                  <a:pt x="141" y="114"/>
                </a:lnTo>
                <a:lnTo>
                  <a:pt x="129" y="80"/>
                </a:lnTo>
                <a:lnTo>
                  <a:pt x="115" y="139"/>
                </a:lnTo>
                <a:lnTo>
                  <a:pt x="78" y="123"/>
                </a:lnTo>
                <a:lnTo>
                  <a:pt x="56" y="62"/>
                </a:lnTo>
                <a:lnTo>
                  <a:pt x="0" y="9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1" name="30580373.125605.1253.251.8755">
            <a:extLst>
              <a:ext uri="{FF2B5EF4-FFF2-40B4-BE49-F238E27FC236}">
                <a16:creationId xmlns:a16="http://schemas.microsoft.com/office/drawing/2014/main" id="{06AD4405-E4BA-AE47-A84E-C94EA26EDD33}"/>
              </a:ext>
            </a:extLst>
          </p:cNvPr>
          <p:cNvSpPr>
            <a:spLocks noChangeAspect="1"/>
          </p:cNvSpPr>
          <p:nvPr/>
        </p:nvSpPr>
        <p:spPr bwMode="gray">
          <a:xfrm>
            <a:off x="9374904" y="4341094"/>
            <a:ext cx="28532" cy="53825"/>
          </a:xfrm>
          <a:custGeom>
            <a:avLst/>
            <a:gdLst/>
            <a:ahLst/>
            <a:cxnLst>
              <a:cxn ang="0">
                <a:pos x="0" y="35"/>
              </a:cxn>
              <a:cxn ang="0">
                <a:pos x="8" y="24"/>
              </a:cxn>
              <a:cxn ang="0">
                <a:pos x="33" y="0"/>
              </a:cxn>
              <a:cxn ang="0">
                <a:pos x="22" y="56"/>
              </a:cxn>
              <a:cxn ang="0">
                <a:pos x="0" y="35"/>
              </a:cxn>
            </a:cxnLst>
            <a:rect l="0" t="0" r="r" b="b"/>
            <a:pathLst>
              <a:path w="33" h="56">
                <a:moveTo>
                  <a:pt x="0" y="35"/>
                </a:moveTo>
                <a:lnTo>
                  <a:pt x="8" y="24"/>
                </a:lnTo>
                <a:lnTo>
                  <a:pt x="33" y="0"/>
                </a:lnTo>
                <a:lnTo>
                  <a:pt x="22" y="56"/>
                </a:lnTo>
                <a:lnTo>
                  <a:pt x="0" y="3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2" name="30581354558.2528.7514.8755">
            <a:extLst>
              <a:ext uri="{FF2B5EF4-FFF2-40B4-BE49-F238E27FC236}">
                <a16:creationId xmlns:a16="http://schemas.microsoft.com/office/drawing/2014/main" id="{0CD8E593-2BD8-9C48-B1E9-42C53B7D8A03}"/>
              </a:ext>
            </a:extLst>
          </p:cNvPr>
          <p:cNvSpPr>
            <a:spLocks noChangeAspect="1"/>
          </p:cNvSpPr>
          <p:nvPr/>
        </p:nvSpPr>
        <p:spPr bwMode="gray">
          <a:xfrm>
            <a:off x="8623613" y="4031608"/>
            <a:ext cx="237752" cy="465911"/>
          </a:xfrm>
          <a:custGeom>
            <a:avLst/>
            <a:gdLst/>
            <a:ahLst/>
            <a:cxnLst>
              <a:cxn ang="0">
                <a:pos x="0" y="82"/>
              </a:cxn>
              <a:cxn ang="0">
                <a:pos x="18" y="42"/>
              </a:cxn>
              <a:cxn ang="0">
                <a:pos x="89" y="0"/>
              </a:cxn>
              <a:cxn ang="0">
                <a:pos x="121" y="40"/>
              </a:cxn>
              <a:cxn ang="0">
                <a:pos x="111" y="109"/>
              </a:cxn>
              <a:cxn ang="0">
                <a:pos x="196" y="79"/>
              </a:cxn>
              <a:cxn ang="0">
                <a:pos x="232" y="109"/>
              </a:cxn>
              <a:cxn ang="0">
                <a:pos x="264" y="176"/>
              </a:cxn>
              <a:cxn ang="0">
                <a:pos x="253" y="219"/>
              </a:cxn>
              <a:cxn ang="0">
                <a:pos x="188" y="216"/>
              </a:cxn>
              <a:cxn ang="0">
                <a:pos x="165" y="236"/>
              </a:cxn>
              <a:cxn ang="0">
                <a:pos x="177" y="307"/>
              </a:cxn>
              <a:cxn ang="0">
                <a:pos x="90" y="245"/>
              </a:cxn>
              <a:cxn ang="0">
                <a:pos x="55" y="355"/>
              </a:cxn>
              <a:cxn ang="0">
                <a:pos x="96" y="456"/>
              </a:cxn>
              <a:cxn ang="0">
                <a:pos x="155" y="491"/>
              </a:cxn>
              <a:cxn ang="0">
                <a:pos x="123" y="511"/>
              </a:cxn>
              <a:cxn ang="0">
                <a:pos x="115" y="480"/>
              </a:cxn>
              <a:cxn ang="0">
                <a:pos x="90" y="480"/>
              </a:cxn>
              <a:cxn ang="0">
                <a:pos x="24" y="424"/>
              </a:cxn>
              <a:cxn ang="0">
                <a:pos x="35" y="359"/>
              </a:cxn>
              <a:cxn ang="0">
                <a:pos x="70" y="300"/>
              </a:cxn>
              <a:cxn ang="0">
                <a:pos x="23" y="201"/>
              </a:cxn>
              <a:cxn ang="0">
                <a:pos x="38" y="157"/>
              </a:cxn>
              <a:cxn ang="0">
                <a:pos x="0" y="82"/>
              </a:cxn>
            </a:cxnLst>
            <a:rect l="0" t="0" r="r" b="b"/>
            <a:pathLst>
              <a:path w="264" h="511">
                <a:moveTo>
                  <a:pt x="0" y="82"/>
                </a:moveTo>
                <a:lnTo>
                  <a:pt x="18" y="42"/>
                </a:lnTo>
                <a:lnTo>
                  <a:pt x="89" y="0"/>
                </a:lnTo>
                <a:lnTo>
                  <a:pt x="121" y="40"/>
                </a:lnTo>
                <a:lnTo>
                  <a:pt x="111" y="109"/>
                </a:lnTo>
                <a:lnTo>
                  <a:pt x="196" y="79"/>
                </a:lnTo>
                <a:lnTo>
                  <a:pt x="232" y="109"/>
                </a:lnTo>
                <a:lnTo>
                  <a:pt x="264" y="176"/>
                </a:lnTo>
                <a:lnTo>
                  <a:pt x="253" y="219"/>
                </a:lnTo>
                <a:lnTo>
                  <a:pt x="188" y="216"/>
                </a:lnTo>
                <a:lnTo>
                  <a:pt x="165" y="236"/>
                </a:lnTo>
                <a:lnTo>
                  <a:pt x="177" y="307"/>
                </a:lnTo>
                <a:lnTo>
                  <a:pt x="90" y="245"/>
                </a:lnTo>
                <a:lnTo>
                  <a:pt x="55" y="355"/>
                </a:lnTo>
                <a:lnTo>
                  <a:pt x="96" y="456"/>
                </a:lnTo>
                <a:lnTo>
                  <a:pt x="155" y="491"/>
                </a:lnTo>
                <a:lnTo>
                  <a:pt x="123" y="511"/>
                </a:lnTo>
                <a:lnTo>
                  <a:pt x="115" y="480"/>
                </a:lnTo>
                <a:lnTo>
                  <a:pt x="90" y="480"/>
                </a:lnTo>
                <a:lnTo>
                  <a:pt x="24" y="424"/>
                </a:lnTo>
                <a:lnTo>
                  <a:pt x="35" y="359"/>
                </a:lnTo>
                <a:lnTo>
                  <a:pt x="70" y="300"/>
                </a:lnTo>
                <a:lnTo>
                  <a:pt x="23" y="201"/>
                </a:lnTo>
                <a:lnTo>
                  <a:pt x="38" y="157"/>
                </a:lnTo>
                <a:lnTo>
                  <a:pt x="0" y="8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3" name="30582349.25566.8752813.1255">
            <a:extLst>
              <a:ext uri="{FF2B5EF4-FFF2-40B4-BE49-F238E27FC236}">
                <a16:creationId xmlns:a16="http://schemas.microsoft.com/office/drawing/2014/main" id="{40C6074A-9964-5E43-948E-F204E22AE1F7}"/>
              </a:ext>
            </a:extLst>
          </p:cNvPr>
          <p:cNvSpPr>
            <a:spLocks noChangeAspect="1"/>
          </p:cNvSpPr>
          <p:nvPr/>
        </p:nvSpPr>
        <p:spPr bwMode="gray">
          <a:xfrm>
            <a:off x="8760556" y="3954236"/>
            <a:ext cx="211120" cy="454139"/>
          </a:xfrm>
          <a:custGeom>
            <a:avLst/>
            <a:gdLst/>
            <a:ahLst/>
            <a:cxnLst>
              <a:cxn ang="0">
                <a:pos x="0" y="25"/>
              </a:cxn>
              <a:cxn ang="0">
                <a:pos x="34" y="77"/>
              </a:cxn>
              <a:cxn ang="0">
                <a:pos x="79" y="98"/>
              </a:cxn>
              <a:cxn ang="0">
                <a:pos x="57" y="136"/>
              </a:cxn>
              <a:cxn ang="0">
                <a:pos x="138" y="202"/>
              </a:cxn>
              <a:cxn ang="0">
                <a:pos x="174" y="292"/>
              </a:cxn>
              <a:cxn ang="0">
                <a:pos x="178" y="369"/>
              </a:cxn>
              <a:cxn ang="0">
                <a:pos x="78" y="435"/>
              </a:cxn>
              <a:cxn ang="0">
                <a:pos x="94" y="497"/>
              </a:cxn>
              <a:cxn ang="0">
                <a:pos x="126" y="453"/>
              </a:cxn>
              <a:cxn ang="0">
                <a:pos x="144" y="465"/>
              </a:cxn>
              <a:cxn ang="0">
                <a:pos x="152" y="437"/>
              </a:cxn>
              <a:cxn ang="0">
                <a:pos x="232" y="392"/>
              </a:cxn>
              <a:cxn ang="0">
                <a:pos x="221" y="267"/>
              </a:cxn>
              <a:cxn ang="0">
                <a:pos x="114" y="151"/>
              </a:cxn>
              <a:cxn ang="0">
                <a:pos x="125" y="114"/>
              </a:cxn>
              <a:cxn ang="0">
                <a:pos x="189" y="58"/>
              </a:cxn>
              <a:cxn ang="0">
                <a:pos x="99" y="0"/>
              </a:cxn>
              <a:cxn ang="0">
                <a:pos x="0" y="25"/>
              </a:cxn>
            </a:cxnLst>
            <a:rect l="0" t="0" r="r" b="b"/>
            <a:pathLst>
              <a:path w="232" h="497">
                <a:moveTo>
                  <a:pt x="0" y="25"/>
                </a:moveTo>
                <a:lnTo>
                  <a:pt x="34" y="77"/>
                </a:lnTo>
                <a:lnTo>
                  <a:pt x="79" y="98"/>
                </a:lnTo>
                <a:lnTo>
                  <a:pt x="57" y="136"/>
                </a:lnTo>
                <a:lnTo>
                  <a:pt x="138" y="202"/>
                </a:lnTo>
                <a:lnTo>
                  <a:pt x="174" y="292"/>
                </a:lnTo>
                <a:lnTo>
                  <a:pt x="178" y="369"/>
                </a:lnTo>
                <a:lnTo>
                  <a:pt x="78" y="435"/>
                </a:lnTo>
                <a:lnTo>
                  <a:pt x="94" y="497"/>
                </a:lnTo>
                <a:lnTo>
                  <a:pt x="126" y="453"/>
                </a:lnTo>
                <a:lnTo>
                  <a:pt x="144" y="465"/>
                </a:lnTo>
                <a:lnTo>
                  <a:pt x="152" y="437"/>
                </a:lnTo>
                <a:lnTo>
                  <a:pt x="232" y="392"/>
                </a:lnTo>
                <a:lnTo>
                  <a:pt x="221" y="267"/>
                </a:lnTo>
                <a:lnTo>
                  <a:pt x="114" y="151"/>
                </a:lnTo>
                <a:lnTo>
                  <a:pt x="125" y="114"/>
                </a:lnTo>
                <a:lnTo>
                  <a:pt x="189" y="58"/>
                </a:lnTo>
                <a:lnTo>
                  <a:pt x="99" y="0"/>
                </a:lnTo>
                <a:lnTo>
                  <a:pt x="0" y="2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4" name="30583357.375456.2512.25185">
            <a:extLst>
              <a:ext uri="{FF2B5EF4-FFF2-40B4-BE49-F238E27FC236}">
                <a16:creationId xmlns:a16="http://schemas.microsoft.com/office/drawing/2014/main" id="{AC347F43-7F75-B74A-870A-F50C990B5A5E}"/>
              </a:ext>
            </a:extLst>
          </p:cNvPr>
          <p:cNvSpPr>
            <a:spLocks noChangeAspect="1"/>
          </p:cNvSpPr>
          <p:nvPr/>
        </p:nvSpPr>
        <p:spPr bwMode="gray">
          <a:xfrm>
            <a:off x="6987889" y="4088794"/>
            <a:ext cx="287202" cy="195110"/>
          </a:xfrm>
          <a:custGeom>
            <a:avLst/>
            <a:gdLst/>
            <a:ahLst/>
            <a:cxnLst>
              <a:cxn ang="0">
                <a:pos x="0" y="216"/>
              </a:cxn>
              <a:cxn ang="0">
                <a:pos x="85" y="168"/>
              </a:cxn>
              <a:cxn ang="0">
                <a:pos x="70" y="145"/>
              </a:cxn>
              <a:cxn ang="0">
                <a:pos x="95" y="117"/>
              </a:cxn>
              <a:cxn ang="0">
                <a:pos x="180" y="24"/>
              </a:cxn>
              <a:cxn ang="0">
                <a:pos x="287" y="0"/>
              </a:cxn>
              <a:cxn ang="0">
                <a:pos x="322" y="84"/>
              </a:cxn>
              <a:cxn ang="0">
                <a:pos x="294" y="117"/>
              </a:cxn>
              <a:cxn ang="0">
                <a:pos x="172" y="175"/>
              </a:cxn>
              <a:cxn ang="0">
                <a:pos x="0" y="216"/>
              </a:cxn>
            </a:cxnLst>
            <a:rect l="0" t="0" r="r" b="b"/>
            <a:pathLst>
              <a:path w="322" h="216">
                <a:moveTo>
                  <a:pt x="0" y="216"/>
                </a:moveTo>
                <a:lnTo>
                  <a:pt x="85" y="168"/>
                </a:lnTo>
                <a:lnTo>
                  <a:pt x="70" y="145"/>
                </a:lnTo>
                <a:lnTo>
                  <a:pt x="95" y="117"/>
                </a:lnTo>
                <a:lnTo>
                  <a:pt x="180" y="24"/>
                </a:lnTo>
                <a:lnTo>
                  <a:pt x="287" y="0"/>
                </a:lnTo>
                <a:lnTo>
                  <a:pt x="322" y="84"/>
                </a:lnTo>
                <a:lnTo>
                  <a:pt x="294" y="117"/>
                </a:lnTo>
                <a:lnTo>
                  <a:pt x="172" y="175"/>
                </a:lnTo>
                <a:lnTo>
                  <a:pt x="0" y="216"/>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5" name="30584360.625454.7596.755">
            <a:extLst>
              <a:ext uri="{FF2B5EF4-FFF2-40B4-BE49-F238E27FC236}">
                <a16:creationId xmlns:a16="http://schemas.microsoft.com/office/drawing/2014/main" id="{D855199C-DC41-2949-9C7C-01DDEFA5D139}"/>
              </a:ext>
            </a:extLst>
          </p:cNvPr>
          <p:cNvSpPr>
            <a:spLocks noChangeAspect="1"/>
          </p:cNvSpPr>
          <p:nvPr/>
        </p:nvSpPr>
        <p:spPr bwMode="gray">
          <a:xfrm>
            <a:off x="6963162" y="4139254"/>
            <a:ext cx="106511" cy="144650"/>
          </a:xfrm>
          <a:custGeom>
            <a:avLst/>
            <a:gdLst/>
            <a:ahLst/>
            <a:cxnLst>
              <a:cxn ang="0">
                <a:pos x="0" y="32"/>
              </a:cxn>
              <a:cxn ang="0">
                <a:pos x="26" y="158"/>
              </a:cxn>
              <a:cxn ang="0">
                <a:pos x="111" y="110"/>
              </a:cxn>
              <a:cxn ang="0">
                <a:pos x="96" y="87"/>
              </a:cxn>
              <a:cxn ang="0">
                <a:pos x="121" y="59"/>
              </a:cxn>
              <a:cxn ang="0">
                <a:pos x="121" y="24"/>
              </a:cxn>
              <a:cxn ang="0">
                <a:pos x="60" y="0"/>
              </a:cxn>
              <a:cxn ang="0">
                <a:pos x="0" y="32"/>
              </a:cxn>
            </a:cxnLst>
            <a:rect l="0" t="0" r="r" b="b"/>
            <a:pathLst>
              <a:path w="121" h="158">
                <a:moveTo>
                  <a:pt x="0" y="32"/>
                </a:moveTo>
                <a:lnTo>
                  <a:pt x="26" y="158"/>
                </a:lnTo>
                <a:lnTo>
                  <a:pt x="111" y="110"/>
                </a:lnTo>
                <a:lnTo>
                  <a:pt x="96" y="87"/>
                </a:lnTo>
                <a:lnTo>
                  <a:pt x="121" y="59"/>
                </a:lnTo>
                <a:lnTo>
                  <a:pt x="121" y="24"/>
                </a:lnTo>
                <a:lnTo>
                  <a:pt x="60" y="0"/>
                </a:lnTo>
                <a:lnTo>
                  <a:pt x="0" y="32"/>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6" name="30585435.5405.37524.7530.755">
            <a:extLst>
              <a:ext uri="{FF2B5EF4-FFF2-40B4-BE49-F238E27FC236}">
                <a16:creationId xmlns:a16="http://schemas.microsoft.com/office/drawing/2014/main" id="{D783991A-71BE-124E-BA92-25F805ACDEA6}"/>
              </a:ext>
            </a:extLst>
          </p:cNvPr>
          <p:cNvSpPr>
            <a:spLocks noChangeAspect="1"/>
          </p:cNvSpPr>
          <p:nvPr/>
        </p:nvSpPr>
        <p:spPr bwMode="gray">
          <a:xfrm>
            <a:off x="6171928" y="5351972"/>
            <a:ext cx="492621" cy="400314"/>
          </a:xfrm>
          <a:custGeom>
            <a:avLst/>
            <a:gdLst/>
            <a:ahLst/>
            <a:cxnLst>
              <a:cxn ang="0">
                <a:pos x="0" y="231"/>
              </a:cxn>
              <a:cxn ang="0">
                <a:pos x="19" y="216"/>
              </a:cxn>
              <a:cxn ang="0">
                <a:pos x="43" y="245"/>
              </a:cxn>
              <a:cxn ang="0">
                <a:pos x="85" y="245"/>
              </a:cxn>
              <a:cxn ang="0">
                <a:pos x="114" y="224"/>
              </a:cxn>
              <a:cxn ang="0">
                <a:pos x="114" y="88"/>
              </a:cxn>
              <a:cxn ang="0">
                <a:pos x="143" y="123"/>
              </a:cxn>
              <a:cxn ang="0">
                <a:pos x="142" y="160"/>
              </a:cxn>
              <a:cxn ang="0">
                <a:pos x="188" y="158"/>
              </a:cxn>
              <a:cxn ang="0">
                <a:pos x="228" y="117"/>
              </a:cxn>
              <a:cxn ang="0">
                <a:pos x="301" y="117"/>
              </a:cxn>
              <a:cxn ang="0">
                <a:pos x="427" y="0"/>
              </a:cxn>
              <a:cxn ang="0">
                <a:pos x="503" y="17"/>
              </a:cxn>
              <a:cxn ang="0">
                <a:pos x="515" y="125"/>
              </a:cxn>
              <a:cxn ang="0">
                <a:pos x="480" y="156"/>
              </a:cxn>
              <a:cxn ang="0">
                <a:pos x="502" y="179"/>
              </a:cxn>
              <a:cxn ang="0">
                <a:pos x="519" y="160"/>
              </a:cxn>
              <a:cxn ang="0">
                <a:pos x="546" y="160"/>
              </a:cxn>
              <a:cxn ang="0">
                <a:pos x="532" y="224"/>
              </a:cxn>
              <a:cxn ang="0">
                <a:pos x="452" y="323"/>
              </a:cxn>
              <a:cxn ang="0">
                <a:pos x="353" y="409"/>
              </a:cxn>
              <a:cxn ang="0">
                <a:pos x="279" y="438"/>
              </a:cxn>
              <a:cxn ang="0">
                <a:pos x="65" y="439"/>
              </a:cxn>
              <a:cxn ang="0">
                <a:pos x="47" y="390"/>
              </a:cxn>
              <a:cxn ang="0">
                <a:pos x="55" y="351"/>
              </a:cxn>
              <a:cxn ang="0">
                <a:pos x="0" y="231"/>
              </a:cxn>
            </a:cxnLst>
            <a:rect l="0" t="0" r="r" b="b"/>
            <a:pathLst>
              <a:path w="546" h="439">
                <a:moveTo>
                  <a:pt x="0" y="231"/>
                </a:moveTo>
                <a:lnTo>
                  <a:pt x="19" y="216"/>
                </a:lnTo>
                <a:lnTo>
                  <a:pt x="43" y="245"/>
                </a:lnTo>
                <a:lnTo>
                  <a:pt x="85" y="245"/>
                </a:lnTo>
                <a:lnTo>
                  <a:pt x="114" y="224"/>
                </a:lnTo>
                <a:lnTo>
                  <a:pt x="114" y="88"/>
                </a:lnTo>
                <a:lnTo>
                  <a:pt x="143" y="123"/>
                </a:lnTo>
                <a:lnTo>
                  <a:pt x="142" y="160"/>
                </a:lnTo>
                <a:lnTo>
                  <a:pt x="188" y="158"/>
                </a:lnTo>
                <a:lnTo>
                  <a:pt x="228" y="117"/>
                </a:lnTo>
                <a:lnTo>
                  <a:pt x="301" y="117"/>
                </a:lnTo>
                <a:lnTo>
                  <a:pt x="427" y="0"/>
                </a:lnTo>
                <a:lnTo>
                  <a:pt x="503" y="17"/>
                </a:lnTo>
                <a:lnTo>
                  <a:pt x="515" y="125"/>
                </a:lnTo>
                <a:lnTo>
                  <a:pt x="480" y="156"/>
                </a:lnTo>
                <a:lnTo>
                  <a:pt x="502" y="179"/>
                </a:lnTo>
                <a:lnTo>
                  <a:pt x="519" y="160"/>
                </a:lnTo>
                <a:lnTo>
                  <a:pt x="546" y="160"/>
                </a:lnTo>
                <a:lnTo>
                  <a:pt x="532" y="224"/>
                </a:lnTo>
                <a:lnTo>
                  <a:pt x="452" y="323"/>
                </a:lnTo>
                <a:lnTo>
                  <a:pt x="353" y="409"/>
                </a:lnTo>
                <a:lnTo>
                  <a:pt x="279" y="438"/>
                </a:lnTo>
                <a:lnTo>
                  <a:pt x="65" y="439"/>
                </a:lnTo>
                <a:lnTo>
                  <a:pt x="47" y="390"/>
                </a:lnTo>
                <a:lnTo>
                  <a:pt x="55" y="351"/>
                </a:lnTo>
                <a:lnTo>
                  <a:pt x="0" y="23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7" name="30586404.125396.12523.37523.8755">
            <a:extLst>
              <a:ext uri="{FF2B5EF4-FFF2-40B4-BE49-F238E27FC236}">
                <a16:creationId xmlns:a16="http://schemas.microsoft.com/office/drawing/2014/main" id="{2892BD17-F84A-D445-90DA-AD3BA9E9FD96}"/>
              </a:ext>
            </a:extLst>
          </p:cNvPr>
          <p:cNvSpPr>
            <a:spLocks noChangeAspect="1"/>
          </p:cNvSpPr>
          <p:nvPr/>
        </p:nvSpPr>
        <p:spPr bwMode="gray">
          <a:xfrm>
            <a:off x="6021669" y="4842328"/>
            <a:ext cx="384206" cy="381812"/>
          </a:xfrm>
          <a:custGeom>
            <a:avLst/>
            <a:gdLst/>
            <a:ahLst/>
            <a:cxnLst>
              <a:cxn ang="0">
                <a:pos x="0" y="388"/>
              </a:cxn>
              <a:cxn ang="0">
                <a:pos x="55" y="374"/>
              </a:cxn>
              <a:cxn ang="0">
                <a:pos x="328" y="414"/>
              </a:cxn>
              <a:cxn ang="0">
                <a:pos x="389" y="396"/>
              </a:cxn>
              <a:cxn ang="0">
                <a:pos x="348" y="364"/>
              </a:cxn>
              <a:cxn ang="0">
                <a:pos x="348" y="239"/>
              </a:cxn>
              <a:cxn ang="0">
                <a:pos x="422" y="239"/>
              </a:cxn>
              <a:cxn ang="0">
                <a:pos x="417" y="170"/>
              </a:cxn>
              <a:cxn ang="0">
                <a:pos x="348" y="177"/>
              </a:cxn>
              <a:cxn ang="0">
                <a:pos x="341" y="58"/>
              </a:cxn>
              <a:cxn ang="0">
                <a:pos x="310" y="36"/>
              </a:cxn>
              <a:cxn ang="0">
                <a:pos x="267" y="38"/>
              </a:cxn>
              <a:cxn ang="0">
                <a:pos x="256" y="73"/>
              </a:cxn>
              <a:cxn ang="0">
                <a:pos x="209" y="77"/>
              </a:cxn>
              <a:cxn ang="0">
                <a:pos x="154" y="0"/>
              </a:cxn>
              <a:cxn ang="0">
                <a:pos x="27" y="16"/>
              </a:cxn>
              <a:cxn ang="0">
                <a:pos x="73" y="173"/>
              </a:cxn>
              <a:cxn ang="0">
                <a:pos x="0" y="388"/>
              </a:cxn>
            </a:cxnLst>
            <a:rect l="0" t="0" r="r" b="b"/>
            <a:pathLst>
              <a:path w="422" h="414">
                <a:moveTo>
                  <a:pt x="0" y="388"/>
                </a:moveTo>
                <a:lnTo>
                  <a:pt x="55" y="374"/>
                </a:lnTo>
                <a:lnTo>
                  <a:pt x="328" y="414"/>
                </a:lnTo>
                <a:lnTo>
                  <a:pt x="389" y="396"/>
                </a:lnTo>
                <a:lnTo>
                  <a:pt x="348" y="364"/>
                </a:lnTo>
                <a:lnTo>
                  <a:pt x="348" y="239"/>
                </a:lnTo>
                <a:lnTo>
                  <a:pt x="422" y="239"/>
                </a:lnTo>
                <a:lnTo>
                  <a:pt x="417" y="170"/>
                </a:lnTo>
                <a:lnTo>
                  <a:pt x="348" y="177"/>
                </a:lnTo>
                <a:lnTo>
                  <a:pt x="341" y="58"/>
                </a:lnTo>
                <a:lnTo>
                  <a:pt x="310" y="36"/>
                </a:lnTo>
                <a:lnTo>
                  <a:pt x="267" y="38"/>
                </a:lnTo>
                <a:lnTo>
                  <a:pt x="256" y="73"/>
                </a:lnTo>
                <a:lnTo>
                  <a:pt x="209" y="77"/>
                </a:lnTo>
                <a:lnTo>
                  <a:pt x="154" y="0"/>
                </a:lnTo>
                <a:lnTo>
                  <a:pt x="27" y="16"/>
                </a:lnTo>
                <a:lnTo>
                  <a:pt x="73" y="173"/>
                </a:lnTo>
                <a:lnTo>
                  <a:pt x="0" y="388"/>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8" name="30587402.25396.8751.8751.8755">
            <a:extLst>
              <a:ext uri="{FF2B5EF4-FFF2-40B4-BE49-F238E27FC236}">
                <a16:creationId xmlns:a16="http://schemas.microsoft.com/office/drawing/2014/main" id="{E11DB358-15AC-F143-9EE3-44C78EC49358}"/>
              </a:ext>
            </a:extLst>
          </p:cNvPr>
          <p:cNvSpPr>
            <a:spLocks noChangeAspect="1"/>
          </p:cNvSpPr>
          <p:nvPr/>
        </p:nvSpPr>
        <p:spPr bwMode="gray">
          <a:xfrm>
            <a:off x="6034981" y="4813735"/>
            <a:ext cx="32333" cy="28593"/>
          </a:xfrm>
          <a:custGeom>
            <a:avLst/>
            <a:gdLst/>
            <a:ahLst/>
            <a:cxnLst>
              <a:cxn ang="0">
                <a:pos x="0" y="11"/>
              </a:cxn>
              <a:cxn ang="0">
                <a:pos x="12" y="36"/>
              </a:cxn>
              <a:cxn ang="0">
                <a:pos x="34" y="0"/>
              </a:cxn>
              <a:cxn ang="0">
                <a:pos x="0" y="11"/>
              </a:cxn>
            </a:cxnLst>
            <a:rect l="0" t="0" r="r" b="b"/>
            <a:pathLst>
              <a:path w="34" h="36">
                <a:moveTo>
                  <a:pt x="0" y="11"/>
                </a:moveTo>
                <a:lnTo>
                  <a:pt x="12" y="36"/>
                </a:lnTo>
                <a:lnTo>
                  <a:pt x="34" y="0"/>
                </a:lnTo>
                <a:lnTo>
                  <a:pt x="0" y="1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29" name="30588427411.87517.37517.6255">
            <a:extLst>
              <a:ext uri="{FF2B5EF4-FFF2-40B4-BE49-F238E27FC236}">
                <a16:creationId xmlns:a16="http://schemas.microsoft.com/office/drawing/2014/main" id="{A905DB57-DA28-C64D-B58D-F325E975792B}"/>
              </a:ext>
            </a:extLst>
          </p:cNvPr>
          <p:cNvSpPr>
            <a:spLocks noChangeAspect="1"/>
          </p:cNvSpPr>
          <p:nvPr/>
        </p:nvSpPr>
        <p:spPr bwMode="gray">
          <a:xfrm>
            <a:off x="6276538" y="5214049"/>
            <a:ext cx="281497" cy="279212"/>
          </a:xfrm>
          <a:custGeom>
            <a:avLst/>
            <a:gdLst/>
            <a:ahLst/>
            <a:cxnLst>
              <a:cxn ang="0">
                <a:pos x="0" y="238"/>
              </a:cxn>
              <a:cxn ang="0">
                <a:pos x="0" y="145"/>
              </a:cxn>
              <a:cxn ang="0">
                <a:pos x="34" y="143"/>
              </a:cxn>
              <a:cxn ang="0">
                <a:pos x="34" y="24"/>
              </a:cxn>
              <a:cxn ang="0">
                <a:pos x="99" y="10"/>
              </a:cxn>
              <a:cxn ang="0">
                <a:pos x="120" y="31"/>
              </a:cxn>
              <a:cxn ang="0">
                <a:pos x="175" y="0"/>
              </a:cxn>
              <a:cxn ang="0">
                <a:pos x="268" y="128"/>
              </a:cxn>
              <a:cxn ang="0">
                <a:pos x="313" y="150"/>
              </a:cxn>
              <a:cxn ang="0">
                <a:pos x="187" y="267"/>
              </a:cxn>
              <a:cxn ang="0">
                <a:pos x="114" y="267"/>
              </a:cxn>
              <a:cxn ang="0">
                <a:pos x="74" y="308"/>
              </a:cxn>
              <a:cxn ang="0">
                <a:pos x="28" y="310"/>
              </a:cxn>
              <a:cxn ang="0">
                <a:pos x="29" y="273"/>
              </a:cxn>
              <a:cxn ang="0">
                <a:pos x="0" y="238"/>
              </a:cxn>
            </a:cxnLst>
            <a:rect l="0" t="0" r="r" b="b"/>
            <a:pathLst>
              <a:path w="313" h="310">
                <a:moveTo>
                  <a:pt x="0" y="238"/>
                </a:moveTo>
                <a:lnTo>
                  <a:pt x="0" y="145"/>
                </a:lnTo>
                <a:lnTo>
                  <a:pt x="34" y="143"/>
                </a:lnTo>
                <a:lnTo>
                  <a:pt x="34" y="24"/>
                </a:lnTo>
                <a:lnTo>
                  <a:pt x="99" y="10"/>
                </a:lnTo>
                <a:lnTo>
                  <a:pt x="120" y="31"/>
                </a:lnTo>
                <a:lnTo>
                  <a:pt x="175" y="0"/>
                </a:lnTo>
                <a:lnTo>
                  <a:pt x="268" y="128"/>
                </a:lnTo>
                <a:lnTo>
                  <a:pt x="313" y="150"/>
                </a:lnTo>
                <a:lnTo>
                  <a:pt x="187" y="267"/>
                </a:lnTo>
                <a:lnTo>
                  <a:pt x="114" y="267"/>
                </a:lnTo>
                <a:lnTo>
                  <a:pt x="74" y="308"/>
                </a:lnTo>
                <a:lnTo>
                  <a:pt x="28" y="310"/>
                </a:lnTo>
                <a:lnTo>
                  <a:pt x="29" y="273"/>
                </a:lnTo>
                <a:lnTo>
                  <a:pt x="0" y="238"/>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0" name="30589397.75429.1253.6253.255">
            <a:extLst>
              <a:ext uri="{FF2B5EF4-FFF2-40B4-BE49-F238E27FC236}">
                <a16:creationId xmlns:a16="http://schemas.microsoft.com/office/drawing/2014/main" id="{DF101B1B-A32B-E444-BCB0-D9A7BC672DE0}"/>
              </a:ext>
            </a:extLst>
          </p:cNvPr>
          <p:cNvSpPr>
            <a:spLocks noChangeAspect="1"/>
          </p:cNvSpPr>
          <p:nvPr/>
        </p:nvSpPr>
        <p:spPr bwMode="gray">
          <a:xfrm>
            <a:off x="6550428" y="4739727"/>
            <a:ext cx="55156" cy="58870"/>
          </a:xfrm>
          <a:custGeom>
            <a:avLst/>
            <a:gdLst/>
            <a:ahLst/>
            <a:cxnLst>
              <a:cxn ang="0">
                <a:pos x="0" y="9"/>
              </a:cxn>
              <a:cxn ang="0">
                <a:pos x="7" y="34"/>
              </a:cxn>
              <a:cxn ang="0">
                <a:pos x="20" y="66"/>
              </a:cxn>
              <a:cxn ang="0">
                <a:pos x="58" y="27"/>
              </a:cxn>
              <a:cxn ang="0">
                <a:pos x="55" y="0"/>
              </a:cxn>
              <a:cxn ang="0">
                <a:pos x="0" y="9"/>
              </a:cxn>
            </a:cxnLst>
            <a:rect l="0" t="0" r="r" b="b"/>
            <a:pathLst>
              <a:path w="58" h="66">
                <a:moveTo>
                  <a:pt x="0" y="9"/>
                </a:moveTo>
                <a:lnTo>
                  <a:pt x="7" y="34"/>
                </a:lnTo>
                <a:lnTo>
                  <a:pt x="20" y="66"/>
                </a:lnTo>
                <a:lnTo>
                  <a:pt x="58" y="27"/>
                </a:lnTo>
                <a:lnTo>
                  <a:pt x="55" y="0"/>
                </a:lnTo>
                <a:lnTo>
                  <a:pt x="0" y="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1" name="30590369.375390.2521.12514.3755">
            <a:extLst>
              <a:ext uri="{FF2B5EF4-FFF2-40B4-BE49-F238E27FC236}">
                <a16:creationId xmlns:a16="http://schemas.microsoft.com/office/drawing/2014/main" id="{01D9F28D-FAAD-C943-8D04-CA406A5FD8A3}"/>
              </a:ext>
            </a:extLst>
          </p:cNvPr>
          <p:cNvSpPr>
            <a:spLocks noChangeAspect="1"/>
          </p:cNvSpPr>
          <p:nvPr/>
        </p:nvSpPr>
        <p:spPr bwMode="gray">
          <a:xfrm>
            <a:off x="5930371" y="4280543"/>
            <a:ext cx="228241" cy="343128"/>
          </a:xfrm>
          <a:custGeom>
            <a:avLst/>
            <a:gdLst/>
            <a:ahLst/>
            <a:cxnLst>
              <a:cxn ang="0">
                <a:pos x="0" y="267"/>
              </a:cxn>
              <a:cxn ang="0">
                <a:pos x="35" y="196"/>
              </a:cxn>
              <a:cxn ang="0">
                <a:pos x="99" y="206"/>
              </a:cxn>
              <a:cxn ang="0">
                <a:pos x="167" y="60"/>
              </a:cxn>
              <a:cxn ang="0">
                <a:pos x="202" y="34"/>
              </a:cxn>
              <a:cxn ang="0">
                <a:pos x="188" y="5"/>
              </a:cxn>
              <a:cxn ang="0">
                <a:pos x="204" y="0"/>
              </a:cxn>
              <a:cxn ang="0">
                <a:pos x="229" y="90"/>
              </a:cxn>
              <a:cxn ang="0">
                <a:pos x="188" y="107"/>
              </a:cxn>
              <a:cxn ang="0">
                <a:pos x="235" y="179"/>
              </a:cxn>
              <a:cxn ang="0">
                <a:pos x="204" y="264"/>
              </a:cxn>
              <a:cxn ang="0">
                <a:pos x="257" y="328"/>
              </a:cxn>
              <a:cxn ang="0">
                <a:pos x="251" y="374"/>
              </a:cxn>
              <a:cxn ang="0">
                <a:pos x="163" y="353"/>
              </a:cxn>
              <a:cxn ang="0">
                <a:pos x="96" y="352"/>
              </a:cxn>
              <a:cxn ang="0">
                <a:pos x="41" y="353"/>
              </a:cxn>
              <a:cxn ang="0">
                <a:pos x="39" y="291"/>
              </a:cxn>
              <a:cxn ang="0">
                <a:pos x="0" y="267"/>
              </a:cxn>
            </a:cxnLst>
            <a:rect l="0" t="0" r="r" b="b"/>
            <a:pathLst>
              <a:path w="257" h="374">
                <a:moveTo>
                  <a:pt x="0" y="267"/>
                </a:moveTo>
                <a:lnTo>
                  <a:pt x="35" y="196"/>
                </a:lnTo>
                <a:lnTo>
                  <a:pt x="99" y="206"/>
                </a:lnTo>
                <a:lnTo>
                  <a:pt x="167" y="60"/>
                </a:lnTo>
                <a:lnTo>
                  <a:pt x="202" y="34"/>
                </a:lnTo>
                <a:lnTo>
                  <a:pt x="188" y="5"/>
                </a:lnTo>
                <a:lnTo>
                  <a:pt x="204" y="0"/>
                </a:lnTo>
                <a:lnTo>
                  <a:pt x="229" y="90"/>
                </a:lnTo>
                <a:lnTo>
                  <a:pt x="188" y="107"/>
                </a:lnTo>
                <a:lnTo>
                  <a:pt x="235" y="179"/>
                </a:lnTo>
                <a:lnTo>
                  <a:pt x="204" y="264"/>
                </a:lnTo>
                <a:lnTo>
                  <a:pt x="257" y="328"/>
                </a:lnTo>
                <a:lnTo>
                  <a:pt x="251" y="374"/>
                </a:lnTo>
                <a:lnTo>
                  <a:pt x="163" y="353"/>
                </a:lnTo>
                <a:lnTo>
                  <a:pt x="96" y="352"/>
                </a:lnTo>
                <a:lnTo>
                  <a:pt x="41" y="353"/>
                </a:lnTo>
                <a:lnTo>
                  <a:pt x="39" y="291"/>
                </a:lnTo>
                <a:lnTo>
                  <a:pt x="0" y="26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2" name="30591372.75401.7515.2524.55">
            <a:extLst>
              <a:ext uri="{FF2B5EF4-FFF2-40B4-BE49-F238E27FC236}">
                <a16:creationId xmlns:a16="http://schemas.microsoft.com/office/drawing/2014/main" id="{99AFF5AD-A4C7-8342-A598-18FB62727C2A}"/>
              </a:ext>
            </a:extLst>
          </p:cNvPr>
          <p:cNvSpPr>
            <a:spLocks noChangeAspect="1"/>
          </p:cNvSpPr>
          <p:nvPr/>
        </p:nvSpPr>
        <p:spPr bwMode="gray">
          <a:xfrm>
            <a:off x="6114867" y="4334367"/>
            <a:ext cx="391812" cy="247254"/>
          </a:xfrm>
          <a:custGeom>
            <a:avLst/>
            <a:gdLst/>
            <a:ahLst/>
            <a:cxnLst>
              <a:cxn ang="0">
                <a:pos x="0" y="205"/>
              </a:cxn>
              <a:cxn ang="0">
                <a:pos x="31" y="120"/>
              </a:cxn>
              <a:cxn ang="0">
                <a:pos x="139" y="98"/>
              </a:cxn>
              <a:cxn ang="0">
                <a:pos x="150" y="70"/>
              </a:cxn>
              <a:cxn ang="0">
                <a:pos x="200" y="60"/>
              </a:cxn>
              <a:cxn ang="0">
                <a:pos x="274" y="0"/>
              </a:cxn>
              <a:cxn ang="0">
                <a:pos x="299" y="71"/>
              </a:cxn>
              <a:cxn ang="0">
                <a:pos x="355" y="98"/>
              </a:cxn>
              <a:cxn ang="0">
                <a:pos x="436" y="195"/>
              </a:cxn>
              <a:cxn ang="0">
                <a:pos x="234" y="223"/>
              </a:cxn>
              <a:cxn ang="0">
                <a:pos x="168" y="195"/>
              </a:cxn>
              <a:cxn ang="0">
                <a:pos x="139" y="243"/>
              </a:cxn>
              <a:cxn ang="0">
                <a:pos x="81" y="243"/>
              </a:cxn>
              <a:cxn ang="0">
                <a:pos x="53" y="269"/>
              </a:cxn>
              <a:cxn ang="0">
                <a:pos x="0" y="205"/>
              </a:cxn>
            </a:cxnLst>
            <a:rect l="0" t="0" r="r" b="b"/>
            <a:pathLst>
              <a:path w="436" h="269">
                <a:moveTo>
                  <a:pt x="0" y="205"/>
                </a:moveTo>
                <a:lnTo>
                  <a:pt x="31" y="120"/>
                </a:lnTo>
                <a:lnTo>
                  <a:pt x="139" y="98"/>
                </a:lnTo>
                <a:lnTo>
                  <a:pt x="150" y="70"/>
                </a:lnTo>
                <a:lnTo>
                  <a:pt x="200" y="60"/>
                </a:lnTo>
                <a:lnTo>
                  <a:pt x="274" y="0"/>
                </a:lnTo>
                <a:lnTo>
                  <a:pt x="299" y="71"/>
                </a:lnTo>
                <a:lnTo>
                  <a:pt x="355" y="98"/>
                </a:lnTo>
                <a:lnTo>
                  <a:pt x="436" y="195"/>
                </a:lnTo>
                <a:lnTo>
                  <a:pt x="234" y="223"/>
                </a:lnTo>
                <a:lnTo>
                  <a:pt x="168" y="195"/>
                </a:lnTo>
                <a:lnTo>
                  <a:pt x="139" y="243"/>
                </a:lnTo>
                <a:lnTo>
                  <a:pt x="81" y="243"/>
                </a:lnTo>
                <a:lnTo>
                  <a:pt x="53" y="269"/>
                </a:lnTo>
                <a:lnTo>
                  <a:pt x="0" y="20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3" name="30592348.75399.530.7520.255">
            <a:extLst>
              <a:ext uri="{FF2B5EF4-FFF2-40B4-BE49-F238E27FC236}">
                <a16:creationId xmlns:a16="http://schemas.microsoft.com/office/drawing/2014/main" id="{389EC571-C1CD-7249-82B6-153BCA7028D5}"/>
              </a:ext>
            </a:extLst>
          </p:cNvPr>
          <p:cNvSpPr>
            <a:spLocks noChangeAspect="1"/>
          </p:cNvSpPr>
          <p:nvPr/>
        </p:nvSpPr>
        <p:spPr bwMode="gray">
          <a:xfrm>
            <a:off x="6076825" y="3947509"/>
            <a:ext cx="325245" cy="497869"/>
          </a:xfrm>
          <a:custGeom>
            <a:avLst/>
            <a:gdLst/>
            <a:ahLst/>
            <a:cxnLst>
              <a:cxn ang="0">
                <a:pos x="0" y="313"/>
              </a:cxn>
              <a:cxn ang="0">
                <a:pos x="52" y="340"/>
              </a:cxn>
              <a:cxn ang="0">
                <a:pos x="38" y="368"/>
              </a:cxn>
              <a:cxn ang="0">
                <a:pos x="63" y="458"/>
              </a:cxn>
              <a:cxn ang="0">
                <a:pos x="22" y="475"/>
              </a:cxn>
              <a:cxn ang="0">
                <a:pos x="69" y="547"/>
              </a:cxn>
              <a:cxn ang="0">
                <a:pos x="177" y="525"/>
              </a:cxn>
              <a:cxn ang="0">
                <a:pos x="188" y="497"/>
              </a:cxn>
              <a:cxn ang="0">
                <a:pos x="238" y="487"/>
              </a:cxn>
              <a:cxn ang="0">
                <a:pos x="312" y="427"/>
              </a:cxn>
              <a:cxn ang="0">
                <a:pos x="286" y="361"/>
              </a:cxn>
              <a:cxn ang="0">
                <a:pos x="321" y="271"/>
              </a:cxn>
              <a:cxn ang="0">
                <a:pos x="356" y="265"/>
              </a:cxn>
              <a:cxn ang="0">
                <a:pos x="357" y="138"/>
              </a:cxn>
              <a:cxn ang="0">
                <a:pos x="89" y="0"/>
              </a:cxn>
              <a:cxn ang="0">
                <a:pos x="55" y="14"/>
              </a:cxn>
              <a:cxn ang="0">
                <a:pos x="55" y="68"/>
              </a:cxn>
              <a:cxn ang="0">
                <a:pos x="89" y="105"/>
              </a:cxn>
              <a:cxn ang="0">
                <a:pos x="69" y="225"/>
              </a:cxn>
              <a:cxn ang="0">
                <a:pos x="0" y="313"/>
              </a:cxn>
            </a:cxnLst>
            <a:rect l="0" t="0" r="r" b="b"/>
            <a:pathLst>
              <a:path w="357" h="547">
                <a:moveTo>
                  <a:pt x="0" y="313"/>
                </a:moveTo>
                <a:lnTo>
                  <a:pt x="52" y="340"/>
                </a:lnTo>
                <a:lnTo>
                  <a:pt x="38" y="368"/>
                </a:lnTo>
                <a:lnTo>
                  <a:pt x="63" y="458"/>
                </a:lnTo>
                <a:lnTo>
                  <a:pt x="22" y="475"/>
                </a:lnTo>
                <a:lnTo>
                  <a:pt x="69" y="547"/>
                </a:lnTo>
                <a:lnTo>
                  <a:pt x="177" y="525"/>
                </a:lnTo>
                <a:lnTo>
                  <a:pt x="188" y="497"/>
                </a:lnTo>
                <a:lnTo>
                  <a:pt x="238" y="487"/>
                </a:lnTo>
                <a:lnTo>
                  <a:pt x="312" y="427"/>
                </a:lnTo>
                <a:lnTo>
                  <a:pt x="286" y="361"/>
                </a:lnTo>
                <a:lnTo>
                  <a:pt x="321" y="271"/>
                </a:lnTo>
                <a:lnTo>
                  <a:pt x="356" y="265"/>
                </a:lnTo>
                <a:lnTo>
                  <a:pt x="357" y="138"/>
                </a:lnTo>
                <a:lnTo>
                  <a:pt x="89" y="0"/>
                </a:lnTo>
                <a:lnTo>
                  <a:pt x="55" y="14"/>
                </a:lnTo>
                <a:lnTo>
                  <a:pt x="55" y="68"/>
                </a:lnTo>
                <a:lnTo>
                  <a:pt x="89" y="105"/>
                </a:lnTo>
                <a:lnTo>
                  <a:pt x="69" y="225"/>
                </a:lnTo>
                <a:lnTo>
                  <a:pt x="0" y="31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4" name="30593386.5395.37516.2514.255">
            <a:extLst>
              <a:ext uri="{FF2B5EF4-FFF2-40B4-BE49-F238E27FC236}">
                <a16:creationId xmlns:a16="http://schemas.microsoft.com/office/drawing/2014/main" id="{1B833BEB-F53E-1844-B682-65D8D5372F43}"/>
              </a:ext>
            </a:extLst>
          </p:cNvPr>
          <p:cNvSpPr>
            <a:spLocks noChangeAspect="1"/>
          </p:cNvSpPr>
          <p:nvPr/>
        </p:nvSpPr>
        <p:spPr bwMode="gray">
          <a:xfrm>
            <a:off x="6012158" y="4558070"/>
            <a:ext cx="228241" cy="264071"/>
          </a:xfrm>
          <a:custGeom>
            <a:avLst/>
            <a:gdLst/>
            <a:ahLst/>
            <a:cxnLst>
              <a:cxn ang="0">
                <a:pos x="0" y="253"/>
              </a:cxn>
              <a:cxn ang="0">
                <a:pos x="26" y="289"/>
              </a:cxn>
              <a:cxn ang="0">
                <a:pos x="60" y="278"/>
              </a:cxn>
              <a:cxn ang="0">
                <a:pos x="111" y="281"/>
              </a:cxn>
              <a:cxn ang="0">
                <a:pos x="158" y="251"/>
              </a:cxn>
              <a:cxn ang="0">
                <a:pos x="170" y="193"/>
              </a:cxn>
              <a:cxn ang="0">
                <a:pos x="220" y="145"/>
              </a:cxn>
              <a:cxn ang="0">
                <a:pos x="251" y="0"/>
              </a:cxn>
              <a:cxn ang="0">
                <a:pos x="193" y="0"/>
              </a:cxn>
              <a:cxn ang="0">
                <a:pos x="165" y="26"/>
              </a:cxn>
              <a:cxn ang="0">
                <a:pos x="159" y="72"/>
              </a:cxn>
              <a:cxn ang="0">
                <a:pos x="71" y="51"/>
              </a:cxn>
              <a:cxn ang="0">
                <a:pos x="68" y="81"/>
              </a:cxn>
              <a:cxn ang="0">
                <a:pos x="104" y="84"/>
              </a:cxn>
              <a:cxn ang="0">
                <a:pos x="93" y="198"/>
              </a:cxn>
              <a:cxn ang="0">
                <a:pos x="49" y="185"/>
              </a:cxn>
              <a:cxn ang="0">
                <a:pos x="0" y="253"/>
              </a:cxn>
            </a:cxnLst>
            <a:rect l="0" t="0" r="r" b="b"/>
            <a:pathLst>
              <a:path w="251" h="289">
                <a:moveTo>
                  <a:pt x="0" y="253"/>
                </a:moveTo>
                <a:lnTo>
                  <a:pt x="26" y="289"/>
                </a:lnTo>
                <a:lnTo>
                  <a:pt x="60" y="278"/>
                </a:lnTo>
                <a:lnTo>
                  <a:pt x="111" y="281"/>
                </a:lnTo>
                <a:lnTo>
                  <a:pt x="158" y="251"/>
                </a:lnTo>
                <a:lnTo>
                  <a:pt x="170" y="193"/>
                </a:lnTo>
                <a:lnTo>
                  <a:pt x="220" y="145"/>
                </a:lnTo>
                <a:lnTo>
                  <a:pt x="251" y="0"/>
                </a:lnTo>
                <a:lnTo>
                  <a:pt x="193" y="0"/>
                </a:lnTo>
                <a:lnTo>
                  <a:pt x="165" y="26"/>
                </a:lnTo>
                <a:lnTo>
                  <a:pt x="159" y="72"/>
                </a:lnTo>
                <a:lnTo>
                  <a:pt x="71" y="51"/>
                </a:lnTo>
                <a:lnTo>
                  <a:pt x="68" y="81"/>
                </a:lnTo>
                <a:lnTo>
                  <a:pt x="104" y="84"/>
                </a:lnTo>
                <a:lnTo>
                  <a:pt x="93" y="198"/>
                </a:lnTo>
                <a:lnTo>
                  <a:pt x="49" y="185"/>
                </a:lnTo>
                <a:lnTo>
                  <a:pt x="0" y="25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5" name="30594383.875397.534.37535.755">
            <a:extLst>
              <a:ext uri="{FF2B5EF4-FFF2-40B4-BE49-F238E27FC236}">
                <a16:creationId xmlns:a16="http://schemas.microsoft.com/office/drawing/2014/main" id="{AB2C287E-A5C1-BC40-AB8E-D7829A84C4DE}"/>
              </a:ext>
            </a:extLst>
          </p:cNvPr>
          <p:cNvSpPr>
            <a:spLocks noChangeAspect="1"/>
          </p:cNvSpPr>
          <p:nvPr/>
        </p:nvSpPr>
        <p:spPr bwMode="gray">
          <a:xfrm>
            <a:off x="6044491" y="4516021"/>
            <a:ext cx="572504" cy="555059"/>
          </a:xfrm>
          <a:custGeom>
            <a:avLst/>
            <a:gdLst/>
            <a:ahLst/>
            <a:cxnLst>
              <a:cxn ang="0">
                <a:pos x="0" y="362"/>
              </a:cxn>
              <a:cxn ang="0">
                <a:pos x="2" y="378"/>
              </a:cxn>
              <a:cxn ang="0">
                <a:pos x="129" y="362"/>
              </a:cxn>
              <a:cxn ang="0">
                <a:pos x="184" y="439"/>
              </a:cxn>
              <a:cxn ang="0">
                <a:pos x="231" y="435"/>
              </a:cxn>
              <a:cxn ang="0">
                <a:pos x="242" y="400"/>
              </a:cxn>
              <a:cxn ang="0">
                <a:pos x="285" y="398"/>
              </a:cxn>
              <a:cxn ang="0">
                <a:pos x="316" y="420"/>
              </a:cxn>
              <a:cxn ang="0">
                <a:pos x="323" y="539"/>
              </a:cxn>
              <a:cxn ang="0">
                <a:pos x="392" y="532"/>
              </a:cxn>
              <a:cxn ang="0">
                <a:pos x="583" y="611"/>
              </a:cxn>
              <a:cxn ang="0">
                <a:pos x="581" y="575"/>
              </a:cxn>
              <a:cxn ang="0">
                <a:pos x="544" y="559"/>
              </a:cxn>
              <a:cxn ang="0">
                <a:pos x="551" y="472"/>
              </a:cxn>
              <a:cxn ang="0">
                <a:pos x="612" y="442"/>
              </a:cxn>
              <a:cxn ang="0">
                <a:pos x="573" y="383"/>
              </a:cxn>
              <a:cxn ang="0">
                <a:pos x="568" y="282"/>
              </a:cxn>
              <a:cxn ang="0">
                <a:pos x="561" y="257"/>
              </a:cxn>
              <a:cxn ang="0">
                <a:pos x="583" y="213"/>
              </a:cxn>
              <a:cxn ang="0">
                <a:pos x="612" y="129"/>
              </a:cxn>
              <a:cxn ang="0">
                <a:pos x="634" y="98"/>
              </a:cxn>
              <a:cxn ang="0">
                <a:pos x="621" y="50"/>
              </a:cxn>
              <a:cxn ang="0">
                <a:pos x="510" y="0"/>
              </a:cxn>
              <a:cxn ang="0">
                <a:pos x="308" y="28"/>
              </a:cxn>
              <a:cxn ang="0">
                <a:pos x="242" y="0"/>
              </a:cxn>
              <a:cxn ang="0">
                <a:pos x="213" y="48"/>
              </a:cxn>
              <a:cxn ang="0">
                <a:pos x="182" y="193"/>
              </a:cxn>
              <a:cxn ang="0">
                <a:pos x="132" y="241"/>
              </a:cxn>
              <a:cxn ang="0">
                <a:pos x="120" y="299"/>
              </a:cxn>
              <a:cxn ang="0">
                <a:pos x="73" y="329"/>
              </a:cxn>
              <a:cxn ang="0">
                <a:pos x="22" y="326"/>
              </a:cxn>
              <a:cxn ang="0">
                <a:pos x="0" y="362"/>
              </a:cxn>
            </a:cxnLst>
            <a:rect l="0" t="0" r="r" b="b"/>
            <a:pathLst>
              <a:path w="634" h="611">
                <a:moveTo>
                  <a:pt x="0" y="362"/>
                </a:moveTo>
                <a:lnTo>
                  <a:pt x="2" y="378"/>
                </a:lnTo>
                <a:lnTo>
                  <a:pt x="129" y="362"/>
                </a:lnTo>
                <a:lnTo>
                  <a:pt x="184" y="439"/>
                </a:lnTo>
                <a:lnTo>
                  <a:pt x="231" y="435"/>
                </a:lnTo>
                <a:lnTo>
                  <a:pt x="242" y="400"/>
                </a:lnTo>
                <a:lnTo>
                  <a:pt x="285" y="398"/>
                </a:lnTo>
                <a:lnTo>
                  <a:pt x="316" y="420"/>
                </a:lnTo>
                <a:lnTo>
                  <a:pt x="323" y="539"/>
                </a:lnTo>
                <a:lnTo>
                  <a:pt x="392" y="532"/>
                </a:lnTo>
                <a:lnTo>
                  <a:pt x="583" y="611"/>
                </a:lnTo>
                <a:lnTo>
                  <a:pt x="581" y="575"/>
                </a:lnTo>
                <a:lnTo>
                  <a:pt x="544" y="559"/>
                </a:lnTo>
                <a:lnTo>
                  <a:pt x="551" y="472"/>
                </a:lnTo>
                <a:lnTo>
                  <a:pt x="612" y="442"/>
                </a:lnTo>
                <a:lnTo>
                  <a:pt x="573" y="383"/>
                </a:lnTo>
                <a:lnTo>
                  <a:pt x="568" y="282"/>
                </a:lnTo>
                <a:lnTo>
                  <a:pt x="561" y="257"/>
                </a:lnTo>
                <a:lnTo>
                  <a:pt x="583" y="213"/>
                </a:lnTo>
                <a:lnTo>
                  <a:pt x="612" y="129"/>
                </a:lnTo>
                <a:lnTo>
                  <a:pt x="634" y="98"/>
                </a:lnTo>
                <a:lnTo>
                  <a:pt x="621" y="50"/>
                </a:lnTo>
                <a:lnTo>
                  <a:pt x="510" y="0"/>
                </a:lnTo>
                <a:lnTo>
                  <a:pt x="308" y="28"/>
                </a:lnTo>
                <a:lnTo>
                  <a:pt x="242" y="0"/>
                </a:lnTo>
                <a:lnTo>
                  <a:pt x="213" y="48"/>
                </a:lnTo>
                <a:lnTo>
                  <a:pt x="182" y="193"/>
                </a:lnTo>
                <a:lnTo>
                  <a:pt x="132" y="241"/>
                </a:lnTo>
                <a:lnTo>
                  <a:pt x="120" y="299"/>
                </a:lnTo>
                <a:lnTo>
                  <a:pt x="73" y="329"/>
                </a:lnTo>
                <a:lnTo>
                  <a:pt x="22" y="326"/>
                </a:lnTo>
                <a:lnTo>
                  <a:pt x="0" y="36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6" name="30595323.75435.3752.3754.3755">
            <a:extLst>
              <a:ext uri="{FF2B5EF4-FFF2-40B4-BE49-F238E27FC236}">
                <a16:creationId xmlns:a16="http://schemas.microsoft.com/office/drawing/2014/main" id="{B39BA894-7B69-AD4B-95F3-2798669A3DE7}"/>
              </a:ext>
            </a:extLst>
          </p:cNvPr>
          <p:cNvSpPr>
            <a:spLocks noChangeAspect="1"/>
          </p:cNvSpPr>
          <p:nvPr/>
        </p:nvSpPr>
        <p:spPr bwMode="gray">
          <a:xfrm>
            <a:off x="6653133" y="3540465"/>
            <a:ext cx="68472" cy="38688"/>
          </a:xfrm>
          <a:custGeom>
            <a:avLst/>
            <a:gdLst/>
            <a:ahLst/>
            <a:cxnLst>
              <a:cxn ang="0">
                <a:pos x="0" y="22"/>
              </a:cxn>
              <a:cxn ang="0">
                <a:pos x="28" y="41"/>
              </a:cxn>
              <a:cxn ang="0">
                <a:pos x="79" y="0"/>
              </a:cxn>
              <a:cxn ang="0">
                <a:pos x="0" y="22"/>
              </a:cxn>
            </a:cxnLst>
            <a:rect l="0" t="0" r="r" b="b"/>
            <a:pathLst>
              <a:path w="79" h="41">
                <a:moveTo>
                  <a:pt x="0" y="22"/>
                </a:moveTo>
                <a:lnTo>
                  <a:pt x="28" y="41"/>
                </a:lnTo>
                <a:lnTo>
                  <a:pt x="79" y="0"/>
                </a:lnTo>
                <a:lnTo>
                  <a:pt x="0" y="2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7" name="30596370376.12511.62555">
            <a:extLst>
              <a:ext uri="{FF2B5EF4-FFF2-40B4-BE49-F238E27FC236}">
                <a16:creationId xmlns:a16="http://schemas.microsoft.com/office/drawing/2014/main" id="{90E16E8F-4007-324B-A72F-CB804330F511}"/>
              </a:ext>
            </a:extLst>
          </p:cNvPr>
          <p:cNvSpPr>
            <a:spLocks noChangeAspect="1"/>
          </p:cNvSpPr>
          <p:nvPr/>
        </p:nvSpPr>
        <p:spPr bwMode="gray">
          <a:xfrm>
            <a:off x="5702129" y="4290634"/>
            <a:ext cx="79883" cy="190064"/>
          </a:xfrm>
          <a:custGeom>
            <a:avLst/>
            <a:gdLst/>
            <a:ahLst/>
            <a:cxnLst>
              <a:cxn ang="0">
                <a:pos x="0" y="49"/>
              </a:cxn>
              <a:cxn ang="0">
                <a:pos x="36" y="205"/>
              </a:cxn>
              <a:cxn ang="0">
                <a:pos x="65" y="203"/>
              </a:cxn>
              <a:cxn ang="0">
                <a:pos x="91" y="23"/>
              </a:cxn>
              <a:cxn ang="0">
                <a:pos x="65" y="0"/>
              </a:cxn>
              <a:cxn ang="0">
                <a:pos x="49" y="15"/>
              </a:cxn>
              <a:cxn ang="0">
                <a:pos x="0" y="49"/>
              </a:cxn>
            </a:cxnLst>
            <a:rect l="0" t="0" r="r" b="b"/>
            <a:pathLst>
              <a:path w="91" h="205">
                <a:moveTo>
                  <a:pt x="0" y="49"/>
                </a:moveTo>
                <a:lnTo>
                  <a:pt x="36" y="205"/>
                </a:lnTo>
                <a:lnTo>
                  <a:pt x="65" y="203"/>
                </a:lnTo>
                <a:lnTo>
                  <a:pt x="91" y="23"/>
                </a:lnTo>
                <a:lnTo>
                  <a:pt x="65" y="0"/>
                </a:lnTo>
                <a:lnTo>
                  <a:pt x="49" y="15"/>
                </a:lnTo>
                <a:lnTo>
                  <a:pt x="0" y="4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8" name="30597389.25392.252.3753.3755">
            <a:extLst>
              <a:ext uri="{FF2B5EF4-FFF2-40B4-BE49-F238E27FC236}">
                <a16:creationId xmlns:a16="http://schemas.microsoft.com/office/drawing/2014/main" id="{7C278DDF-E9AC-3A40-884F-792C22BD54E8}"/>
              </a:ext>
            </a:extLst>
          </p:cNvPr>
          <p:cNvSpPr>
            <a:spLocks noChangeAspect="1"/>
          </p:cNvSpPr>
          <p:nvPr/>
        </p:nvSpPr>
        <p:spPr bwMode="gray">
          <a:xfrm>
            <a:off x="5962704" y="4601804"/>
            <a:ext cx="53255" cy="38684"/>
          </a:xfrm>
          <a:custGeom>
            <a:avLst/>
            <a:gdLst/>
            <a:ahLst/>
            <a:cxnLst>
              <a:cxn ang="0">
                <a:pos x="0" y="41"/>
              </a:cxn>
              <a:cxn ang="0">
                <a:pos x="6" y="1"/>
              </a:cxn>
              <a:cxn ang="0">
                <a:pos x="61" y="0"/>
              </a:cxn>
              <a:cxn ang="0">
                <a:pos x="61" y="36"/>
              </a:cxn>
              <a:cxn ang="0">
                <a:pos x="0" y="41"/>
              </a:cxn>
            </a:cxnLst>
            <a:rect l="0" t="0" r="r" b="b"/>
            <a:pathLst>
              <a:path w="61" h="41">
                <a:moveTo>
                  <a:pt x="0" y="41"/>
                </a:moveTo>
                <a:lnTo>
                  <a:pt x="6" y="1"/>
                </a:lnTo>
                <a:lnTo>
                  <a:pt x="61" y="0"/>
                </a:lnTo>
                <a:lnTo>
                  <a:pt x="61" y="36"/>
                </a:lnTo>
                <a:lnTo>
                  <a:pt x="0" y="4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39" name="30598359.25436.527.62528.3755">
            <a:extLst>
              <a:ext uri="{FF2B5EF4-FFF2-40B4-BE49-F238E27FC236}">
                <a16:creationId xmlns:a16="http://schemas.microsoft.com/office/drawing/2014/main" id="{BB22FE75-777F-1946-ABCD-0985F2528A92}"/>
              </a:ext>
            </a:extLst>
          </p:cNvPr>
          <p:cNvSpPr>
            <a:spLocks noChangeAspect="1"/>
          </p:cNvSpPr>
          <p:nvPr/>
        </p:nvSpPr>
        <p:spPr bwMode="gray">
          <a:xfrm>
            <a:off x="6672155" y="4117391"/>
            <a:ext cx="454578" cy="445729"/>
          </a:xfrm>
          <a:custGeom>
            <a:avLst/>
            <a:gdLst/>
            <a:ahLst/>
            <a:cxnLst>
              <a:cxn ang="0">
                <a:pos x="0" y="342"/>
              </a:cxn>
              <a:cxn ang="0">
                <a:pos x="39" y="316"/>
              </a:cxn>
              <a:cxn ang="0">
                <a:pos x="43" y="255"/>
              </a:cxn>
              <a:cxn ang="0">
                <a:pos x="109" y="174"/>
              </a:cxn>
              <a:cxn ang="0">
                <a:pos x="135" y="31"/>
              </a:cxn>
              <a:cxn ang="0">
                <a:pos x="186" y="0"/>
              </a:cxn>
              <a:cxn ang="0">
                <a:pos x="224" y="97"/>
              </a:cxn>
              <a:cxn ang="0">
                <a:pos x="335" y="181"/>
              </a:cxn>
              <a:cxn ang="0">
                <a:pos x="296" y="231"/>
              </a:cxn>
              <a:cxn ang="0">
                <a:pos x="331" y="243"/>
              </a:cxn>
              <a:cxn ang="0">
                <a:pos x="372" y="303"/>
              </a:cxn>
              <a:cxn ang="0">
                <a:pos x="504" y="337"/>
              </a:cxn>
              <a:cxn ang="0">
                <a:pos x="403" y="437"/>
              </a:cxn>
              <a:cxn ang="0">
                <a:pos x="298" y="474"/>
              </a:cxn>
              <a:cxn ang="0">
                <a:pos x="202" y="489"/>
              </a:cxn>
              <a:cxn ang="0">
                <a:pos x="96" y="452"/>
              </a:cxn>
              <a:cxn ang="0">
                <a:pos x="59" y="382"/>
              </a:cxn>
              <a:cxn ang="0">
                <a:pos x="0" y="342"/>
              </a:cxn>
            </a:cxnLst>
            <a:rect l="0" t="0" r="r" b="b"/>
            <a:pathLst>
              <a:path w="504" h="489">
                <a:moveTo>
                  <a:pt x="0" y="342"/>
                </a:moveTo>
                <a:lnTo>
                  <a:pt x="39" y="316"/>
                </a:lnTo>
                <a:lnTo>
                  <a:pt x="43" y="255"/>
                </a:lnTo>
                <a:lnTo>
                  <a:pt x="109" y="174"/>
                </a:lnTo>
                <a:lnTo>
                  <a:pt x="135" y="31"/>
                </a:lnTo>
                <a:lnTo>
                  <a:pt x="186" y="0"/>
                </a:lnTo>
                <a:lnTo>
                  <a:pt x="224" y="97"/>
                </a:lnTo>
                <a:lnTo>
                  <a:pt x="335" y="181"/>
                </a:lnTo>
                <a:lnTo>
                  <a:pt x="296" y="231"/>
                </a:lnTo>
                <a:lnTo>
                  <a:pt x="331" y="243"/>
                </a:lnTo>
                <a:lnTo>
                  <a:pt x="372" y="303"/>
                </a:lnTo>
                <a:lnTo>
                  <a:pt x="504" y="337"/>
                </a:lnTo>
                <a:lnTo>
                  <a:pt x="403" y="437"/>
                </a:lnTo>
                <a:lnTo>
                  <a:pt x="298" y="474"/>
                </a:lnTo>
                <a:lnTo>
                  <a:pt x="202" y="489"/>
                </a:lnTo>
                <a:lnTo>
                  <a:pt x="96" y="452"/>
                </a:lnTo>
                <a:lnTo>
                  <a:pt x="59" y="382"/>
                </a:lnTo>
                <a:lnTo>
                  <a:pt x="0" y="34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0" name="30599369.5453.1253.535">
            <a:extLst>
              <a:ext uri="{FF2B5EF4-FFF2-40B4-BE49-F238E27FC236}">
                <a16:creationId xmlns:a16="http://schemas.microsoft.com/office/drawing/2014/main" id="{4A575A5B-1234-AF47-8C81-B8BEF2BF8B31}"/>
              </a:ext>
            </a:extLst>
          </p:cNvPr>
          <p:cNvSpPr>
            <a:spLocks noChangeAspect="1"/>
          </p:cNvSpPr>
          <p:nvPr/>
        </p:nvSpPr>
        <p:spPr bwMode="gray">
          <a:xfrm>
            <a:off x="6936534" y="4283907"/>
            <a:ext cx="47550" cy="57186"/>
          </a:xfrm>
          <a:custGeom>
            <a:avLst/>
            <a:gdLst/>
            <a:ahLst/>
            <a:cxnLst>
              <a:cxn ang="0">
                <a:pos x="0" y="50"/>
              </a:cxn>
              <a:cxn ang="0">
                <a:pos x="35" y="62"/>
              </a:cxn>
              <a:cxn ang="0">
                <a:pos x="50" y="43"/>
              </a:cxn>
              <a:cxn ang="0">
                <a:pos x="24" y="39"/>
              </a:cxn>
              <a:cxn ang="0">
                <a:pos x="52" y="23"/>
              </a:cxn>
              <a:cxn ang="0">
                <a:pos x="39" y="0"/>
              </a:cxn>
              <a:cxn ang="0">
                <a:pos x="0" y="50"/>
              </a:cxn>
            </a:cxnLst>
            <a:rect l="0" t="0" r="r" b="b"/>
            <a:pathLst>
              <a:path w="52" h="62">
                <a:moveTo>
                  <a:pt x="0" y="50"/>
                </a:moveTo>
                <a:lnTo>
                  <a:pt x="35" y="62"/>
                </a:lnTo>
                <a:lnTo>
                  <a:pt x="50" y="43"/>
                </a:lnTo>
                <a:lnTo>
                  <a:pt x="24" y="39"/>
                </a:lnTo>
                <a:lnTo>
                  <a:pt x="52" y="23"/>
                </a:lnTo>
                <a:lnTo>
                  <a:pt x="39" y="0"/>
                </a:lnTo>
                <a:lnTo>
                  <a:pt x="0" y="5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1" name="30600389.25390.7511.510.55">
            <a:extLst>
              <a:ext uri="{FF2B5EF4-FFF2-40B4-BE49-F238E27FC236}">
                <a16:creationId xmlns:a16="http://schemas.microsoft.com/office/drawing/2014/main" id="{3882C054-076D-3943-96E7-59AC087332C8}"/>
              </a:ext>
            </a:extLst>
          </p:cNvPr>
          <p:cNvSpPr>
            <a:spLocks noChangeAspect="1"/>
          </p:cNvSpPr>
          <p:nvPr/>
        </p:nvSpPr>
        <p:spPr bwMode="gray">
          <a:xfrm>
            <a:off x="5937981" y="4601804"/>
            <a:ext cx="167376" cy="188383"/>
          </a:xfrm>
          <a:custGeom>
            <a:avLst/>
            <a:gdLst/>
            <a:ahLst/>
            <a:cxnLst>
              <a:cxn ang="0">
                <a:pos x="0" y="96"/>
              </a:cxn>
              <a:cxn ang="0">
                <a:pos x="20" y="64"/>
              </a:cxn>
              <a:cxn ang="0">
                <a:pos x="34" y="67"/>
              </a:cxn>
              <a:cxn ang="0">
                <a:pos x="24" y="41"/>
              </a:cxn>
              <a:cxn ang="0">
                <a:pos x="85" y="36"/>
              </a:cxn>
              <a:cxn ang="0">
                <a:pos x="85" y="0"/>
              </a:cxn>
              <a:cxn ang="0">
                <a:pos x="152" y="1"/>
              </a:cxn>
              <a:cxn ang="0">
                <a:pos x="149" y="31"/>
              </a:cxn>
              <a:cxn ang="0">
                <a:pos x="185" y="34"/>
              </a:cxn>
              <a:cxn ang="0">
                <a:pos x="174" y="148"/>
              </a:cxn>
              <a:cxn ang="0">
                <a:pos x="130" y="135"/>
              </a:cxn>
              <a:cxn ang="0">
                <a:pos x="81" y="203"/>
              </a:cxn>
              <a:cxn ang="0">
                <a:pos x="0" y="96"/>
              </a:cxn>
            </a:cxnLst>
            <a:rect l="0" t="0" r="r" b="b"/>
            <a:pathLst>
              <a:path w="185" h="203">
                <a:moveTo>
                  <a:pt x="0" y="96"/>
                </a:moveTo>
                <a:lnTo>
                  <a:pt x="20" y="64"/>
                </a:lnTo>
                <a:lnTo>
                  <a:pt x="34" y="67"/>
                </a:lnTo>
                <a:lnTo>
                  <a:pt x="24" y="41"/>
                </a:lnTo>
                <a:lnTo>
                  <a:pt x="85" y="36"/>
                </a:lnTo>
                <a:lnTo>
                  <a:pt x="85" y="0"/>
                </a:lnTo>
                <a:lnTo>
                  <a:pt x="152" y="1"/>
                </a:lnTo>
                <a:lnTo>
                  <a:pt x="149" y="31"/>
                </a:lnTo>
                <a:lnTo>
                  <a:pt x="185" y="34"/>
                </a:lnTo>
                <a:lnTo>
                  <a:pt x="174" y="148"/>
                </a:lnTo>
                <a:lnTo>
                  <a:pt x="130" y="135"/>
                </a:lnTo>
                <a:lnTo>
                  <a:pt x="81" y="203"/>
                </a:lnTo>
                <a:lnTo>
                  <a:pt x="0" y="9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2" name="30601367.625342.8751.1255.6255">
            <a:extLst>
              <a:ext uri="{FF2B5EF4-FFF2-40B4-BE49-F238E27FC236}">
                <a16:creationId xmlns:a16="http://schemas.microsoft.com/office/drawing/2014/main" id="{099C313F-3E3C-E941-95FA-6BDF01BD54ED}"/>
              </a:ext>
            </a:extLst>
          </p:cNvPr>
          <p:cNvSpPr>
            <a:spLocks noChangeAspect="1"/>
          </p:cNvSpPr>
          <p:nvPr/>
        </p:nvSpPr>
        <p:spPr bwMode="gray">
          <a:xfrm>
            <a:off x="5171470" y="4251949"/>
            <a:ext cx="87493" cy="16821"/>
          </a:xfrm>
          <a:custGeom>
            <a:avLst/>
            <a:gdLst/>
            <a:ahLst/>
            <a:cxnLst>
              <a:cxn ang="0">
                <a:pos x="0" y="20"/>
              </a:cxn>
              <a:cxn ang="0">
                <a:pos x="4" y="0"/>
              </a:cxn>
              <a:cxn ang="0">
                <a:pos x="99" y="7"/>
              </a:cxn>
              <a:cxn ang="0">
                <a:pos x="0" y="20"/>
              </a:cxn>
            </a:cxnLst>
            <a:rect l="0" t="0" r="r" b="b"/>
            <a:pathLst>
              <a:path w="99" h="20">
                <a:moveTo>
                  <a:pt x="0" y="20"/>
                </a:moveTo>
                <a:lnTo>
                  <a:pt x="4" y="0"/>
                </a:lnTo>
                <a:lnTo>
                  <a:pt x="99" y="7"/>
                </a:lnTo>
                <a:lnTo>
                  <a:pt x="0" y="2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3" name="30602372.25368.62512.2585">
            <a:extLst>
              <a:ext uri="{FF2B5EF4-FFF2-40B4-BE49-F238E27FC236}">
                <a16:creationId xmlns:a16="http://schemas.microsoft.com/office/drawing/2014/main" id="{61E072DA-1196-5E40-A31F-2F87EAA7DBB9}"/>
              </a:ext>
            </a:extLst>
          </p:cNvPr>
          <p:cNvSpPr>
            <a:spLocks noChangeAspect="1"/>
          </p:cNvSpPr>
          <p:nvPr/>
        </p:nvSpPr>
        <p:spPr bwMode="gray">
          <a:xfrm>
            <a:off x="5582303" y="4329322"/>
            <a:ext cx="129337" cy="195110"/>
          </a:xfrm>
          <a:custGeom>
            <a:avLst/>
            <a:gdLst/>
            <a:ahLst/>
            <a:cxnLst>
              <a:cxn ang="0">
                <a:pos x="0" y="204"/>
              </a:cxn>
              <a:cxn ang="0">
                <a:pos x="13" y="55"/>
              </a:cxn>
              <a:cxn ang="0">
                <a:pos x="6" y="8"/>
              </a:cxn>
              <a:cxn ang="0">
                <a:pos x="96" y="0"/>
              </a:cxn>
              <a:cxn ang="0">
                <a:pos x="142" y="171"/>
              </a:cxn>
              <a:cxn ang="0">
                <a:pos x="37" y="216"/>
              </a:cxn>
              <a:cxn ang="0">
                <a:pos x="0" y="204"/>
              </a:cxn>
            </a:cxnLst>
            <a:rect l="0" t="0" r="r" b="b"/>
            <a:pathLst>
              <a:path w="142" h="216">
                <a:moveTo>
                  <a:pt x="0" y="204"/>
                </a:moveTo>
                <a:lnTo>
                  <a:pt x="13" y="55"/>
                </a:lnTo>
                <a:lnTo>
                  <a:pt x="6" y="8"/>
                </a:lnTo>
                <a:lnTo>
                  <a:pt x="96" y="0"/>
                </a:lnTo>
                <a:lnTo>
                  <a:pt x="142" y="171"/>
                </a:lnTo>
                <a:lnTo>
                  <a:pt x="37" y="216"/>
                </a:lnTo>
                <a:lnTo>
                  <a:pt x="0" y="20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4" name="30603369.5346.1251013.8755">
            <a:extLst>
              <a:ext uri="{FF2B5EF4-FFF2-40B4-BE49-F238E27FC236}">
                <a16:creationId xmlns:a16="http://schemas.microsoft.com/office/drawing/2014/main" id="{9498B1BD-6FD5-0547-8CA0-16317273A821}"/>
              </a:ext>
            </a:extLst>
          </p:cNvPr>
          <p:cNvSpPr>
            <a:spLocks noChangeAspect="1"/>
          </p:cNvSpPr>
          <p:nvPr/>
        </p:nvSpPr>
        <p:spPr bwMode="gray">
          <a:xfrm>
            <a:off x="5220924" y="4283907"/>
            <a:ext cx="222536" cy="161471"/>
          </a:xfrm>
          <a:custGeom>
            <a:avLst/>
            <a:gdLst/>
            <a:ahLst/>
            <a:cxnLst>
              <a:cxn ang="0">
                <a:pos x="0" y="59"/>
              </a:cxn>
              <a:cxn ang="0">
                <a:pos x="41" y="33"/>
              </a:cxn>
              <a:cxn ang="0">
                <a:pos x="43" y="0"/>
              </a:cxn>
              <a:cxn ang="0">
                <a:pos x="122" y="7"/>
              </a:cxn>
              <a:cxn ang="0">
                <a:pos x="144" y="23"/>
              </a:cxn>
              <a:cxn ang="0">
                <a:pos x="201" y="4"/>
              </a:cxn>
              <a:cxn ang="0">
                <a:pos x="235" y="84"/>
              </a:cxn>
              <a:cxn ang="0">
                <a:pos x="245" y="144"/>
              </a:cxn>
              <a:cxn ang="0">
                <a:pos x="224" y="140"/>
              </a:cxn>
              <a:cxn ang="0">
                <a:pos x="219" y="173"/>
              </a:cxn>
              <a:cxn ang="0">
                <a:pos x="183" y="179"/>
              </a:cxn>
              <a:cxn ang="0">
                <a:pos x="181" y="144"/>
              </a:cxn>
              <a:cxn ang="0">
                <a:pos x="161" y="143"/>
              </a:cxn>
              <a:cxn ang="0">
                <a:pos x="128" y="92"/>
              </a:cxn>
              <a:cxn ang="0">
                <a:pos x="58" y="121"/>
              </a:cxn>
              <a:cxn ang="0">
                <a:pos x="0" y="59"/>
              </a:cxn>
            </a:cxnLst>
            <a:rect l="0" t="0" r="r" b="b"/>
            <a:pathLst>
              <a:path w="245" h="179">
                <a:moveTo>
                  <a:pt x="0" y="59"/>
                </a:moveTo>
                <a:lnTo>
                  <a:pt x="41" y="33"/>
                </a:lnTo>
                <a:lnTo>
                  <a:pt x="43" y="0"/>
                </a:lnTo>
                <a:lnTo>
                  <a:pt x="122" y="7"/>
                </a:lnTo>
                <a:lnTo>
                  <a:pt x="144" y="23"/>
                </a:lnTo>
                <a:lnTo>
                  <a:pt x="201" y="4"/>
                </a:lnTo>
                <a:lnTo>
                  <a:pt x="235" y="84"/>
                </a:lnTo>
                <a:lnTo>
                  <a:pt x="245" y="144"/>
                </a:lnTo>
                <a:lnTo>
                  <a:pt x="224" y="140"/>
                </a:lnTo>
                <a:lnTo>
                  <a:pt x="219" y="173"/>
                </a:lnTo>
                <a:lnTo>
                  <a:pt x="183" y="179"/>
                </a:lnTo>
                <a:lnTo>
                  <a:pt x="181" y="144"/>
                </a:lnTo>
                <a:lnTo>
                  <a:pt x="161" y="143"/>
                </a:lnTo>
                <a:lnTo>
                  <a:pt x="128" y="92"/>
                </a:lnTo>
                <a:lnTo>
                  <a:pt x="58" y="121"/>
                </a:lnTo>
                <a:lnTo>
                  <a:pt x="0" y="5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5" name="30604337.25458.750.8753.3755">
            <a:extLst>
              <a:ext uri="{FF2B5EF4-FFF2-40B4-BE49-F238E27FC236}">
                <a16:creationId xmlns:a16="http://schemas.microsoft.com/office/drawing/2014/main" id="{23293C0D-0F8D-D044-8D83-096D012C8E6C}"/>
              </a:ext>
            </a:extLst>
          </p:cNvPr>
          <p:cNvSpPr>
            <a:spLocks noChangeAspect="1"/>
          </p:cNvSpPr>
          <p:nvPr/>
        </p:nvSpPr>
        <p:spPr bwMode="gray">
          <a:xfrm>
            <a:off x="7029733" y="3760807"/>
            <a:ext cx="53255" cy="15137"/>
          </a:xfrm>
          <a:custGeom>
            <a:avLst/>
            <a:gdLst/>
            <a:ahLst/>
            <a:cxnLst>
              <a:cxn ang="0">
                <a:pos x="0" y="0"/>
              </a:cxn>
              <a:cxn ang="0">
                <a:pos x="32" y="17"/>
              </a:cxn>
              <a:cxn ang="0">
                <a:pos x="61" y="5"/>
              </a:cxn>
              <a:cxn ang="0">
                <a:pos x="0" y="0"/>
              </a:cxn>
            </a:cxnLst>
            <a:rect l="0" t="0" r="r" b="b"/>
            <a:pathLst>
              <a:path w="61" h="17">
                <a:moveTo>
                  <a:pt x="0" y="0"/>
                </a:moveTo>
                <a:lnTo>
                  <a:pt x="32" y="17"/>
                </a:lnTo>
                <a:lnTo>
                  <a:pt x="61" y="5"/>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6" name="30605329438.37582.8755">
            <a:extLst>
              <a:ext uri="{FF2B5EF4-FFF2-40B4-BE49-F238E27FC236}">
                <a16:creationId xmlns:a16="http://schemas.microsoft.com/office/drawing/2014/main" id="{0D2F71E7-4F78-9048-94B3-89A114388AD1}"/>
              </a:ext>
            </a:extLst>
          </p:cNvPr>
          <p:cNvSpPr>
            <a:spLocks noChangeAspect="1"/>
          </p:cNvSpPr>
          <p:nvPr/>
        </p:nvSpPr>
        <p:spPr bwMode="gray">
          <a:xfrm>
            <a:off x="6700683" y="3627929"/>
            <a:ext cx="45649" cy="129513"/>
          </a:xfrm>
          <a:custGeom>
            <a:avLst/>
            <a:gdLst/>
            <a:ahLst/>
            <a:cxnLst>
              <a:cxn ang="0">
                <a:pos x="0" y="70"/>
              </a:cxn>
              <a:cxn ang="0">
                <a:pos x="28" y="141"/>
              </a:cxn>
              <a:cxn ang="0">
                <a:pos x="32" y="139"/>
              </a:cxn>
              <a:cxn ang="0">
                <a:pos x="47" y="63"/>
              </a:cxn>
              <a:cxn ang="0">
                <a:pos x="27" y="68"/>
              </a:cxn>
              <a:cxn ang="0">
                <a:pos x="32" y="35"/>
              </a:cxn>
              <a:cxn ang="0">
                <a:pos x="49" y="19"/>
              </a:cxn>
              <a:cxn ang="0">
                <a:pos x="53" y="0"/>
              </a:cxn>
              <a:cxn ang="0">
                <a:pos x="35" y="2"/>
              </a:cxn>
              <a:cxn ang="0">
                <a:pos x="0" y="70"/>
              </a:cxn>
            </a:cxnLst>
            <a:rect l="0" t="0" r="r" b="b"/>
            <a:pathLst>
              <a:path w="53" h="141">
                <a:moveTo>
                  <a:pt x="0" y="70"/>
                </a:moveTo>
                <a:lnTo>
                  <a:pt x="28" y="141"/>
                </a:lnTo>
                <a:lnTo>
                  <a:pt x="32" y="139"/>
                </a:lnTo>
                <a:lnTo>
                  <a:pt x="47" y="63"/>
                </a:lnTo>
                <a:lnTo>
                  <a:pt x="27" y="68"/>
                </a:lnTo>
                <a:lnTo>
                  <a:pt x="32" y="35"/>
                </a:lnTo>
                <a:lnTo>
                  <a:pt x="49" y="19"/>
                </a:lnTo>
                <a:lnTo>
                  <a:pt x="53" y="0"/>
                </a:lnTo>
                <a:lnTo>
                  <a:pt x="35" y="2"/>
                </a:lnTo>
                <a:lnTo>
                  <a:pt x="0" y="7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7" name="30606373.25358.2511.87511.1255">
            <a:extLst>
              <a:ext uri="{FF2B5EF4-FFF2-40B4-BE49-F238E27FC236}">
                <a16:creationId xmlns:a16="http://schemas.microsoft.com/office/drawing/2014/main" id="{7E8D9EBC-169D-C64B-A808-76D1ACE235E6}"/>
              </a:ext>
            </a:extLst>
          </p:cNvPr>
          <p:cNvSpPr>
            <a:spLocks noChangeAspect="1"/>
          </p:cNvSpPr>
          <p:nvPr/>
        </p:nvSpPr>
        <p:spPr bwMode="gray">
          <a:xfrm>
            <a:off x="5414927" y="4344459"/>
            <a:ext cx="180692" cy="191748"/>
          </a:xfrm>
          <a:custGeom>
            <a:avLst/>
            <a:gdLst/>
            <a:ahLst/>
            <a:cxnLst>
              <a:cxn ang="0">
                <a:pos x="0" y="139"/>
              </a:cxn>
              <a:cxn ang="0">
                <a:pos x="3" y="107"/>
              </a:cxn>
              <a:cxn ang="0">
                <a:pos x="8" y="74"/>
              </a:cxn>
              <a:cxn ang="0">
                <a:pos x="29" y="78"/>
              </a:cxn>
              <a:cxn ang="0">
                <a:pos x="19" y="18"/>
              </a:cxn>
              <a:cxn ang="0">
                <a:pos x="77" y="0"/>
              </a:cxn>
              <a:cxn ang="0">
                <a:pos x="111" y="12"/>
              </a:cxn>
              <a:cxn ang="0">
                <a:pos x="129" y="33"/>
              </a:cxn>
              <a:cxn ang="0">
                <a:pos x="196" y="40"/>
              </a:cxn>
              <a:cxn ang="0">
                <a:pos x="183" y="189"/>
              </a:cxn>
              <a:cxn ang="0">
                <a:pos x="31" y="211"/>
              </a:cxn>
              <a:cxn ang="0">
                <a:pos x="36" y="162"/>
              </a:cxn>
              <a:cxn ang="0">
                <a:pos x="0" y="139"/>
              </a:cxn>
            </a:cxnLst>
            <a:rect l="0" t="0" r="r" b="b"/>
            <a:pathLst>
              <a:path w="196" h="211">
                <a:moveTo>
                  <a:pt x="0" y="139"/>
                </a:moveTo>
                <a:lnTo>
                  <a:pt x="3" y="107"/>
                </a:lnTo>
                <a:lnTo>
                  <a:pt x="8" y="74"/>
                </a:lnTo>
                <a:lnTo>
                  <a:pt x="29" y="78"/>
                </a:lnTo>
                <a:lnTo>
                  <a:pt x="19" y="18"/>
                </a:lnTo>
                <a:lnTo>
                  <a:pt x="77" y="0"/>
                </a:lnTo>
                <a:lnTo>
                  <a:pt x="111" y="12"/>
                </a:lnTo>
                <a:lnTo>
                  <a:pt x="129" y="33"/>
                </a:lnTo>
                <a:lnTo>
                  <a:pt x="196" y="40"/>
                </a:lnTo>
                <a:lnTo>
                  <a:pt x="183" y="189"/>
                </a:lnTo>
                <a:lnTo>
                  <a:pt x="31" y="211"/>
                </a:lnTo>
                <a:lnTo>
                  <a:pt x="36" y="162"/>
                </a:lnTo>
                <a:lnTo>
                  <a:pt x="0" y="13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8" name="30607328.75439.8758.758.255">
            <a:extLst>
              <a:ext uri="{FF2B5EF4-FFF2-40B4-BE49-F238E27FC236}">
                <a16:creationId xmlns:a16="http://schemas.microsoft.com/office/drawing/2014/main" id="{E6D168C2-DF2E-F04C-9B5B-EE59CD4C0408}"/>
              </a:ext>
            </a:extLst>
          </p:cNvPr>
          <p:cNvSpPr>
            <a:spLocks noChangeAspect="1"/>
          </p:cNvSpPr>
          <p:nvPr/>
        </p:nvSpPr>
        <p:spPr bwMode="gray">
          <a:xfrm>
            <a:off x="6725410" y="3624564"/>
            <a:ext cx="133142" cy="139604"/>
          </a:xfrm>
          <a:custGeom>
            <a:avLst/>
            <a:gdLst/>
            <a:ahLst/>
            <a:cxnLst>
              <a:cxn ang="0">
                <a:pos x="0" y="74"/>
              </a:cxn>
              <a:cxn ang="0">
                <a:pos x="5" y="41"/>
              </a:cxn>
              <a:cxn ang="0">
                <a:pos x="22" y="25"/>
              </a:cxn>
              <a:cxn ang="0">
                <a:pos x="57" y="39"/>
              </a:cxn>
              <a:cxn ang="0">
                <a:pos x="129" y="0"/>
              </a:cxn>
              <a:cxn ang="0">
                <a:pos x="145" y="43"/>
              </a:cxn>
              <a:cxn ang="0">
                <a:pos x="70" y="68"/>
              </a:cxn>
              <a:cxn ang="0">
                <a:pos x="107" y="102"/>
              </a:cxn>
              <a:cxn ang="0">
                <a:pos x="87" y="124"/>
              </a:cxn>
              <a:cxn ang="0">
                <a:pos x="42" y="156"/>
              </a:cxn>
              <a:cxn ang="0">
                <a:pos x="5" y="145"/>
              </a:cxn>
              <a:cxn ang="0">
                <a:pos x="20" y="69"/>
              </a:cxn>
              <a:cxn ang="0">
                <a:pos x="0" y="74"/>
              </a:cxn>
            </a:cxnLst>
            <a:rect l="0" t="0" r="r" b="b"/>
            <a:pathLst>
              <a:path w="145" h="156">
                <a:moveTo>
                  <a:pt x="0" y="74"/>
                </a:moveTo>
                <a:lnTo>
                  <a:pt x="5" y="41"/>
                </a:lnTo>
                <a:lnTo>
                  <a:pt x="22" y="25"/>
                </a:lnTo>
                <a:lnTo>
                  <a:pt x="57" y="39"/>
                </a:lnTo>
                <a:lnTo>
                  <a:pt x="129" y="0"/>
                </a:lnTo>
                <a:lnTo>
                  <a:pt x="145" y="43"/>
                </a:lnTo>
                <a:lnTo>
                  <a:pt x="70" y="68"/>
                </a:lnTo>
                <a:lnTo>
                  <a:pt x="107" y="102"/>
                </a:lnTo>
                <a:lnTo>
                  <a:pt x="87" y="124"/>
                </a:lnTo>
                <a:lnTo>
                  <a:pt x="42" y="156"/>
                </a:lnTo>
                <a:lnTo>
                  <a:pt x="5" y="145"/>
                </a:lnTo>
                <a:lnTo>
                  <a:pt x="20" y="69"/>
                </a:lnTo>
                <a:lnTo>
                  <a:pt x="0" y="7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49" name="30608384.875438.37517.2514.8755">
            <a:extLst>
              <a:ext uri="{FF2B5EF4-FFF2-40B4-BE49-F238E27FC236}">
                <a16:creationId xmlns:a16="http://schemas.microsoft.com/office/drawing/2014/main" id="{211A96BF-773D-7D4E-8B89-831B6F745EC0}"/>
              </a:ext>
            </a:extLst>
          </p:cNvPr>
          <p:cNvSpPr>
            <a:spLocks noChangeAspect="1"/>
          </p:cNvSpPr>
          <p:nvPr/>
        </p:nvSpPr>
        <p:spPr bwMode="gray">
          <a:xfrm>
            <a:off x="6700683" y="4531161"/>
            <a:ext cx="239653" cy="279212"/>
          </a:xfrm>
          <a:custGeom>
            <a:avLst/>
            <a:gdLst/>
            <a:ahLst/>
            <a:cxnLst>
              <a:cxn ang="0">
                <a:pos x="0" y="19"/>
              </a:cxn>
              <a:cxn ang="0">
                <a:pos x="36" y="84"/>
              </a:cxn>
              <a:cxn ang="0">
                <a:pos x="0" y="144"/>
              </a:cxn>
              <a:cxn ang="0">
                <a:pos x="28" y="161"/>
              </a:cxn>
              <a:cxn ang="0">
                <a:pos x="9" y="183"/>
              </a:cxn>
              <a:cxn ang="0">
                <a:pos x="180" y="307"/>
              </a:cxn>
              <a:cxn ang="0">
                <a:pos x="253" y="208"/>
              </a:cxn>
              <a:cxn ang="0">
                <a:pos x="237" y="180"/>
              </a:cxn>
              <a:cxn ang="0">
                <a:pos x="237" y="58"/>
              </a:cxn>
              <a:cxn ang="0">
                <a:pos x="264" y="22"/>
              </a:cxn>
              <a:cxn ang="0">
                <a:pos x="168" y="37"/>
              </a:cxn>
              <a:cxn ang="0">
                <a:pos x="62" y="0"/>
              </a:cxn>
              <a:cxn ang="0">
                <a:pos x="0" y="19"/>
              </a:cxn>
            </a:cxnLst>
            <a:rect l="0" t="0" r="r" b="b"/>
            <a:pathLst>
              <a:path w="264" h="307">
                <a:moveTo>
                  <a:pt x="0" y="19"/>
                </a:moveTo>
                <a:lnTo>
                  <a:pt x="36" y="84"/>
                </a:lnTo>
                <a:lnTo>
                  <a:pt x="0" y="144"/>
                </a:lnTo>
                <a:lnTo>
                  <a:pt x="28" y="161"/>
                </a:lnTo>
                <a:lnTo>
                  <a:pt x="9" y="183"/>
                </a:lnTo>
                <a:lnTo>
                  <a:pt x="180" y="307"/>
                </a:lnTo>
                <a:lnTo>
                  <a:pt x="253" y="208"/>
                </a:lnTo>
                <a:lnTo>
                  <a:pt x="237" y="180"/>
                </a:lnTo>
                <a:lnTo>
                  <a:pt x="237" y="58"/>
                </a:lnTo>
                <a:lnTo>
                  <a:pt x="264" y="22"/>
                </a:lnTo>
                <a:lnTo>
                  <a:pt x="168" y="37"/>
                </a:lnTo>
                <a:lnTo>
                  <a:pt x="62" y="0"/>
                </a:lnTo>
                <a:lnTo>
                  <a:pt x="0" y="19"/>
                </a:lnTo>
                <a:close/>
              </a:path>
            </a:pathLst>
          </a:custGeom>
          <a:solidFill>
            <a:srgbClr val="70AD47"/>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0" name="30609335.625462.12533.3755">
            <a:extLst>
              <a:ext uri="{FF2B5EF4-FFF2-40B4-BE49-F238E27FC236}">
                <a16:creationId xmlns:a16="http://schemas.microsoft.com/office/drawing/2014/main" id="{E85F1C15-9821-A540-A1E9-E2C63256DA8B}"/>
              </a:ext>
            </a:extLst>
          </p:cNvPr>
          <p:cNvSpPr>
            <a:spLocks noChangeAspect="1"/>
          </p:cNvSpPr>
          <p:nvPr/>
        </p:nvSpPr>
        <p:spPr bwMode="gray">
          <a:xfrm>
            <a:off x="7082988" y="3733894"/>
            <a:ext cx="53255" cy="48776"/>
          </a:xfrm>
          <a:custGeom>
            <a:avLst/>
            <a:gdLst/>
            <a:ahLst/>
            <a:cxnLst>
              <a:cxn ang="0">
                <a:pos x="0" y="32"/>
              </a:cxn>
              <a:cxn ang="0">
                <a:pos x="49" y="0"/>
              </a:cxn>
              <a:cxn ang="0">
                <a:pos x="60" y="51"/>
              </a:cxn>
              <a:cxn ang="0">
                <a:pos x="0" y="32"/>
              </a:cxn>
            </a:cxnLst>
            <a:rect l="0" t="0" r="r" b="b"/>
            <a:pathLst>
              <a:path w="60" h="51">
                <a:moveTo>
                  <a:pt x="0" y="32"/>
                </a:moveTo>
                <a:lnTo>
                  <a:pt x="49" y="0"/>
                </a:lnTo>
                <a:lnTo>
                  <a:pt x="60" y="51"/>
                </a:lnTo>
                <a:lnTo>
                  <a:pt x="0" y="3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1" name="30610325.875440.253.37535">
            <a:extLst>
              <a:ext uri="{FF2B5EF4-FFF2-40B4-BE49-F238E27FC236}">
                <a16:creationId xmlns:a16="http://schemas.microsoft.com/office/drawing/2014/main" id="{B0ED8B1A-65FA-D340-A550-1908CC4DE254}"/>
              </a:ext>
            </a:extLst>
          </p:cNvPr>
          <p:cNvSpPr>
            <a:spLocks noChangeAspect="1"/>
          </p:cNvSpPr>
          <p:nvPr/>
        </p:nvSpPr>
        <p:spPr bwMode="gray">
          <a:xfrm>
            <a:off x="6731116" y="3577469"/>
            <a:ext cx="47550" cy="52141"/>
          </a:xfrm>
          <a:custGeom>
            <a:avLst/>
            <a:gdLst/>
            <a:ahLst/>
            <a:cxnLst>
              <a:cxn ang="0">
                <a:pos x="0" y="59"/>
              </a:cxn>
              <a:cxn ang="0">
                <a:pos x="18" y="57"/>
              </a:cxn>
              <a:cxn ang="0">
                <a:pos x="52" y="18"/>
              </a:cxn>
              <a:cxn ang="0">
                <a:pos x="33" y="0"/>
              </a:cxn>
              <a:cxn ang="0">
                <a:pos x="0" y="59"/>
              </a:cxn>
            </a:cxnLst>
            <a:rect l="0" t="0" r="r" b="b"/>
            <a:pathLst>
              <a:path w="52" h="59">
                <a:moveTo>
                  <a:pt x="0" y="59"/>
                </a:moveTo>
                <a:lnTo>
                  <a:pt x="18" y="57"/>
                </a:lnTo>
                <a:lnTo>
                  <a:pt x="52" y="18"/>
                </a:lnTo>
                <a:lnTo>
                  <a:pt x="33" y="0"/>
                </a:lnTo>
                <a:lnTo>
                  <a:pt x="0" y="5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2" name="30611377.625352.8757.57.3755">
            <a:extLst>
              <a:ext uri="{FF2B5EF4-FFF2-40B4-BE49-F238E27FC236}">
                <a16:creationId xmlns:a16="http://schemas.microsoft.com/office/drawing/2014/main" id="{549A968D-51D5-4043-9FE2-ACCE7CCFD4C6}"/>
              </a:ext>
            </a:extLst>
          </p:cNvPr>
          <p:cNvSpPr>
            <a:spLocks noChangeAspect="1"/>
          </p:cNvSpPr>
          <p:nvPr/>
        </p:nvSpPr>
        <p:spPr bwMode="gray">
          <a:xfrm>
            <a:off x="5329339" y="4415101"/>
            <a:ext cx="119826" cy="121102"/>
          </a:xfrm>
          <a:custGeom>
            <a:avLst/>
            <a:gdLst/>
            <a:ahLst/>
            <a:cxnLst>
              <a:cxn ang="0">
                <a:pos x="0" y="50"/>
              </a:cxn>
              <a:cxn ang="0">
                <a:pos x="41" y="0"/>
              </a:cxn>
              <a:cxn ang="0">
                <a:pos x="61" y="1"/>
              </a:cxn>
              <a:cxn ang="0">
                <a:pos x="63" y="36"/>
              </a:cxn>
              <a:cxn ang="0">
                <a:pos x="99" y="30"/>
              </a:cxn>
              <a:cxn ang="0">
                <a:pos x="96" y="62"/>
              </a:cxn>
              <a:cxn ang="0">
                <a:pos x="132" y="85"/>
              </a:cxn>
              <a:cxn ang="0">
                <a:pos x="127" y="134"/>
              </a:cxn>
              <a:cxn ang="0">
                <a:pos x="0" y="50"/>
              </a:cxn>
            </a:cxnLst>
            <a:rect l="0" t="0" r="r" b="b"/>
            <a:pathLst>
              <a:path w="132" h="134">
                <a:moveTo>
                  <a:pt x="0" y="50"/>
                </a:moveTo>
                <a:lnTo>
                  <a:pt x="41" y="0"/>
                </a:lnTo>
                <a:lnTo>
                  <a:pt x="61" y="1"/>
                </a:lnTo>
                <a:lnTo>
                  <a:pt x="63" y="36"/>
                </a:lnTo>
                <a:lnTo>
                  <a:pt x="99" y="30"/>
                </a:lnTo>
                <a:lnTo>
                  <a:pt x="96" y="62"/>
                </a:lnTo>
                <a:lnTo>
                  <a:pt x="132" y="85"/>
                </a:lnTo>
                <a:lnTo>
                  <a:pt x="127" y="134"/>
                </a:lnTo>
                <a:lnTo>
                  <a:pt x="0" y="5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3" name="30612329.2539227.12529.55">
            <a:extLst>
              <a:ext uri="{FF2B5EF4-FFF2-40B4-BE49-F238E27FC236}">
                <a16:creationId xmlns:a16="http://schemas.microsoft.com/office/drawing/2014/main" id="{BBE05E24-275C-0C48-9AD2-2DB4995BA7D5}"/>
              </a:ext>
            </a:extLst>
          </p:cNvPr>
          <p:cNvSpPr>
            <a:spLocks noChangeAspect="1"/>
          </p:cNvSpPr>
          <p:nvPr/>
        </p:nvSpPr>
        <p:spPr bwMode="gray">
          <a:xfrm>
            <a:off x="5955098" y="3629613"/>
            <a:ext cx="475500" cy="440683"/>
          </a:xfrm>
          <a:custGeom>
            <a:avLst/>
            <a:gdLst/>
            <a:ahLst/>
            <a:cxnLst>
              <a:cxn ang="0">
                <a:pos x="0" y="254"/>
              </a:cxn>
              <a:cxn ang="0">
                <a:pos x="2" y="105"/>
              </a:cxn>
              <a:cxn ang="0">
                <a:pos x="68" y="0"/>
              </a:cxn>
              <a:cxn ang="0">
                <a:pos x="191" y="31"/>
              </a:cxn>
              <a:cxn ang="0">
                <a:pos x="215" y="66"/>
              </a:cxn>
              <a:cxn ang="0">
                <a:pos x="316" y="105"/>
              </a:cxn>
              <a:cxn ang="0">
                <a:pos x="349" y="91"/>
              </a:cxn>
              <a:cxn ang="0">
                <a:pos x="352" y="39"/>
              </a:cxn>
              <a:cxn ang="0">
                <a:pos x="385" y="14"/>
              </a:cxn>
              <a:cxn ang="0">
                <a:pos x="522" y="55"/>
              </a:cxn>
              <a:cxn ang="0">
                <a:pos x="507" y="113"/>
              </a:cxn>
              <a:cxn ang="0">
                <a:pos x="522" y="398"/>
              </a:cxn>
              <a:cxn ang="0">
                <a:pos x="522" y="465"/>
              </a:cxn>
              <a:cxn ang="0">
                <a:pos x="492" y="467"/>
              </a:cxn>
              <a:cxn ang="0">
                <a:pos x="492" y="486"/>
              </a:cxn>
              <a:cxn ang="0">
                <a:pos x="224" y="348"/>
              </a:cxn>
              <a:cxn ang="0">
                <a:pos x="190" y="362"/>
              </a:cxn>
              <a:cxn ang="0">
                <a:pos x="79" y="346"/>
              </a:cxn>
              <a:cxn ang="0">
                <a:pos x="0" y="254"/>
              </a:cxn>
            </a:cxnLst>
            <a:rect l="0" t="0" r="r" b="b"/>
            <a:pathLst>
              <a:path w="522" h="486">
                <a:moveTo>
                  <a:pt x="0" y="254"/>
                </a:moveTo>
                <a:lnTo>
                  <a:pt x="2" y="105"/>
                </a:lnTo>
                <a:lnTo>
                  <a:pt x="68" y="0"/>
                </a:lnTo>
                <a:lnTo>
                  <a:pt x="191" y="31"/>
                </a:lnTo>
                <a:lnTo>
                  <a:pt x="215" y="66"/>
                </a:lnTo>
                <a:lnTo>
                  <a:pt x="316" y="105"/>
                </a:lnTo>
                <a:lnTo>
                  <a:pt x="349" y="91"/>
                </a:lnTo>
                <a:lnTo>
                  <a:pt x="352" y="39"/>
                </a:lnTo>
                <a:lnTo>
                  <a:pt x="385" y="14"/>
                </a:lnTo>
                <a:lnTo>
                  <a:pt x="522" y="55"/>
                </a:lnTo>
                <a:lnTo>
                  <a:pt x="507" y="113"/>
                </a:lnTo>
                <a:lnTo>
                  <a:pt x="522" y="398"/>
                </a:lnTo>
                <a:lnTo>
                  <a:pt x="522" y="465"/>
                </a:lnTo>
                <a:lnTo>
                  <a:pt x="492" y="467"/>
                </a:lnTo>
                <a:lnTo>
                  <a:pt x="492" y="486"/>
                </a:lnTo>
                <a:lnTo>
                  <a:pt x="224" y="348"/>
                </a:lnTo>
                <a:lnTo>
                  <a:pt x="190" y="362"/>
                </a:lnTo>
                <a:lnTo>
                  <a:pt x="79" y="346"/>
                </a:lnTo>
                <a:lnTo>
                  <a:pt x="0" y="254"/>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4" name="30613416.25455.526.12513.3755">
            <a:extLst>
              <a:ext uri="{FF2B5EF4-FFF2-40B4-BE49-F238E27FC236}">
                <a16:creationId xmlns:a16="http://schemas.microsoft.com/office/drawing/2014/main" id="{07043295-F2A0-2E48-AA6F-C67C3BC2E91C}"/>
              </a:ext>
            </a:extLst>
          </p:cNvPr>
          <p:cNvSpPr>
            <a:spLocks noChangeAspect="1"/>
          </p:cNvSpPr>
          <p:nvPr/>
        </p:nvSpPr>
        <p:spPr bwMode="gray">
          <a:xfrm>
            <a:off x="6974573" y="5039122"/>
            <a:ext cx="214926" cy="425542"/>
          </a:xfrm>
          <a:custGeom>
            <a:avLst/>
            <a:gdLst/>
            <a:ahLst/>
            <a:cxnLst>
              <a:cxn ang="0">
                <a:pos x="0" y="332"/>
              </a:cxn>
              <a:cxn ang="0">
                <a:pos x="21" y="427"/>
              </a:cxn>
              <a:cxn ang="0">
                <a:pos x="65" y="464"/>
              </a:cxn>
              <a:cxn ang="0">
                <a:pos x="138" y="427"/>
              </a:cxn>
              <a:cxn ang="0">
                <a:pos x="220" y="107"/>
              </a:cxn>
              <a:cxn ang="0">
                <a:pos x="235" y="120"/>
              </a:cxn>
              <a:cxn ang="0">
                <a:pos x="199" y="0"/>
              </a:cxn>
              <a:cxn ang="0">
                <a:pos x="157" y="50"/>
              </a:cxn>
              <a:cxn ang="0">
                <a:pos x="158" y="85"/>
              </a:cxn>
              <a:cxn ang="0">
                <a:pos x="106" y="123"/>
              </a:cxn>
              <a:cxn ang="0">
                <a:pos x="41" y="139"/>
              </a:cxn>
              <a:cxn ang="0">
                <a:pos x="23" y="180"/>
              </a:cxn>
              <a:cxn ang="0">
                <a:pos x="41" y="261"/>
              </a:cxn>
              <a:cxn ang="0">
                <a:pos x="0" y="332"/>
              </a:cxn>
            </a:cxnLst>
            <a:rect l="0" t="0" r="r" b="b"/>
            <a:pathLst>
              <a:path w="235" h="464">
                <a:moveTo>
                  <a:pt x="0" y="332"/>
                </a:moveTo>
                <a:lnTo>
                  <a:pt x="21" y="427"/>
                </a:lnTo>
                <a:lnTo>
                  <a:pt x="65" y="464"/>
                </a:lnTo>
                <a:lnTo>
                  <a:pt x="138" y="427"/>
                </a:lnTo>
                <a:lnTo>
                  <a:pt x="220" y="107"/>
                </a:lnTo>
                <a:lnTo>
                  <a:pt x="235" y="120"/>
                </a:lnTo>
                <a:lnTo>
                  <a:pt x="199" y="0"/>
                </a:lnTo>
                <a:lnTo>
                  <a:pt x="157" y="50"/>
                </a:lnTo>
                <a:lnTo>
                  <a:pt x="158" y="85"/>
                </a:lnTo>
                <a:lnTo>
                  <a:pt x="106" y="123"/>
                </a:lnTo>
                <a:lnTo>
                  <a:pt x="41" y="139"/>
                </a:lnTo>
                <a:lnTo>
                  <a:pt x="23" y="180"/>
                </a:lnTo>
                <a:lnTo>
                  <a:pt x="41" y="261"/>
                </a:lnTo>
                <a:lnTo>
                  <a:pt x="0" y="33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5" name="30614411436.12514.7565">
            <a:extLst>
              <a:ext uri="{FF2B5EF4-FFF2-40B4-BE49-F238E27FC236}">
                <a16:creationId xmlns:a16="http://schemas.microsoft.com/office/drawing/2014/main" id="{ED5CF6AC-B83C-054C-A8AB-E636B53B7D59}"/>
              </a:ext>
            </a:extLst>
          </p:cNvPr>
          <p:cNvSpPr>
            <a:spLocks noChangeAspect="1"/>
          </p:cNvSpPr>
          <p:nvPr/>
        </p:nvSpPr>
        <p:spPr bwMode="gray">
          <a:xfrm>
            <a:off x="6664545" y="4956704"/>
            <a:ext cx="95099" cy="237163"/>
          </a:xfrm>
          <a:custGeom>
            <a:avLst/>
            <a:gdLst/>
            <a:ahLst/>
            <a:cxnLst>
              <a:cxn ang="0">
                <a:pos x="0" y="142"/>
              </a:cxn>
              <a:cxn ang="0">
                <a:pos x="14" y="158"/>
              </a:cxn>
              <a:cxn ang="0">
                <a:pos x="57" y="172"/>
              </a:cxn>
              <a:cxn ang="0">
                <a:pos x="51" y="221"/>
              </a:cxn>
              <a:cxn ang="0">
                <a:pos x="87" y="261"/>
              </a:cxn>
              <a:cxn ang="0">
                <a:pos x="107" y="187"/>
              </a:cxn>
              <a:cxn ang="0">
                <a:pos x="73" y="138"/>
              </a:cxn>
              <a:cxn ang="0">
                <a:pos x="84" y="165"/>
              </a:cxn>
              <a:cxn ang="0">
                <a:pos x="63" y="164"/>
              </a:cxn>
              <a:cxn ang="0">
                <a:pos x="41" y="96"/>
              </a:cxn>
              <a:cxn ang="0">
                <a:pos x="40" y="7"/>
              </a:cxn>
              <a:cxn ang="0">
                <a:pos x="7" y="0"/>
              </a:cxn>
              <a:cxn ang="0">
                <a:pos x="33" y="43"/>
              </a:cxn>
              <a:cxn ang="0">
                <a:pos x="0" y="142"/>
              </a:cxn>
            </a:cxnLst>
            <a:rect l="0" t="0" r="r" b="b"/>
            <a:pathLst>
              <a:path w="107" h="261">
                <a:moveTo>
                  <a:pt x="0" y="142"/>
                </a:moveTo>
                <a:lnTo>
                  <a:pt x="14" y="158"/>
                </a:lnTo>
                <a:lnTo>
                  <a:pt x="57" y="172"/>
                </a:lnTo>
                <a:lnTo>
                  <a:pt x="51" y="221"/>
                </a:lnTo>
                <a:lnTo>
                  <a:pt x="87" y="261"/>
                </a:lnTo>
                <a:lnTo>
                  <a:pt x="107" y="187"/>
                </a:lnTo>
                <a:lnTo>
                  <a:pt x="73" y="138"/>
                </a:lnTo>
                <a:lnTo>
                  <a:pt x="84" y="165"/>
                </a:lnTo>
                <a:lnTo>
                  <a:pt x="63" y="164"/>
                </a:lnTo>
                <a:lnTo>
                  <a:pt x="41" y="96"/>
                </a:lnTo>
                <a:lnTo>
                  <a:pt x="40" y="7"/>
                </a:lnTo>
                <a:lnTo>
                  <a:pt x="7" y="0"/>
                </a:lnTo>
                <a:lnTo>
                  <a:pt x="33" y="43"/>
                </a:lnTo>
                <a:lnTo>
                  <a:pt x="0" y="14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6" name="30615345.625351.62528.62530.55">
            <a:extLst>
              <a:ext uri="{FF2B5EF4-FFF2-40B4-BE49-F238E27FC236}">
                <a16:creationId xmlns:a16="http://schemas.microsoft.com/office/drawing/2014/main" id="{E07E9F35-54CF-CF44-8AB7-54CC0F993190}"/>
              </a:ext>
            </a:extLst>
          </p:cNvPr>
          <p:cNvSpPr>
            <a:spLocks noChangeAspect="1"/>
          </p:cNvSpPr>
          <p:nvPr/>
        </p:nvSpPr>
        <p:spPr bwMode="gray">
          <a:xfrm>
            <a:off x="5310317" y="3897049"/>
            <a:ext cx="486915" cy="460865"/>
          </a:xfrm>
          <a:custGeom>
            <a:avLst/>
            <a:gdLst/>
            <a:ahLst/>
            <a:cxnLst>
              <a:cxn ang="0">
                <a:pos x="0" y="351"/>
              </a:cxn>
              <a:cxn ang="0">
                <a:pos x="23" y="315"/>
              </a:cxn>
              <a:cxn ang="0">
                <a:pos x="49" y="338"/>
              </a:cxn>
              <a:cxn ang="0">
                <a:pos x="218" y="327"/>
              </a:cxn>
              <a:cxn ang="0">
                <a:pos x="182" y="0"/>
              </a:cxn>
              <a:cxn ang="0">
                <a:pos x="241" y="0"/>
              </a:cxn>
              <a:cxn ang="0">
                <a:pos x="509" y="177"/>
              </a:cxn>
              <a:cxn ang="0">
                <a:pos x="512" y="207"/>
              </a:cxn>
              <a:cxn ang="0">
                <a:pos x="538" y="203"/>
              </a:cxn>
              <a:cxn ang="0">
                <a:pos x="540" y="308"/>
              </a:cxn>
              <a:cxn ang="0">
                <a:pos x="518" y="330"/>
              </a:cxn>
              <a:cxn ang="0">
                <a:pos x="409" y="344"/>
              </a:cxn>
              <a:cxn ang="0">
                <a:pos x="272" y="404"/>
              </a:cxn>
              <a:cxn ang="0">
                <a:pos x="229" y="500"/>
              </a:cxn>
              <a:cxn ang="0">
                <a:pos x="195" y="488"/>
              </a:cxn>
              <a:cxn ang="0">
                <a:pos x="137" y="506"/>
              </a:cxn>
              <a:cxn ang="0">
                <a:pos x="103" y="426"/>
              </a:cxn>
              <a:cxn ang="0">
                <a:pos x="46" y="445"/>
              </a:cxn>
              <a:cxn ang="0">
                <a:pos x="24" y="429"/>
              </a:cxn>
              <a:cxn ang="0">
                <a:pos x="0" y="351"/>
              </a:cxn>
            </a:cxnLst>
            <a:rect l="0" t="0" r="r" b="b"/>
            <a:pathLst>
              <a:path w="540" h="506">
                <a:moveTo>
                  <a:pt x="0" y="351"/>
                </a:moveTo>
                <a:lnTo>
                  <a:pt x="23" y="315"/>
                </a:lnTo>
                <a:lnTo>
                  <a:pt x="49" y="338"/>
                </a:lnTo>
                <a:lnTo>
                  <a:pt x="218" y="327"/>
                </a:lnTo>
                <a:lnTo>
                  <a:pt x="182" y="0"/>
                </a:lnTo>
                <a:lnTo>
                  <a:pt x="241" y="0"/>
                </a:lnTo>
                <a:lnTo>
                  <a:pt x="509" y="177"/>
                </a:lnTo>
                <a:lnTo>
                  <a:pt x="512" y="207"/>
                </a:lnTo>
                <a:lnTo>
                  <a:pt x="538" y="203"/>
                </a:lnTo>
                <a:lnTo>
                  <a:pt x="540" y="308"/>
                </a:lnTo>
                <a:lnTo>
                  <a:pt x="518" y="330"/>
                </a:lnTo>
                <a:lnTo>
                  <a:pt x="409" y="344"/>
                </a:lnTo>
                <a:lnTo>
                  <a:pt x="272" y="404"/>
                </a:lnTo>
                <a:lnTo>
                  <a:pt x="229" y="500"/>
                </a:lnTo>
                <a:lnTo>
                  <a:pt x="195" y="488"/>
                </a:lnTo>
                <a:lnTo>
                  <a:pt x="137" y="506"/>
                </a:lnTo>
                <a:lnTo>
                  <a:pt x="103" y="426"/>
                </a:lnTo>
                <a:lnTo>
                  <a:pt x="46" y="445"/>
                </a:lnTo>
                <a:lnTo>
                  <a:pt x="24" y="429"/>
                </a:lnTo>
                <a:lnTo>
                  <a:pt x="0" y="35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7" name="30616341.125342.524.2522.755">
            <a:extLst>
              <a:ext uri="{FF2B5EF4-FFF2-40B4-BE49-F238E27FC236}">
                <a16:creationId xmlns:a16="http://schemas.microsoft.com/office/drawing/2014/main" id="{B5BC5E27-0596-1A46-9294-26273203ADD7}"/>
              </a:ext>
            </a:extLst>
          </p:cNvPr>
          <p:cNvSpPr>
            <a:spLocks noChangeAspect="1"/>
          </p:cNvSpPr>
          <p:nvPr/>
        </p:nvSpPr>
        <p:spPr bwMode="gray">
          <a:xfrm>
            <a:off x="5163863" y="3823042"/>
            <a:ext cx="365184" cy="393588"/>
          </a:xfrm>
          <a:custGeom>
            <a:avLst/>
            <a:gdLst/>
            <a:ahLst/>
            <a:cxnLst>
              <a:cxn ang="0">
                <a:pos x="0" y="217"/>
              </a:cxn>
              <a:cxn ang="0">
                <a:pos x="25" y="242"/>
              </a:cxn>
              <a:cxn ang="0">
                <a:pos x="31" y="306"/>
              </a:cxn>
              <a:cxn ang="0">
                <a:pos x="11" y="388"/>
              </a:cxn>
              <a:cxn ang="0">
                <a:pos x="87" y="370"/>
              </a:cxn>
              <a:cxn ang="0">
                <a:pos x="163" y="432"/>
              </a:cxn>
              <a:cxn ang="0">
                <a:pos x="186" y="396"/>
              </a:cxn>
              <a:cxn ang="0">
                <a:pos x="212" y="419"/>
              </a:cxn>
              <a:cxn ang="0">
                <a:pos x="381" y="408"/>
              </a:cxn>
              <a:cxn ang="0">
                <a:pos x="345" y="81"/>
              </a:cxn>
              <a:cxn ang="0">
                <a:pos x="404" y="81"/>
              </a:cxn>
              <a:cxn ang="0">
                <a:pos x="281" y="0"/>
              </a:cxn>
              <a:cxn ang="0">
                <a:pos x="278" y="44"/>
              </a:cxn>
              <a:cxn ang="0">
                <a:pos x="171" y="41"/>
              </a:cxn>
              <a:cxn ang="0">
                <a:pos x="169" y="132"/>
              </a:cxn>
              <a:cxn ang="0">
                <a:pos x="131" y="148"/>
              </a:cxn>
              <a:cxn ang="0">
                <a:pos x="134" y="203"/>
              </a:cxn>
              <a:cxn ang="0">
                <a:pos x="0" y="217"/>
              </a:cxn>
            </a:cxnLst>
            <a:rect l="0" t="0" r="r" b="b"/>
            <a:pathLst>
              <a:path w="404" h="432">
                <a:moveTo>
                  <a:pt x="0" y="217"/>
                </a:moveTo>
                <a:lnTo>
                  <a:pt x="25" y="242"/>
                </a:lnTo>
                <a:lnTo>
                  <a:pt x="31" y="306"/>
                </a:lnTo>
                <a:lnTo>
                  <a:pt x="11" y="388"/>
                </a:lnTo>
                <a:lnTo>
                  <a:pt x="87" y="370"/>
                </a:lnTo>
                <a:lnTo>
                  <a:pt x="163" y="432"/>
                </a:lnTo>
                <a:lnTo>
                  <a:pt x="186" y="396"/>
                </a:lnTo>
                <a:lnTo>
                  <a:pt x="212" y="419"/>
                </a:lnTo>
                <a:lnTo>
                  <a:pt x="381" y="408"/>
                </a:lnTo>
                <a:lnTo>
                  <a:pt x="345" y="81"/>
                </a:lnTo>
                <a:lnTo>
                  <a:pt x="404" y="81"/>
                </a:lnTo>
                <a:lnTo>
                  <a:pt x="281" y="0"/>
                </a:lnTo>
                <a:lnTo>
                  <a:pt x="278" y="44"/>
                </a:lnTo>
                <a:lnTo>
                  <a:pt x="171" y="41"/>
                </a:lnTo>
                <a:lnTo>
                  <a:pt x="169" y="132"/>
                </a:lnTo>
                <a:lnTo>
                  <a:pt x="131" y="148"/>
                </a:lnTo>
                <a:lnTo>
                  <a:pt x="134" y="203"/>
                </a:lnTo>
                <a:lnTo>
                  <a:pt x="0" y="21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8" name="30617323.75349.87516.7522.1255">
            <a:extLst>
              <a:ext uri="{FF2B5EF4-FFF2-40B4-BE49-F238E27FC236}">
                <a16:creationId xmlns:a16="http://schemas.microsoft.com/office/drawing/2014/main" id="{099D543D-929D-8947-9929-2DC58D8BC16F}"/>
              </a:ext>
            </a:extLst>
          </p:cNvPr>
          <p:cNvSpPr>
            <a:spLocks noChangeAspect="1"/>
          </p:cNvSpPr>
          <p:nvPr/>
        </p:nvSpPr>
        <p:spPr bwMode="gray">
          <a:xfrm>
            <a:off x="5281789" y="3540465"/>
            <a:ext cx="353773" cy="274166"/>
          </a:xfrm>
          <a:custGeom>
            <a:avLst/>
            <a:gdLst/>
            <a:ahLst/>
            <a:cxnLst>
              <a:cxn ang="0">
                <a:pos x="0" y="291"/>
              </a:cxn>
              <a:cxn ang="0">
                <a:pos x="97" y="235"/>
              </a:cxn>
              <a:cxn ang="0">
                <a:pos x="131" y="118"/>
              </a:cxn>
              <a:cxn ang="0">
                <a:pos x="213" y="59"/>
              </a:cxn>
              <a:cxn ang="0">
                <a:pos x="241" y="0"/>
              </a:cxn>
              <a:cxn ang="0">
                <a:pos x="360" y="19"/>
              </a:cxn>
              <a:cxn ang="0">
                <a:pos x="392" y="129"/>
              </a:cxn>
              <a:cxn ang="0">
                <a:pos x="338" y="132"/>
              </a:cxn>
              <a:cxn ang="0">
                <a:pos x="310" y="144"/>
              </a:cxn>
              <a:cxn ang="0">
                <a:pos x="315" y="173"/>
              </a:cxn>
              <a:cxn ang="0">
                <a:pos x="164" y="239"/>
              </a:cxn>
              <a:cxn ang="0">
                <a:pos x="146" y="295"/>
              </a:cxn>
              <a:cxn ang="0">
                <a:pos x="0" y="291"/>
              </a:cxn>
            </a:cxnLst>
            <a:rect l="0" t="0" r="r" b="b"/>
            <a:pathLst>
              <a:path w="392" h="295">
                <a:moveTo>
                  <a:pt x="0" y="291"/>
                </a:moveTo>
                <a:lnTo>
                  <a:pt x="97" y="235"/>
                </a:lnTo>
                <a:lnTo>
                  <a:pt x="131" y="118"/>
                </a:lnTo>
                <a:lnTo>
                  <a:pt x="213" y="59"/>
                </a:lnTo>
                <a:lnTo>
                  <a:pt x="241" y="0"/>
                </a:lnTo>
                <a:lnTo>
                  <a:pt x="360" y="19"/>
                </a:lnTo>
                <a:lnTo>
                  <a:pt x="392" y="129"/>
                </a:lnTo>
                <a:lnTo>
                  <a:pt x="338" y="132"/>
                </a:lnTo>
                <a:lnTo>
                  <a:pt x="310" y="144"/>
                </a:lnTo>
                <a:lnTo>
                  <a:pt x="315" y="173"/>
                </a:lnTo>
                <a:lnTo>
                  <a:pt x="164" y="239"/>
                </a:lnTo>
                <a:lnTo>
                  <a:pt x="146" y="295"/>
                </a:lnTo>
                <a:lnTo>
                  <a:pt x="0" y="29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59" name="30618413430.87531.37519.755">
            <a:extLst>
              <a:ext uri="{FF2B5EF4-FFF2-40B4-BE49-F238E27FC236}">
                <a16:creationId xmlns:a16="http://schemas.microsoft.com/office/drawing/2014/main" id="{55968E14-645B-3B45-9B70-C03E3182E5B8}"/>
              </a:ext>
            </a:extLst>
          </p:cNvPr>
          <p:cNvSpPr>
            <a:spLocks noChangeAspect="1"/>
          </p:cNvSpPr>
          <p:nvPr/>
        </p:nvSpPr>
        <p:spPr bwMode="gray">
          <a:xfrm>
            <a:off x="6578956" y="4988662"/>
            <a:ext cx="317635" cy="504599"/>
          </a:xfrm>
          <a:custGeom>
            <a:avLst/>
            <a:gdLst/>
            <a:ahLst/>
            <a:cxnLst>
              <a:cxn ang="0">
                <a:pos x="0" y="155"/>
              </a:cxn>
              <a:cxn ang="0">
                <a:pos x="9" y="173"/>
              </a:cxn>
              <a:cxn ang="0">
                <a:pos x="92" y="199"/>
              </a:cxn>
              <a:cxn ang="0">
                <a:pos x="100" y="234"/>
              </a:cxn>
              <a:cxn ang="0">
                <a:pos x="96" y="322"/>
              </a:cxn>
              <a:cxn ang="0">
                <a:pos x="52" y="414"/>
              </a:cxn>
              <a:cxn ang="0">
                <a:pos x="64" y="522"/>
              </a:cxn>
              <a:cxn ang="0">
                <a:pos x="68" y="557"/>
              </a:cxn>
              <a:cxn ang="0">
                <a:pos x="95" y="557"/>
              </a:cxn>
              <a:cxn ang="0">
                <a:pos x="95" y="520"/>
              </a:cxn>
              <a:cxn ang="0">
                <a:pos x="181" y="470"/>
              </a:cxn>
              <a:cxn ang="0">
                <a:pos x="156" y="322"/>
              </a:cxn>
              <a:cxn ang="0">
                <a:pos x="349" y="172"/>
              </a:cxn>
              <a:cxn ang="0">
                <a:pos x="352" y="0"/>
              </a:cxn>
              <a:cxn ang="0">
                <a:pos x="302" y="30"/>
              </a:cxn>
              <a:cxn ang="0">
                <a:pos x="169" y="38"/>
              </a:cxn>
              <a:cxn ang="0">
                <a:pos x="166" y="102"/>
              </a:cxn>
              <a:cxn ang="0">
                <a:pos x="200" y="151"/>
              </a:cxn>
              <a:cxn ang="0">
                <a:pos x="180" y="225"/>
              </a:cxn>
              <a:cxn ang="0">
                <a:pos x="144" y="185"/>
              </a:cxn>
              <a:cxn ang="0">
                <a:pos x="150" y="136"/>
              </a:cxn>
              <a:cxn ang="0">
                <a:pos x="107" y="122"/>
              </a:cxn>
              <a:cxn ang="0">
                <a:pos x="0" y="155"/>
              </a:cxn>
            </a:cxnLst>
            <a:rect l="0" t="0" r="r" b="b"/>
            <a:pathLst>
              <a:path w="352" h="557">
                <a:moveTo>
                  <a:pt x="0" y="155"/>
                </a:moveTo>
                <a:lnTo>
                  <a:pt x="9" y="173"/>
                </a:lnTo>
                <a:lnTo>
                  <a:pt x="92" y="199"/>
                </a:lnTo>
                <a:lnTo>
                  <a:pt x="100" y="234"/>
                </a:lnTo>
                <a:lnTo>
                  <a:pt x="96" y="322"/>
                </a:lnTo>
                <a:lnTo>
                  <a:pt x="52" y="414"/>
                </a:lnTo>
                <a:lnTo>
                  <a:pt x="64" y="522"/>
                </a:lnTo>
                <a:lnTo>
                  <a:pt x="68" y="557"/>
                </a:lnTo>
                <a:lnTo>
                  <a:pt x="95" y="557"/>
                </a:lnTo>
                <a:lnTo>
                  <a:pt x="95" y="520"/>
                </a:lnTo>
                <a:lnTo>
                  <a:pt x="181" y="470"/>
                </a:lnTo>
                <a:lnTo>
                  <a:pt x="156" y="322"/>
                </a:lnTo>
                <a:lnTo>
                  <a:pt x="349" y="172"/>
                </a:lnTo>
                <a:lnTo>
                  <a:pt x="352" y="0"/>
                </a:lnTo>
                <a:lnTo>
                  <a:pt x="302" y="30"/>
                </a:lnTo>
                <a:lnTo>
                  <a:pt x="169" y="38"/>
                </a:lnTo>
                <a:lnTo>
                  <a:pt x="166" y="102"/>
                </a:lnTo>
                <a:lnTo>
                  <a:pt x="200" y="151"/>
                </a:lnTo>
                <a:lnTo>
                  <a:pt x="180" y="225"/>
                </a:lnTo>
                <a:lnTo>
                  <a:pt x="144" y="185"/>
                </a:lnTo>
                <a:lnTo>
                  <a:pt x="150" y="136"/>
                </a:lnTo>
                <a:lnTo>
                  <a:pt x="107" y="122"/>
                </a:lnTo>
                <a:lnTo>
                  <a:pt x="0" y="15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0" name="30619348.5374.7522.87529.8755">
            <a:extLst>
              <a:ext uri="{FF2B5EF4-FFF2-40B4-BE49-F238E27FC236}">
                <a16:creationId xmlns:a16="http://schemas.microsoft.com/office/drawing/2014/main" id="{4D21418C-DFAC-3146-859B-AFFCACE0B7E9}"/>
              </a:ext>
            </a:extLst>
          </p:cNvPr>
          <p:cNvSpPr>
            <a:spLocks noChangeAspect="1"/>
          </p:cNvSpPr>
          <p:nvPr/>
        </p:nvSpPr>
        <p:spPr bwMode="gray">
          <a:xfrm>
            <a:off x="5681207" y="3942464"/>
            <a:ext cx="477405" cy="371721"/>
          </a:xfrm>
          <a:custGeom>
            <a:avLst/>
            <a:gdLst/>
            <a:ahLst/>
            <a:cxnLst>
              <a:cxn ang="0">
                <a:pos x="0" y="293"/>
              </a:cxn>
              <a:cxn ang="0">
                <a:pos x="7" y="326"/>
              </a:cxn>
              <a:cxn ang="0">
                <a:pos x="72" y="396"/>
              </a:cxn>
              <a:cxn ang="0">
                <a:pos x="88" y="381"/>
              </a:cxn>
              <a:cxn ang="0">
                <a:pos x="114" y="404"/>
              </a:cxn>
              <a:cxn ang="0">
                <a:pos x="154" y="334"/>
              </a:cxn>
              <a:cxn ang="0">
                <a:pos x="305" y="370"/>
              </a:cxn>
              <a:cxn ang="0">
                <a:pos x="436" y="333"/>
              </a:cxn>
              <a:cxn ang="0">
                <a:pos x="440" y="315"/>
              </a:cxn>
              <a:cxn ang="0">
                <a:pos x="509" y="227"/>
              </a:cxn>
              <a:cxn ang="0">
                <a:pos x="529" y="107"/>
              </a:cxn>
              <a:cxn ang="0">
                <a:pos x="495" y="70"/>
              </a:cxn>
              <a:cxn ang="0">
                <a:pos x="495" y="16"/>
              </a:cxn>
              <a:cxn ang="0">
                <a:pos x="384" y="0"/>
              </a:cxn>
              <a:cxn ang="0">
                <a:pos x="182" y="139"/>
              </a:cxn>
              <a:cxn ang="0">
                <a:pos x="129" y="152"/>
              </a:cxn>
              <a:cxn ang="0">
                <a:pos x="131" y="257"/>
              </a:cxn>
              <a:cxn ang="0">
                <a:pos x="109" y="279"/>
              </a:cxn>
              <a:cxn ang="0">
                <a:pos x="0" y="293"/>
              </a:cxn>
            </a:cxnLst>
            <a:rect l="0" t="0" r="r" b="b"/>
            <a:pathLst>
              <a:path w="529" h="404">
                <a:moveTo>
                  <a:pt x="0" y="293"/>
                </a:moveTo>
                <a:lnTo>
                  <a:pt x="7" y="326"/>
                </a:lnTo>
                <a:lnTo>
                  <a:pt x="72" y="396"/>
                </a:lnTo>
                <a:lnTo>
                  <a:pt x="88" y="381"/>
                </a:lnTo>
                <a:lnTo>
                  <a:pt x="114" y="404"/>
                </a:lnTo>
                <a:lnTo>
                  <a:pt x="154" y="334"/>
                </a:lnTo>
                <a:lnTo>
                  <a:pt x="305" y="370"/>
                </a:lnTo>
                <a:lnTo>
                  <a:pt x="436" y="333"/>
                </a:lnTo>
                <a:lnTo>
                  <a:pt x="440" y="315"/>
                </a:lnTo>
                <a:lnTo>
                  <a:pt x="509" y="227"/>
                </a:lnTo>
                <a:lnTo>
                  <a:pt x="529" y="107"/>
                </a:lnTo>
                <a:lnTo>
                  <a:pt x="495" y="70"/>
                </a:lnTo>
                <a:lnTo>
                  <a:pt x="495" y="16"/>
                </a:lnTo>
                <a:lnTo>
                  <a:pt x="384" y="0"/>
                </a:lnTo>
                <a:lnTo>
                  <a:pt x="182" y="139"/>
                </a:lnTo>
                <a:lnTo>
                  <a:pt x="129" y="152"/>
                </a:lnTo>
                <a:lnTo>
                  <a:pt x="131" y="257"/>
                </a:lnTo>
                <a:lnTo>
                  <a:pt x="109" y="279"/>
                </a:lnTo>
                <a:lnTo>
                  <a:pt x="0" y="29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1" name="30620367.375379.7518.12521.8755">
            <a:extLst>
              <a:ext uri="{FF2B5EF4-FFF2-40B4-BE49-F238E27FC236}">
                <a16:creationId xmlns:a16="http://schemas.microsoft.com/office/drawing/2014/main" id="{A5A5554C-352E-7840-ADAB-3A1E2B0AE71B}"/>
              </a:ext>
            </a:extLst>
          </p:cNvPr>
          <p:cNvSpPr>
            <a:spLocks noChangeAspect="1"/>
          </p:cNvSpPr>
          <p:nvPr/>
        </p:nvSpPr>
        <p:spPr bwMode="gray">
          <a:xfrm>
            <a:off x="5759190" y="4248584"/>
            <a:ext cx="351869" cy="294349"/>
          </a:xfrm>
          <a:custGeom>
            <a:avLst/>
            <a:gdLst/>
            <a:ahLst/>
            <a:cxnLst>
              <a:cxn ang="0">
                <a:pos x="0" y="251"/>
              </a:cxn>
              <a:cxn ang="0">
                <a:pos x="26" y="71"/>
              </a:cxn>
              <a:cxn ang="0">
                <a:pos x="66" y="1"/>
              </a:cxn>
              <a:cxn ang="0">
                <a:pos x="217" y="37"/>
              </a:cxn>
              <a:cxn ang="0">
                <a:pos x="348" y="0"/>
              </a:cxn>
              <a:cxn ang="0">
                <a:pos x="374" y="42"/>
              </a:cxn>
              <a:cxn ang="0">
                <a:pos x="388" y="71"/>
              </a:cxn>
              <a:cxn ang="0">
                <a:pos x="353" y="97"/>
              </a:cxn>
              <a:cxn ang="0">
                <a:pos x="285" y="243"/>
              </a:cxn>
              <a:cxn ang="0">
                <a:pos x="221" y="233"/>
              </a:cxn>
              <a:cxn ang="0">
                <a:pos x="186" y="304"/>
              </a:cxn>
              <a:cxn ang="0">
                <a:pos x="111" y="323"/>
              </a:cxn>
              <a:cxn ang="0">
                <a:pos x="66" y="260"/>
              </a:cxn>
              <a:cxn ang="0">
                <a:pos x="0" y="251"/>
              </a:cxn>
            </a:cxnLst>
            <a:rect l="0" t="0" r="r" b="b"/>
            <a:pathLst>
              <a:path w="388" h="323">
                <a:moveTo>
                  <a:pt x="0" y="251"/>
                </a:moveTo>
                <a:lnTo>
                  <a:pt x="26" y="71"/>
                </a:lnTo>
                <a:lnTo>
                  <a:pt x="66" y="1"/>
                </a:lnTo>
                <a:lnTo>
                  <a:pt x="217" y="37"/>
                </a:lnTo>
                <a:lnTo>
                  <a:pt x="348" y="0"/>
                </a:lnTo>
                <a:lnTo>
                  <a:pt x="374" y="42"/>
                </a:lnTo>
                <a:lnTo>
                  <a:pt x="388" y="71"/>
                </a:lnTo>
                <a:lnTo>
                  <a:pt x="353" y="97"/>
                </a:lnTo>
                <a:lnTo>
                  <a:pt x="285" y="243"/>
                </a:lnTo>
                <a:lnTo>
                  <a:pt x="221" y="233"/>
                </a:lnTo>
                <a:lnTo>
                  <a:pt x="186" y="304"/>
                </a:lnTo>
                <a:lnTo>
                  <a:pt x="111" y="323"/>
                </a:lnTo>
                <a:lnTo>
                  <a:pt x="66" y="260"/>
                </a:lnTo>
                <a:lnTo>
                  <a:pt x="0" y="251"/>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2" name="30621369.5342.8753.3755.6255">
            <a:extLst>
              <a:ext uri="{FF2B5EF4-FFF2-40B4-BE49-F238E27FC236}">
                <a16:creationId xmlns:a16="http://schemas.microsoft.com/office/drawing/2014/main" id="{AD7D982C-784E-A542-8E85-DDA350803248}"/>
              </a:ext>
            </a:extLst>
          </p:cNvPr>
          <p:cNvSpPr>
            <a:spLocks noChangeAspect="1"/>
          </p:cNvSpPr>
          <p:nvPr/>
        </p:nvSpPr>
        <p:spPr bwMode="gray">
          <a:xfrm>
            <a:off x="5171470" y="4283907"/>
            <a:ext cx="87493" cy="53825"/>
          </a:xfrm>
          <a:custGeom>
            <a:avLst/>
            <a:gdLst/>
            <a:ahLst/>
            <a:cxnLst>
              <a:cxn ang="0">
                <a:pos x="0" y="7"/>
              </a:cxn>
              <a:cxn ang="0">
                <a:pos x="29" y="33"/>
              </a:cxn>
              <a:cxn ang="0">
                <a:pos x="62" y="25"/>
              </a:cxn>
              <a:cxn ang="0">
                <a:pos x="43" y="33"/>
              </a:cxn>
              <a:cxn ang="0">
                <a:pos x="58" y="59"/>
              </a:cxn>
              <a:cxn ang="0">
                <a:pos x="99" y="33"/>
              </a:cxn>
              <a:cxn ang="0">
                <a:pos x="101" y="0"/>
              </a:cxn>
              <a:cxn ang="0">
                <a:pos x="0" y="7"/>
              </a:cxn>
            </a:cxnLst>
            <a:rect l="0" t="0" r="r" b="b"/>
            <a:pathLst>
              <a:path w="101" h="59">
                <a:moveTo>
                  <a:pt x="0" y="7"/>
                </a:moveTo>
                <a:lnTo>
                  <a:pt x="29" y="33"/>
                </a:lnTo>
                <a:lnTo>
                  <a:pt x="62" y="25"/>
                </a:lnTo>
                <a:lnTo>
                  <a:pt x="43" y="33"/>
                </a:lnTo>
                <a:lnTo>
                  <a:pt x="58" y="59"/>
                </a:lnTo>
                <a:lnTo>
                  <a:pt x="99" y="33"/>
                </a:lnTo>
                <a:lnTo>
                  <a:pt x="101" y="0"/>
                </a:lnTo>
                <a:lnTo>
                  <a:pt x="0" y="7"/>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3" name="30622343.5470.125315">
            <a:extLst>
              <a:ext uri="{FF2B5EF4-FFF2-40B4-BE49-F238E27FC236}">
                <a16:creationId xmlns:a16="http://schemas.microsoft.com/office/drawing/2014/main" id="{9D6F6151-2229-A042-AA19-9F8FF7A9A60D}"/>
              </a:ext>
            </a:extLst>
          </p:cNvPr>
          <p:cNvSpPr>
            <a:spLocks noChangeAspect="1"/>
          </p:cNvSpPr>
          <p:nvPr/>
        </p:nvSpPr>
        <p:spPr bwMode="gray">
          <a:xfrm>
            <a:off x="7208520" y="3861726"/>
            <a:ext cx="17117" cy="48776"/>
          </a:xfrm>
          <a:custGeom>
            <a:avLst/>
            <a:gdLst/>
            <a:ahLst/>
            <a:cxnLst>
              <a:cxn ang="0">
                <a:pos x="0" y="45"/>
              </a:cxn>
              <a:cxn ang="0">
                <a:pos x="10" y="55"/>
              </a:cxn>
              <a:cxn ang="0">
                <a:pos x="19" y="52"/>
              </a:cxn>
              <a:cxn ang="0">
                <a:pos x="11" y="0"/>
              </a:cxn>
              <a:cxn ang="0">
                <a:pos x="0" y="45"/>
              </a:cxn>
            </a:cxnLst>
            <a:rect l="0" t="0" r="r" b="b"/>
            <a:pathLst>
              <a:path w="19" h="55">
                <a:moveTo>
                  <a:pt x="0" y="45"/>
                </a:moveTo>
                <a:lnTo>
                  <a:pt x="10" y="55"/>
                </a:lnTo>
                <a:lnTo>
                  <a:pt x="19" y="52"/>
                </a:lnTo>
                <a:lnTo>
                  <a:pt x="11" y="0"/>
                </a:lnTo>
                <a:lnTo>
                  <a:pt x="0" y="45"/>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4" name="30623395.25429.12533.1255">
            <a:extLst>
              <a:ext uri="{FF2B5EF4-FFF2-40B4-BE49-F238E27FC236}">
                <a16:creationId xmlns:a16="http://schemas.microsoft.com/office/drawing/2014/main" id="{7D395B61-DDDB-3346-BF50-34661B658F21}"/>
              </a:ext>
            </a:extLst>
          </p:cNvPr>
          <p:cNvSpPr>
            <a:spLocks noChangeAspect="1"/>
          </p:cNvSpPr>
          <p:nvPr/>
        </p:nvSpPr>
        <p:spPr bwMode="gray">
          <a:xfrm>
            <a:off x="6550428" y="4701039"/>
            <a:ext cx="51355" cy="47095"/>
          </a:xfrm>
          <a:custGeom>
            <a:avLst/>
            <a:gdLst/>
            <a:ahLst/>
            <a:cxnLst>
              <a:cxn ang="0">
                <a:pos x="0" y="53"/>
              </a:cxn>
              <a:cxn ang="0">
                <a:pos x="22" y="9"/>
              </a:cxn>
              <a:cxn ang="0">
                <a:pos x="48" y="0"/>
              </a:cxn>
              <a:cxn ang="0">
                <a:pos x="55" y="44"/>
              </a:cxn>
              <a:cxn ang="0">
                <a:pos x="0" y="53"/>
              </a:cxn>
            </a:cxnLst>
            <a:rect l="0" t="0" r="r" b="b"/>
            <a:pathLst>
              <a:path w="55" h="53">
                <a:moveTo>
                  <a:pt x="0" y="53"/>
                </a:moveTo>
                <a:lnTo>
                  <a:pt x="22" y="9"/>
                </a:lnTo>
                <a:lnTo>
                  <a:pt x="48" y="0"/>
                </a:lnTo>
                <a:lnTo>
                  <a:pt x="55" y="44"/>
                </a:lnTo>
                <a:lnTo>
                  <a:pt x="0" y="5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5" name="30624361.875341.5811.6255">
            <a:extLst>
              <a:ext uri="{FF2B5EF4-FFF2-40B4-BE49-F238E27FC236}">
                <a16:creationId xmlns:a16="http://schemas.microsoft.com/office/drawing/2014/main" id="{CC4D07DF-2E95-5544-91AC-2EB2134BF38B}"/>
              </a:ext>
            </a:extLst>
          </p:cNvPr>
          <p:cNvSpPr>
            <a:spLocks noChangeAspect="1"/>
          </p:cNvSpPr>
          <p:nvPr/>
        </p:nvSpPr>
        <p:spPr bwMode="gray">
          <a:xfrm>
            <a:off x="5148647" y="4159440"/>
            <a:ext cx="186397" cy="131197"/>
          </a:xfrm>
          <a:custGeom>
            <a:avLst/>
            <a:gdLst/>
            <a:ahLst/>
            <a:cxnLst>
              <a:cxn ang="0">
                <a:pos x="0" y="62"/>
              </a:cxn>
              <a:cxn ang="0">
                <a:pos x="30" y="101"/>
              </a:cxn>
              <a:cxn ang="0">
                <a:pos x="125" y="108"/>
              </a:cxn>
              <a:cxn ang="0">
                <a:pos x="26" y="121"/>
              </a:cxn>
              <a:cxn ang="0">
                <a:pos x="26" y="140"/>
              </a:cxn>
              <a:cxn ang="0">
                <a:pos x="127" y="133"/>
              </a:cxn>
              <a:cxn ang="0">
                <a:pos x="206" y="140"/>
              </a:cxn>
              <a:cxn ang="0">
                <a:pos x="182" y="62"/>
              </a:cxn>
              <a:cxn ang="0">
                <a:pos x="106" y="0"/>
              </a:cxn>
              <a:cxn ang="0">
                <a:pos x="30" y="18"/>
              </a:cxn>
              <a:cxn ang="0">
                <a:pos x="0" y="62"/>
              </a:cxn>
            </a:cxnLst>
            <a:rect l="0" t="0" r="r" b="b"/>
            <a:pathLst>
              <a:path w="206" h="140">
                <a:moveTo>
                  <a:pt x="0" y="62"/>
                </a:moveTo>
                <a:lnTo>
                  <a:pt x="30" y="101"/>
                </a:lnTo>
                <a:lnTo>
                  <a:pt x="125" y="108"/>
                </a:lnTo>
                <a:lnTo>
                  <a:pt x="26" y="121"/>
                </a:lnTo>
                <a:lnTo>
                  <a:pt x="26" y="140"/>
                </a:lnTo>
                <a:lnTo>
                  <a:pt x="127" y="133"/>
                </a:lnTo>
                <a:lnTo>
                  <a:pt x="206" y="140"/>
                </a:lnTo>
                <a:lnTo>
                  <a:pt x="182" y="62"/>
                </a:lnTo>
                <a:lnTo>
                  <a:pt x="106" y="0"/>
                </a:lnTo>
                <a:lnTo>
                  <a:pt x="30" y="18"/>
                </a:lnTo>
                <a:lnTo>
                  <a:pt x="0" y="62"/>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6" name="30625374.625349.3755.755.8755">
            <a:extLst>
              <a:ext uri="{FF2B5EF4-FFF2-40B4-BE49-F238E27FC236}">
                <a16:creationId xmlns:a16="http://schemas.microsoft.com/office/drawing/2014/main" id="{B31A5D24-0EE0-ED4B-91FB-DA9C2E9DE0FE}"/>
              </a:ext>
            </a:extLst>
          </p:cNvPr>
          <p:cNvSpPr>
            <a:spLocks noChangeAspect="1"/>
          </p:cNvSpPr>
          <p:nvPr/>
        </p:nvSpPr>
        <p:spPr bwMode="gray">
          <a:xfrm>
            <a:off x="5276083" y="4364641"/>
            <a:ext cx="91298" cy="94190"/>
          </a:xfrm>
          <a:custGeom>
            <a:avLst/>
            <a:gdLst/>
            <a:ahLst/>
            <a:cxnLst>
              <a:cxn ang="0">
                <a:pos x="0" y="29"/>
              </a:cxn>
              <a:cxn ang="0">
                <a:pos x="11" y="69"/>
              </a:cxn>
              <a:cxn ang="0">
                <a:pos x="62" y="101"/>
              </a:cxn>
              <a:cxn ang="0">
                <a:pos x="103" y="51"/>
              </a:cxn>
              <a:cxn ang="0">
                <a:pos x="70" y="0"/>
              </a:cxn>
              <a:cxn ang="0">
                <a:pos x="0" y="29"/>
              </a:cxn>
            </a:cxnLst>
            <a:rect l="0" t="0" r="r" b="b"/>
            <a:pathLst>
              <a:path w="103" h="101">
                <a:moveTo>
                  <a:pt x="0" y="29"/>
                </a:moveTo>
                <a:lnTo>
                  <a:pt x="11" y="69"/>
                </a:lnTo>
                <a:lnTo>
                  <a:pt x="62" y="101"/>
                </a:lnTo>
                <a:lnTo>
                  <a:pt x="103" y="51"/>
                </a:lnTo>
                <a:lnTo>
                  <a:pt x="70" y="0"/>
                </a:lnTo>
                <a:lnTo>
                  <a:pt x="0" y="2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7" name="30626371451.7525.519.255">
            <a:extLst>
              <a:ext uri="{FF2B5EF4-FFF2-40B4-BE49-F238E27FC236}">
                <a16:creationId xmlns:a16="http://schemas.microsoft.com/office/drawing/2014/main" id="{11ED581B-0DE4-8D44-BC7A-9EA69856ADDE}"/>
              </a:ext>
            </a:extLst>
          </p:cNvPr>
          <p:cNvSpPr>
            <a:spLocks noChangeAspect="1"/>
          </p:cNvSpPr>
          <p:nvPr/>
        </p:nvSpPr>
        <p:spPr bwMode="gray">
          <a:xfrm>
            <a:off x="6915612" y="4307455"/>
            <a:ext cx="310025" cy="413770"/>
          </a:xfrm>
          <a:custGeom>
            <a:avLst/>
            <a:gdLst/>
            <a:ahLst/>
            <a:cxnLst>
              <a:cxn ang="0">
                <a:pos x="0" y="425"/>
              </a:cxn>
              <a:cxn ang="0">
                <a:pos x="0" y="303"/>
              </a:cxn>
              <a:cxn ang="0">
                <a:pos x="27" y="267"/>
              </a:cxn>
              <a:cxn ang="0">
                <a:pos x="132" y="230"/>
              </a:cxn>
              <a:cxn ang="0">
                <a:pos x="233" y="130"/>
              </a:cxn>
              <a:cxn ang="0">
                <a:pos x="101" y="96"/>
              </a:cxn>
              <a:cxn ang="0">
                <a:pos x="60" y="36"/>
              </a:cxn>
              <a:cxn ang="0">
                <a:pos x="75" y="17"/>
              </a:cxn>
              <a:cxn ang="0">
                <a:pos x="128" y="52"/>
              </a:cxn>
              <a:cxn ang="0">
                <a:pos x="325" y="0"/>
              </a:cxn>
              <a:cxn ang="0">
                <a:pos x="341" y="52"/>
              </a:cxn>
              <a:cxn ang="0">
                <a:pos x="221" y="264"/>
              </a:cxn>
              <a:cxn ang="0">
                <a:pos x="16" y="453"/>
              </a:cxn>
              <a:cxn ang="0">
                <a:pos x="0" y="425"/>
              </a:cxn>
            </a:cxnLst>
            <a:rect l="0" t="0" r="r" b="b"/>
            <a:pathLst>
              <a:path w="341" h="453">
                <a:moveTo>
                  <a:pt x="0" y="425"/>
                </a:moveTo>
                <a:lnTo>
                  <a:pt x="0" y="303"/>
                </a:lnTo>
                <a:lnTo>
                  <a:pt x="27" y="267"/>
                </a:lnTo>
                <a:lnTo>
                  <a:pt x="132" y="230"/>
                </a:lnTo>
                <a:lnTo>
                  <a:pt x="233" y="130"/>
                </a:lnTo>
                <a:lnTo>
                  <a:pt x="101" y="96"/>
                </a:lnTo>
                <a:lnTo>
                  <a:pt x="60" y="36"/>
                </a:lnTo>
                <a:lnTo>
                  <a:pt x="75" y="17"/>
                </a:lnTo>
                <a:lnTo>
                  <a:pt x="128" y="52"/>
                </a:lnTo>
                <a:lnTo>
                  <a:pt x="325" y="0"/>
                </a:lnTo>
                <a:lnTo>
                  <a:pt x="341" y="52"/>
                </a:lnTo>
                <a:lnTo>
                  <a:pt x="221" y="264"/>
                </a:lnTo>
                <a:lnTo>
                  <a:pt x="16" y="453"/>
                </a:lnTo>
                <a:lnTo>
                  <a:pt x="0" y="42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8" name="30627422.875421.62513.514.8755">
            <a:extLst>
              <a:ext uri="{FF2B5EF4-FFF2-40B4-BE49-F238E27FC236}">
                <a16:creationId xmlns:a16="http://schemas.microsoft.com/office/drawing/2014/main" id="{ECD76713-42E9-894F-8071-A48738C67336}"/>
              </a:ext>
            </a:extLst>
          </p:cNvPr>
          <p:cNvSpPr>
            <a:spLocks noChangeAspect="1"/>
          </p:cNvSpPr>
          <p:nvPr/>
        </p:nvSpPr>
        <p:spPr bwMode="gray">
          <a:xfrm>
            <a:off x="6430598" y="5146768"/>
            <a:ext cx="241557" cy="218661"/>
          </a:xfrm>
          <a:custGeom>
            <a:avLst/>
            <a:gdLst/>
            <a:ahLst/>
            <a:cxnLst>
              <a:cxn ang="0">
                <a:pos x="0" y="74"/>
              </a:cxn>
              <a:cxn ang="0">
                <a:pos x="59" y="76"/>
              </a:cxn>
              <a:cxn ang="0">
                <a:pos x="118" y="32"/>
              </a:cxn>
              <a:cxn ang="0">
                <a:pos x="121" y="12"/>
              </a:cxn>
              <a:cxn ang="0">
                <a:pos x="171" y="0"/>
              </a:cxn>
              <a:cxn ang="0">
                <a:pos x="254" y="26"/>
              </a:cxn>
              <a:cxn ang="0">
                <a:pos x="262" y="61"/>
              </a:cxn>
              <a:cxn ang="0">
                <a:pos x="258" y="149"/>
              </a:cxn>
              <a:cxn ang="0">
                <a:pos x="214" y="241"/>
              </a:cxn>
              <a:cxn ang="0">
                <a:pos x="138" y="224"/>
              </a:cxn>
              <a:cxn ang="0">
                <a:pos x="93" y="202"/>
              </a:cxn>
              <a:cxn ang="0">
                <a:pos x="0" y="74"/>
              </a:cxn>
            </a:cxnLst>
            <a:rect l="0" t="0" r="r" b="b"/>
            <a:pathLst>
              <a:path w="262" h="241">
                <a:moveTo>
                  <a:pt x="0" y="74"/>
                </a:moveTo>
                <a:lnTo>
                  <a:pt x="59" y="76"/>
                </a:lnTo>
                <a:lnTo>
                  <a:pt x="118" y="32"/>
                </a:lnTo>
                <a:lnTo>
                  <a:pt x="121" y="12"/>
                </a:lnTo>
                <a:lnTo>
                  <a:pt x="171" y="0"/>
                </a:lnTo>
                <a:lnTo>
                  <a:pt x="254" y="26"/>
                </a:lnTo>
                <a:lnTo>
                  <a:pt x="262" y="61"/>
                </a:lnTo>
                <a:lnTo>
                  <a:pt x="258" y="149"/>
                </a:lnTo>
                <a:lnTo>
                  <a:pt x="214" y="241"/>
                </a:lnTo>
                <a:lnTo>
                  <a:pt x="138" y="224"/>
                </a:lnTo>
                <a:lnTo>
                  <a:pt x="93" y="202"/>
                </a:lnTo>
                <a:lnTo>
                  <a:pt x="0" y="7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69" name="30628425.375396.12523.87525.55">
            <a:extLst>
              <a:ext uri="{FF2B5EF4-FFF2-40B4-BE49-F238E27FC236}">
                <a16:creationId xmlns:a16="http://schemas.microsoft.com/office/drawing/2014/main" id="{9F3E8397-FC16-AE4B-9D72-D9CDDE8CF7BA}"/>
              </a:ext>
            </a:extLst>
          </p:cNvPr>
          <p:cNvSpPr>
            <a:spLocks noChangeAspect="1"/>
          </p:cNvSpPr>
          <p:nvPr/>
        </p:nvSpPr>
        <p:spPr bwMode="gray">
          <a:xfrm>
            <a:off x="6021669" y="5187137"/>
            <a:ext cx="408929" cy="386858"/>
          </a:xfrm>
          <a:custGeom>
            <a:avLst/>
            <a:gdLst/>
            <a:ahLst/>
            <a:cxnLst>
              <a:cxn ang="0">
                <a:pos x="0" y="14"/>
              </a:cxn>
              <a:cxn ang="0">
                <a:pos x="55" y="0"/>
              </a:cxn>
              <a:cxn ang="0">
                <a:pos x="328" y="40"/>
              </a:cxn>
              <a:cxn ang="0">
                <a:pos x="389" y="22"/>
              </a:cxn>
              <a:cxn ang="0">
                <a:pos x="453" y="30"/>
              </a:cxn>
              <a:cxn ang="0">
                <a:pos x="398" y="61"/>
              </a:cxn>
              <a:cxn ang="0">
                <a:pos x="377" y="40"/>
              </a:cxn>
              <a:cxn ang="0">
                <a:pos x="312" y="54"/>
              </a:cxn>
              <a:cxn ang="0">
                <a:pos x="312" y="173"/>
              </a:cxn>
              <a:cxn ang="0">
                <a:pos x="278" y="175"/>
              </a:cxn>
              <a:cxn ang="0">
                <a:pos x="278" y="268"/>
              </a:cxn>
              <a:cxn ang="0">
                <a:pos x="278" y="404"/>
              </a:cxn>
              <a:cxn ang="0">
                <a:pos x="249" y="425"/>
              </a:cxn>
              <a:cxn ang="0">
                <a:pos x="207" y="425"/>
              </a:cxn>
              <a:cxn ang="0">
                <a:pos x="183" y="396"/>
              </a:cxn>
              <a:cxn ang="0">
                <a:pos x="164" y="411"/>
              </a:cxn>
              <a:cxn ang="0">
                <a:pos x="120" y="365"/>
              </a:cxn>
              <a:cxn ang="0">
                <a:pos x="97" y="216"/>
              </a:cxn>
              <a:cxn ang="0">
                <a:pos x="97" y="198"/>
              </a:cxn>
              <a:cxn ang="0">
                <a:pos x="0" y="14"/>
              </a:cxn>
            </a:cxnLst>
            <a:rect l="0" t="0" r="r" b="b"/>
            <a:pathLst>
              <a:path w="453" h="425">
                <a:moveTo>
                  <a:pt x="0" y="14"/>
                </a:moveTo>
                <a:lnTo>
                  <a:pt x="55" y="0"/>
                </a:lnTo>
                <a:lnTo>
                  <a:pt x="328" y="40"/>
                </a:lnTo>
                <a:lnTo>
                  <a:pt x="389" y="22"/>
                </a:lnTo>
                <a:lnTo>
                  <a:pt x="453" y="30"/>
                </a:lnTo>
                <a:lnTo>
                  <a:pt x="398" y="61"/>
                </a:lnTo>
                <a:lnTo>
                  <a:pt x="377" y="40"/>
                </a:lnTo>
                <a:lnTo>
                  <a:pt x="312" y="54"/>
                </a:lnTo>
                <a:lnTo>
                  <a:pt x="312" y="173"/>
                </a:lnTo>
                <a:lnTo>
                  <a:pt x="278" y="175"/>
                </a:lnTo>
                <a:lnTo>
                  <a:pt x="278" y="268"/>
                </a:lnTo>
                <a:lnTo>
                  <a:pt x="278" y="404"/>
                </a:lnTo>
                <a:lnTo>
                  <a:pt x="249" y="425"/>
                </a:lnTo>
                <a:lnTo>
                  <a:pt x="207" y="425"/>
                </a:lnTo>
                <a:lnTo>
                  <a:pt x="183" y="396"/>
                </a:lnTo>
                <a:lnTo>
                  <a:pt x="164" y="411"/>
                </a:lnTo>
                <a:lnTo>
                  <a:pt x="120" y="365"/>
                </a:lnTo>
                <a:lnTo>
                  <a:pt x="97" y="216"/>
                </a:lnTo>
                <a:lnTo>
                  <a:pt x="97" y="198"/>
                </a:lnTo>
                <a:lnTo>
                  <a:pt x="0" y="1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0" name="30629340.25342.513.12515.755">
            <a:extLst>
              <a:ext uri="{FF2B5EF4-FFF2-40B4-BE49-F238E27FC236}">
                <a16:creationId xmlns:a16="http://schemas.microsoft.com/office/drawing/2014/main" id="{0644DE69-077B-4943-8B00-CD9727C400DD}"/>
              </a:ext>
            </a:extLst>
          </p:cNvPr>
          <p:cNvSpPr>
            <a:spLocks noChangeAspect="1"/>
          </p:cNvSpPr>
          <p:nvPr/>
        </p:nvSpPr>
        <p:spPr bwMode="gray">
          <a:xfrm>
            <a:off x="5163863" y="3807902"/>
            <a:ext cx="251064" cy="215296"/>
          </a:xfrm>
          <a:custGeom>
            <a:avLst/>
            <a:gdLst/>
            <a:ahLst/>
            <a:cxnLst>
              <a:cxn ang="0">
                <a:pos x="0" y="234"/>
              </a:cxn>
              <a:cxn ang="0">
                <a:pos x="132" y="0"/>
              </a:cxn>
              <a:cxn ang="0">
                <a:pos x="278" y="4"/>
              </a:cxn>
              <a:cxn ang="0">
                <a:pos x="281" y="17"/>
              </a:cxn>
              <a:cxn ang="0">
                <a:pos x="278" y="61"/>
              </a:cxn>
              <a:cxn ang="0">
                <a:pos x="171" y="58"/>
              </a:cxn>
              <a:cxn ang="0">
                <a:pos x="169" y="149"/>
              </a:cxn>
              <a:cxn ang="0">
                <a:pos x="131" y="165"/>
              </a:cxn>
              <a:cxn ang="0">
                <a:pos x="134" y="220"/>
              </a:cxn>
              <a:cxn ang="0">
                <a:pos x="0" y="234"/>
              </a:cxn>
            </a:cxnLst>
            <a:rect l="0" t="0" r="r" b="b"/>
            <a:pathLst>
              <a:path w="281" h="234">
                <a:moveTo>
                  <a:pt x="0" y="234"/>
                </a:moveTo>
                <a:lnTo>
                  <a:pt x="132" y="0"/>
                </a:lnTo>
                <a:lnTo>
                  <a:pt x="278" y="4"/>
                </a:lnTo>
                <a:lnTo>
                  <a:pt x="281" y="17"/>
                </a:lnTo>
                <a:lnTo>
                  <a:pt x="278" y="61"/>
                </a:lnTo>
                <a:lnTo>
                  <a:pt x="171" y="58"/>
                </a:lnTo>
                <a:lnTo>
                  <a:pt x="169" y="149"/>
                </a:lnTo>
                <a:lnTo>
                  <a:pt x="131" y="165"/>
                </a:lnTo>
                <a:lnTo>
                  <a:pt x="134" y="220"/>
                </a:lnTo>
                <a:lnTo>
                  <a:pt x="0" y="234"/>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1" name="30630349.375415.7537.12531.255">
            <a:extLst>
              <a:ext uri="{FF2B5EF4-FFF2-40B4-BE49-F238E27FC236}">
                <a16:creationId xmlns:a16="http://schemas.microsoft.com/office/drawing/2014/main" id="{F2F11E7C-C75D-DE43-BEF8-A25233DCC020}"/>
              </a:ext>
            </a:extLst>
          </p:cNvPr>
          <p:cNvSpPr>
            <a:spLocks noChangeAspect="1"/>
          </p:cNvSpPr>
          <p:nvPr/>
        </p:nvSpPr>
        <p:spPr bwMode="gray">
          <a:xfrm>
            <a:off x="6339304" y="3957601"/>
            <a:ext cx="500227" cy="600473"/>
          </a:xfrm>
          <a:custGeom>
            <a:avLst/>
            <a:gdLst/>
            <a:ahLst/>
            <a:cxnLst>
              <a:cxn ang="0">
                <a:pos x="0" y="348"/>
              </a:cxn>
              <a:cxn ang="0">
                <a:pos x="26" y="414"/>
              </a:cxn>
              <a:cxn ang="0">
                <a:pos x="51" y="485"/>
              </a:cxn>
              <a:cxn ang="0">
                <a:pos x="107" y="512"/>
              </a:cxn>
              <a:cxn ang="0">
                <a:pos x="188" y="609"/>
              </a:cxn>
              <a:cxn ang="0">
                <a:pos x="299" y="659"/>
              </a:cxn>
              <a:cxn ang="0">
                <a:pos x="402" y="646"/>
              </a:cxn>
              <a:cxn ang="0">
                <a:pos x="464" y="627"/>
              </a:cxn>
              <a:cxn ang="0">
                <a:pos x="427" y="557"/>
              </a:cxn>
              <a:cxn ang="0">
                <a:pos x="368" y="517"/>
              </a:cxn>
              <a:cxn ang="0">
                <a:pos x="407" y="491"/>
              </a:cxn>
              <a:cxn ang="0">
                <a:pos x="411" y="430"/>
              </a:cxn>
              <a:cxn ang="0">
                <a:pos x="477" y="349"/>
              </a:cxn>
              <a:cxn ang="0">
                <a:pos x="503" y="206"/>
              </a:cxn>
              <a:cxn ang="0">
                <a:pos x="554" y="175"/>
              </a:cxn>
              <a:cxn ang="0">
                <a:pos x="514" y="144"/>
              </a:cxn>
              <a:cxn ang="0">
                <a:pos x="499" y="38"/>
              </a:cxn>
              <a:cxn ang="0">
                <a:pos x="455" y="0"/>
              </a:cxn>
              <a:cxn ang="0">
                <a:pos x="402" y="45"/>
              </a:cxn>
              <a:cxn ang="0">
                <a:pos x="101" y="37"/>
              </a:cxn>
              <a:cxn ang="0">
                <a:pos x="101" y="104"/>
              </a:cxn>
              <a:cxn ang="0">
                <a:pos x="71" y="106"/>
              </a:cxn>
              <a:cxn ang="0">
                <a:pos x="71" y="125"/>
              </a:cxn>
              <a:cxn ang="0">
                <a:pos x="70" y="252"/>
              </a:cxn>
              <a:cxn ang="0">
                <a:pos x="35" y="258"/>
              </a:cxn>
              <a:cxn ang="0">
                <a:pos x="0" y="348"/>
              </a:cxn>
            </a:cxnLst>
            <a:rect l="0" t="0" r="r" b="b"/>
            <a:pathLst>
              <a:path w="554" h="659">
                <a:moveTo>
                  <a:pt x="0" y="348"/>
                </a:moveTo>
                <a:lnTo>
                  <a:pt x="26" y="414"/>
                </a:lnTo>
                <a:lnTo>
                  <a:pt x="51" y="485"/>
                </a:lnTo>
                <a:lnTo>
                  <a:pt x="107" y="512"/>
                </a:lnTo>
                <a:lnTo>
                  <a:pt x="188" y="609"/>
                </a:lnTo>
                <a:lnTo>
                  <a:pt x="299" y="659"/>
                </a:lnTo>
                <a:lnTo>
                  <a:pt x="402" y="646"/>
                </a:lnTo>
                <a:lnTo>
                  <a:pt x="464" y="627"/>
                </a:lnTo>
                <a:lnTo>
                  <a:pt x="427" y="557"/>
                </a:lnTo>
                <a:lnTo>
                  <a:pt x="368" y="517"/>
                </a:lnTo>
                <a:lnTo>
                  <a:pt x="407" y="491"/>
                </a:lnTo>
                <a:lnTo>
                  <a:pt x="411" y="430"/>
                </a:lnTo>
                <a:lnTo>
                  <a:pt x="477" y="349"/>
                </a:lnTo>
                <a:lnTo>
                  <a:pt x="503" y="206"/>
                </a:lnTo>
                <a:lnTo>
                  <a:pt x="554" y="175"/>
                </a:lnTo>
                <a:lnTo>
                  <a:pt x="514" y="144"/>
                </a:lnTo>
                <a:lnTo>
                  <a:pt x="499" y="38"/>
                </a:lnTo>
                <a:lnTo>
                  <a:pt x="455" y="0"/>
                </a:lnTo>
                <a:lnTo>
                  <a:pt x="402" y="45"/>
                </a:lnTo>
                <a:lnTo>
                  <a:pt x="101" y="37"/>
                </a:lnTo>
                <a:lnTo>
                  <a:pt x="101" y="104"/>
                </a:lnTo>
                <a:lnTo>
                  <a:pt x="71" y="106"/>
                </a:lnTo>
                <a:lnTo>
                  <a:pt x="71" y="125"/>
                </a:lnTo>
                <a:lnTo>
                  <a:pt x="70" y="252"/>
                </a:lnTo>
                <a:lnTo>
                  <a:pt x="35" y="258"/>
                </a:lnTo>
                <a:lnTo>
                  <a:pt x="0" y="348"/>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2" name="30631442.5432.37532.255">
            <a:extLst>
              <a:ext uri="{FF2B5EF4-FFF2-40B4-BE49-F238E27FC236}">
                <a16:creationId xmlns:a16="http://schemas.microsoft.com/office/drawing/2014/main" id="{C8827F6C-AF7E-4744-AF19-2A016DF53895}"/>
              </a:ext>
            </a:extLst>
          </p:cNvPr>
          <p:cNvSpPr>
            <a:spLocks noChangeAspect="1"/>
          </p:cNvSpPr>
          <p:nvPr/>
        </p:nvSpPr>
        <p:spPr bwMode="gray">
          <a:xfrm>
            <a:off x="6605584" y="5464664"/>
            <a:ext cx="34238" cy="50460"/>
          </a:xfrm>
          <a:custGeom>
            <a:avLst/>
            <a:gdLst/>
            <a:ahLst/>
            <a:cxnLst>
              <a:cxn ang="0">
                <a:pos x="0" y="31"/>
              </a:cxn>
              <a:cxn ang="0">
                <a:pos x="22" y="54"/>
              </a:cxn>
              <a:cxn ang="0">
                <a:pos x="39" y="35"/>
              </a:cxn>
              <a:cxn ang="0">
                <a:pos x="35" y="0"/>
              </a:cxn>
              <a:cxn ang="0">
                <a:pos x="0" y="31"/>
              </a:cxn>
            </a:cxnLst>
            <a:rect l="0" t="0" r="r" b="b"/>
            <a:pathLst>
              <a:path w="39" h="54">
                <a:moveTo>
                  <a:pt x="0" y="31"/>
                </a:moveTo>
                <a:lnTo>
                  <a:pt x="22" y="54"/>
                </a:lnTo>
                <a:lnTo>
                  <a:pt x="39" y="35"/>
                </a:lnTo>
                <a:lnTo>
                  <a:pt x="35" y="0"/>
                </a:lnTo>
                <a:lnTo>
                  <a:pt x="0" y="3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3" name="30632395.125430.37520.12520.255">
            <a:extLst>
              <a:ext uri="{FF2B5EF4-FFF2-40B4-BE49-F238E27FC236}">
                <a16:creationId xmlns:a16="http://schemas.microsoft.com/office/drawing/2014/main" id="{C1906F40-FE31-614E-B04F-141CBF397B5C}"/>
              </a:ext>
            </a:extLst>
          </p:cNvPr>
          <p:cNvSpPr>
            <a:spLocks noChangeAspect="1"/>
          </p:cNvSpPr>
          <p:nvPr/>
        </p:nvSpPr>
        <p:spPr bwMode="gray">
          <a:xfrm>
            <a:off x="6573251" y="4697678"/>
            <a:ext cx="323341" cy="326307"/>
          </a:xfrm>
          <a:custGeom>
            <a:avLst/>
            <a:gdLst/>
            <a:ahLst/>
            <a:cxnLst>
              <a:cxn ang="0">
                <a:pos x="0" y="113"/>
              </a:cxn>
              <a:cxn ang="0">
                <a:pos x="3" y="182"/>
              </a:cxn>
              <a:cxn ang="0">
                <a:pos x="47" y="252"/>
              </a:cxn>
              <a:cxn ang="0">
                <a:pos x="109" y="282"/>
              </a:cxn>
              <a:cxn ang="0">
                <a:pos x="142" y="289"/>
              </a:cxn>
              <a:cxn ang="0">
                <a:pos x="178" y="356"/>
              </a:cxn>
              <a:cxn ang="0">
                <a:pos x="311" y="348"/>
              </a:cxn>
              <a:cxn ang="0">
                <a:pos x="361" y="318"/>
              </a:cxn>
              <a:cxn ang="0">
                <a:pos x="310" y="177"/>
              </a:cxn>
              <a:cxn ang="0">
                <a:pos x="323" y="124"/>
              </a:cxn>
              <a:cxn ang="0">
                <a:pos x="152" y="0"/>
              </a:cxn>
              <a:cxn ang="0">
                <a:pos x="106" y="62"/>
              </a:cxn>
              <a:cxn ang="0">
                <a:pos x="87" y="45"/>
              </a:cxn>
              <a:cxn ang="0">
                <a:pos x="73" y="59"/>
              </a:cxn>
              <a:cxn ang="0">
                <a:pos x="72" y="0"/>
              </a:cxn>
              <a:cxn ang="0">
                <a:pos x="28" y="3"/>
              </a:cxn>
              <a:cxn ang="0">
                <a:pos x="35" y="47"/>
              </a:cxn>
              <a:cxn ang="0">
                <a:pos x="38" y="74"/>
              </a:cxn>
              <a:cxn ang="0">
                <a:pos x="0" y="113"/>
              </a:cxn>
            </a:cxnLst>
            <a:rect l="0" t="0" r="r" b="b"/>
            <a:pathLst>
              <a:path w="361" h="356">
                <a:moveTo>
                  <a:pt x="0" y="113"/>
                </a:moveTo>
                <a:lnTo>
                  <a:pt x="3" y="182"/>
                </a:lnTo>
                <a:lnTo>
                  <a:pt x="47" y="252"/>
                </a:lnTo>
                <a:lnTo>
                  <a:pt x="109" y="282"/>
                </a:lnTo>
                <a:lnTo>
                  <a:pt x="142" y="289"/>
                </a:lnTo>
                <a:lnTo>
                  <a:pt x="178" y="356"/>
                </a:lnTo>
                <a:lnTo>
                  <a:pt x="311" y="348"/>
                </a:lnTo>
                <a:lnTo>
                  <a:pt x="361" y="318"/>
                </a:lnTo>
                <a:lnTo>
                  <a:pt x="310" y="177"/>
                </a:lnTo>
                <a:lnTo>
                  <a:pt x="323" y="124"/>
                </a:lnTo>
                <a:lnTo>
                  <a:pt x="152" y="0"/>
                </a:lnTo>
                <a:lnTo>
                  <a:pt x="106" y="62"/>
                </a:lnTo>
                <a:lnTo>
                  <a:pt x="87" y="45"/>
                </a:lnTo>
                <a:lnTo>
                  <a:pt x="73" y="59"/>
                </a:lnTo>
                <a:lnTo>
                  <a:pt x="72" y="0"/>
                </a:lnTo>
                <a:lnTo>
                  <a:pt x="28" y="3"/>
                </a:lnTo>
                <a:lnTo>
                  <a:pt x="35" y="47"/>
                </a:lnTo>
                <a:lnTo>
                  <a:pt x="38" y="74"/>
                </a:lnTo>
                <a:lnTo>
                  <a:pt x="0" y="11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4" name="30633372.253749.754.1255">
            <a:extLst>
              <a:ext uri="{FF2B5EF4-FFF2-40B4-BE49-F238E27FC236}">
                <a16:creationId xmlns:a16="http://schemas.microsoft.com/office/drawing/2014/main" id="{82CC29C8-9160-F144-891B-2A9A1405060E}"/>
              </a:ext>
            </a:extLst>
          </p:cNvPr>
          <p:cNvSpPr>
            <a:spLocks noChangeAspect="1"/>
          </p:cNvSpPr>
          <p:nvPr/>
        </p:nvSpPr>
        <p:spPr bwMode="gray">
          <a:xfrm>
            <a:off x="5667896" y="4329322"/>
            <a:ext cx="66571" cy="156425"/>
          </a:xfrm>
          <a:custGeom>
            <a:avLst/>
            <a:gdLst/>
            <a:ahLst/>
            <a:cxnLst>
              <a:cxn ang="0">
                <a:pos x="0" y="0"/>
              </a:cxn>
              <a:cxn ang="0">
                <a:pos x="35" y="8"/>
              </a:cxn>
              <a:cxn ang="0">
                <a:pos x="71" y="164"/>
              </a:cxn>
              <a:cxn ang="0">
                <a:pos x="46" y="171"/>
              </a:cxn>
              <a:cxn ang="0">
                <a:pos x="0" y="0"/>
              </a:cxn>
            </a:cxnLst>
            <a:rect l="0" t="0" r="r" b="b"/>
            <a:pathLst>
              <a:path w="71" h="171">
                <a:moveTo>
                  <a:pt x="0" y="0"/>
                </a:moveTo>
                <a:lnTo>
                  <a:pt x="35" y="8"/>
                </a:lnTo>
                <a:lnTo>
                  <a:pt x="71" y="164"/>
                </a:lnTo>
                <a:lnTo>
                  <a:pt x="46" y="171"/>
                </a:lnTo>
                <a:lnTo>
                  <a:pt x="0"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5" name="30634385.875430.3759.875105">
            <a:extLst>
              <a:ext uri="{FF2B5EF4-FFF2-40B4-BE49-F238E27FC236}">
                <a16:creationId xmlns:a16="http://schemas.microsoft.com/office/drawing/2014/main" id="{5DB08C19-9FBD-194C-BA0C-60D18CF45E0C}"/>
              </a:ext>
            </a:extLst>
          </p:cNvPr>
          <p:cNvSpPr>
            <a:spLocks noChangeAspect="1"/>
          </p:cNvSpPr>
          <p:nvPr/>
        </p:nvSpPr>
        <p:spPr bwMode="gray">
          <a:xfrm>
            <a:off x="6573251" y="4547979"/>
            <a:ext cx="157865" cy="161471"/>
          </a:xfrm>
          <a:custGeom>
            <a:avLst/>
            <a:gdLst/>
            <a:ahLst/>
            <a:cxnLst>
              <a:cxn ang="0">
                <a:pos x="0" y="176"/>
              </a:cxn>
              <a:cxn ang="0">
                <a:pos x="26" y="167"/>
              </a:cxn>
              <a:cxn ang="0">
                <a:pos x="70" y="164"/>
              </a:cxn>
              <a:cxn ang="0">
                <a:pos x="71" y="139"/>
              </a:cxn>
              <a:cxn ang="0">
                <a:pos x="141" y="125"/>
              </a:cxn>
              <a:cxn ang="0">
                <a:pos x="177" y="65"/>
              </a:cxn>
              <a:cxn ang="0">
                <a:pos x="141" y="0"/>
              </a:cxn>
              <a:cxn ang="0">
                <a:pos x="38" y="13"/>
              </a:cxn>
              <a:cxn ang="0">
                <a:pos x="51" y="61"/>
              </a:cxn>
              <a:cxn ang="0">
                <a:pos x="29" y="92"/>
              </a:cxn>
              <a:cxn ang="0">
                <a:pos x="0" y="176"/>
              </a:cxn>
            </a:cxnLst>
            <a:rect l="0" t="0" r="r" b="b"/>
            <a:pathLst>
              <a:path w="177" h="176">
                <a:moveTo>
                  <a:pt x="0" y="176"/>
                </a:moveTo>
                <a:lnTo>
                  <a:pt x="26" y="167"/>
                </a:lnTo>
                <a:lnTo>
                  <a:pt x="70" y="164"/>
                </a:lnTo>
                <a:lnTo>
                  <a:pt x="71" y="139"/>
                </a:lnTo>
                <a:lnTo>
                  <a:pt x="141" y="125"/>
                </a:lnTo>
                <a:lnTo>
                  <a:pt x="177" y="65"/>
                </a:lnTo>
                <a:lnTo>
                  <a:pt x="141" y="0"/>
                </a:lnTo>
                <a:lnTo>
                  <a:pt x="38" y="13"/>
                </a:lnTo>
                <a:lnTo>
                  <a:pt x="51" y="61"/>
                </a:lnTo>
                <a:lnTo>
                  <a:pt x="29" y="92"/>
                </a:lnTo>
                <a:lnTo>
                  <a:pt x="0" y="17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6" name="30635332.25420.519.7521.1255">
            <a:extLst>
              <a:ext uri="{FF2B5EF4-FFF2-40B4-BE49-F238E27FC236}">
                <a16:creationId xmlns:a16="http://schemas.microsoft.com/office/drawing/2014/main" id="{638F434C-FD07-9341-B6C0-0B4C78DEF058}"/>
              </a:ext>
            </a:extLst>
          </p:cNvPr>
          <p:cNvSpPr>
            <a:spLocks noChangeAspect="1"/>
          </p:cNvSpPr>
          <p:nvPr/>
        </p:nvSpPr>
        <p:spPr bwMode="gray">
          <a:xfrm>
            <a:off x="6415381" y="3680073"/>
            <a:ext cx="338557" cy="319577"/>
          </a:xfrm>
          <a:custGeom>
            <a:avLst/>
            <a:gdLst/>
            <a:ahLst/>
            <a:cxnLst>
              <a:cxn ang="0">
                <a:pos x="0" y="58"/>
              </a:cxn>
              <a:cxn ang="0">
                <a:pos x="15" y="343"/>
              </a:cxn>
              <a:cxn ang="0">
                <a:pos x="316" y="351"/>
              </a:cxn>
              <a:cxn ang="0">
                <a:pos x="369" y="306"/>
              </a:cxn>
              <a:cxn ang="0">
                <a:pos x="374" y="276"/>
              </a:cxn>
              <a:cxn ang="0">
                <a:pos x="261" y="75"/>
              </a:cxn>
              <a:cxn ang="0">
                <a:pos x="316" y="139"/>
              </a:cxn>
              <a:cxn ang="0">
                <a:pos x="344" y="84"/>
              </a:cxn>
              <a:cxn ang="0">
                <a:pos x="316" y="13"/>
              </a:cxn>
              <a:cxn ang="0">
                <a:pos x="246" y="24"/>
              </a:cxn>
              <a:cxn ang="0">
                <a:pos x="245" y="5"/>
              </a:cxn>
              <a:cxn ang="0">
                <a:pos x="208" y="5"/>
              </a:cxn>
              <a:cxn ang="0">
                <a:pos x="146" y="31"/>
              </a:cxn>
              <a:cxn ang="0">
                <a:pos x="15" y="0"/>
              </a:cxn>
              <a:cxn ang="0">
                <a:pos x="0" y="58"/>
              </a:cxn>
            </a:cxnLst>
            <a:rect l="0" t="0" r="r" b="b"/>
            <a:pathLst>
              <a:path w="374" h="351">
                <a:moveTo>
                  <a:pt x="0" y="58"/>
                </a:moveTo>
                <a:lnTo>
                  <a:pt x="15" y="343"/>
                </a:lnTo>
                <a:lnTo>
                  <a:pt x="316" y="351"/>
                </a:lnTo>
                <a:lnTo>
                  <a:pt x="369" y="306"/>
                </a:lnTo>
                <a:lnTo>
                  <a:pt x="374" y="276"/>
                </a:lnTo>
                <a:lnTo>
                  <a:pt x="261" y="75"/>
                </a:lnTo>
                <a:lnTo>
                  <a:pt x="316" y="139"/>
                </a:lnTo>
                <a:lnTo>
                  <a:pt x="344" y="84"/>
                </a:lnTo>
                <a:lnTo>
                  <a:pt x="316" y="13"/>
                </a:lnTo>
                <a:lnTo>
                  <a:pt x="246" y="24"/>
                </a:lnTo>
                <a:lnTo>
                  <a:pt x="245" y="5"/>
                </a:lnTo>
                <a:lnTo>
                  <a:pt x="208" y="5"/>
                </a:lnTo>
                <a:lnTo>
                  <a:pt x="146" y="31"/>
                </a:lnTo>
                <a:lnTo>
                  <a:pt x="15" y="0"/>
                </a:lnTo>
                <a:lnTo>
                  <a:pt x="0" y="58"/>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7" name="30636365.125364.62510.37514.1255">
            <a:extLst>
              <a:ext uri="{FF2B5EF4-FFF2-40B4-BE49-F238E27FC236}">
                <a16:creationId xmlns:a16="http://schemas.microsoft.com/office/drawing/2014/main" id="{761436DB-277B-F644-B6EF-6E91E8971E86}"/>
              </a:ext>
            </a:extLst>
          </p:cNvPr>
          <p:cNvSpPr>
            <a:spLocks noChangeAspect="1"/>
          </p:cNvSpPr>
          <p:nvPr/>
        </p:nvSpPr>
        <p:spPr bwMode="gray">
          <a:xfrm>
            <a:off x="5519537" y="4213262"/>
            <a:ext cx="224436" cy="166517"/>
          </a:xfrm>
          <a:custGeom>
            <a:avLst/>
            <a:gdLst/>
            <a:ahLst/>
            <a:cxnLst>
              <a:cxn ang="0">
                <a:pos x="0" y="156"/>
              </a:cxn>
              <a:cxn ang="0">
                <a:pos x="18" y="177"/>
              </a:cxn>
              <a:cxn ang="0">
                <a:pos x="85" y="184"/>
              </a:cxn>
              <a:cxn ang="0">
                <a:pos x="78" y="137"/>
              </a:cxn>
              <a:cxn ang="0">
                <a:pos x="168" y="129"/>
              </a:cxn>
              <a:cxn ang="0">
                <a:pos x="203" y="137"/>
              </a:cxn>
              <a:cxn ang="0">
                <a:pos x="252" y="103"/>
              </a:cxn>
              <a:cxn ang="0">
                <a:pos x="187" y="33"/>
              </a:cxn>
              <a:cxn ang="0">
                <a:pos x="180" y="0"/>
              </a:cxn>
              <a:cxn ang="0">
                <a:pos x="43" y="60"/>
              </a:cxn>
              <a:cxn ang="0">
                <a:pos x="0" y="156"/>
              </a:cxn>
            </a:cxnLst>
            <a:rect l="0" t="0" r="r" b="b"/>
            <a:pathLst>
              <a:path w="252" h="184">
                <a:moveTo>
                  <a:pt x="0" y="156"/>
                </a:moveTo>
                <a:lnTo>
                  <a:pt x="18" y="177"/>
                </a:lnTo>
                <a:lnTo>
                  <a:pt x="85" y="184"/>
                </a:lnTo>
                <a:lnTo>
                  <a:pt x="78" y="137"/>
                </a:lnTo>
                <a:lnTo>
                  <a:pt x="168" y="129"/>
                </a:lnTo>
                <a:lnTo>
                  <a:pt x="203" y="137"/>
                </a:lnTo>
                <a:lnTo>
                  <a:pt x="252" y="103"/>
                </a:lnTo>
                <a:lnTo>
                  <a:pt x="187" y="33"/>
                </a:lnTo>
                <a:lnTo>
                  <a:pt x="180" y="0"/>
                </a:lnTo>
                <a:lnTo>
                  <a:pt x="43" y="60"/>
                </a:lnTo>
                <a:lnTo>
                  <a:pt x="0" y="15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8" name="30637408.625415.7518.37522.1255">
            <a:extLst>
              <a:ext uri="{FF2B5EF4-FFF2-40B4-BE49-F238E27FC236}">
                <a16:creationId xmlns:a16="http://schemas.microsoft.com/office/drawing/2014/main" id="{D44D8D5E-22ED-6C4A-B4BF-E40C31CB6E3B}"/>
              </a:ext>
            </a:extLst>
          </p:cNvPr>
          <p:cNvSpPr>
            <a:spLocks noChangeAspect="1"/>
          </p:cNvSpPr>
          <p:nvPr/>
        </p:nvSpPr>
        <p:spPr bwMode="gray">
          <a:xfrm>
            <a:off x="6339304" y="4918019"/>
            <a:ext cx="353773" cy="296030"/>
          </a:xfrm>
          <a:custGeom>
            <a:avLst/>
            <a:gdLst/>
            <a:ahLst/>
            <a:cxnLst>
              <a:cxn ang="0">
                <a:pos x="0" y="159"/>
              </a:cxn>
              <a:cxn ang="0">
                <a:pos x="0" y="284"/>
              </a:cxn>
              <a:cxn ang="0">
                <a:pos x="41" y="316"/>
              </a:cxn>
              <a:cxn ang="0">
                <a:pos x="105" y="324"/>
              </a:cxn>
              <a:cxn ang="0">
                <a:pos x="164" y="326"/>
              </a:cxn>
              <a:cxn ang="0">
                <a:pos x="223" y="282"/>
              </a:cxn>
              <a:cxn ang="0">
                <a:pos x="226" y="262"/>
              </a:cxn>
              <a:cxn ang="0">
                <a:pos x="276" y="250"/>
              </a:cxn>
              <a:cxn ang="0">
                <a:pos x="267" y="232"/>
              </a:cxn>
              <a:cxn ang="0">
                <a:pos x="374" y="199"/>
              </a:cxn>
              <a:cxn ang="0">
                <a:pos x="360" y="183"/>
              </a:cxn>
              <a:cxn ang="0">
                <a:pos x="393" y="84"/>
              </a:cxn>
              <a:cxn ang="0">
                <a:pos x="367" y="41"/>
              </a:cxn>
              <a:cxn ang="0">
                <a:pos x="305" y="11"/>
              </a:cxn>
              <a:cxn ang="0">
                <a:pos x="289" y="0"/>
              </a:cxn>
              <a:cxn ang="0">
                <a:pos x="228" y="30"/>
              </a:cxn>
              <a:cxn ang="0">
                <a:pos x="221" y="117"/>
              </a:cxn>
              <a:cxn ang="0">
                <a:pos x="258" y="133"/>
              </a:cxn>
              <a:cxn ang="0">
                <a:pos x="260" y="169"/>
              </a:cxn>
              <a:cxn ang="0">
                <a:pos x="69" y="90"/>
              </a:cxn>
              <a:cxn ang="0">
                <a:pos x="74" y="159"/>
              </a:cxn>
              <a:cxn ang="0">
                <a:pos x="0" y="159"/>
              </a:cxn>
            </a:cxnLst>
            <a:rect l="0" t="0" r="r" b="b"/>
            <a:pathLst>
              <a:path w="393" h="326">
                <a:moveTo>
                  <a:pt x="0" y="159"/>
                </a:moveTo>
                <a:lnTo>
                  <a:pt x="0" y="284"/>
                </a:lnTo>
                <a:lnTo>
                  <a:pt x="41" y="316"/>
                </a:lnTo>
                <a:lnTo>
                  <a:pt x="105" y="324"/>
                </a:lnTo>
                <a:lnTo>
                  <a:pt x="164" y="326"/>
                </a:lnTo>
                <a:lnTo>
                  <a:pt x="223" y="282"/>
                </a:lnTo>
                <a:lnTo>
                  <a:pt x="226" y="262"/>
                </a:lnTo>
                <a:lnTo>
                  <a:pt x="276" y="250"/>
                </a:lnTo>
                <a:lnTo>
                  <a:pt x="267" y="232"/>
                </a:lnTo>
                <a:lnTo>
                  <a:pt x="374" y="199"/>
                </a:lnTo>
                <a:lnTo>
                  <a:pt x="360" y="183"/>
                </a:lnTo>
                <a:lnTo>
                  <a:pt x="393" y="84"/>
                </a:lnTo>
                <a:lnTo>
                  <a:pt x="367" y="41"/>
                </a:lnTo>
                <a:lnTo>
                  <a:pt x="305" y="11"/>
                </a:lnTo>
                <a:lnTo>
                  <a:pt x="289" y="0"/>
                </a:lnTo>
                <a:lnTo>
                  <a:pt x="228" y="30"/>
                </a:lnTo>
                <a:lnTo>
                  <a:pt x="221" y="117"/>
                </a:lnTo>
                <a:lnTo>
                  <a:pt x="258" y="133"/>
                </a:lnTo>
                <a:lnTo>
                  <a:pt x="260" y="169"/>
                </a:lnTo>
                <a:lnTo>
                  <a:pt x="69" y="90"/>
                </a:lnTo>
                <a:lnTo>
                  <a:pt x="74" y="159"/>
                </a:lnTo>
                <a:lnTo>
                  <a:pt x="0" y="15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79" name="30639277.125418.12511.625155">
            <a:extLst>
              <a:ext uri="{FF2B5EF4-FFF2-40B4-BE49-F238E27FC236}">
                <a16:creationId xmlns:a16="http://schemas.microsoft.com/office/drawing/2014/main" id="{3F908A3F-371B-2A42-9A59-DC93D75E598C}"/>
              </a:ext>
            </a:extLst>
          </p:cNvPr>
          <p:cNvSpPr>
            <a:spLocks noChangeAspect="1"/>
          </p:cNvSpPr>
          <p:nvPr/>
        </p:nvSpPr>
        <p:spPr bwMode="gray">
          <a:xfrm>
            <a:off x="6377343" y="2785251"/>
            <a:ext cx="239653" cy="191748"/>
          </a:xfrm>
          <a:custGeom>
            <a:avLst/>
            <a:gdLst/>
            <a:ahLst/>
            <a:cxnLst>
              <a:cxn ang="0">
                <a:pos x="86" y="0"/>
              </a:cxn>
              <a:cxn ang="0">
                <a:pos x="108" y="5"/>
              </a:cxn>
              <a:cxn ang="0">
                <a:pos x="130" y="20"/>
              </a:cxn>
              <a:cxn ang="0">
                <a:pos x="166" y="20"/>
              </a:cxn>
              <a:cxn ang="0">
                <a:pos x="203" y="25"/>
              </a:cxn>
              <a:cxn ang="0">
                <a:pos x="221" y="50"/>
              </a:cxn>
              <a:cxn ang="0">
                <a:pos x="236" y="84"/>
              </a:cxn>
              <a:cxn ang="0">
                <a:pos x="242" y="97"/>
              </a:cxn>
              <a:cxn ang="0">
                <a:pos x="255" y="108"/>
              </a:cxn>
              <a:cxn ang="0">
                <a:pos x="265" y="117"/>
              </a:cxn>
              <a:cxn ang="0">
                <a:pos x="265" y="130"/>
              </a:cxn>
              <a:cxn ang="0">
                <a:pos x="248" y="130"/>
              </a:cxn>
              <a:cxn ang="0">
                <a:pos x="225" y="130"/>
              </a:cxn>
              <a:cxn ang="0">
                <a:pos x="236" y="144"/>
              </a:cxn>
              <a:cxn ang="0">
                <a:pos x="244" y="152"/>
              </a:cxn>
              <a:cxn ang="0">
                <a:pos x="248" y="170"/>
              </a:cxn>
              <a:cxn ang="0">
                <a:pos x="236" y="178"/>
              </a:cxn>
              <a:cxn ang="0">
                <a:pos x="215" y="178"/>
              </a:cxn>
              <a:cxn ang="0">
                <a:pos x="213" y="178"/>
              </a:cxn>
              <a:cxn ang="0">
                <a:pos x="203" y="186"/>
              </a:cxn>
              <a:cxn ang="0">
                <a:pos x="203" y="203"/>
              </a:cxn>
              <a:cxn ang="0">
                <a:pos x="189" y="207"/>
              </a:cxn>
              <a:cxn ang="0">
                <a:pos x="176" y="199"/>
              </a:cxn>
              <a:cxn ang="0">
                <a:pos x="155" y="194"/>
              </a:cxn>
              <a:cxn ang="0">
                <a:pos x="136" y="186"/>
              </a:cxn>
              <a:cxn ang="0">
                <a:pos x="118" y="190"/>
              </a:cxn>
              <a:cxn ang="0">
                <a:pos x="63" y="170"/>
              </a:cxn>
              <a:cxn ang="0">
                <a:pos x="41" y="174"/>
              </a:cxn>
              <a:cxn ang="0">
                <a:pos x="22" y="170"/>
              </a:cxn>
              <a:cxn ang="0">
                <a:pos x="12" y="186"/>
              </a:cxn>
              <a:cxn ang="0">
                <a:pos x="0" y="150"/>
              </a:cxn>
              <a:cxn ang="0">
                <a:pos x="23" y="128"/>
              </a:cxn>
              <a:cxn ang="0">
                <a:pos x="7" y="84"/>
              </a:cxn>
              <a:cxn ang="0">
                <a:pos x="22" y="90"/>
              </a:cxn>
              <a:cxn ang="0">
                <a:pos x="24" y="80"/>
              </a:cxn>
              <a:cxn ang="0">
                <a:pos x="29" y="64"/>
              </a:cxn>
              <a:cxn ang="0">
                <a:pos x="38" y="56"/>
              </a:cxn>
              <a:cxn ang="0">
                <a:pos x="41" y="36"/>
              </a:cxn>
              <a:cxn ang="0">
                <a:pos x="59" y="17"/>
              </a:cxn>
              <a:cxn ang="0">
                <a:pos x="71" y="0"/>
              </a:cxn>
              <a:cxn ang="0">
                <a:pos x="86" y="0"/>
              </a:cxn>
            </a:cxnLst>
            <a:rect l="0" t="0" r="r" b="b"/>
            <a:pathLst>
              <a:path w="265" h="207">
                <a:moveTo>
                  <a:pt x="86" y="0"/>
                </a:moveTo>
                <a:lnTo>
                  <a:pt x="108" y="5"/>
                </a:lnTo>
                <a:lnTo>
                  <a:pt x="130" y="20"/>
                </a:lnTo>
                <a:lnTo>
                  <a:pt x="166" y="20"/>
                </a:lnTo>
                <a:lnTo>
                  <a:pt x="203" y="25"/>
                </a:lnTo>
                <a:lnTo>
                  <a:pt x="221" y="50"/>
                </a:lnTo>
                <a:lnTo>
                  <a:pt x="236" y="84"/>
                </a:lnTo>
                <a:lnTo>
                  <a:pt x="242" y="97"/>
                </a:lnTo>
                <a:lnTo>
                  <a:pt x="255" y="108"/>
                </a:lnTo>
                <a:lnTo>
                  <a:pt x="265" y="117"/>
                </a:lnTo>
                <a:lnTo>
                  <a:pt x="265" y="130"/>
                </a:lnTo>
                <a:lnTo>
                  <a:pt x="248" y="130"/>
                </a:lnTo>
                <a:lnTo>
                  <a:pt x="225" y="130"/>
                </a:lnTo>
                <a:lnTo>
                  <a:pt x="236" y="144"/>
                </a:lnTo>
                <a:lnTo>
                  <a:pt x="244" y="152"/>
                </a:lnTo>
                <a:lnTo>
                  <a:pt x="248" y="170"/>
                </a:lnTo>
                <a:lnTo>
                  <a:pt x="236" y="178"/>
                </a:lnTo>
                <a:lnTo>
                  <a:pt x="215" y="178"/>
                </a:lnTo>
                <a:lnTo>
                  <a:pt x="213" y="178"/>
                </a:lnTo>
                <a:lnTo>
                  <a:pt x="203" y="186"/>
                </a:lnTo>
                <a:lnTo>
                  <a:pt x="203" y="203"/>
                </a:lnTo>
                <a:lnTo>
                  <a:pt x="189" y="207"/>
                </a:lnTo>
                <a:lnTo>
                  <a:pt x="176" y="199"/>
                </a:lnTo>
                <a:lnTo>
                  <a:pt x="155" y="194"/>
                </a:lnTo>
                <a:lnTo>
                  <a:pt x="136" y="186"/>
                </a:lnTo>
                <a:lnTo>
                  <a:pt x="118" y="190"/>
                </a:lnTo>
                <a:lnTo>
                  <a:pt x="63" y="170"/>
                </a:lnTo>
                <a:lnTo>
                  <a:pt x="41" y="174"/>
                </a:lnTo>
                <a:lnTo>
                  <a:pt x="22" y="170"/>
                </a:lnTo>
                <a:lnTo>
                  <a:pt x="12" y="186"/>
                </a:lnTo>
                <a:lnTo>
                  <a:pt x="0" y="150"/>
                </a:lnTo>
                <a:lnTo>
                  <a:pt x="23" y="128"/>
                </a:lnTo>
                <a:lnTo>
                  <a:pt x="7" y="84"/>
                </a:lnTo>
                <a:lnTo>
                  <a:pt x="22" y="90"/>
                </a:lnTo>
                <a:lnTo>
                  <a:pt x="24" y="80"/>
                </a:lnTo>
                <a:lnTo>
                  <a:pt x="29" y="64"/>
                </a:lnTo>
                <a:lnTo>
                  <a:pt x="38" y="56"/>
                </a:lnTo>
                <a:lnTo>
                  <a:pt x="41" y="36"/>
                </a:lnTo>
                <a:lnTo>
                  <a:pt x="59" y="17"/>
                </a:lnTo>
                <a:lnTo>
                  <a:pt x="71" y="0"/>
                </a:lnTo>
                <a:lnTo>
                  <a:pt x="86" y="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0" name="30640285.37541619.12533.1255">
            <a:extLst>
              <a:ext uri="{FF2B5EF4-FFF2-40B4-BE49-F238E27FC236}">
                <a16:creationId xmlns:a16="http://schemas.microsoft.com/office/drawing/2014/main" id="{204D9E36-54B6-D04E-A973-75973583A5EF}"/>
              </a:ext>
            </a:extLst>
          </p:cNvPr>
          <p:cNvSpPr>
            <a:spLocks noChangeAspect="1"/>
          </p:cNvSpPr>
          <p:nvPr/>
        </p:nvSpPr>
        <p:spPr bwMode="gray">
          <a:xfrm>
            <a:off x="6341204" y="2919809"/>
            <a:ext cx="532560" cy="309486"/>
          </a:xfrm>
          <a:custGeom>
            <a:avLst/>
            <a:gdLst/>
            <a:ahLst/>
            <a:cxnLst>
              <a:cxn ang="0">
                <a:pos x="301" y="13"/>
              </a:cxn>
              <a:cxn ang="0">
                <a:pos x="330" y="0"/>
              </a:cxn>
              <a:cxn ang="0">
                <a:pos x="366" y="22"/>
              </a:cxn>
              <a:cxn ang="0">
                <a:pos x="380" y="49"/>
              </a:cxn>
              <a:cxn ang="0">
                <a:pos x="422" y="73"/>
              </a:cxn>
              <a:cxn ang="0">
                <a:pos x="477" y="110"/>
              </a:cxn>
              <a:cxn ang="0">
                <a:pos x="516" y="110"/>
              </a:cxn>
              <a:cxn ang="0">
                <a:pos x="571" y="125"/>
              </a:cxn>
              <a:cxn ang="0">
                <a:pos x="557" y="184"/>
              </a:cxn>
              <a:cxn ang="0">
                <a:pos x="507" y="235"/>
              </a:cxn>
              <a:cxn ang="0">
                <a:pos x="432" y="276"/>
              </a:cxn>
              <a:cxn ang="0">
                <a:pos x="435" y="298"/>
              </a:cxn>
              <a:cxn ang="0">
                <a:pos x="397" y="338"/>
              </a:cxn>
              <a:cxn ang="0">
                <a:pos x="389" y="271"/>
              </a:cxn>
              <a:cxn ang="0">
                <a:pos x="327" y="264"/>
              </a:cxn>
              <a:cxn ang="0">
                <a:pos x="326" y="242"/>
              </a:cxn>
              <a:cxn ang="0">
                <a:pos x="250" y="300"/>
              </a:cxn>
              <a:cxn ang="0">
                <a:pos x="224" y="267"/>
              </a:cxn>
              <a:cxn ang="0">
                <a:pos x="246" y="246"/>
              </a:cxn>
              <a:cxn ang="0">
                <a:pos x="260" y="228"/>
              </a:cxn>
              <a:cxn ang="0">
                <a:pos x="231" y="192"/>
              </a:cxn>
              <a:cxn ang="0">
                <a:pos x="179" y="173"/>
              </a:cxn>
              <a:cxn ang="0">
                <a:pos x="90" y="184"/>
              </a:cxn>
              <a:cxn ang="0">
                <a:pos x="22" y="189"/>
              </a:cxn>
              <a:cxn ang="0">
                <a:pos x="14" y="140"/>
              </a:cxn>
              <a:cxn ang="0">
                <a:pos x="63" y="75"/>
              </a:cxn>
              <a:cxn ang="0">
                <a:pos x="52" y="30"/>
              </a:cxn>
              <a:cxn ang="0">
                <a:pos x="80" y="26"/>
              </a:cxn>
              <a:cxn ang="0">
                <a:pos x="128" y="31"/>
              </a:cxn>
              <a:cxn ang="0">
                <a:pos x="175" y="37"/>
              </a:cxn>
              <a:cxn ang="0">
                <a:pos x="215" y="51"/>
              </a:cxn>
              <a:cxn ang="0">
                <a:pos x="242" y="55"/>
              </a:cxn>
              <a:cxn ang="0">
                <a:pos x="252" y="30"/>
              </a:cxn>
              <a:cxn ang="0">
                <a:pos x="283" y="26"/>
              </a:cxn>
            </a:cxnLst>
            <a:rect l="0" t="0" r="r" b="b"/>
            <a:pathLst>
              <a:path w="587" h="338">
                <a:moveTo>
                  <a:pt x="292" y="16"/>
                </a:moveTo>
                <a:lnTo>
                  <a:pt x="301" y="13"/>
                </a:lnTo>
                <a:lnTo>
                  <a:pt x="318" y="4"/>
                </a:lnTo>
                <a:lnTo>
                  <a:pt x="330" y="0"/>
                </a:lnTo>
                <a:lnTo>
                  <a:pt x="356" y="4"/>
                </a:lnTo>
                <a:lnTo>
                  <a:pt x="366" y="22"/>
                </a:lnTo>
                <a:lnTo>
                  <a:pt x="371" y="42"/>
                </a:lnTo>
                <a:lnTo>
                  <a:pt x="380" y="49"/>
                </a:lnTo>
                <a:lnTo>
                  <a:pt x="393" y="45"/>
                </a:lnTo>
                <a:lnTo>
                  <a:pt x="422" y="73"/>
                </a:lnTo>
                <a:lnTo>
                  <a:pt x="437" y="95"/>
                </a:lnTo>
                <a:lnTo>
                  <a:pt x="477" y="110"/>
                </a:lnTo>
                <a:lnTo>
                  <a:pt x="503" y="114"/>
                </a:lnTo>
                <a:lnTo>
                  <a:pt x="516" y="110"/>
                </a:lnTo>
                <a:lnTo>
                  <a:pt x="540" y="121"/>
                </a:lnTo>
                <a:lnTo>
                  <a:pt x="571" y="125"/>
                </a:lnTo>
                <a:lnTo>
                  <a:pt x="587" y="177"/>
                </a:lnTo>
                <a:lnTo>
                  <a:pt x="557" y="184"/>
                </a:lnTo>
                <a:lnTo>
                  <a:pt x="551" y="209"/>
                </a:lnTo>
                <a:lnTo>
                  <a:pt x="507" y="235"/>
                </a:lnTo>
                <a:lnTo>
                  <a:pt x="439" y="253"/>
                </a:lnTo>
                <a:lnTo>
                  <a:pt x="432" y="276"/>
                </a:lnTo>
                <a:lnTo>
                  <a:pt x="403" y="267"/>
                </a:lnTo>
                <a:lnTo>
                  <a:pt x="435" y="298"/>
                </a:lnTo>
                <a:lnTo>
                  <a:pt x="473" y="302"/>
                </a:lnTo>
                <a:lnTo>
                  <a:pt x="397" y="338"/>
                </a:lnTo>
                <a:lnTo>
                  <a:pt x="352" y="300"/>
                </a:lnTo>
                <a:lnTo>
                  <a:pt x="389" y="271"/>
                </a:lnTo>
                <a:lnTo>
                  <a:pt x="352" y="264"/>
                </a:lnTo>
                <a:lnTo>
                  <a:pt x="327" y="264"/>
                </a:lnTo>
                <a:lnTo>
                  <a:pt x="333" y="239"/>
                </a:lnTo>
                <a:lnTo>
                  <a:pt x="326" y="242"/>
                </a:lnTo>
                <a:lnTo>
                  <a:pt x="271" y="256"/>
                </a:lnTo>
                <a:lnTo>
                  <a:pt x="250" y="300"/>
                </a:lnTo>
                <a:lnTo>
                  <a:pt x="215" y="297"/>
                </a:lnTo>
                <a:lnTo>
                  <a:pt x="224" y="267"/>
                </a:lnTo>
                <a:lnTo>
                  <a:pt x="226" y="253"/>
                </a:lnTo>
                <a:lnTo>
                  <a:pt x="246" y="246"/>
                </a:lnTo>
                <a:lnTo>
                  <a:pt x="257" y="236"/>
                </a:lnTo>
                <a:lnTo>
                  <a:pt x="260" y="228"/>
                </a:lnTo>
                <a:lnTo>
                  <a:pt x="246" y="224"/>
                </a:lnTo>
                <a:lnTo>
                  <a:pt x="231" y="192"/>
                </a:lnTo>
                <a:lnTo>
                  <a:pt x="208" y="173"/>
                </a:lnTo>
                <a:lnTo>
                  <a:pt x="179" y="173"/>
                </a:lnTo>
                <a:lnTo>
                  <a:pt x="142" y="181"/>
                </a:lnTo>
                <a:lnTo>
                  <a:pt x="90" y="184"/>
                </a:lnTo>
                <a:lnTo>
                  <a:pt x="62" y="189"/>
                </a:lnTo>
                <a:lnTo>
                  <a:pt x="22" y="189"/>
                </a:lnTo>
                <a:lnTo>
                  <a:pt x="0" y="170"/>
                </a:lnTo>
                <a:lnTo>
                  <a:pt x="14" y="140"/>
                </a:lnTo>
                <a:lnTo>
                  <a:pt x="37" y="108"/>
                </a:lnTo>
                <a:lnTo>
                  <a:pt x="63" y="75"/>
                </a:lnTo>
                <a:lnTo>
                  <a:pt x="51" y="37"/>
                </a:lnTo>
                <a:lnTo>
                  <a:pt x="52" y="30"/>
                </a:lnTo>
                <a:lnTo>
                  <a:pt x="61" y="22"/>
                </a:lnTo>
                <a:lnTo>
                  <a:pt x="80" y="26"/>
                </a:lnTo>
                <a:lnTo>
                  <a:pt x="102" y="22"/>
                </a:lnTo>
                <a:lnTo>
                  <a:pt x="128" y="31"/>
                </a:lnTo>
                <a:lnTo>
                  <a:pt x="156" y="42"/>
                </a:lnTo>
                <a:lnTo>
                  <a:pt x="175" y="37"/>
                </a:lnTo>
                <a:lnTo>
                  <a:pt x="194" y="46"/>
                </a:lnTo>
                <a:lnTo>
                  <a:pt x="215" y="51"/>
                </a:lnTo>
                <a:lnTo>
                  <a:pt x="228" y="59"/>
                </a:lnTo>
                <a:lnTo>
                  <a:pt x="242" y="55"/>
                </a:lnTo>
                <a:lnTo>
                  <a:pt x="243" y="38"/>
                </a:lnTo>
                <a:lnTo>
                  <a:pt x="252" y="30"/>
                </a:lnTo>
                <a:lnTo>
                  <a:pt x="275" y="30"/>
                </a:lnTo>
                <a:lnTo>
                  <a:pt x="283" y="26"/>
                </a:lnTo>
                <a:lnTo>
                  <a:pt x="292" y="1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1" name="30641295.125424.576.255">
            <a:extLst>
              <a:ext uri="{FF2B5EF4-FFF2-40B4-BE49-F238E27FC236}">
                <a16:creationId xmlns:a16="http://schemas.microsoft.com/office/drawing/2014/main" id="{A479626A-5493-8844-B3EC-D3453C30CF4A}"/>
              </a:ext>
            </a:extLst>
          </p:cNvPr>
          <p:cNvSpPr>
            <a:spLocks noChangeAspect="1"/>
          </p:cNvSpPr>
          <p:nvPr/>
        </p:nvSpPr>
        <p:spPr bwMode="gray">
          <a:xfrm>
            <a:off x="6478151" y="3077919"/>
            <a:ext cx="100805" cy="116057"/>
          </a:xfrm>
          <a:custGeom>
            <a:avLst/>
            <a:gdLst/>
            <a:ahLst/>
            <a:cxnLst>
              <a:cxn ang="0">
                <a:pos x="25" y="33"/>
              </a:cxn>
              <a:cxn ang="0">
                <a:pos x="39" y="51"/>
              </a:cxn>
              <a:cxn ang="0">
                <a:pos x="46" y="65"/>
              </a:cxn>
              <a:cxn ang="0">
                <a:pos x="53" y="121"/>
              </a:cxn>
              <a:cxn ang="0">
                <a:pos x="64" y="122"/>
              </a:cxn>
              <a:cxn ang="0">
                <a:pos x="73" y="94"/>
              </a:cxn>
              <a:cxn ang="0">
                <a:pos x="75" y="78"/>
              </a:cxn>
              <a:cxn ang="0">
                <a:pos x="103" y="69"/>
              </a:cxn>
              <a:cxn ang="0">
                <a:pos x="110" y="56"/>
              </a:cxn>
              <a:cxn ang="0">
                <a:pos x="97" y="52"/>
              </a:cxn>
              <a:cxn ang="0">
                <a:pos x="81" y="21"/>
              </a:cxn>
              <a:cxn ang="0">
                <a:pos x="58" y="1"/>
              </a:cxn>
              <a:cxn ang="0">
                <a:pos x="28" y="0"/>
              </a:cxn>
              <a:cxn ang="0">
                <a:pos x="0" y="4"/>
              </a:cxn>
              <a:cxn ang="0">
                <a:pos x="25" y="33"/>
              </a:cxn>
            </a:cxnLst>
            <a:rect l="0" t="0" r="r" b="b"/>
            <a:pathLst>
              <a:path w="110" h="122">
                <a:moveTo>
                  <a:pt x="25" y="33"/>
                </a:moveTo>
                <a:lnTo>
                  <a:pt x="39" y="51"/>
                </a:lnTo>
                <a:lnTo>
                  <a:pt x="46" y="65"/>
                </a:lnTo>
                <a:lnTo>
                  <a:pt x="53" y="121"/>
                </a:lnTo>
                <a:lnTo>
                  <a:pt x="64" y="122"/>
                </a:lnTo>
                <a:lnTo>
                  <a:pt x="73" y="94"/>
                </a:lnTo>
                <a:lnTo>
                  <a:pt x="75" y="78"/>
                </a:lnTo>
                <a:lnTo>
                  <a:pt x="103" y="69"/>
                </a:lnTo>
                <a:lnTo>
                  <a:pt x="110" y="56"/>
                </a:lnTo>
                <a:lnTo>
                  <a:pt x="97" y="52"/>
                </a:lnTo>
                <a:lnTo>
                  <a:pt x="81" y="21"/>
                </a:lnTo>
                <a:lnTo>
                  <a:pt x="58" y="1"/>
                </a:lnTo>
                <a:lnTo>
                  <a:pt x="28" y="0"/>
                </a:lnTo>
                <a:lnTo>
                  <a:pt x="0" y="4"/>
                </a:lnTo>
                <a:lnTo>
                  <a:pt x="25" y="33"/>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2" name="30642304.625447.1256.25145">
            <a:extLst>
              <a:ext uri="{FF2B5EF4-FFF2-40B4-BE49-F238E27FC236}">
                <a16:creationId xmlns:a16="http://schemas.microsoft.com/office/drawing/2014/main" id="{DA7AFB01-9488-F040-A853-864FDCA875B8}"/>
              </a:ext>
            </a:extLst>
          </p:cNvPr>
          <p:cNvSpPr>
            <a:spLocks noChangeAspect="1"/>
          </p:cNvSpPr>
          <p:nvPr/>
        </p:nvSpPr>
        <p:spPr bwMode="gray">
          <a:xfrm>
            <a:off x="6841431" y="3232660"/>
            <a:ext cx="226341" cy="100920"/>
          </a:xfrm>
          <a:custGeom>
            <a:avLst/>
            <a:gdLst/>
            <a:ahLst/>
            <a:cxnLst>
              <a:cxn ang="0">
                <a:pos x="0" y="6"/>
              </a:cxn>
              <a:cxn ang="0">
                <a:pos x="59" y="0"/>
              </a:cxn>
              <a:cxn ang="0">
                <a:pos x="115" y="22"/>
              </a:cxn>
              <a:cxn ang="0">
                <a:pos x="139" y="47"/>
              </a:cxn>
              <a:cxn ang="0">
                <a:pos x="167" y="47"/>
              </a:cxn>
              <a:cxn ang="0">
                <a:pos x="188" y="36"/>
              </a:cxn>
              <a:cxn ang="0">
                <a:pos x="203" y="32"/>
              </a:cxn>
              <a:cxn ang="0">
                <a:pos x="218" y="58"/>
              </a:cxn>
              <a:cxn ang="0">
                <a:pos x="244" y="64"/>
              </a:cxn>
              <a:cxn ang="0">
                <a:pos x="239" y="75"/>
              </a:cxn>
              <a:cxn ang="0">
                <a:pos x="247" y="94"/>
              </a:cxn>
              <a:cxn ang="0">
                <a:pos x="244" y="109"/>
              </a:cxn>
              <a:cxn ang="0">
                <a:pos x="218" y="86"/>
              </a:cxn>
              <a:cxn ang="0">
                <a:pos x="203" y="79"/>
              </a:cxn>
              <a:cxn ang="0">
                <a:pos x="189" y="79"/>
              </a:cxn>
              <a:cxn ang="0">
                <a:pos x="182" y="104"/>
              </a:cxn>
              <a:cxn ang="0">
                <a:pos x="163" y="97"/>
              </a:cxn>
              <a:cxn ang="0">
                <a:pos x="132" y="110"/>
              </a:cxn>
              <a:cxn ang="0">
                <a:pos x="95" y="108"/>
              </a:cxn>
              <a:cxn ang="0">
                <a:pos x="93" y="64"/>
              </a:cxn>
              <a:cxn ang="0">
                <a:pos x="33" y="27"/>
              </a:cxn>
              <a:cxn ang="0">
                <a:pos x="0" y="6"/>
              </a:cxn>
            </a:cxnLst>
            <a:rect l="0" t="0" r="r" b="b"/>
            <a:pathLst>
              <a:path w="247" h="110">
                <a:moveTo>
                  <a:pt x="0" y="6"/>
                </a:moveTo>
                <a:lnTo>
                  <a:pt x="59" y="0"/>
                </a:lnTo>
                <a:lnTo>
                  <a:pt x="115" y="22"/>
                </a:lnTo>
                <a:lnTo>
                  <a:pt x="139" y="47"/>
                </a:lnTo>
                <a:lnTo>
                  <a:pt x="167" y="47"/>
                </a:lnTo>
                <a:lnTo>
                  <a:pt x="188" y="36"/>
                </a:lnTo>
                <a:lnTo>
                  <a:pt x="203" y="32"/>
                </a:lnTo>
                <a:lnTo>
                  <a:pt x="218" y="58"/>
                </a:lnTo>
                <a:lnTo>
                  <a:pt x="244" y="64"/>
                </a:lnTo>
                <a:lnTo>
                  <a:pt x="239" y="75"/>
                </a:lnTo>
                <a:lnTo>
                  <a:pt x="247" y="94"/>
                </a:lnTo>
                <a:lnTo>
                  <a:pt x="244" y="109"/>
                </a:lnTo>
                <a:lnTo>
                  <a:pt x="218" y="86"/>
                </a:lnTo>
                <a:lnTo>
                  <a:pt x="203" y="79"/>
                </a:lnTo>
                <a:lnTo>
                  <a:pt x="189" y="79"/>
                </a:lnTo>
                <a:lnTo>
                  <a:pt x="182" y="104"/>
                </a:lnTo>
                <a:lnTo>
                  <a:pt x="163" y="97"/>
                </a:lnTo>
                <a:lnTo>
                  <a:pt x="132" y="110"/>
                </a:lnTo>
                <a:lnTo>
                  <a:pt x="95" y="108"/>
                </a:lnTo>
                <a:lnTo>
                  <a:pt x="93" y="64"/>
                </a:lnTo>
                <a:lnTo>
                  <a:pt x="33" y="27"/>
                </a:lnTo>
                <a:lnTo>
                  <a:pt x="0" y="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3" name="30643308.125457.59.511.6255">
            <a:extLst>
              <a:ext uri="{FF2B5EF4-FFF2-40B4-BE49-F238E27FC236}">
                <a16:creationId xmlns:a16="http://schemas.microsoft.com/office/drawing/2014/main" id="{5FE7B68D-921B-EE44-9719-B621D3EF6987}"/>
              </a:ext>
            </a:extLst>
          </p:cNvPr>
          <p:cNvSpPr>
            <a:spLocks noChangeAspect="1"/>
          </p:cNvSpPr>
          <p:nvPr/>
        </p:nvSpPr>
        <p:spPr bwMode="gray">
          <a:xfrm>
            <a:off x="7006907" y="3288166"/>
            <a:ext cx="186397" cy="154745"/>
          </a:xfrm>
          <a:custGeom>
            <a:avLst/>
            <a:gdLst/>
            <a:ahLst/>
            <a:cxnLst>
              <a:cxn ang="0">
                <a:pos x="77" y="7"/>
              </a:cxn>
              <a:cxn ang="0">
                <a:pos x="88" y="7"/>
              </a:cxn>
              <a:cxn ang="0">
                <a:pos x="119" y="15"/>
              </a:cxn>
              <a:cxn ang="0">
                <a:pos x="149" y="37"/>
              </a:cxn>
              <a:cxn ang="0">
                <a:pos x="167" y="63"/>
              </a:cxn>
              <a:cxn ang="0">
                <a:pos x="205" y="95"/>
              </a:cxn>
              <a:cxn ang="0">
                <a:pos x="185" y="101"/>
              </a:cxn>
              <a:cxn ang="0">
                <a:pos x="171" y="121"/>
              </a:cxn>
              <a:cxn ang="0">
                <a:pos x="168" y="130"/>
              </a:cxn>
              <a:cxn ang="0">
                <a:pos x="160" y="166"/>
              </a:cxn>
              <a:cxn ang="0">
                <a:pos x="132" y="156"/>
              </a:cxn>
              <a:cxn ang="0">
                <a:pos x="126" y="125"/>
              </a:cxn>
              <a:cxn ang="0">
                <a:pos x="98" y="137"/>
              </a:cxn>
              <a:cxn ang="0">
                <a:pos x="69" y="155"/>
              </a:cxn>
              <a:cxn ang="0">
                <a:pos x="53" y="151"/>
              </a:cxn>
              <a:cxn ang="0">
                <a:pos x="38" y="136"/>
              </a:cxn>
              <a:cxn ang="0">
                <a:pos x="28" y="121"/>
              </a:cxn>
              <a:cxn ang="0">
                <a:pos x="40" y="106"/>
              </a:cxn>
              <a:cxn ang="0">
                <a:pos x="49" y="118"/>
              </a:cxn>
              <a:cxn ang="0">
                <a:pos x="84" y="134"/>
              </a:cxn>
              <a:cxn ang="0">
                <a:pos x="91" y="119"/>
              </a:cxn>
              <a:cxn ang="0">
                <a:pos x="58" y="93"/>
              </a:cxn>
              <a:cxn ang="0">
                <a:pos x="47" y="71"/>
              </a:cxn>
              <a:cxn ang="0">
                <a:pos x="36" y="63"/>
              </a:cxn>
              <a:cxn ang="0">
                <a:pos x="36" y="51"/>
              </a:cxn>
              <a:cxn ang="0">
                <a:pos x="21" y="45"/>
              </a:cxn>
              <a:cxn ang="0">
                <a:pos x="0" y="41"/>
              </a:cxn>
              <a:cxn ang="0">
                <a:pos x="6" y="24"/>
              </a:cxn>
              <a:cxn ang="0">
                <a:pos x="9" y="15"/>
              </a:cxn>
              <a:cxn ang="0">
                <a:pos x="25" y="15"/>
              </a:cxn>
              <a:cxn ang="0">
                <a:pos x="36" y="22"/>
              </a:cxn>
              <a:cxn ang="0">
                <a:pos x="62" y="45"/>
              </a:cxn>
              <a:cxn ang="0">
                <a:pos x="65" y="30"/>
              </a:cxn>
              <a:cxn ang="0">
                <a:pos x="57" y="12"/>
              </a:cxn>
              <a:cxn ang="0">
                <a:pos x="62" y="0"/>
              </a:cxn>
              <a:cxn ang="0">
                <a:pos x="77" y="7"/>
              </a:cxn>
            </a:cxnLst>
            <a:rect l="0" t="0" r="r" b="b"/>
            <a:pathLst>
              <a:path w="205" h="166">
                <a:moveTo>
                  <a:pt x="77" y="7"/>
                </a:moveTo>
                <a:lnTo>
                  <a:pt x="88" y="7"/>
                </a:lnTo>
                <a:lnTo>
                  <a:pt x="119" y="15"/>
                </a:lnTo>
                <a:lnTo>
                  <a:pt x="149" y="37"/>
                </a:lnTo>
                <a:lnTo>
                  <a:pt x="167" y="63"/>
                </a:lnTo>
                <a:lnTo>
                  <a:pt x="205" y="95"/>
                </a:lnTo>
                <a:lnTo>
                  <a:pt x="185" y="101"/>
                </a:lnTo>
                <a:lnTo>
                  <a:pt x="171" y="121"/>
                </a:lnTo>
                <a:lnTo>
                  <a:pt x="168" y="130"/>
                </a:lnTo>
                <a:lnTo>
                  <a:pt x="160" y="166"/>
                </a:lnTo>
                <a:lnTo>
                  <a:pt x="132" y="156"/>
                </a:lnTo>
                <a:lnTo>
                  <a:pt x="126" y="125"/>
                </a:lnTo>
                <a:lnTo>
                  <a:pt x="98" y="137"/>
                </a:lnTo>
                <a:lnTo>
                  <a:pt x="69" y="155"/>
                </a:lnTo>
                <a:lnTo>
                  <a:pt x="53" y="151"/>
                </a:lnTo>
                <a:lnTo>
                  <a:pt x="38" y="136"/>
                </a:lnTo>
                <a:lnTo>
                  <a:pt x="28" y="121"/>
                </a:lnTo>
                <a:lnTo>
                  <a:pt x="40" y="106"/>
                </a:lnTo>
                <a:lnTo>
                  <a:pt x="49" y="118"/>
                </a:lnTo>
                <a:lnTo>
                  <a:pt x="84" y="134"/>
                </a:lnTo>
                <a:lnTo>
                  <a:pt x="91" y="119"/>
                </a:lnTo>
                <a:lnTo>
                  <a:pt x="58" y="93"/>
                </a:lnTo>
                <a:lnTo>
                  <a:pt x="47" y="71"/>
                </a:lnTo>
                <a:lnTo>
                  <a:pt x="36" y="63"/>
                </a:lnTo>
                <a:lnTo>
                  <a:pt x="36" y="51"/>
                </a:lnTo>
                <a:lnTo>
                  <a:pt x="21" y="45"/>
                </a:lnTo>
                <a:lnTo>
                  <a:pt x="0" y="41"/>
                </a:lnTo>
                <a:lnTo>
                  <a:pt x="6" y="24"/>
                </a:lnTo>
                <a:lnTo>
                  <a:pt x="9" y="15"/>
                </a:lnTo>
                <a:lnTo>
                  <a:pt x="25" y="15"/>
                </a:lnTo>
                <a:lnTo>
                  <a:pt x="36" y="22"/>
                </a:lnTo>
                <a:lnTo>
                  <a:pt x="62" y="45"/>
                </a:lnTo>
                <a:lnTo>
                  <a:pt x="65" y="30"/>
                </a:lnTo>
                <a:lnTo>
                  <a:pt x="57" y="12"/>
                </a:lnTo>
                <a:lnTo>
                  <a:pt x="62" y="0"/>
                </a:lnTo>
                <a:lnTo>
                  <a:pt x="77" y="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4" name="306443104555.757.6255">
            <a:extLst>
              <a:ext uri="{FF2B5EF4-FFF2-40B4-BE49-F238E27FC236}">
                <a16:creationId xmlns:a16="http://schemas.microsoft.com/office/drawing/2014/main" id="{7A856796-DA8F-FC46-A4B3-856DB7D1C964}"/>
              </a:ext>
            </a:extLst>
          </p:cNvPr>
          <p:cNvSpPr>
            <a:spLocks noChangeAspect="1"/>
          </p:cNvSpPr>
          <p:nvPr/>
        </p:nvSpPr>
        <p:spPr bwMode="gray">
          <a:xfrm>
            <a:off x="6968868" y="3318443"/>
            <a:ext cx="119826" cy="94190"/>
          </a:xfrm>
          <a:custGeom>
            <a:avLst/>
            <a:gdLst/>
            <a:ahLst/>
            <a:cxnLst>
              <a:cxn ang="0">
                <a:pos x="0" y="15"/>
              </a:cxn>
              <a:cxn ang="0">
                <a:pos x="16" y="31"/>
              </a:cxn>
              <a:cxn ang="0">
                <a:pos x="35" y="56"/>
              </a:cxn>
              <a:cxn ang="0">
                <a:pos x="67" y="89"/>
              </a:cxn>
              <a:cxn ang="0">
                <a:pos x="87" y="70"/>
              </a:cxn>
              <a:cxn ang="0">
                <a:pos x="89" y="86"/>
              </a:cxn>
              <a:cxn ang="0">
                <a:pos x="104" y="89"/>
              </a:cxn>
              <a:cxn ang="0">
                <a:pos x="126" y="101"/>
              </a:cxn>
              <a:cxn ang="0">
                <a:pos x="134" y="86"/>
              </a:cxn>
              <a:cxn ang="0">
                <a:pos x="101" y="60"/>
              </a:cxn>
              <a:cxn ang="0">
                <a:pos x="93" y="40"/>
              </a:cxn>
              <a:cxn ang="0">
                <a:pos x="79" y="30"/>
              </a:cxn>
              <a:cxn ang="0">
                <a:pos x="79" y="18"/>
              </a:cxn>
              <a:cxn ang="0">
                <a:pos x="64" y="12"/>
              </a:cxn>
              <a:cxn ang="0">
                <a:pos x="42" y="7"/>
              </a:cxn>
              <a:cxn ang="0">
                <a:pos x="23" y="0"/>
              </a:cxn>
              <a:cxn ang="0">
                <a:pos x="6" y="2"/>
              </a:cxn>
              <a:cxn ang="0">
                <a:pos x="0" y="15"/>
              </a:cxn>
            </a:cxnLst>
            <a:rect l="0" t="0" r="r" b="b"/>
            <a:pathLst>
              <a:path w="134" h="101">
                <a:moveTo>
                  <a:pt x="0" y="15"/>
                </a:moveTo>
                <a:lnTo>
                  <a:pt x="16" y="31"/>
                </a:lnTo>
                <a:lnTo>
                  <a:pt x="35" y="56"/>
                </a:lnTo>
                <a:lnTo>
                  <a:pt x="67" y="89"/>
                </a:lnTo>
                <a:lnTo>
                  <a:pt x="87" y="70"/>
                </a:lnTo>
                <a:lnTo>
                  <a:pt x="89" y="86"/>
                </a:lnTo>
                <a:lnTo>
                  <a:pt x="104" y="89"/>
                </a:lnTo>
                <a:lnTo>
                  <a:pt x="126" y="101"/>
                </a:lnTo>
                <a:lnTo>
                  <a:pt x="134" y="86"/>
                </a:lnTo>
                <a:lnTo>
                  <a:pt x="101" y="60"/>
                </a:lnTo>
                <a:lnTo>
                  <a:pt x="93" y="40"/>
                </a:lnTo>
                <a:lnTo>
                  <a:pt x="79" y="30"/>
                </a:lnTo>
                <a:lnTo>
                  <a:pt x="79" y="18"/>
                </a:lnTo>
                <a:lnTo>
                  <a:pt x="64" y="12"/>
                </a:lnTo>
                <a:lnTo>
                  <a:pt x="42" y="7"/>
                </a:lnTo>
                <a:lnTo>
                  <a:pt x="23" y="0"/>
                </a:lnTo>
                <a:lnTo>
                  <a:pt x="6" y="2"/>
                </a:lnTo>
                <a:lnTo>
                  <a:pt x="0" y="1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5" name="30645277.75459.37533.87578.8755">
            <a:extLst>
              <a:ext uri="{FF2B5EF4-FFF2-40B4-BE49-F238E27FC236}">
                <a16:creationId xmlns:a16="http://schemas.microsoft.com/office/drawing/2014/main" id="{9C5FE5CC-36F3-4A42-A6EE-675B1EF94373}"/>
              </a:ext>
            </a:extLst>
          </p:cNvPr>
          <p:cNvSpPr>
            <a:spLocks noChangeAspect="1"/>
          </p:cNvSpPr>
          <p:nvPr/>
        </p:nvSpPr>
        <p:spPr bwMode="gray">
          <a:xfrm>
            <a:off x="7039240" y="2798707"/>
            <a:ext cx="1262933" cy="546648"/>
          </a:xfrm>
          <a:custGeom>
            <a:avLst/>
            <a:gdLst/>
            <a:ahLst/>
            <a:cxnLst>
              <a:cxn ang="0">
                <a:pos x="1326" y="247"/>
              </a:cxn>
              <a:cxn ang="0">
                <a:pos x="1187" y="234"/>
              </a:cxn>
              <a:cxn ang="0">
                <a:pos x="1135" y="186"/>
              </a:cxn>
              <a:cxn ang="0">
                <a:pos x="1069" y="194"/>
              </a:cxn>
              <a:cxn ang="0">
                <a:pos x="1006" y="173"/>
              </a:cxn>
              <a:cxn ang="0">
                <a:pos x="889" y="100"/>
              </a:cxn>
              <a:cxn ang="0">
                <a:pos x="745" y="73"/>
              </a:cxn>
              <a:cxn ang="0">
                <a:pos x="644" y="44"/>
              </a:cxn>
              <a:cxn ang="0">
                <a:pos x="544" y="23"/>
              </a:cxn>
              <a:cxn ang="0">
                <a:pos x="449" y="51"/>
              </a:cxn>
              <a:cxn ang="0">
                <a:pos x="342" y="51"/>
              </a:cxn>
              <a:cxn ang="0">
                <a:pos x="342" y="120"/>
              </a:cxn>
              <a:cxn ang="0">
                <a:pos x="383" y="153"/>
              </a:cxn>
              <a:cxn ang="0">
                <a:pos x="383" y="198"/>
              </a:cxn>
              <a:cxn ang="0">
                <a:pos x="342" y="202"/>
              </a:cxn>
              <a:cxn ang="0">
                <a:pos x="280" y="177"/>
              </a:cxn>
              <a:cxn ang="0">
                <a:pos x="239" y="186"/>
              </a:cxn>
              <a:cxn ang="0">
                <a:pos x="191" y="169"/>
              </a:cxn>
              <a:cxn ang="0">
                <a:pos x="73" y="166"/>
              </a:cxn>
              <a:cxn ang="0">
                <a:pos x="47" y="191"/>
              </a:cxn>
              <a:cxn ang="0">
                <a:pos x="44" y="224"/>
              </a:cxn>
              <a:cxn ang="0">
                <a:pos x="5" y="208"/>
              </a:cxn>
              <a:cxn ang="0">
                <a:pos x="0" y="275"/>
              </a:cxn>
              <a:cxn ang="0">
                <a:pos x="18" y="320"/>
              </a:cxn>
              <a:cxn ang="0">
                <a:pos x="62" y="318"/>
              </a:cxn>
              <a:cxn ang="0">
                <a:pos x="104" y="385"/>
              </a:cxn>
              <a:cxn ang="0">
                <a:pos x="253" y="359"/>
              </a:cxn>
              <a:cxn ang="0">
                <a:pos x="240" y="430"/>
              </a:cxn>
              <a:cxn ang="0">
                <a:pos x="166" y="468"/>
              </a:cxn>
              <a:cxn ang="0">
                <a:pos x="249" y="535"/>
              </a:cxn>
              <a:cxn ang="0">
                <a:pos x="308" y="545"/>
              </a:cxn>
              <a:cxn ang="0">
                <a:pos x="353" y="554"/>
              </a:cxn>
              <a:cxn ang="0">
                <a:pos x="352" y="418"/>
              </a:cxn>
              <a:cxn ang="0">
                <a:pos x="409" y="377"/>
              </a:cxn>
              <a:cxn ang="0">
                <a:pos x="430" y="359"/>
              </a:cxn>
              <a:cxn ang="0">
                <a:pos x="459" y="371"/>
              </a:cxn>
              <a:cxn ang="0">
                <a:pos x="474" y="382"/>
              </a:cxn>
              <a:cxn ang="0">
                <a:pos x="511" y="439"/>
              </a:cxn>
              <a:cxn ang="0">
                <a:pos x="541" y="474"/>
              </a:cxn>
              <a:cxn ang="0">
                <a:pos x="624" y="474"/>
              </a:cxn>
              <a:cxn ang="0">
                <a:pos x="655" y="568"/>
              </a:cxn>
              <a:cxn ang="0">
                <a:pos x="688" y="600"/>
              </a:cxn>
              <a:cxn ang="0">
                <a:pos x="769" y="584"/>
              </a:cxn>
              <a:cxn ang="0">
                <a:pos x="866" y="586"/>
              </a:cxn>
              <a:cxn ang="0">
                <a:pos x="860" y="546"/>
              </a:cxn>
              <a:cxn ang="0">
                <a:pos x="877" y="525"/>
              </a:cxn>
              <a:cxn ang="0">
                <a:pos x="936" y="534"/>
              </a:cxn>
              <a:cxn ang="0">
                <a:pos x="1018" y="514"/>
              </a:cxn>
              <a:cxn ang="0">
                <a:pos x="1160" y="542"/>
              </a:cxn>
              <a:cxn ang="0">
                <a:pos x="1160" y="457"/>
              </a:cxn>
              <a:cxn ang="0">
                <a:pos x="1264" y="359"/>
              </a:cxn>
            </a:cxnLst>
            <a:rect l="0" t="0" r="r" b="b"/>
            <a:pathLst>
              <a:path w="1396" h="600">
                <a:moveTo>
                  <a:pt x="1362" y="308"/>
                </a:moveTo>
                <a:lnTo>
                  <a:pt x="1396" y="296"/>
                </a:lnTo>
                <a:lnTo>
                  <a:pt x="1326" y="247"/>
                </a:lnTo>
                <a:lnTo>
                  <a:pt x="1281" y="267"/>
                </a:lnTo>
                <a:lnTo>
                  <a:pt x="1216" y="249"/>
                </a:lnTo>
                <a:lnTo>
                  <a:pt x="1187" y="234"/>
                </a:lnTo>
                <a:lnTo>
                  <a:pt x="1160" y="234"/>
                </a:lnTo>
                <a:lnTo>
                  <a:pt x="1143" y="205"/>
                </a:lnTo>
                <a:lnTo>
                  <a:pt x="1135" y="186"/>
                </a:lnTo>
                <a:lnTo>
                  <a:pt x="1110" y="186"/>
                </a:lnTo>
                <a:lnTo>
                  <a:pt x="1090" y="186"/>
                </a:lnTo>
                <a:lnTo>
                  <a:pt x="1069" y="194"/>
                </a:lnTo>
                <a:lnTo>
                  <a:pt x="1036" y="161"/>
                </a:lnTo>
                <a:lnTo>
                  <a:pt x="1021" y="166"/>
                </a:lnTo>
                <a:lnTo>
                  <a:pt x="1006" y="173"/>
                </a:lnTo>
                <a:lnTo>
                  <a:pt x="987" y="180"/>
                </a:lnTo>
                <a:lnTo>
                  <a:pt x="958" y="155"/>
                </a:lnTo>
                <a:lnTo>
                  <a:pt x="889" y="100"/>
                </a:lnTo>
                <a:lnTo>
                  <a:pt x="835" y="67"/>
                </a:lnTo>
                <a:lnTo>
                  <a:pt x="802" y="37"/>
                </a:lnTo>
                <a:lnTo>
                  <a:pt x="745" y="73"/>
                </a:lnTo>
                <a:lnTo>
                  <a:pt x="735" y="47"/>
                </a:lnTo>
                <a:lnTo>
                  <a:pt x="654" y="44"/>
                </a:lnTo>
                <a:lnTo>
                  <a:pt x="644" y="44"/>
                </a:lnTo>
                <a:lnTo>
                  <a:pt x="609" y="0"/>
                </a:lnTo>
                <a:lnTo>
                  <a:pt x="569" y="5"/>
                </a:lnTo>
                <a:lnTo>
                  <a:pt x="544" y="23"/>
                </a:lnTo>
                <a:lnTo>
                  <a:pt x="493" y="34"/>
                </a:lnTo>
                <a:lnTo>
                  <a:pt x="477" y="25"/>
                </a:lnTo>
                <a:lnTo>
                  <a:pt x="449" y="51"/>
                </a:lnTo>
                <a:lnTo>
                  <a:pt x="430" y="47"/>
                </a:lnTo>
                <a:lnTo>
                  <a:pt x="357" y="54"/>
                </a:lnTo>
                <a:lnTo>
                  <a:pt x="342" y="51"/>
                </a:lnTo>
                <a:lnTo>
                  <a:pt x="332" y="56"/>
                </a:lnTo>
                <a:lnTo>
                  <a:pt x="363" y="89"/>
                </a:lnTo>
                <a:lnTo>
                  <a:pt x="342" y="120"/>
                </a:lnTo>
                <a:lnTo>
                  <a:pt x="345" y="142"/>
                </a:lnTo>
                <a:lnTo>
                  <a:pt x="345" y="153"/>
                </a:lnTo>
                <a:lnTo>
                  <a:pt x="383" y="153"/>
                </a:lnTo>
                <a:lnTo>
                  <a:pt x="396" y="173"/>
                </a:lnTo>
                <a:lnTo>
                  <a:pt x="396" y="194"/>
                </a:lnTo>
                <a:lnTo>
                  <a:pt x="383" y="198"/>
                </a:lnTo>
                <a:lnTo>
                  <a:pt x="368" y="186"/>
                </a:lnTo>
                <a:lnTo>
                  <a:pt x="352" y="194"/>
                </a:lnTo>
                <a:lnTo>
                  <a:pt x="342" y="202"/>
                </a:lnTo>
                <a:lnTo>
                  <a:pt x="315" y="186"/>
                </a:lnTo>
                <a:lnTo>
                  <a:pt x="306" y="169"/>
                </a:lnTo>
                <a:lnTo>
                  <a:pt x="280" y="177"/>
                </a:lnTo>
                <a:lnTo>
                  <a:pt x="280" y="183"/>
                </a:lnTo>
                <a:lnTo>
                  <a:pt x="262" y="169"/>
                </a:lnTo>
                <a:lnTo>
                  <a:pt x="239" y="186"/>
                </a:lnTo>
                <a:lnTo>
                  <a:pt x="209" y="194"/>
                </a:lnTo>
                <a:lnTo>
                  <a:pt x="199" y="186"/>
                </a:lnTo>
                <a:lnTo>
                  <a:pt x="191" y="169"/>
                </a:lnTo>
                <a:lnTo>
                  <a:pt x="152" y="166"/>
                </a:lnTo>
                <a:lnTo>
                  <a:pt x="88" y="162"/>
                </a:lnTo>
                <a:lnTo>
                  <a:pt x="73" y="166"/>
                </a:lnTo>
                <a:lnTo>
                  <a:pt x="67" y="177"/>
                </a:lnTo>
                <a:lnTo>
                  <a:pt x="56" y="173"/>
                </a:lnTo>
                <a:lnTo>
                  <a:pt x="47" y="191"/>
                </a:lnTo>
                <a:lnTo>
                  <a:pt x="37" y="205"/>
                </a:lnTo>
                <a:lnTo>
                  <a:pt x="37" y="212"/>
                </a:lnTo>
                <a:lnTo>
                  <a:pt x="44" y="224"/>
                </a:lnTo>
                <a:lnTo>
                  <a:pt x="33" y="228"/>
                </a:lnTo>
                <a:lnTo>
                  <a:pt x="22" y="205"/>
                </a:lnTo>
                <a:lnTo>
                  <a:pt x="5" y="208"/>
                </a:lnTo>
                <a:lnTo>
                  <a:pt x="0" y="239"/>
                </a:lnTo>
                <a:lnTo>
                  <a:pt x="0" y="258"/>
                </a:lnTo>
                <a:lnTo>
                  <a:pt x="0" y="275"/>
                </a:lnTo>
                <a:lnTo>
                  <a:pt x="8" y="290"/>
                </a:lnTo>
                <a:lnTo>
                  <a:pt x="18" y="301"/>
                </a:lnTo>
                <a:lnTo>
                  <a:pt x="18" y="320"/>
                </a:lnTo>
                <a:lnTo>
                  <a:pt x="33" y="318"/>
                </a:lnTo>
                <a:lnTo>
                  <a:pt x="52" y="304"/>
                </a:lnTo>
                <a:lnTo>
                  <a:pt x="62" y="318"/>
                </a:lnTo>
                <a:lnTo>
                  <a:pt x="77" y="335"/>
                </a:lnTo>
                <a:lnTo>
                  <a:pt x="89" y="352"/>
                </a:lnTo>
                <a:lnTo>
                  <a:pt x="104" y="385"/>
                </a:lnTo>
                <a:lnTo>
                  <a:pt x="133" y="377"/>
                </a:lnTo>
                <a:lnTo>
                  <a:pt x="180" y="368"/>
                </a:lnTo>
                <a:lnTo>
                  <a:pt x="253" y="359"/>
                </a:lnTo>
                <a:lnTo>
                  <a:pt x="271" y="381"/>
                </a:lnTo>
                <a:lnTo>
                  <a:pt x="273" y="422"/>
                </a:lnTo>
                <a:lnTo>
                  <a:pt x="240" y="430"/>
                </a:lnTo>
                <a:lnTo>
                  <a:pt x="209" y="439"/>
                </a:lnTo>
                <a:lnTo>
                  <a:pt x="213" y="468"/>
                </a:lnTo>
                <a:lnTo>
                  <a:pt x="166" y="468"/>
                </a:lnTo>
                <a:lnTo>
                  <a:pt x="209" y="527"/>
                </a:lnTo>
                <a:lnTo>
                  <a:pt x="228" y="531"/>
                </a:lnTo>
                <a:lnTo>
                  <a:pt x="249" y="535"/>
                </a:lnTo>
                <a:lnTo>
                  <a:pt x="258" y="560"/>
                </a:lnTo>
                <a:lnTo>
                  <a:pt x="269" y="550"/>
                </a:lnTo>
                <a:lnTo>
                  <a:pt x="308" y="545"/>
                </a:lnTo>
                <a:lnTo>
                  <a:pt x="328" y="554"/>
                </a:lnTo>
                <a:lnTo>
                  <a:pt x="342" y="567"/>
                </a:lnTo>
                <a:lnTo>
                  <a:pt x="353" y="554"/>
                </a:lnTo>
                <a:lnTo>
                  <a:pt x="378" y="557"/>
                </a:lnTo>
                <a:lnTo>
                  <a:pt x="335" y="425"/>
                </a:lnTo>
                <a:lnTo>
                  <a:pt x="352" y="418"/>
                </a:lnTo>
                <a:lnTo>
                  <a:pt x="408" y="389"/>
                </a:lnTo>
                <a:lnTo>
                  <a:pt x="418" y="388"/>
                </a:lnTo>
                <a:lnTo>
                  <a:pt x="409" y="377"/>
                </a:lnTo>
                <a:lnTo>
                  <a:pt x="422" y="382"/>
                </a:lnTo>
                <a:lnTo>
                  <a:pt x="422" y="368"/>
                </a:lnTo>
                <a:lnTo>
                  <a:pt x="430" y="359"/>
                </a:lnTo>
                <a:lnTo>
                  <a:pt x="434" y="363"/>
                </a:lnTo>
                <a:lnTo>
                  <a:pt x="446" y="363"/>
                </a:lnTo>
                <a:lnTo>
                  <a:pt x="459" y="371"/>
                </a:lnTo>
                <a:lnTo>
                  <a:pt x="475" y="355"/>
                </a:lnTo>
                <a:lnTo>
                  <a:pt x="485" y="359"/>
                </a:lnTo>
                <a:lnTo>
                  <a:pt x="474" y="382"/>
                </a:lnTo>
                <a:lnTo>
                  <a:pt x="482" y="414"/>
                </a:lnTo>
                <a:lnTo>
                  <a:pt x="511" y="432"/>
                </a:lnTo>
                <a:lnTo>
                  <a:pt x="511" y="439"/>
                </a:lnTo>
                <a:lnTo>
                  <a:pt x="501" y="454"/>
                </a:lnTo>
                <a:lnTo>
                  <a:pt x="506" y="461"/>
                </a:lnTo>
                <a:lnTo>
                  <a:pt x="541" y="474"/>
                </a:lnTo>
                <a:lnTo>
                  <a:pt x="552" y="494"/>
                </a:lnTo>
                <a:lnTo>
                  <a:pt x="587" y="483"/>
                </a:lnTo>
                <a:lnTo>
                  <a:pt x="624" y="474"/>
                </a:lnTo>
                <a:lnTo>
                  <a:pt x="654" y="534"/>
                </a:lnTo>
                <a:lnTo>
                  <a:pt x="665" y="561"/>
                </a:lnTo>
                <a:lnTo>
                  <a:pt x="655" y="568"/>
                </a:lnTo>
                <a:lnTo>
                  <a:pt x="650" y="578"/>
                </a:lnTo>
                <a:lnTo>
                  <a:pt x="679" y="587"/>
                </a:lnTo>
                <a:lnTo>
                  <a:pt x="688" y="600"/>
                </a:lnTo>
                <a:lnTo>
                  <a:pt x="728" y="587"/>
                </a:lnTo>
                <a:lnTo>
                  <a:pt x="742" y="600"/>
                </a:lnTo>
                <a:lnTo>
                  <a:pt x="769" y="584"/>
                </a:lnTo>
                <a:lnTo>
                  <a:pt x="789" y="582"/>
                </a:lnTo>
                <a:lnTo>
                  <a:pt x="813" y="586"/>
                </a:lnTo>
                <a:lnTo>
                  <a:pt x="866" y="586"/>
                </a:lnTo>
                <a:lnTo>
                  <a:pt x="852" y="575"/>
                </a:lnTo>
                <a:lnTo>
                  <a:pt x="852" y="557"/>
                </a:lnTo>
                <a:lnTo>
                  <a:pt x="860" y="546"/>
                </a:lnTo>
                <a:lnTo>
                  <a:pt x="860" y="536"/>
                </a:lnTo>
                <a:lnTo>
                  <a:pt x="844" y="528"/>
                </a:lnTo>
                <a:lnTo>
                  <a:pt x="877" y="525"/>
                </a:lnTo>
                <a:lnTo>
                  <a:pt x="906" y="528"/>
                </a:lnTo>
                <a:lnTo>
                  <a:pt x="912" y="536"/>
                </a:lnTo>
                <a:lnTo>
                  <a:pt x="936" y="534"/>
                </a:lnTo>
                <a:lnTo>
                  <a:pt x="919" y="507"/>
                </a:lnTo>
                <a:lnTo>
                  <a:pt x="937" y="503"/>
                </a:lnTo>
                <a:lnTo>
                  <a:pt x="1018" y="514"/>
                </a:lnTo>
                <a:lnTo>
                  <a:pt x="1086" y="520"/>
                </a:lnTo>
                <a:lnTo>
                  <a:pt x="1135" y="542"/>
                </a:lnTo>
                <a:lnTo>
                  <a:pt x="1160" y="542"/>
                </a:lnTo>
                <a:lnTo>
                  <a:pt x="1168" y="567"/>
                </a:lnTo>
                <a:lnTo>
                  <a:pt x="1187" y="514"/>
                </a:lnTo>
                <a:lnTo>
                  <a:pt x="1160" y="457"/>
                </a:lnTo>
                <a:lnTo>
                  <a:pt x="1242" y="437"/>
                </a:lnTo>
                <a:lnTo>
                  <a:pt x="1252" y="406"/>
                </a:lnTo>
                <a:lnTo>
                  <a:pt x="1264" y="359"/>
                </a:lnTo>
                <a:lnTo>
                  <a:pt x="1349" y="363"/>
                </a:lnTo>
                <a:lnTo>
                  <a:pt x="1362" y="308"/>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6" name="30646299.625478.3752134.255">
            <a:extLst>
              <a:ext uri="{FF2B5EF4-FFF2-40B4-BE49-F238E27FC236}">
                <a16:creationId xmlns:a16="http://schemas.microsoft.com/office/drawing/2014/main" id="{F375B959-224A-A847-83A6-EB450B4474A5}"/>
              </a:ext>
            </a:extLst>
          </p:cNvPr>
          <p:cNvSpPr>
            <a:spLocks noChangeAspect="1"/>
          </p:cNvSpPr>
          <p:nvPr/>
        </p:nvSpPr>
        <p:spPr bwMode="gray">
          <a:xfrm>
            <a:off x="7341662" y="3151926"/>
            <a:ext cx="547777" cy="338079"/>
          </a:xfrm>
          <a:custGeom>
            <a:avLst/>
            <a:gdLst/>
            <a:ahLst/>
            <a:cxnLst>
              <a:cxn ang="0">
                <a:pos x="58" y="166"/>
              </a:cxn>
              <a:cxn ang="0">
                <a:pos x="69" y="139"/>
              </a:cxn>
              <a:cxn ang="0">
                <a:pos x="83" y="126"/>
              </a:cxn>
              <a:cxn ang="0">
                <a:pos x="109" y="132"/>
              </a:cxn>
              <a:cxn ang="0">
                <a:pos x="139" y="140"/>
              </a:cxn>
              <a:cxn ang="0">
                <a:pos x="147" y="148"/>
              </a:cxn>
              <a:cxn ang="0">
                <a:pos x="166" y="166"/>
              </a:cxn>
              <a:cxn ang="0">
                <a:pos x="180" y="209"/>
              </a:cxn>
              <a:cxn ang="0">
                <a:pos x="204" y="205"/>
              </a:cxn>
              <a:cxn ang="0">
                <a:pos x="237" y="209"/>
              </a:cxn>
              <a:cxn ang="0">
                <a:pos x="285" y="258"/>
              </a:cxn>
              <a:cxn ang="0">
                <a:pos x="337" y="289"/>
              </a:cxn>
              <a:cxn ang="0">
                <a:pos x="385" y="319"/>
              </a:cxn>
              <a:cxn ang="0">
                <a:pos x="404" y="371"/>
              </a:cxn>
              <a:cxn ang="0">
                <a:pos x="436" y="330"/>
              </a:cxn>
              <a:cxn ang="0">
                <a:pos x="439" y="291"/>
              </a:cxn>
              <a:cxn ang="0">
                <a:pos x="421" y="236"/>
              </a:cxn>
              <a:cxn ang="0">
                <a:pos x="461" y="224"/>
              </a:cxn>
              <a:cxn ang="0">
                <a:pos x="513" y="235"/>
              </a:cxn>
              <a:cxn ang="0">
                <a:pos x="595" y="229"/>
              </a:cxn>
              <a:cxn ang="0">
                <a:pos x="595" y="196"/>
              </a:cxn>
              <a:cxn ang="0">
                <a:pos x="496" y="196"/>
              </a:cxn>
              <a:cxn ang="0">
                <a:pos x="447" y="192"/>
              </a:cxn>
              <a:cxn ang="0">
                <a:pos x="403" y="209"/>
              </a:cxn>
              <a:cxn ang="0">
                <a:pos x="373" y="205"/>
              </a:cxn>
              <a:cxn ang="0">
                <a:pos x="349" y="207"/>
              </a:cxn>
              <a:cxn ang="0">
                <a:pos x="320" y="192"/>
              </a:cxn>
              <a:cxn ang="0">
                <a:pos x="319" y="180"/>
              </a:cxn>
              <a:cxn ang="0">
                <a:pos x="315" y="137"/>
              </a:cxn>
              <a:cxn ang="0">
                <a:pos x="219" y="103"/>
              </a:cxn>
              <a:cxn ang="0">
                <a:pos x="171" y="73"/>
              </a:cxn>
              <a:cxn ang="0">
                <a:pos x="110" y="88"/>
              </a:cxn>
              <a:cxn ang="0">
                <a:pos x="72" y="38"/>
              </a:cxn>
              <a:cxn ang="0">
                <a:pos x="73" y="0"/>
              </a:cxn>
              <a:cxn ang="0">
                <a:pos x="43" y="169"/>
              </a:cxn>
            </a:cxnLst>
            <a:rect l="0" t="0" r="r" b="b"/>
            <a:pathLst>
              <a:path w="609" h="371">
                <a:moveTo>
                  <a:pt x="43" y="169"/>
                </a:moveTo>
                <a:lnTo>
                  <a:pt x="58" y="166"/>
                </a:lnTo>
                <a:lnTo>
                  <a:pt x="63" y="151"/>
                </a:lnTo>
                <a:lnTo>
                  <a:pt x="69" y="139"/>
                </a:lnTo>
                <a:lnTo>
                  <a:pt x="87" y="146"/>
                </a:lnTo>
                <a:lnTo>
                  <a:pt x="83" y="126"/>
                </a:lnTo>
                <a:lnTo>
                  <a:pt x="99" y="119"/>
                </a:lnTo>
                <a:lnTo>
                  <a:pt x="109" y="132"/>
                </a:lnTo>
                <a:lnTo>
                  <a:pt x="124" y="132"/>
                </a:lnTo>
                <a:lnTo>
                  <a:pt x="139" y="140"/>
                </a:lnTo>
                <a:lnTo>
                  <a:pt x="147" y="146"/>
                </a:lnTo>
                <a:lnTo>
                  <a:pt x="147" y="148"/>
                </a:lnTo>
                <a:lnTo>
                  <a:pt x="149" y="161"/>
                </a:lnTo>
                <a:lnTo>
                  <a:pt x="166" y="166"/>
                </a:lnTo>
                <a:lnTo>
                  <a:pt x="166" y="183"/>
                </a:lnTo>
                <a:lnTo>
                  <a:pt x="180" y="209"/>
                </a:lnTo>
                <a:lnTo>
                  <a:pt x="197" y="212"/>
                </a:lnTo>
                <a:lnTo>
                  <a:pt x="204" y="205"/>
                </a:lnTo>
                <a:lnTo>
                  <a:pt x="221" y="195"/>
                </a:lnTo>
                <a:lnTo>
                  <a:pt x="237" y="209"/>
                </a:lnTo>
                <a:lnTo>
                  <a:pt x="256" y="229"/>
                </a:lnTo>
                <a:lnTo>
                  <a:pt x="285" y="258"/>
                </a:lnTo>
                <a:lnTo>
                  <a:pt x="335" y="271"/>
                </a:lnTo>
                <a:lnTo>
                  <a:pt x="337" y="289"/>
                </a:lnTo>
                <a:lnTo>
                  <a:pt x="370" y="301"/>
                </a:lnTo>
                <a:lnTo>
                  <a:pt x="385" y="319"/>
                </a:lnTo>
                <a:lnTo>
                  <a:pt x="374" y="370"/>
                </a:lnTo>
                <a:lnTo>
                  <a:pt x="404" y="371"/>
                </a:lnTo>
                <a:lnTo>
                  <a:pt x="423" y="345"/>
                </a:lnTo>
                <a:lnTo>
                  <a:pt x="436" y="330"/>
                </a:lnTo>
                <a:lnTo>
                  <a:pt x="444" y="316"/>
                </a:lnTo>
                <a:lnTo>
                  <a:pt x="439" y="291"/>
                </a:lnTo>
                <a:lnTo>
                  <a:pt x="415" y="282"/>
                </a:lnTo>
                <a:lnTo>
                  <a:pt x="421" y="236"/>
                </a:lnTo>
                <a:lnTo>
                  <a:pt x="443" y="218"/>
                </a:lnTo>
                <a:lnTo>
                  <a:pt x="461" y="224"/>
                </a:lnTo>
                <a:lnTo>
                  <a:pt x="506" y="216"/>
                </a:lnTo>
                <a:lnTo>
                  <a:pt x="513" y="235"/>
                </a:lnTo>
                <a:lnTo>
                  <a:pt x="539" y="234"/>
                </a:lnTo>
                <a:lnTo>
                  <a:pt x="595" y="229"/>
                </a:lnTo>
                <a:lnTo>
                  <a:pt x="609" y="209"/>
                </a:lnTo>
                <a:lnTo>
                  <a:pt x="595" y="196"/>
                </a:lnTo>
                <a:lnTo>
                  <a:pt x="560" y="196"/>
                </a:lnTo>
                <a:lnTo>
                  <a:pt x="496" y="196"/>
                </a:lnTo>
                <a:lnTo>
                  <a:pt x="472" y="196"/>
                </a:lnTo>
                <a:lnTo>
                  <a:pt x="447" y="192"/>
                </a:lnTo>
                <a:lnTo>
                  <a:pt x="407" y="212"/>
                </a:lnTo>
                <a:lnTo>
                  <a:pt x="403" y="209"/>
                </a:lnTo>
                <a:lnTo>
                  <a:pt x="393" y="199"/>
                </a:lnTo>
                <a:lnTo>
                  <a:pt x="373" y="205"/>
                </a:lnTo>
                <a:lnTo>
                  <a:pt x="353" y="212"/>
                </a:lnTo>
                <a:lnTo>
                  <a:pt x="349" y="207"/>
                </a:lnTo>
                <a:lnTo>
                  <a:pt x="345" y="199"/>
                </a:lnTo>
                <a:lnTo>
                  <a:pt x="320" y="192"/>
                </a:lnTo>
                <a:lnTo>
                  <a:pt x="315" y="190"/>
                </a:lnTo>
                <a:lnTo>
                  <a:pt x="319" y="180"/>
                </a:lnTo>
                <a:lnTo>
                  <a:pt x="331" y="173"/>
                </a:lnTo>
                <a:lnTo>
                  <a:pt x="315" y="137"/>
                </a:lnTo>
                <a:lnTo>
                  <a:pt x="289" y="86"/>
                </a:lnTo>
                <a:lnTo>
                  <a:pt x="219" y="103"/>
                </a:lnTo>
                <a:lnTo>
                  <a:pt x="204" y="86"/>
                </a:lnTo>
                <a:lnTo>
                  <a:pt x="171" y="73"/>
                </a:lnTo>
                <a:lnTo>
                  <a:pt x="140" y="93"/>
                </a:lnTo>
                <a:lnTo>
                  <a:pt x="110" y="88"/>
                </a:lnTo>
                <a:lnTo>
                  <a:pt x="77" y="66"/>
                </a:lnTo>
                <a:lnTo>
                  <a:pt x="72" y="38"/>
                </a:lnTo>
                <a:lnTo>
                  <a:pt x="74" y="19"/>
                </a:lnTo>
                <a:lnTo>
                  <a:pt x="73" y="0"/>
                </a:lnTo>
                <a:lnTo>
                  <a:pt x="0" y="38"/>
                </a:lnTo>
                <a:lnTo>
                  <a:pt x="43" y="169"/>
                </a:lnTo>
                <a:close/>
              </a:path>
            </a:pathLst>
          </a:custGeom>
          <a:no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7" name="30647306.375473.7518.37526.3755">
            <a:extLst>
              <a:ext uri="{FF2B5EF4-FFF2-40B4-BE49-F238E27FC236}">
                <a16:creationId xmlns:a16="http://schemas.microsoft.com/office/drawing/2014/main" id="{3CBCFDEB-09BC-2C48-B9B4-25927ABBAB34}"/>
              </a:ext>
            </a:extLst>
          </p:cNvPr>
          <p:cNvSpPr>
            <a:spLocks noChangeAspect="1"/>
          </p:cNvSpPr>
          <p:nvPr/>
        </p:nvSpPr>
        <p:spPr bwMode="gray">
          <a:xfrm>
            <a:off x="7269386" y="3261253"/>
            <a:ext cx="420344" cy="297714"/>
          </a:xfrm>
          <a:custGeom>
            <a:avLst/>
            <a:gdLst/>
            <a:ahLst/>
            <a:cxnLst>
              <a:cxn ang="0">
                <a:pos x="0" y="47"/>
              </a:cxn>
              <a:cxn ang="0">
                <a:pos x="3" y="90"/>
              </a:cxn>
              <a:cxn ang="0">
                <a:pos x="29" y="64"/>
              </a:cxn>
              <a:cxn ang="0">
                <a:pos x="64" y="97"/>
              </a:cxn>
              <a:cxn ang="0">
                <a:pos x="49" y="117"/>
              </a:cxn>
              <a:cxn ang="0">
                <a:pos x="6" y="98"/>
              </a:cxn>
              <a:cxn ang="0">
                <a:pos x="2" y="127"/>
              </a:cxn>
              <a:cxn ang="0">
                <a:pos x="6" y="143"/>
              </a:cxn>
              <a:cxn ang="0">
                <a:pos x="29" y="148"/>
              </a:cxn>
              <a:cxn ang="0">
                <a:pos x="18" y="165"/>
              </a:cxn>
              <a:cxn ang="0">
                <a:pos x="39" y="179"/>
              </a:cxn>
              <a:cxn ang="0">
                <a:pos x="39" y="237"/>
              </a:cxn>
              <a:cxn ang="0">
                <a:pos x="102" y="220"/>
              </a:cxn>
              <a:cxn ang="0">
                <a:pos x="138" y="203"/>
              </a:cxn>
              <a:cxn ang="0">
                <a:pos x="220" y="241"/>
              </a:cxn>
              <a:cxn ang="0">
                <a:pos x="271" y="265"/>
              </a:cxn>
              <a:cxn ang="0">
                <a:pos x="282" y="276"/>
              </a:cxn>
              <a:cxn ang="0">
                <a:pos x="288" y="304"/>
              </a:cxn>
              <a:cxn ang="0">
                <a:pos x="336" y="325"/>
              </a:cxn>
              <a:cxn ang="0">
                <a:pos x="407" y="248"/>
              </a:cxn>
              <a:cxn ang="0">
                <a:pos x="454" y="248"/>
              </a:cxn>
              <a:cxn ang="0">
                <a:pos x="461" y="215"/>
              </a:cxn>
              <a:cxn ang="0">
                <a:pos x="466" y="201"/>
              </a:cxn>
              <a:cxn ang="0">
                <a:pos x="451" y="181"/>
              </a:cxn>
              <a:cxn ang="0">
                <a:pos x="417" y="168"/>
              </a:cxn>
              <a:cxn ang="0">
                <a:pos x="414" y="152"/>
              </a:cxn>
              <a:cxn ang="0">
                <a:pos x="365" y="139"/>
              </a:cxn>
              <a:cxn ang="0">
                <a:pos x="336" y="110"/>
              </a:cxn>
              <a:cxn ang="0">
                <a:pos x="325" y="93"/>
              </a:cxn>
              <a:cxn ang="0">
                <a:pos x="301" y="75"/>
              </a:cxn>
              <a:cxn ang="0">
                <a:pos x="286" y="84"/>
              </a:cxn>
              <a:cxn ang="0">
                <a:pos x="277" y="93"/>
              </a:cxn>
              <a:cxn ang="0">
                <a:pos x="260" y="90"/>
              </a:cxn>
              <a:cxn ang="0">
                <a:pos x="246" y="64"/>
              </a:cxn>
              <a:cxn ang="0">
                <a:pos x="245" y="47"/>
              </a:cxn>
              <a:cxn ang="0">
                <a:pos x="229" y="42"/>
              </a:cxn>
              <a:cxn ang="0">
                <a:pos x="224" y="27"/>
              </a:cxn>
              <a:cxn ang="0">
                <a:pos x="204" y="13"/>
              </a:cxn>
              <a:cxn ang="0">
                <a:pos x="189" y="13"/>
              </a:cxn>
              <a:cxn ang="0">
                <a:pos x="179" y="0"/>
              </a:cxn>
              <a:cxn ang="0">
                <a:pos x="163" y="7"/>
              </a:cxn>
              <a:cxn ang="0">
                <a:pos x="168" y="27"/>
              </a:cxn>
              <a:cxn ang="0">
                <a:pos x="160" y="22"/>
              </a:cxn>
              <a:cxn ang="0">
                <a:pos x="149" y="20"/>
              </a:cxn>
              <a:cxn ang="0">
                <a:pos x="138" y="47"/>
              </a:cxn>
              <a:cxn ang="0">
                <a:pos x="120" y="50"/>
              </a:cxn>
              <a:cxn ang="0">
                <a:pos x="102" y="46"/>
              </a:cxn>
              <a:cxn ang="0">
                <a:pos x="87" y="60"/>
              </a:cxn>
              <a:cxn ang="0">
                <a:pos x="73" y="47"/>
              </a:cxn>
              <a:cxn ang="0">
                <a:pos x="51" y="35"/>
              </a:cxn>
              <a:cxn ang="0">
                <a:pos x="0" y="47"/>
              </a:cxn>
            </a:cxnLst>
            <a:rect l="0" t="0" r="r" b="b"/>
            <a:pathLst>
              <a:path w="466" h="325">
                <a:moveTo>
                  <a:pt x="0" y="47"/>
                </a:moveTo>
                <a:lnTo>
                  <a:pt x="3" y="90"/>
                </a:lnTo>
                <a:lnTo>
                  <a:pt x="29" y="64"/>
                </a:lnTo>
                <a:lnTo>
                  <a:pt x="64" y="97"/>
                </a:lnTo>
                <a:lnTo>
                  <a:pt x="49" y="117"/>
                </a:lnTo>
                <a:lnTo>
                  <a:pt x="6" y="98"/>
                </a:lnTo>
                <a:lnTo>
                  <a:pt x="2" y="127"/>
                </a:lnTo>
                <a:lnTo>
                  <a:pt x="6" y="143"/>
                </a:lnTo>
                <a:lnTo>
                  <a:pt x="29" y="148"/>
                </a:lnTo>
                <a:lnTo>
                  <a:pt x="18" y="165"/>
                </a:lnTo>
                <a:lnTo>
                  <a:pt x="39" y="179"/>
                </a:lnTo>
                <a:lnTo>
                  <a:pt x="39" y="237"/>
                </a:lnTo>
                <a:lnTo>
                  <a:pt x="102" y="220"/>
                </a:lnTo>
                <a:lnTo>
                  <a:pt x="138" y="203"/>
                </a:lnTo>
                <a:lnTo>
                  <a:pt x="220" y="241"/>
                </a:lnTo>
                <a:lnTo>
                  <a:pt x="271" y="265"/>
                </a:lnTo>
                <a:lnTo>
                  <a:pt x="282" y="276"/>
                </a:lnTo>
                <a:lnTo>
                  <a:pt x="288" y="304"/>
                </a:lnTo>
                <a:lnTo>
                  <a:pt x="336" y="325"/>
                </a:lnTo>
                <a:lnTo>
                  <a:pt x="407" y="248"/>
                </a:lnTo>
                <a:lnTo>
                  <a:pt x="454" y="248"/>
                </a:lnTo>
                <a:lnTo>
                  <a:pt x="461" y="215"/>
                </a:lnTo>
                <a:lnTo>
                  <a:pt x="466" y="201"/>
                </a:lnTo>
                <a:lnTo>
                  <a:pt x="451" y="181"/>
                </a:lnTo>
                <a:lnTo>
                  <a:pt x="417" y="168"/>
                </a:lnTo>
                <a:lnTo>
                  <a:pt x="414" y="152"/>
                </a:lnTo>
                <a:lnTo>
                  <a:pt x="365" y="139"/>
                </a:lnTo>
                <a:lnTo>
                  <a:pt x="336" y="110"/>
                </a:lnTo>
                <a:lnTo>
                  <a:pt x="325" y="93"/>
                </a:lnTo>
                <a:lnTo>
                  <a:pt x="301" y="75"/>
                </a:lnTo>
                <a:lnTo>
                  <a:pt x="286" y="84"/>
                </a:lnTo>
                <a:lnTo>
                  <a:pt x="277" y="93"/>
                </a:lnTo>
                <a:lnTo>
                  <a:pt x="260" y="90"/>
                </a:lnTo>
                <a:lnTo>
                  <a:pt x="246" y="64"/>
                </a:lnTo>
                <a:lnTo>
                  <a:pt x="245" y="47"/>
                </a:lnTo>
                <a:lnTo>
                  <a:pt x="229" y="42"/>
                </a:lnTo>
                <a:lnTo>
                  <a:pt x="224" y="27"/>
                </a:lnTo>
                <a:lnTo>
                  <a:pt x="204" y="13"/>
                </a:lnTo>
                <a:lnTo>
                  <a:pt x="189" y="13"/>
                </a:lnTo>
                <a:lnTo>
                  <a:pt x="179" y="0"/>
                </a:lnTo>
                <a:lnTo>
                  <a:pt x="163" y="7"/>
                </a:lnTo>
                <a:lnTo>
                  <a:pt x="168" y="27"/>
                </a:lnTo>
                <a:lnTo>
                  <a:pt x="160" y="22"/>
                </a:lnTo>
                <a:lnTo>
                  <a:pt x="149" y="20"/>
                </a:lnTo>
                <a:lnTo>
                  <a:pt x="138" y="47"/>
                </a:lnTo>
                <a:lnTo>
                  <a:pt x="120" y="50"/>
                </a:lnTo>
                <a:lnTo>
                  <a:pt x="102" y="46"/>
                </a:lnTo>
                <a:lnTo>
                  <a:pt x="87" y="60"/>
                </a:lnTo>
                <a:lnTo>
                  <a:pt x="73" y="47"/>
                </a:lnTo>
                <a:lnTo>
                  <a:pt x="51" y="35"/>
                </a:lnTo>
                <a:lnTo>
                  <a:pt x="0" y="47"/>
                </a:lnTo>
                <a:close/>
              </a:path>
            </a:pathLst>
          </a:custGeom>
          <a:solidFill>
            <a:srgbClr val="4472C4"/>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8" name="30648306.125503.259.375225">
            <a:extLst>
              <a:ext uri="{FF2B5EF4-FFF2-40B4-BE49-F238E27FC236}">
                <a16:creationId xmlns:a16="http://schemas.microsoft.com/office/drawing/2014/main" id="{94511001-35DF-2944-8901-4F0FCF296E9D}"/>
              </a:ext>
            </a:extLst>
          </p:cNvPr>
          <p:cNvSpPr>
            <a:spLocks noChangeAspect="1"/>
          </p:cNvSpPr>
          <p:nvPr/>
        </p:nvSpPr>
        <p:spPr bwMode="gray">
          <a:xfrm>
            <a:off x="7741081" y="3256208"/>
            <a:ext cx="351869" cy="151380"/>
          </a:xfrm>
          <a:custGeom>
            <a:avLst/>
            <a:gdLst/>
            <a:ahLst/>
            <a:cxnLst>
              <a:cxn ang="0">
                <a:pos x="99" y="119"/>
              </a:cxn>
              <a:cxn ang="0">
                <a:pos x="70" y="119"/>
              </a:cxn>
              <a:cxn ang="0">
                <a:pos x="13" y="125"/>
              </a:cxn>
              <a:cxn ang="0">
                <a:pos x="0" y="143"/>
              </a:cxn>
              <a:cxn ang="0">
                <a:pos x="13" y="152"/>
              </a:cxn>
              <a:cxn ang="0">
                <a:pos x="26" y="157"/>
              </a:cxn>
              <a:cxn ang="0">
                <a:pos x="104" y="156"/>
              </a:cxn>
              <a:cxn ang="0">
                <a:pos x="156" y="156"/>
              </a:cxn>
              <a:cxn ang="0">
                <a:pos x="180" y="167"/>
              </a:cxn>
              <a:cxn ang="0">
                <a:pos x="188" y="146"/>
              </a:cxn>
              <a:cxn ang="0">
                <a:pos x="210" y="143"/>
              </a:cxn>
              <a:cxn ang="0">
                <a:pos x="242" y="136"/>
              </a:cxn>
              <a:cxn ang="0">
                <a:pos x="269" y="131"/>
              </a:cxn>
              <a:cxn ang="0">
                <a:pos x="319" y="103"/>
              </a:cxn>
              <a:cxn ang="0">
                <a:pos x="371" y="77"/>
              </a:cxn>
              <a:cxn ang="0">
                <a:pos x="389" y="64"/>
              </a:cxn>
              <a:cxn ang="0">
                <a:pos x="382" y="39"/>
              </a:cxn>
              <a:cxn ang="0">
                <a:pos x="357" y="39"/>
              </a:cxn>
              <a:cxn ang="0">
                <a:pos x="332" y="26"/>
              </a:cxn>
              <a:cxn ang="0">
                <a:pos x="306" y="17"/>
              </a:cxn>
              <a:cxn ang="0">
                <a:pos x="240" y="11"/>
              </a:cxn>
              <a:cxn ang="0">
                <a:pos x="159" y="0"/>
              </a:cxn>
              <a:cxn ang="0">
                <a:pos x="143" y="4"/>
              </a:cxn>
              <a:cxn ang="0">
                <a:pos x="148" y="17"/>
              </a:cxn>
              <a:cxn ang="0">
                <a:pos x="158" y="31"/>
              </a:cxn>
              <a:cxn ang="0">
                <a:pos x="134" y="33"/>
              </a:cxn>
              <a:cxn ang="0">
                <a:pos x="128" y="25"/>
              </a:cxn>
              <a:cxn ang="0">
                <a:pos x="101" y="22"/>
              </a:cxn>
              <a:cxn ang="0">
                <a:pos x="66" y="25"/>
              </a:cxn>
              <a:cxn ang="0">
                <a:pos x="82" y="33"/>
              </a:cxn>
              <a:cxn ang="0">
                <a:pos x="85" y="43"/>
              </a:cxn>
              <a:cxn ang="0">
                <a:pos x="74" y="54"/>
              </a:cxn>
              <a:cxn ang="0">
                <a:pos x="74" y="72"/>
              </a:cxn>
              <a:cxn ang="0">
                <a:pos x="88" y="83"/>
              </a:cxn>
              <a:cxn ang="0">
                <a:pos x="134" y="83"/>
              </a:cxn>
              <a:cxn ang="0">
                <a:pos x="151" y="81"/>
              </a:cxn>
              <a:cxn ang="0">
                <a:pos x="166" y="97"/>
              </a:cxn>
              <a:cxn ang="0">
                <a:pos x="149" y="116"/>
              </a:cxn>
              <a:cxn ang="0">
                <a:pos x="133" y="116"/>
              </a:cxn>
              <a:cxn ang="0">
                <a:pos x="117" y="114"/>
              </a:cxn>
              <a:cxn ang="0">
                <a:pos x="108" y="116"/>
              </a:cxn>
              <a:cxn ang="0">
                <a:pos x="99" y="119"/>
              </a:cxn>
            </a:cxnLst>
            <a:rect l="0" t="0" r="r" b="b"/>
            <a:pathLst>
              <a:path w="389" h="167">
                <a:moveTo>
                  <a:pt x="99" y="119"/>
                </a:moveTo>
                <a:lnTo>
                  <a:pt x="70" y="119"/>
                </a:lnTo>
                <a:lnTo>
                  <a:pt x="13" y="125"/>
                </a:lnTo>
                <a:lnTo>
                  <a:pt x="0" y="143"/>
                </a:lnTo>
                <a:lnTo>
                  <a:pt x="13" y="152"/>
                </a:lnTo>
                <a:lnTo>
                  <a:pt x="26" y="157"/>
                </a:lnTo>
                <a:lnTo>
                  <a:pt x="104" y="156"/>
                </a:lnTo>
                <a:lnTo>
                  <a:pt x="156" y="156"/>
                </a:lnTo>
                <a:lnTo>
                  <a:pt x="180" y="167"/>
                </a:lnTo>
                <a:lnTo>
                  <a:pt x="188" y="146"/>
                </a:lnTo>
                <a:lnTo>
                  <a:pt x="210" y="143"/>
                </a:lnTo>
                <a:lnTo>
                  <a:pt x="242" y="136"/>
                </a:lnTo>
                <a:lnTo>
                  <a:pt x="269" y="131"/>
                </a:lnTo>
                <a:lnTo>
                  <a:pt x="319" y="103"/>
                </a:lnTo>
                <a:lnTo>
                  <a:pt x="371" y="77"/>
                </a:lnTo>
                <a:lnTo>
                  <a:pt x="389" y="64"/>
                </a:lnTo>
                <a:lnTo>
                  <a:pt x="382" y="39"/>
                </a:lnTo>
                <a:lnTo>
                  <a:pt x="357" y="39"/>
                </a:lnTo>
                <a:lnTo>
                  <a:pt x="332" y="26"/>
                </a:lnTo>
                <a:lnTo>
                  <a:pt x="306" y="17"/>
                </a:lnTo>
                <a:lnTo>
                  <a:pt x="240" y="11"/>
                </a:lnTo>
                <a:lnTo>
                  <a:pt x="159" y="0"/>
                </a:lnTo>
                <a:lnTo>
                  <a:pt x="143" y="4"/>
                </a:lnTo>
                <a:lnTo>
                  <a:pt x="148" y="17"/>
                </a:lnTo>
                <a:lnTo>
                  <a:pt x="158" y="31"/>
                </a:lnTo>
                <a:lnTo>
                  <a:pt x="134" y="33"/>
                </a:lnTo>
                <a:lnTo>
                  <a:pt x="128" y="25"/>
                </a:lnTo>
                <a:lnTo>
                  <a:pt x="101" y="22"/>
                </a:lnTo>
                <a:lnTo>
                  <a:pt x="66" y="25"/>
                </a:lnTo>
                <a:lnTo>
                  <a:pt x="82" y="33"/>
                </a:lnTo>
                <a:lnTo>
                  <a:pt x="85" y="43"/>
                </a:lnTo>
                <a:lnTo>
                  <a:pt x="74" y="54"/>
                </a:lnTo>
                <a:lnTo>
                  <a:pt x="74" y="72"/>
                </a:lnTo>
                <a:lnTo>
                  <a:pt x="88" y="83"/>
                </a:lnTo>
                <a:lnTo>
                  <a:pt x="134" y="83"/>
                </a:lnTo>
                <a:lnTo>
                  <a:pt x="151" y="81"/>
                </a:lnTo>
                <a:lnTo>
                  <a:pt x="166" y="97"/>
                </a:lnTo>
                <a:lnTo>
                  <a:pt x="149" y="116"/>
                </a:lnTo>
                <a:lnTo>
                  <a:pt x="133" y="116"/>
                </a:lnTo>
                <a:lnTo>
                  <a:pt x="117" y="114"/>
                </a:lnTo>
                <a:lnTo>
                  <a:pt x="108" y="116"/>
                </a:lnTo>
                <a:lnTo>
                  <a:pt x="99" y="11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89" name="30649311.875501.259.625145">
            <a:extLst>
              <a:ext uri="{FF2B5EF4-FFF2-40B4-BE49-F238E27FC236}">
                <a16:creationId xmlns:a16="http://schemas.microsoft.com/office/drawing/2014/main" id="{C478ED51-A5E1-5B42-8C6D-83466D8BEC46}"/>
              </a:ext>
            </a:extLst>
          </p:cNvPr>
          <p:cNvSpPr>
            <a:spLocks noChangeAspect="1"/>
          </p:cNvSpPr>
          <p:nvPr/>
        </p:nvSpPr>
        <p:spPr bwMode="gray">
          <a:xfrm>
            <a:off x="7708747" y="3350401"/>
            <a:ext cx="224436" cy="154745"/>
          </a:xfrm>
          <a:custGeom>
            <a:avLst/>
            <a:gdLst/>
            <a:ahLst/>
            <a:cxnLst>
              <a:cxn ang="0">
                <a:pos x="0" y="146"/>
              </a:cxn>
              <a:cxn ang="0">
                <a:pos x="3" y="152"/>
              </a:cxn>
              <a:cxn ang="0">
                <a:pos x="21" y="155"/>
              </a:cxn>
              <a:cxn ang="0">
                <a:pos x="65" y="157"/>
              </a:cxn>
              <a:cxn ang="0">
                <a:pos x="117" y="103"/>
              </a:cxn>
              <a:cxn ang="0">
                <a:pos x="129" y="137"/>
              </a:cxn>
              <a:cxn ang="0">
                <a:pos x="144" y="172"/>
              </a:cxn>
              <a:cxn ang="0">
                <a:pos x="176" y="158"/>
              </a:cxn>
              <a:cxn ang="0">
                <a:pos x="210" y="144"/>
              </a:cxn>
              <a:cxn ang="0">
                <a:pos x="245" y="155"/>
              </a:cxn>
              <a:cxn ang="0">
                <a:pos x="247" y="104"/>
              </a:cxn>
              <a:cxn ang="0">
                <a:pos x="223" y="95"/>
              </a:cxn>
              <a:cxn ang="0">
                <a:pos x="209" y="96"/>
              </a:cxn>
              <a:cxn ang="0">
                <a:pos x="218" y="64"/>
              </a:cxn>
              <a:cxn ang="0">
                <a:pos x="190" y="57"/>
              </a:cxn>
              <a:cxn ang="0">
                <a:pos x="165" y="55"/>
              </a:cxn>
              <a:cxn ang="0">
                <a:pos x="131" y="55"/>
              </a:cxn>
              <a:cxn ang="0">
                <a:pos x="103" y="55"/>
              </a:cxn>
              <a:cxn ang="0">
                <a:pos x="70" y="55"/>
              </a:cxn>
              <a:cxn ang="0">
                <a:pos x="41" y="49"/>
              </a:cxn>
              <a:cxn ang="0">
                <a:pos x="37" y="45"/>
              </a:cxn>
              <a:cxn ang="0">
                <a:pos x="43" y="33"/>
              </a:cxn>
              <a:cxn ang="0">
                <a:pos x="55" y="24"/>
              </a:cxn>
              <a:cxn ang="0">
                <a:pos x="102" y="16"/>
              </a:cxn>
              <a:cxn ang="0">
                <a:pos x="99" y="0"/>
              </a:cxn>
              <a:cxn ang="0">
                <a:pos x="63" y="5"/>
              </a:cxn>
              <a:cxn ang="0">
                <a:pos x="33" y="4"/>
              </a:cxn>
              <a:cxn ang="0">
                <a:pos x="14" y="20"/>
              </a:cxn>
              <a:cxn ang="0">
                <a:pos x="7" y="55"/>
              </a:cxn>
              <a:cxn ang="0">
                <a:pos x="8" y="63"/>
              </a:cxn>
              <a:cxn ang="0">
                <a:pos x="5" y="66"/>
              </a:cxn>
              <a:cxn ang="0">
                <a:pos x="27" y="73"/>
              </a:cxn>
              <a:cxn ang="0">
                <a:pos x="38" y="92"/>
              </a:cxn>
              <a:cxn ang="0">
                <a:pos x="32" y="114"/>
              </a:cxn>
              <a:cxn ang="0">
                <a:pos x="26" y="117"/>
              </a:cxn>
              <a:cxn ang="0">
                <a:pos x="18" y="126"/>
              </a:cxn>
              <a:cxn ang="0">
                <a:pos x="0" y="146"/>
              </a:cxn>
            </a:cxnLst>
            <a:rect l="0" t="0" r="r" b="b"/>
            <a:pathLst>
              <a:path w="247" h="172">
                <a:moveTo>
                  <a:pt x="0" y="146"/>
                </a:moveTo>
                <a:lnTo>
                  <a:pt x="3" y="152"/>
                </a:lnTo>
                <a:lnTo>
                  <a:pt x="21" y="155"/>
                </a:lnTo>
                <a:lnTo>
                  <a:pt x="65" y="157"/>
                </a:lnTo>
                <a:lnTo>
                  <a:pt x="117" y="103"/>
                </a:lnTo>
                <a:lnTo>
                  <a:pt x="129" y="137"/>
                </a:lnTo>
                <a:lnTo>
                  <a:pt x="144" y="172"/>
                </a:lnTo>
                <a:lnTo>
                  <a:pt x="176" y="158"/>
                </a:lnTo>
                <a:lnTo>
                  <a:pt x="210" y="144"/>
                </a:lnTo>
                <a:lnTo>
                  <a:pt x="245" y="155"/>
                </a:lnTo>
                <a:lnTo>
                  <a:pt x="247" y="104"/>
                </a:lnTo>
                <a:lnTo>
                  <a:pt x="223" y="95"/>
                </a:lnTo>
                <a:lnTo>
                  <a:pt x="209" y="96"/>
                </a:lnTo>
                <a:lnTo>
                  <a:pt x="218" y="64"/>
                </a:lnTo>
                <a:lnTo>
                  <a:pt x="190" y="57"/>
                </a:lnTo>
                <a:lnTo>
                  <a:pt x="165" y="55"/>
                </a:lnTo>
                <a:lnTo>
                  <a:pt x="131" y="55"/>
                </a:lnTo>
                <a:lnTo>
                  <a:pt x="103" y="55"/>
                </a:lnTo>
                <a:lnTo>
                  <a:pt x="70" y="55"/>
                </a:lnTo>
                <a:lnTo>
                  <a:pt x="41" y="49"/>
                </a:lnTo>
                <a:lnTo>
                  <a:pt x="37" y="45"/>
                </a:lnTo>
                <a:lnTo>
                  <a:pt x="43" y="33"/>
                </a:lnTo>
                <a:lnTo>
                  <a:pt x="55" y="24"/>
                </a:lnTo>
                <a:lnTo>
                  <a:pt x="102" y="16"/>
                </a:lnTo>
                <a:lnTo>
                  <a:pt x="99" y="0"/>
                </a:lnTo>
                <a:lnTo>
                  <a:pt x="63" y="5"/>
                </a:lnTo>
                <a:lnTo>
                  <a:pt x="33" y="4"/>
                </a:lnTo>
                <a:lnTo>
                  <a:pt x="14" y="20"/>
                </a:lnTo>
                <a:lnTo>
                  <a:pt x="7" y="55"/>
                </a:lnTo>
                <a:lnTo>
                  <a:pt x="8" y="63"/>
                </a:lnTo>
                <a:lnTo>
                  <a:pt x="5" y="66"/>
                </a:lnTo>
                <a:lnTo>
                  <a:pt x="27" y="73"/>
                </a:lnTo>
                <a:lnTo>
                  <a:pt x="38" y="92"/>
                </a:lnTo>
                <a:lnTo>
                  <a:pt x="32" y="114"/>
                </a:lnTo>
                <a:lnTo>
                  <a:pt x="26" y="117"/>
                </a:lnTo>
                <a:lnTo>
                  <a:pt x="18" y="126"/>
                </a:lnTo>
                <a:lnTo>
                  <a:pt x="0" y="146"/>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0" name="30650298.625400.12513.87517.6255">
            <a:extLst>
              <a:ext uri="{FF2B5EF4-FFF2-40B4-BE49-F238E27FC236}">
                <a16:creationId xmlns:a16="http://schemas.microsoft.com/office/drawing/2014/main" id="{DB161146-82EA-BE47-826F-CF369D9223E4}"/>
              </a:ext>
            </a:extLst>
          </p:cNvPr>
          <p:cNvSpPr>
            <a:spLocks noChangeAspect="1"/>
          </p:cNvSpPr>
          <p:nvPr/>
        </p:nvSpPr>
        <p:spPr bwMode="gray">
          <a:xfrm>
            <a:off x="6088240" y="3133425"/>
            <a:ext cx="281497" cy="227071"/>
          </a:xfrm>
          <a:custGeom>
            <a:avLst/>
            <a:gdLst/>
            <a:ahLst/>
            <a:cxnLst>
              <a:cxn ang="0">
                <a:pos x="0" y="58"/>
              </a:cxn>
              <a:cxn ang="0">
                <a:pos x="0" y="18"/>
              </a:cxn>
              <a:cxn ang="0">
                <a:pos x="79" y="0"/>
              </a:cxn>
              <a:cxn ang="0">
                <a:pos x="144" y="48"/>
              </a:cxn>
              <a:cxn ang="0">
                <a:pos x="217" y="34"/>
              </a:cxn>
              <a:cxn ang="0">
                <a:pos x="303" y="111"/>
              </a:cxn>
              <a:cxn ang="0">
                <a:pos x="291" y="191"/>
              </a:cxn>
              <a:cxn ang="0">
                <a:pos x="311" y="227"/>
              </a:cxn>
              <a:cxn ang="0">
                <a:pos x="246" y="245"/>
              </a:cxn>
              <a:cxn ang="0">
                <a:pos x="215" y="177"/>
              </a:cxn>
              <a:cxn ang="0">
                <a:pos x="188" y="205"/>
              </a:cxn>
              <a:cxn ang="0">
                <a:pos x="79" y="139"/>
              </a:cxn>
              <a:cxn ang="0">
                <a:pos x="28" y="69"/>
              </a:cxn>
              <a:cxn ang="0">
                <a:pos x="2" y="84"/>
              </a:cxn>
              <a:cxn ang="0">
                <a:pos x="0" y="58"/>
              </a:cxn>
            </a:cxnLst>
            <a:rect l="0" t="0" r="r" b="b"/>
            <a:pathLst>
              <a:path w="311" h="245">
                <a:moveTo>
                  <a:pt x="0" y="58"/>
                </a:moveTo>
                <a:lnTo>
                  <a:pt x="0" y="18"/>
                </a:lnTo>
                <a:lnTo>
                  <a:pt x="79" y="0"/>
                </a:lnTo>
                <a:lnTo>
                  <a:pt x="144" y="48"/>
                </a:lnTo>
                <a:lnTo>
                  <a:pt x="217" y="34"/>
                </a:lnTo>
                <a:lnTo>
                  <a:pt x="303" y="111"/>
                </a:lnTo>
                <a:lnTo>
                  <a:pt x="291" y="191"/>
                </a:lnTo>
                <a:lnTo>
                  <a:pt x="311" y="227"/>
                </a:lnTo>
                <a:lnTo>
                  <a:pt x="246" y="245"/>
                </a:lnTo>
                <a:lnTo>
                  <a:pt x="215" y="177"/>
                </a:lnTo>
                <a:lnTo>
                  <a:pt x="188" y="205"/>
                </a:lnTo>
                <a:lnTo>
                  <a:pt x="79" y="139"/>
                </a:lnTo>
                <a:lnTo>
                  <a:pt x="28" y="69"/>
                </a:lnTo>
                <a:lnTo>
                  <a:pt x="2" y="84"/>
                </a:lnTo>
                <a:lnTo>
                  <a:pt x="0" y="58"/>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1" name="30654305416.56.62511.8755">
            <a:extLst>
              <a:ext uri="{FF2B5EF4-FFF2-40B4-BE49-F238E27FC236}">
                <a16:creationId xmlns:a16="http://schemas.microsoft.com/office/drawing/2014/main" id="{B0E670FE-0446-3646-B2DD-56D12CA4661C}"/>
              </a:ext>
            </a:extLst>
          </p:cNvPr>
          <p:cNvSpPr>
            <a:spLocks noChangeAspect="1"/>
          </p:cNvSpPr>
          <p:nvPr/>
        </p:nvSpPr>
        <p:spPr bwMode="gray">
          <a:xfrm>
            <a:off x="6350715" y="3237706"/>
            <a:ext cx="190202" cy="107646"/>
          </a:xfrm>
          <a:custGeom>
            <a:avLst/>
            <a:gdLst/>
            <a:ahLst/>
            <a:cxnLst>
              <a:cxn ang="0">
                <a:pos x="0" y="80"/>
              </a:cxn>
              <a:cxn ang="0">
                <a:pos x="12" y="0"/>
              </a:cxn>
              <a:cxn ang="0">
                <a:pos x="209" y="18"/>
              </a:cxn>
              <a:cxn ang="0">
                <a:pos x="172" y="68"/>
              </a:cxn>
              <a:cxn ang="0">
                <a:pos x="187" y="94"/>
              </a:cxn>
              <a:cxn ang="0">
                <a:pos x="135" y="97"/>
              </a:cxn>
              <a:cxn ang="0">
                <a:pos x="103" y="117"/>
              </a:cxn>
              <a:cxn ang="0">
                <a:pos x="20" y="116"/>
              </a:cxn>
              <a:cxn ang="0">
                <a:pos x="0" y="80"/>
              </a:cxn>
            </a:cxnLst>
            <a:rect l="0" t="0" r="r" b="b"/>
            <a:pathLst>
              <a:path w="209" h="117">
                <a:moveTo>
                  <a:pt x="0" y="80"/>
                </a:moveTo>
                <a:lnTo>
                  <a:pt x="12" y="0"/>
                </a:lnTo>
                <a:lnTo>
                  <a:pt x="209" y="18"/>
                </a:lnTo>
                <a:lnTo>
                  <a:pt x="172" y="68"/>
                </a:lnTo>
                <a:lnTo>
                  <a:pt x="187" y="94"/>
                </a:lnTo>
                <a:lnTo>
                  <a:pt x="135" y="97"/>
                </a:lnTo>
                <a:lnTo>
                  <a:pt x="103" y="117"/>
                </a:lnTo>
                <a:lnTo>
                  <a:pt x="20" y="116"/>
                </a:lnTo>
                <a:lnTo>
                  <a:pt x="0" y="80"/>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2" name="30655294.75404.6256.7512.6255">
            <a:extLst>
              <a:ext uri="{FF2B5EF4-FFF2-40B4-BE49-F238E27FC236}">
                <a16:creationId xmlns:a16="http://schemas.microsoft.com/office/drawing/2014/main" id="{B8B7A7FE-3DD7-F54A-9AB4-E3324046423E}"/>
              </a:ext>
            </a:extLst>
          </p:cNvPr>
          <p:cNvSpPr>
            <a:spLocks noChangeAspect="1"/>
          </p:cNvSpPr>
          <p:nvPr/>
        </p:nvSpPr>
        <p:spPr bwMode="gray">
          <a:xfrm>
            <a:off x="6158612" y="3071189"/>
            <a:ext cx="201614" cy="111011"/>
          </a:xfrm>
          <a:custGeom>
            <a:avLst/>
            <a:gdLst/>
            <a:ahLst/>
            <a:cxnLst>
              <a:cxn ang="0">
                <a:pos x="0" y="69"/>
              </a:cxn>
              <a:cxn ang="0">
                <a:pos x="35" y="19"/>
              </a:cxn>
              <a:cxn ang="0">
                <a:pos x="80" y="33"/>
              </a:cxn>
              <a:cxn ang="0">
                <a:pos x="157" y="0"/>
              </a:cxn>
              <a:cxn ang="0">
                <a:pos x="202" y="7"/>
              </a:cxn>
              <a:cxn ang="0">
                <a:pos x="224" y="25"/>
              </a:cxn>
              <a:cxn ang="0">
                <a:pos x="138" y="103"/>
              </a:cxn>
              <a:cxn ang="0">
                <a:pos x="65" y="117"/>
              </a:cxn>
              <a:cxn ang="0">
                <a:pos x="0" y="69"/>
              </a:cxn>
            </a:cxnLst>
            <a:rect l="0" t="0" r="r" b="b"/>
            <a:pathLst>
              <a:path w="224" h="117">
                <a:moveTo>
                  <a:pt x="0" y="69"/>
                </a:moveTo>
                <a:lnTo>
                  <a:pt x="35" y="19"/>
                </a:lnTo>
                <a:lnTo>
                  <a:pt x="80" y="33"/>
                </a:lnTo>
                <a:lnTo>
                  <a:pt x="157" y="0"/>
                </a:lnTo>
                <a:lnTo>
                  <a:pt x="202" y="7"/>
                </a:lnTo>
                <a:lnTo>
                  <a:pt x="224" y="25"/>
                </a:lnTo>
                <a:lnTo>
                  <a:pt x="138" y="103"/>
                </a:lnTo>
                <a:lnTo>
                  <a:pt x="65" y="117"/>
                </a:lnTo>
                <a:lnTo>
                  <a:pt x="0" y="69"/>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3" name="30656279.25400.87514.12518.755">
            <a:extLst>
              <a:ext uri="{FF2B5EF4-FFF2-40B4-BE49-F238E27FC236}">
                <a16:creationId xmlns:a16="http://schemas.microsoft.com/office/drawing/2014/main" id="{8437A336-7AB0-BC47-A464-10578BF3313B}"/>
              </a:ext>
            </a:extLst>
          </p:cNvPr>
          <p:cNvSpPr>
            <a:spLocks noChangeAspect="1"/>
          </p:cNvSpPr>
          <p:nvPr/>
        </p:nvSpPr>
        <p:spPr bwMode="gray">
          <a:xfrm>
            <a:off x="6097750" y="2822255"/>
            <a:ext cx="300518" cy="228752"/>
          </a:xfrm>
          <a:custGeom>
            <a:avLst/>
            <a:gdLst/>
            <a:ahLst/>
            <a:cxnLst>
              <a:cxn ang="0">
                <a:pos x="0" y="45"/>
              </a:cxn>
              <a:cxn ang="0">
                <a:pos x="19" y="177"/>
              </a:cxn>
              <a:cxn ang="0">
                <a:pos x="194" y="243"/>
              </a:cxn>
              <a:cxn ang="0">
                <a:pos x="278" y="252"/>
              </a:cxn>
              <a:cxn ang="0">
                <a:pos x="333" y="186"/>
              </a:cxn>
              <a:cxn ang="0">
                <a:pos x="305" y="110"/>
              </a:cxn>
              <a:cxn ang="0">
                <a:pos x="326" y="91"/>
              </a:cxn>
              <a:cxn ang="0">
                <a:pos x="312" y="33"/>
              </a:cxn>
              <a:cxn ang="0">
                <a:pos x="186" y="14"/>
              </a:cxn>
              <a:cxn ang="0">
                <a:pos x="103" y="0"/>
              </a:cxn>
              <a:cxn ang="0">
                <a:pos x="0" y="45"/>
              </a:cxn>
            </a:cxnLst>
            <a:rect l="0" t="0" r="r" b="b"/>
            <a:pathLst>
              <a:path w="333" h="252">
                <a:moveTo>
                  <a:pt x="0" y="45"/>
                </a:moveTo>
                <a:lnTo>
                  <a:pt x="19" y="177"/>
                </a:lnTo>
                <a:lnTo>
                  <a:pt x="194" y="243"/>
                </a:lnTo>
                <a:lnTo>
                  <a:pt x="278" y="252"/>
                </a:lnTo>
                <a:lnTo>
                  <a:pt x="333" y="186"/>
                </a:lnTo>
                <a:lnTo>
                  <a:pt x="305" y="110"/>
                </a:lnTo>
                <a:lnTo>
                  <a:pt x="326" y="91"/>
                </a:lnTo>
                <a:lnTo>
                  <a:pt x="312" y="33"/>
                </a:lnTo>
                <a:lnTo>
                  <a:pt x="186" y="14"/>
                </a:lnTo>
                <a:lnTo>
                  <a:pt x="103" y="0"/>
                </a:lnTo>
                <a:lnTo>
                  <a:pt x="0" y="4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4" name="30657295.5412.2510.5185">
            <a:extLst>
              <a:ext uri="{FF2B5EF4-FFF2-40B4-BE49-F238E27FC236}">
                <a16:creationId xmlns:a16="http://schemas.microsoft.com/office/drawing/2014/main" id="{24EFC9C1-0C5A-0D42-B2FB-4D4481E8FF11}"/>
              </a:ext>
            </a:extLst>
          </p:cNvPr>
          <p:cNvSpPr>
            <a:spLocks noChangeAspect="1"/>
          </p:cNvSpPr>
          <p:nvPr/>
        </p:nvSpPr>
        <p:spPr bwMode="gray">
          <a:xfrm>
            <a:off x="6282243" y="3082965"/>
            <a:ext cx="287202" cy="173246"/>
          </a:xfrm>
          <a:custGeom>
            <a:avLst/>
            <a:gdLst/>
            <a:ahLst/>
            <a:cxnLst>
              <a:cxn ang="0">
                <a:pos x="0" y="91"/>
              </a:cxn>
              <a:cxn ang="0">
                <a:pos x="86" y="168"/>
              </a:cxn>
              <a:cxn ang="0">
                <a:pos x="283" y="186"/>
              </a:cxn>
              <a:cxn ang="0">
                <a:pos x="317" y="122"/>
              </a:cxn>
              <a:cxn ang="0">
                <a:pos x="268" y="117"/>
              </a:cxn>
              <a:cxn ang="0">
                <a:pos x="262" y="61"/>
              </a:cxn>
              <a:cxn ang="0">
                <a:pos x="218" y="0"/>
              </a:cxn>
              <a:cxn ang="0">
                <a:pos x="86" y="13"/>
              </a:cxn>
              <a:cxn ang="0">
                <a:pos x="0" y="91"/>
              </a:cxn>
            </a:cxnLst>
            <a:rect l="0" t="0" r="r" b="b"/>
            <a:pathLst>
              <a:path w="317" h="186">
                <a:moveTo>
                  <a:pt x="0" y="91"/>
                </a:moveTo>
                <a:lnTo>
                  <a:pt x="86" y="168"/>
                </a:lnTo>
                <a:lnTo>
                  <a:pt x="283" y="186"/>
                </a:lnTo>
                <a:lnTo>
                  <a:pt x="317" y="122"/>
                </a:lnTo>
                <a:lnTo>
                  <a:pt x="268" y="117"/>
                </a:lnTo>
                <a:lnTo>
                  <a:pt x="262" y="61"/>
                </a:lnTo>
                <a:lnTo>
                  <a:pt x="218" y="0"/>
                </a:lnTo>
                <a:lnTo>
                  <a:pt x="86" y="13"/>
                </a:lnTo>
                <a:lnTo>
                  <a:pt x="0" y="91"/>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5" name="30658288.5396.758.2519.755">
            <a:extLst>
              <a:ext uri="{FF2B5EF4-FFF2-40B4-BE49-F238E27FC236}">
                <a16:creationId xmlns:a16="http://schemas.microsoft.com/office/drawing/2014/main" id="{6CEF0961-8D90-5E45-90BD-73BCFD6FEDF7}"/>
              </a:ext>
            </a:extLst>
          </p:cNvPr>
          <p:cNvSpPr>
            <a:spLocks noChangeAspect="1"/>
          </p:cNvSpPr>
          <p:nvPr/>
        </p:nvSpPr>
        <p:spPr bwMode="gray">
          <a:xfrm>
            <a:off x="6031179" y="2970269"/>
            <a:ext cx="319535" cy="134559"/>
          </a:xfrm>
          <a:custGeom>
            <a:avLst/>
            <a:gdLst/>
            <a:ahLst/>
            <a:cxnLst>
              <a:cxn ang="0">
                <a:pos x="0" y="35"/>
              </a:cxn>
              <a:cxn ang="0">
                <a:pos x="61" y="101"/>
              </a:cxn>
              <a:cxn ang="0">
                <a:pos x="160" y="100"/>
              </a:cxn>
              <a:cxn ang="0">
                <a:pos x="174" y="130"/>
              </a:cxn>
              <a:cxn ang="0">
                <a:pos x="219" y="144"/>
              </a:cxn>
              <a:cxn ang="0">
                <a:pos x="296" y="111"/>
              </a:cxn>
              <a:cxn ang="0">
                <a:pos x="341" y="118"/>
              </a:cxn>
              <a:cxn ang="0">
                <a:pos x="351" y="88"/>
              </a:cxn>
              <a:cxn ang="0">
                <a:pos x="267" y="79"/>
              </a:cxn>
              <a:cxn ang="0">
                <a:pos x="92" y="13"/>
              </a:cxn>
              <a:cxn ang="0">
                <a:pos x="75" y="0"/>
              </a:cxn>
              <a:cxn ang="0">
                <a:pos x="0" y="35"/>
              </a:cxn>
            </a:cxnLst>
            <a:rect l="0" t="0" r="r" b="b"/>
            <a:pathLst>
              <a:path w="351" h="144">
                <a:moveTo>
                  <a:pt x="0" y="35"/>
                </a:moveTo>
                <a:lnTo>
                  <a:pt x="61" y="101"/>
                </a:lnTo>
                <a:lnTo>
                  <a:pt x="160" y="100"/>
                </a:lnTo>
                <a:lnTo>
                  <a:pt x="174" y="130"/>
                </a:lnTo>
                <a:lnTo>
                  <a:pt x="219" y="144"/>
                </a:lnTo>
                <a:lnTo>
                  <a:pt x="296" y="111"/>
                </a:lnTo>
                <a:lnTo>
                  <a:pt x="341" y="118"/>
                </a:lnTo>
                <a:lnTo>
                  <a:pt x="351" y="88"/>
                </a:lnTo>
                <a:lnTo>
                  <a:pt x="267" y="79"/>
                </a:lnTo>
                <a:lnTo>
                  <a:pt x="92" y="13"/>
                </a:lnTo>
                <a:lnTo>
                  <a:pt x="75" y="0"/>
                </a:lnTo>
                <a:lnTo>
                  <a:pt x="0" y="35"/>
                </a:lnTo>
                <a:close/>
              </a:path>
            </a:pathLst>
          </a:custGeom>
          <a:solidFill>
            <a:sysClr val="window" lastClr="FFFFFF"/>
          </a:solidFill>
          <a:ln w="1270">
            <a:solidFill>
              <a:sysClr val="window" lastClr="FFFFFF">
                <a:lumMod val="50000"/>
              </a:sysClr>
            </a:solid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496" name="Rectangle 495">
            <a:extLst>
              <a:ext uri="{FF2B5EF4-FFF2-40B4-BE49-F238E27FC236}">
                <a16:creationId xmlns:a16="http://schemas.microsoft.com/office/drawing/2014/main" id="{510FE3EA-EA3F-D34B-96C3-2D89039394CE}"/>
              </a:ext>
            </a:extLst>
          </p:cNvPr>
          <p:cNvSpPr/>
          <p:nvPr/>
        </p:nvSpPr>
        <p:spPr>
          <a:xfrm>
            <a:off x="693314" y="4851553"/>
            <a:ext cx="2346376" cy="48778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Roboto" pitchFamily="2" charset="0"/>
                <a:ea typeface="Roboto" pitchFamily="2" charset="0"/>
                <a:cs typeface="+mn-cs"/>
              </a:rPr>
              <a:t>Countries in which OGMP member companies have operated and non-operated assets</a:t>
            </a:r>
          </a:p>
        </p:txBody>
      </p:sp>
      <p:sp>
        <p:nvSpPr>
          <p:cNvPr id="497" name="Rectangle 496">
            <a:extLst>
              <a:ext uri="{FF2B5EF4-FFF2-40B4-BE49-F238E27FC236}">
                <a16:creationId xmlns:a16="http://schemas.microsoft.com/office/drawing/2014/main" id="{47A8CDBB-132D-0F45-A2F9-0B8ACD6B1205}"/>
              </a:ext>
            </a:extLst>
          </p:cNvPr>
          <p:cNvSpPr/>
          <p:nvPr/>
        </p:nvSpPr>
        <p:spPr>
          <a:xfrm>
            <a:off x="687432" y="5443947"/>
            <a:ext cx="2346376" cy="48778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Roboto" pitchFamily="2" charset="0"/>
                <a:ea typeface="Roboto" pitchFamily="2" charset="0"/>
                <a:cs typeface="+mn-cs"/>
              </a:rPr>
              <a:t>Countries in which OGMP member companies have non-operated assets</a:t>
            </a:r>
          </a:p>
        </p:txBody>
      </p:sp>
      <p:sp>
        <p:nvSpPr>
          <p:cNvPr id="500" name="Rectangle 499">
            <a:extLst>
              <a:ext uri="{FF2B5EF4-FFF2-40B4-BE49-F238E27FC236}">
                <a16:creationId xmlns:a16="http://schemas.microsoft.com/office/drawing/2014/main" id="{4FC8393E-5A02-4C41-B16F-C17F73A6FBA6}"/>
              </a:ext>
            </a:extLst>
          </p:cNvPr>
          <p:cNvSpPr/>
          <p:nvPr/>
        </p:nvSpPr>
        <p:spPr>
          <a:xfrm>
            <a:off x="221701" y="4887742"/>
            <a:ext cx="352841" cy="352841"/>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01" name="Rectangle 500">
            <a:extLst>
              <a:ext uri="{FF2B5EF4-FFF2-40B4-BE49-F238E27FC236}">
                <a16:creationId xmlns:a16="http://schemas.microsoft.com/office/drawing/2014/main" id="{98FAE490-771F-EA43-9FAC-5445642F771B}"/>
              </a:ext>
            </a:extLst>
          </p:cNvPr>
          <p:cNvSpPr/>
          <p:nvPr/>
        </p:nvSpPr>
        <p:spPr>
          <a:xfrm>
            <a:off x="215819" y="5480136"/>
            <a:ext cx="352841" cy="352841"/>
          </a:xfrm>
          <a:prstGeom prst="rect">
            <a:avLst/>
          </a:prstGeom>
          <a:solidFill>
            <a:srgbClr val="70AD47"/>
          </a:solidFill>
          <a:ln w="12700" cap="flat" cmpd="sng" algn="ctr">
            <a:solidFill>
              <a:srgbClr val="70AD47"/>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52" name="Picture 251" descr="Text, logo&#10;&#10;Description automatically generated">
            <a:extLst>
              <a:ext uri="{FF2B5EF4-FFF2-40B4-BE49-F238E27FC236}">
                <a16:creationId xmlns:a16="http://schemas.microsoft.com/office/drawing/2014/main" id="{47F6F79E-FC7F-445C-8547-210F74041ADE}"/>
              </a:ext>
            </a:extLst>
          </p:cNvPr>
          <p:cNvPicPr>
            <a:picLocks noChangeAspect="1"/>
          </p:cNvPicPr>
          <p:nvPr/>
        </p:nvPicPr>
        <p:blipFill>
          <a:blip r:embed="rId3">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397481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A0A8AC4-69A6-4B74-B706-8A3259782318}"/>
              </a:ext>
            </a:extLst>
          </p:cNvPr>
          <p:cNvGrpSpPr/>
          <p:nvPr/>
        </p:nvGrpSpPr>
        <p:grpSpPr>
          <a:xfrm>
            <a:off x="1146629" y="1690688"/>
            <a:ext cx="9652214" cy="4738730"/>
            <a:chOff x="600951" y="1234455"/>
            <a:chExt cx="10843337" cy="5323508"/>
          </a:xfrm>
          <a:noFill/>
        </p:grpSpPr>
        <p:sp>
          <p:nvSpPr>
            <p:cNvPr id="4" name="30412358.375247.7512.755">
              <a:extLst>
                <a:ext uri="{FF2B5EF4-FFF2-40B4-BE49-F238E27FC236}">
                  <a16:creationId xmlns:a16="http://schemas.microsoft.com/office/drawing/2014/main" id="{F9EC9BFC-A958-4245-A695-FF8C5AFAB94F}"/>
                </a:ext>
              </a:extLst>
            </p:cNvPr>
            <p:cNvSpPr>
              <a:spLocks noChangeAspect="1"/>
            </p:cNvSpPr>
            <p:nvPr/>
          </p:nvSpPr>
          <p:spPr bwMode="gray">
            <a:xfrm>
              <a:off x="3646063" y="4102252"/>
              <a:ext cx="43748" cy="15137"/>
            </a:xfrm>
            <a:custGeom>
              <a:avLst/>
              <a:gdLst/>
              <a:ahLst/>
              <a:cxnLst>
                <a:cxn ang="0">
                  <a:pos x="0" y="0"/>
                </a:cxn>
                <a:cxn ang="0">
                  <a:pos x="4" y="17"/>
                </a:cxn>
                <a:cxn ang="0">
                  <a:pos x="50" y="10"/>
                </a:cxn>
                <a:cxn ang="0">
                  <a:pos x="0" y="0"/>
                </a:cxn>
              </a:cxnLst>
              <a:rect l="0" t="0" r="r" b="b"/>
              <a:pathLst>
                <a:path w="50" h="17">
                  <a:moveTo>
                    <a:pt x="0" y="0"/>
                  </a:moveTo>
                  <a:lnTo>
                    <a:pt x="4" y="17"/>
                  </a:lnTo>
                  <a:lnTo>
                    <a:pt x="50" y="1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 name="30422411.37524325.62522.6255">
              <a:extLst>
                <a:ext uri="{FF2B5EF4-FFF2-40B4-BE49-F238E27FC236}">
                  <a16:creationId xmlns:a16="http://schemas.microsoft.com/office/drawing/2014/main" id="{A4CAD7D1-A6D0-403F-B29D-0A3E841B4289}"/>
                </a:ext>
              </a:extLst>
            </p:cNvPr>
            <p:cNvSpPr>
              <a:spLocks noChangeAspect="1"/>
            </p:cNvSpPr>
            <p:nvPr/>
          </p:nvSpPr>
          <p:spPr bwMode="gray">
            <a:xfrm>
              <a:off x="3569985" y="4961751"/>
              <a:ext cx="361379" cy="413771"/>
            </a:xfrm>
            <a:custGeom>
              <a:avLst/>
              <a:gdLst/>
              <a:ahLst/>
              <a:cxnLst>
                <a:cxn ang="0">
                  <a:pos x="0" y="45"/>
                </a:cxn>
                <a:cxn ang="0">
                  <a:pos x="30" y="93"/>
                </a:cxn>
                <a:cxn ang="0">
                  <a:pos x="9" y="197"/>
                </a:cxn>
                <a:cxn ang="0">
                  <a:pos x="30" y="208"/>
                </a:cxn>
                <a:cxn ang="0">
                  <a:pos x="20" y="223"/>
                </a:cxn>
                <a:cxn ang="0">
                  <a:pos x="2" y="265"/>
                </a:cxn>
                <a:cxn ang="0">
                  <a:pos x="37" y="326"/>
                </a:cxn>
                <a:cxn ang="0">
                  <a:pos x="57" y="450"/>
                </a:cxn>
                <a:cxn ang="0">
                  <a:pos x="81" y="452"/>
                </a:cxn>
                <a:cxn ang="0">
                  <a:pos x="116" y="414"/>
                </a:cxn>
                <a:cxn ang="0">
                  <a:pos x="178" y="445"/>
                </a:cxn>
                <a:cxn ang="0">
                  <a:pos x="182" y="423"/>
                </a:cxn>
                <a:cxn ang="0">
                  <a:pos x="236" y="432"/>
                </a:cxn>
                <a:cxn ang="0">
                  <a:pos x="257" y="342"/>
                </a:cxn>
                <a:cxn ang="0">
                  <a:pos x="354" y="326"/>
                </a:cxn>
                <a:cxn ang="0">
                  <a:pos x="387" y="356"/>
                </a:cxn>
                <a:cxn ang="0">
                  <a:pos x="399" y="287"/>
                </a:cxn>
                <a:cxn ang="0">
                  <a:pos x="378" y="228"/>
                </a:cxn>
                <a:cxn ang="0">
                  <a:pos x="321" y="224"/>
                </a:cxn>
                <a:cxn ang="0">
                  <a:pos x="298" y="135"/>
                </a:cxn>
                <a:cxn ang="0">
                  <a:pos x="149" y="75"/>
                </a:cxn>
                <a:cxn ang="0">
                  <a:pos x="141" y="0"/>
                </a:cxn>
                <a:cxn ang="0">
                  <a:pos x="41" y="48"/>
                </a:cxn>
                <a:cxn ang="0">
                  <a:pos x="0" y="45"/>
                </a:cxn>
              </a:cxnLst>
              <a:rect l="0" t="0" r="r" b="b"/>
              <a:pathLst>
                <a:path w="399" h="452">
                  <a:moveTo>
                    <a:pt x="0" y="45"/>
                  </a:moveTo>
                  <a:lnTo>
                    <a:pt x="30" y="93"/>
                  </a:lnTo>
                  <a:lnTo>
                    <a:pt x="9" y="197"/>
                  </a:lnTo>
                  <a:lnTo>
                    <a:pt x="30" y="208"/>
                  </a:lnTo>
                  <a:lnTo>
                    <a:pt x="20" y="223"/>
                  </a:lnTo>
                  <a:lnTo>
                    <a:pt x="2" y="265"/>
                  </a:lnTo>
                  <a:lnTo>
                    <a:pt x="37" y="326"/>
                  </a:lnTo>
                  <a:lnTo>
                    <a:pt x="57" y="450"/>
                  </a:lnTo>
                  <a:lnTo>
                    <a:pt x="81" y="452"/>
                  </a:lnTo>
                  <a:lnTo>
                    <a:pt x="116" y="414"/>
                  </a:lnTo>
                  <a:lnTo>
                    <a:pt x="178" y="445"/>
                  </a:lnTo>
                  <a:lnTo>
                    <a:pt x="182" y="423"/>
                  </a:lnTo>
                  <a:lnTo>
                    <a:pt x="236" y="432"/>
                  </a:lnTo>
                  <a:lnTo>
                    <a:pt x="257" y="342"/>
                  </a:lnTo>
                  <a:lnTo>
                    <a:pt x="354" y="326"/>
                  </a:lnTo>
                  <a:lnTo>
                    <a:pt x="387" y="356"/>
                  </a:lnTo>
                  <a:lnTo>
                    <a:pt x="399" y="287"/>
                  </a:lnTo>
                  <a:lnTo>
                    <a:pt x="378" y="228"/>
                  </a:lnTo>
                  <a:lnTo>
                    <a:pt x="321" y="224"/>
                  </a:lnTo>
                  <a:lnTo>
                    <a:pt x="298" y="135"/>
                  </a:lnTo>
                  <a:lnTo>
                    <a:pt x="149" y="75"/>
                  </a:lnTo>
                  <a:lnTo>
                    <a:pt x="141" y="0"/>
                  </a:lnTo>
                  <a:lnTo>
                    <a:pt x="41" y="48"/>
                  </a:lnTo>
                  <a:lnTo>
                    <a:pt x="0" y="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 name="30423358.375206.37551.55">
              <a:extLst>
                <a:ext uri="{FF2B5EF4-FFF2-40B4-BE49-F238E27FC236}">
                  <a16:creationId xmlns:a16="http://schemas.microsoft.com/office/drawing/2014/main" id="{5D8E34F2-B88B-4445-9F05-A1064BF8A0F4}"/>
                </a:ext>
              </a:extLst>
            </p:cNvPr>
            <p:cNvSpPr>
              <a:spLocks noChangeAspect="1"/>
            </p:cNvSpPr>
            <p:nvPr/>
          </p:nvSpPr>
          <p:spPr bwMode="gray">
            <a:xfrm>
              <a:off x="2980360" y="4102252"/>
              <a:ext cx="26628" cy="80737"/>
            </a:xfrm>
            <a:custGeom>
              <a:avLst/>
              <a:gdLst/>
              <a:ahLst/>
              <a:cxnLst>
                <a:cxn ang="0">
                  <a:pos x="0" y="20"/>
                </a:cxn>
                <a:cxn ang="0">
                  <a:pos x="11" y="88"/>
                </a:cxn>
                <a:cxn ang="0">
                  <a:pos x="28" y="0"/>
                </a:cxn>
                <a:cxn ang="0">
                  <a:pos x="0" y="20"/>
                </a:cxn>
              </a:cxnLst>
              <a:rect l="0" t="0" r="r" b="b"/>
              <a:pathLst>
                <a:path w="28" h="88">
                  <a:moveTo>
                    <a:pt x="0" y="20"/>
                  </a:moveTo>
                  <a:lnTo>
                    <a:pt x="11" y="88"/>
                  </a:lnTo>
                  <a:lnTo>
                    <a:pt x="28" y="0"/>
                  </a:lnTo>
                  <a:lnTo>
                    <a:pt x="0" y="2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 name="30427228.125108.625821615">
              <a:extLst>
                <a:ext uri="{FF2B5EF4-FFF2-40B4-BE49-F238E27FC236}">
                  <a16:creationId xmlns:a16="http://schemas.microsoft.com/office/drawing/2014/main" id="{77BDFDEE-EA15-4760-B763-0DE0A059434D}"/>
                </a:ext>
              </a:extLst>
            </p:cNvPr>
            <p:cNvSpPr>
              <a:spLocks noChangeAspect="1"/>
            </p:cNvSpPr>
            <p:nvPr/>
          </p:nvSpPr>
          <p:spPr bwMode="gray">
            <a:xfrm>
              <a:off x="1415008" y="1993034"/>
              <a:ext cx="2581023" cy="1328775"/>
            </a:xfrm>
            <a:custGeom>
              <a:avLst/>
              <a:gdLst/>
              <a:ahLst/>
              <a:cxnLst>
                <a:cxn ang="0">
                  <a:pos x="214" y="175"/>
                </a:cxn>
                <a:cxn ang="0">
                  <a:pos x="331" y="151"/>
                </a:cxn>
                <a:cxn ang="0">
                  <a:pos x="507" y="157"/>
                </a:cxn>
                <a:cxn ang="0">
                  <a:pos x="781" y="179"/>
                </a:cxn>
                <a:cxn ang="0">
                  <a:pos x="879" y="245"/>
                </a:cxn>
                <a:cxn ang="0">
                  <a:pos x="1125" y="284"/>
                </a:cxn>
                <a:cxn ang="0">
                  <a:pos x="1076" y="213"/>
                </a:cxn>
                <a:cxn ang="0">
                  <a:pos x="1290" y="251"/>
                </a:cxn>
                <a:cxn ang="0">
                  <a:pos x="1462" y="234"/>
                </a:cxn>
                <a:cxn ang="0">
                  <a:pos x="1480" y="231"/>
                </a:cxn>
                <a:cxn ang="0">
                  <a:pos x="1517" y="229"/>
                </a:cxn>
                <a:cxn ang="0">
                  <a:pos x="1580" y="149"/>
                </a:cxn>
                <a:cxn ang="0">
                  <a:pos x="1530" y="0"/>
                </a:cxn>
                <a:cxn ang="0">
                  <a:pos x="1622" y="107"/>
                </a:cxn>
                <a:cxn ang="0">
                  <a:pos x="1657" y="157"/>
                </a:cxn>
                <a:cxn ang="0">
                  <a:pos x="1776" y="223"/>
                </a:cxn>
                <a:cxn ang="0">
                  <a:pos x="1847" y="198"/>
                </a:cxn>
                <a:cxn ang="0">
                  <a:pos x="1990" y="171"/>
                </a:cxn>
                <a:cxn ang="0">
                  <a:pos x="1989" y="286"/>
                </a:cxn>
                <a:cxn ang="0">
                  <a:pos x="1818" y="317"/>
                </a:cxn>
                <a:cxn ang="0">
                  <a:pos x="1737" y="383"/>
                </a:cxn>
                <a:cxn ang="0">
                  <a:pos x="1682" y="483"/>
                </a:cxn>
                <a:cxn ang="0">
                  <a:pos x="1622" y="520"/>
                </a:cxn>
                <a:cxn ang="0">
                  <a:pos x="1549" y="590"/>
                </a:cxn>
                <a:cxn ang="0">
                  <a:pos x="1613" y="808"/>
                </a:cxn>
                <a:cxn ang="0">
                  <a:pos x="1847" y="905"/>
                </a:cxn>
                <a:cxn ang="0">
                  <a:pos x="1987" y="1022"/>
                </a:cxn>
                <a:cxn ang="0">
                  <a:pos x="2045" y="1076"/>
                </a:cxn>
                <a:cxn ang="0">
                  <a:pos x="2164" y="838"/>
                </a:cxn>
                <a:cxn ang="0">
                  <a:pos x="2134" y="678"/>
                </a:cxn>
                <a:cxn ang="0">
                  <a:pos x="2123" y="582"/>
                </a:cxn>
                <a:cxn ang="0">
                  <a:pos x="2241" y="534"/>
                </a:cxn>
                <a:cxn ang="0">
                  <a:pos x="2390" y="655"/>
                </a:cxn>
                <a:cxn ang="0">
                  <a:pos x="2344" y="735"/>
                </a:cxn>
                <a:cxn ang="0">
                  <a:pos x="2441" y="728"/>
                </a:cxn>
                <a:cxn ang="0">
                  <a:pos x="2531" y="684"/>
                </a:cxn>
                <a:cxn ang="0">
                  <a:pos x="2562" y="711"/>
                </a:cxn>
                <a:cxn ang="0">
                  <a:pos x="2621" y="737"/>
                </a:cxn>
                <a:cxn ang="0">
                  <a:pos x="2628" y="784"/>
                </a:cxn>
                <a:cxn ang="0">
                  <a:pos x="2639" y="842"/>
                </a:cxn>
                <a:cxn ang="0">
                  <a:pos x="2792" y="918"/>
                </a:cxn>
                <a:cxn ang="0">
                  <a:pos x="2798" y="970"/>
                </a:cxn>
                <a:cxn ang="0">
                  <a:pos x="2850" y="1025"/>
                </a:cxn>
                <a:cxn ang="0">
                  <a:pos x="2338" y="1256"/>
                </a:cxn>
                <a:cxn ang="0">
                  <a:pos x="2489" y="1205"/>
                </a:cxn>
                <a:cxn ang="0">
                  <a:pos x="2663" y="1310"/>
                </a:cxn>
                <a:cxn ang="0">
                  <a:pos x="2669" y="1321"/>
                </a:cxn>
                <a:cxn ang="0">
                  <a:pos x="2597" y="1317"/>
                </a:cxn>
                <a:cxn ang="0">
                  <a:pos x="2446" y="1303"/>
                </a:cxn>
                <a:cxn ang="0">
                  <a:pos x="2180" y="1352"/>
                </a:cxn>
                <a:cxn ang="0">
                  <a:pos x="2076" y="1418"/>
                </a:cxn>
                <a:cxn ang="0">
                  <a:pos x="1956" y="1410"/>
                </a:cxn>
                <a:cxn ang="0">
                  <a:pos x="2048" y="1337"/>
                </a:cxn>
                <a:cxn ang="0">
                  <a:pos x="1872" y="1208"/>
                </a:cxn>
                <a:cxn ang="0">
                  <a:pos x="1799" y="1195"/>
                </a:cxn>
                <a:cxn ang="0">
                  <a:pos x="1531" y="1146"/>
                </a:cxn>
                <a:cxn ang="0">
                  <a:pos x="547" y="1123"/>
                </a:cxn>
                <a:cxn ang="0">
                  <a:pos x="436" y="1015"/>
                </a:cxn>
                <a:cxn ang="0">
                  <a:pos x="365" y="849"/>
                </a:cxn>
                <a:cxn ang="0">
                  <a:pos x="99" y="692"/>
                </a:cxn>
              </a:cxnLst>
              <a:rect l="0" t="0" r="r" b="b"/>
              <a:pathLst>
                <a:path w="2850" h="1454">
                  <a:moveTo>
                    <a:pt x="0" y="645"/>
                  </a:moveTo>
                  <a:lnTo>
                    <a:pt x="0" y="135"/>
                  </a:lnTo>
                  <a:lnTo>
                    <a:pt x="227" y="202"/>
                  </a:lnTo>
                  <a:lnTo>
                    <a:pt x="214" y="175"/>
                  </a:lnTo>
                  <a:lnTo>
                    <a:pt x="238" y="158"/>
                  </a:lnTo>
                  <a:lnTo>
                    <a:pt x="376" y="103"/>
                  </a:lnTo>
                  <a:lnTo>
                    <a:pt x="269" y="171"/>
                  </a:lnTo>
                  <a:lnTo>
                    <a:pt x="331" y="151"/>
                  </a:lnTo>
                  <a:lnTo>
                    <a:pt x="331" y="165"/>
                  </a:lnTo>
                  <a:lnTo>
                    <a:pt x="447" y="105"/>
                  </a:lnTo>
                  <a:lnTo>
                    <a:pt x="431" y="85"/>
                  </a:lnTo>
                  <a:lnTo>
                    <a:pt x="507" y="157"/>
                  </a:lnTo>
                  <a:lnTo>
                    <a:pt x="555" y="114"/>
                  </a:lnTo>
                  <a:lnTo>
                    <a:pt x="551" y="157"/>
                  </a:lnTo>
                  <a:lnTo>
                    <a:pt x="611" y="127"/>
                  </a:lnTo>
                  <a:lnTo>
                    <a:pt x="781" y="179"/>
                  </a:lnTo>
                  <a:lnTo>
                    <a:pt x="857" y="178"/>
                  </a:lnTo>
                  <a:lnTo>
                    <a:pt x="901" y="208"/>
                  </a:lnTo>
                  <a:lnTo>
                    <a:pt x="849" y="234"/>
                  </a:lnTo>
                  <a:lnTo>
                    <a:pt x="879" y="245"/>
                  </a:lnTo>
                  <a:lnTo>
                    <a:pt x="1032" y="231"/>
                  </a:lnTo>
                  <a:lnTo>
                    <a:pt x="1099" y="274"/>
                  </a:lnTo>
                  <a:lnTo>
                    <a:pt x="1108" y="303"/>
                  </a:lnTo>
                  <a:lnTo>
                    <a:pt x="1125" y="284"/>
                  </a:lnTo>
                  <a:lnTo>
                    <a:pt x="1099" y="245"/>
                  </a:lnTo>
                  <a:lnTo>
                    <a:pt x="1171" y="197"/>
                  </a:lnTo>
                  <a:lnTo>
                    <a:pt x="1101" y="227"/>
                  </a:lnTo>
                  <a:lnTo>
                    <a:pt x="1076" y="213"/>
                  </a:lnTo>
                  <a:lnTo>
                    <a:pt x="1163" y="176"/>
                  </a:lnTo>
                  <a:lnTo>
                    <a:pt x="1209" y="229"/>
                  </a:lnTo>
                  <a:lnTo>
                    <a:pt x="1259" y="227"/>
                  </a:lnTo>
                  <a:lnTo>
                    <a:pt x="1290" y="251"/>
                  </a:lnTo>
                  <a:lnTo>
                    <a:pt x="1424" y="245"/>
                  </a:lnTo>
                  <a:lnTo>
                    <a:pt x="1420" y="229"/>
                  </a:lnTo>
                  <a:lnTo>
                    <a:pt x="1457" y="259"/>
                  </a:lnTo>
                  <a:lnTo>
                    <a:pt x="1462" y="234"/>
                  </a:lnTo>
                  <a:lnTo>
                    <a:pt x="1433" y="242"/>
                  </a:lnTo>
                  <a:lnTo>
                    <a:pt x="1411" y="212"/>
                  </a:lnTo>
                  <a:lnTo>
                    <a:pt x="1461" y="208"/>
                  </a:lnTo>
                  <a:lnTo>
                    <a:pt x="1480" y="231"/>
                  </a:lnTo>
                  <a:lnTo>
                    <a:pt x="1499" y="224"/>
                  </a:lnTo>
                  <a:lnTo>
                    <a:pt x="1491" y="260"/>
                  </a:lnTo>
                  <a:lnTo>
                    <a:pt x="1527" y="279"/>
                  </a:lnTo>
                  <a:lnTo>
                    <a:pt x="1517" y="229"/>
                  </a:lnTo>
                  <a:lnTo>
                    <a:pt x="1584" y="200"/>
                  </a:lnTo>
                  <a:lnTo>
                    <a:pt x="1567" y="175"/>
                  </a:lnTo>
                  <a:lnTo>
                    <a:pt x="1547" y="193"/>
                  </a:lnTo>
                  <a:lnTo>
                    <a:pt x="1580" y="149"/>
                  </a:lnTo>
                  <a:lnTo>
                    <a:pt x="1484" y="117"/>
                  </a:lnTo>
                  <a:lnTo>
                    <a:pt x="1494" y="43"/>
                  </a:lnTo>
                  <a:lnTo>
                    <a:pt x="1517" y="44"/>
                  </a:lnTo>
                  <a:lnTo>
                    <a:pt x="1530" y="0"/>
                  </a:lnTo>
                  <a:lnTo>
                    <a:pt x="1602" y="43"/>
                  </a:lnTo>
                  <a:lnTo>
                    <a:pt x="1604" y="70"/>
                  </a:lnTo>
                  <a:lnTo>
                    <a:pt x="1653" y="109"/>
                  </a:lnTo>
                  <a:lnTo>
                    <a:pt x="1622" y="107"/>
                  </a:lnTo>
                  <a:lnTo>
                    <a:pt x="1635" y="121"/>
                  </a:lnTo>
                  <a:lnTo>
                    <a:pt x="1616" y="138"/>
                  </a:lnTo>
                  <a:lnTo>
                    <a:pt x="1675" y="149"/>
                  </a:lnTo>
                  <a:lnTo>
                    <a:pt x="1657" y="157"/>
                  </a:lnTo>
                  <a:lnTo>
                    <a:pt x="1692" y="220"/>
                  </a:lnTo>
                  <a:lnTo>
                    <a:pt x="1722" y="164"/>
                  </a:lnTo>
                  <a:lnTo>
                    <a:pt x="1765" y="186"/>
                  </a:lnTo>
                  <a:lnTo>
                    <a:pt x="1776" y="223"/>
                  </a:lnTo>
                  <a:lnTo>
                    <a:pt x="1755" y="234"/>
                  </a:lnTo>
                  <a:lnTo>
                    <a:pt x="1793" y="279"/>
                  </a:lnTo>
                  <a:lnTo>
                    <a:pt x="1817" y="268"/>
                  </a:lnTo>
                  <a:lnTo>
                    <a:pt x="1847" y="198"/>
                  </a:lnTo>
                  <a:lnTo>
                    <a:pt x="1881" y="191"/>
                  </a:lnTo>
                  <a:lnTo>
                    <a:pt x="1855" y="131"/>
                  </a:lnTo>
                  <a:lnTo>
                    <a:pt x="1950" y="136"/>
                  </a:lnTo>
                  <a:lnTo>
                    <a:pt x="1990" y="171"/>
                  </a:lnTo>
                  <a:lnTo>
                    <a:pt x="1975" y="189"/>
                  </a:lnTo>
                  <a:lnTo>
                    <a:pt x="1993" y="198"/>
                  </a:lnTo>
                  <a:lnTo>
                    <a:pt x="1951" y="209"/>
                  </a:lnTo>
                  <a:lnTo>
                    <a:pt x="1989" y="286"/>
                  </a:lnTo>
                  <a:lnTo>
                    <a:pt x="1927" y="328"/>
                  </a:lnTo>
                  <a:lnTo>
                    <a:pt x="1905" y="308"/>
                  </a:lnTo>
                  <a:lnTo>
                    <a:pt x="1914" y="336"/>
                  </a:lnTo>
                  <a:lnTo>
                    <a:pt x="1818" y="317"/>
                  </a:lnTo>
                  <a:lnTo>
                    <a:pt x="1837" y="343"/>
                  </a:lnTo>
                  <a:lnTo>
                    <a:pt x="1799" y="381"/>
                  </a:lnTo>
                  <a:lnTo>
                    <a:pt x="1701" y="351"/>
                  </a:lnTo>
                  <a:lnTo>
                    <a:pt x="1737" y="383"/>
                  </a:lnTo>
                  <a:lnTo>
                    <a:pt x="1807" y="389"/>
                  </a:lnTo>
                  <a:lnTo>
                    <a:pt x="1759" y="453"/>
                  </a:lnTo>
                  <a:lnTo>
                    <a:pt x="1707" y="449"/>
                  </a:lnTo>
                  <a:lnTo>
                    <a:pt x="1682" y="483"/>
                  </a:lnTo>
                  <a:lnTo>
                    <a:pt x="1590" y="454"/>
                  </a:lnTo>
                  <a:lnTo>
                    <a:pt x="1675" y="483"/>
                  </a:lnTo>
                  <a:lnTo>
                    <a:pt x="1685" y="509"/>
                  </a:lnTo>
                  <a:lnTo>
                    <a:pt x="1622" y="520"/>
                  </a:lnTo>
                  <a:lnTo>
                    <a:pt x="1635" y="527"/>
                  </a:lnTo>
                  <a:lnTo>
                    <a:pt x="1617" y="528"/>
                  </a:lnTo>
                  <a:lnTo>
                    <a:pt x="1617" y="554"/>
                  </a:lnTo>
                  <a:lnTo>
                    <a:pt x="1549" y="590"/>
                  </a:lnTo>
                  <a:lnTo>
                    <a:pt x="1535" y="707"/>
                  </a:lnTo>
                  <a:lnTo>
                    <a:pt x="1561" y="733"/>
                  </a:lnTo>
                  <a:lnTo>
                    <a:pt x="1597" y="718"/>
                  </a:lnTo>
                  <a:lnTo>
                    <a:pt x="1613" y="808"/>
                  </a:lnTo>
                  <a:lnTo>
                    <a:pt x="1667" y="790"/>
                  </a:lnTo>
                  <a:lnTo>
                    <a:pt x="1729" y="814"/>
                  </a:lnTo>
                  <a:lnTo>
                    <a:pt x="1857" y="879"/>
                  </a:lnTo>
                  <a:lnTo>
                    <a:pt x="1847" y="905"/>
                  </a:lnTo>
                  <a:lnTo>
                    <a:pt x="1861" y="886"/>
                  </a:lnTo>
                  <a:lnTo>
                    <a:pt x="1957" y="891"/>
                  </a:lnTo>
                  <a:lnTo>
                    <a:pt x="1957" y="989"/>
                  </a:lnTo>
                  <a:lnTo>
                    <a:pt x="1987" y="1022"/>
                  </a:lnTo>
                  <a:lnTo>
                    <a:pt x="1965" y="1029"/>
                  </a:lnTo>
                  <a:lnTo>
                    <a:pt x="2013" y="1047"/>
                  </a:lnTo>
                  <a:lnTo>
                    <a:pt x="2000" y="1077"/>
                  </a:lnTo>
                  <a:lnTo>
                    <a:pt x="2045" y="1076"/>
                  </a:lnTo>
                  <a:lnTo>
                    <a:pt x="2108" y="1024"/>
                  </a:lnTo>
                  <a:lnTo>
                    <a:pt x="2081" y="1011"/>
                  </a:lnTo>
                  <a:lnTo>
                    <a:pt x="2045" y="919"/>
                  </a:lnTo>
                  <a:lnTo>
                    <a:pt x="2164" y="838"/>
                  </a:lnTo>
                  <a:lnTo>
                    <a:pt x="2147" y="838"/>
                  </a:lnTo>
                  <a:lnTo>
                    <a:pt x="2120" y="742"/>
                  </a:lnTo>
                  <a:lnTo>
                    <a:pt x="2078" y="718"/>
                  </a:lnTo>
                  <a:lnTo>
                    <a:pt x="2134" y="678"/>
                  </a:lnTo>
                  <a:lnTo>
                    <a:pt x="2114" y="658"/>
                  </a:lnTo>
                  <a:lnTo>
                    <a:pt x="2123" y="623"/>
                  </a:lnTo>
                  <a:lnTo>
                    <a:pt x="2098" y="618"/>
                  </a:lnTo>
                  <a:lnTo>
                    <a:pt x="2123" y="582"/>
                  </a:lnTo>
                  <a:lnTo>
                    <a:pt x="2096" y="560"/>
                  </a:lnTo>
                  <a:lnTo>
                    <a:pt x="2111" y="530"/>
                  </a:lnTo>
                  <a:lnTo>
                    <a:pt x="2202" y="550"/>
                  </a:lnTo>
                  <a:lnTo>
                    <a:pt x="2241" y="534"/>
                  </a:lnTo>
                  <a:lnTo>
                    <a:pt x="2318" y="582"/>
                  </a:lnTo>
                  <a:lnTo>
                    <a:pt x="2318" y="603"/>
                  </a:lnTo>
                  <a:lnTo>
                    <a:pt x="2384" y="607"/>
                  </a:lnTo>
                  <a:lnTo>
                    <a:pt x="2390" y="655"/>
                  </a:lnTo>
                  <a:lnTo>
                    <a:pt x="2331" y="656"/>
                  </a:lnTo>
                  <a:lnTo>
                    <a:pt x="2382" y="665"/>
                  </a:lnTo>
                  <a:lnTo>
                    <a:pt x="2398" y="693"/>
                  </a:lnTo>
                  <a:lnTo>
                    <a:pt x="2344" y="735"/>
                  </a:lnTo>
                  <a:lnTo>
                    <a:pt x="2423" y="714"/>
                  </a:lnTo>
                  <a:lnTo>
                    <a:pt x="2427" y="750"/>
                  </a:lnTo>
                  <a:lnTo>
                    <a:pt x="2393" y="765"/>
                  </a:lnTo>
                  <a:lnTo>
                    <a:pt x="2441" y="728"/>
                  </a:lnTo>
                  <a:lnTo>
                    <a:pt x="2446" y="751"/>
                  </a:lnTo>
                  <a:lnTo>
                    <a:pt x="2492" y="715"/>
                  </a:lnTo>
                  <a:lnTo>
                    <a:pt x="2500" y="735"/>
                  </a:lnTo>
                  <a:lnTo>
                    <a:pt x="2531" y="684"/>
                  </a:lnTo>
                  <a:lnTo>
                    <a:pt x="2520" y="674"/>
                  </a:lnTo>
                  <a:lnTo>
                    <a:pt x="2556" y="645"/>
                  </a:lnTo>
                  <a:lnTo>
                    <a:pt x="2596" y="699"/>
                  </a:lnTo>
                  <a:lnTo>
                    <a:pt x="2562" y="711"/>
                  </a:lnTo>
                  <a:lnTo>
                    <a:pt x="2599" y="704"/>
                  </a:lnTo>
                  <a:lnTo>
                    <a:pt x="2612" y="726"/>
                  </a:lnTo>
                  <a:lnTo>
                    <a:pt x="2588" y="733"/>
                  </a:lnTo>
                  <a:lnTo>
                    <a:pt x="2621" y="737"/>
                  </a:lnTo>
                  <a:lnTo>
                    <a:pt x="2599" y="754"/>
                  </a:lnTo>
                  <a:lnTo>
                    <a:pt x="2622" y="750"/>
                  </a:lnTo>
                  <a:lnTo>
                    <a:pt x="2640" y="773"/>
                  </a:lnTo>
                  <a:lnTo>
                    <a:pt x="2628" y="784"/>
                  </a:lnTo>
                  <a:lnTo>
                    <a:pt x="2661" y="803"/>
                  </a:lnTo>
                  <a:lnTo>
                    <a:pt x="2608" y="823"/>
                  </a:lnTo>
                  <a:lnTo>
                    <a:pt x="2647" y="823"/>
                  </a:lnTo>
                  <a:lnTo>
                    <a:pt x="2639" y="842"/>
                  </a:lnTo>
                  <a:lnTo>
                    <a:pt x="2695" y="860"/>
                  </a:lnTo>
                  <a:lnTo>
                    <a:pt x="2716" y="904"/>
                  </a:lnTo>
                  <a:lnTo>
                    <a:pt x="2736" y="887"/>
                  </a:lnTo>
                  <a:lnTo>
                    <a:pt x="2792" y="918"/>
                  </a:lnTo>
                  <a:lnTo>
                    <a:pt x="2670" y="956"/>
                  </a:lnTo>
                  <a:lnTo>
                    <a:pt x="2695" y="977"/>
                  </a:lnTo>
                  <a:lnTo>
                    <a:pt x="2798" y="934"/>
                  </a:lnTo>
                  <a:lnTo>
                    <a:pt x="2798" y="970"/>
                  </a:lnTo>
                  <a:lnTo>
                    <a:pt x="2845" y="963"/>
                  </a:lnTo>
                  <a:lnTo>
                    <a:pt x="2850" y="981"/>
                  </a:lnTo>
                  <a:lnTo>
                    <a:pt x="2828" y="981"/>
                  </a:lnTo>
                  <a:lnTo>
                    <a:pt x="2850" y="1025"/>
                  </a:lnTo>
                  <a:lnTo>
                    <a:pt x="2706" y="1110"/>
                  </a:lnTo>
                  <a:lnTo>
                    <a:pt x="2497" y="1110"/>
                  </a:lnTo>
                  <a:lnTo>
                    <a:pt x="2409" y="1169"/>
                  </a:lnTo>
                  <a:lnTo>
                    <a:pt x="2338" y="1256"/>
                  </a:lnTo>
                  <a:lnTo>
                    <a:pt x="2409" y="1190"/>
                  </a:lnTo>
                  <a:lnTo>
                    <a:pt x="2522" y="1151"/>
                  </a:lnTo>
                  <a:lnTo>
                    <a:pt x="2562" y="1182"/>
                  </a:lnTo>
                  <a:lnTo>
                    <a:pt x="2489" y="1205"/>
                  </a:lnTo>
                  <a:lnTo>
                    <a:pt x="2546" y="1217"/>
                  </a:lnTo>
                  <a:lnTo>
                    <a:pt x="2531" y="1244"/>
                  </a:lnTo>
                  <a:lnTo>
                    <a:pt x="2575" y="1292"/>
                  </a:lnTo>
                  <a:lnTo>
                    <a:pt x="2663" y="1310"/>
                  </a:lnTo>
                  <a:lnTo>
                    <a:pt x="2687" y="1249"/>
                  </a:lnTo>
                  <a:lnTo>
                    <a:pt x="2687" y="1286"/>
                  </a:lnTo>
                  <a:lnTo>
                    <a:pt x="2710" y="1282"/>
                  </a:lnTo>
                  <a:lnTo>
                    <a:pt x="2669" y="1321"/>
                  </a:lnTo>
                  <a:lnTo>
                    <a:pt x="2566" y="1347"/>
                  </a:lnTo>
                  <a:lnTo>
                    <a:pt x="2529" y="1392"/>
                  </a:lnTo>
                  <a:lnTo>
                    <a:pt x="2500" y="1352"/>
                  </a:lnTo>
                  <a:lnTo>
                    <a:pt x="2597" y="1317"/>
                  </a:lnTo>
                  <a:lnTo>
                    <a:pt x="2546" y="1318"/>
                  </a:lnTo>
                  <a:lnTo>
                    <a:pt x="2556" y="1292"/>
                  </a:lnTo>
                  <a:lnTo>
                    <a:pt x="2471" y="1322"/>
                  </a:lnTo>
                  <a:lnTo>
                    <a:pt x="2446" y="1303"/>
                  </a:lnTo>
                  <a:lnTo>
                    <a:pt x="2446" y="1249"/>
                  </a:lnTo>
                  <a:lnTo>
                    <a:pt x="2391" y="1231"/>
                  </a:lnTo>
                  <a:lnTo>
                    <a:pt x="2350" y="1319"/>
                  </a:lnTo>
                  <a:lnTo>
                    <a:pt x="2180" y="1352"/>
                  </a:lnTo>
                  <a:lnTo>
                    <a:pt x="2063" y="1385"/>
                  </a:lnTo>
                  <a:lnTo>
                    <a:pt x="2044" y="1402"/>
                  </a:lnTo>
                  <a:lnTo>
                    <a:pt x="2070" y="1406"/>
                  </a:lnTo>
                  <a:lnTo>
                    <a:pt x="2076" y="1418"/>
                  </a:lnTo>
                  <a:lnTo>
                    <a:pt x="1934" y="1454"/>
                  </a:lnTo>
                  <a:lnTo>
                    <a:pt x="1942" y="1438"/>
                  </a:lnTo>
                  <a:lnTo>
                    <a:pt x="1951" y="1427"/>
                  </a:lnTo>
                  <a:lnTo>
                    <a:pt x="1956" y="1410"/>
                  </a:lnTo>
                  <a:lnTo>
                    <a:pt x="1978" y="1398"/>
                  </a:lnTo>
                  <a:lnTo>
                    <a:pt x="1982" y="1321"/>
                  </a:lnTo>
                  <a:lnTo>
                    <a:pt x="2006" y="1347"/>
                  </a:lnTo>
                  <a:lnTo>
                    <a:pt x="2048" y="1337"/>
                  </a:lnTo>
                  <a:lnTo>
                    <a:pt x="2012" y="1292"/>
                  </a:lnTo>
                  <a:lnTo>
                    <a:pt x="1890" y="1270"/>
                  </a:lnTo>
                  <a:lnTo>
                    <a:pt x="1884" y="1270"/>
                  </a:lnTo>
                  <a:lnTo>
                    <a:pt x="1872" y="1208"/>
                  </a:lnTo>
                  <a:lnTo>
                    <a:pt x="1847" y="1212"/>
                  </a:lnTo>
                  <a:lnTo>
                    <a:pt x="1825" y="1176"/>
                  </a:lnTo>
                  <a:lnTo>
                    <a:pt x="1799" y="1173"/>
                  </a:lnTo>
                  <a:lnTo>
                    <a:pt x="1799" y="1195"/>
                  </a:lnTo>
                  <a:lnTo>
                    <a:pt x="1767" y="1164"/>
                  </a:lnTo>
                  <a:lnTo>
                    <a:pt x="1710" y="1208"/>
                  </a:lnTo>
                  <a:lnTo>
                    <a:pt x="1552" y="1176"/>
                  </a:lnTo>
                  <a:lnTo>
                    <a:pt x="1531" y="1146"/>
                  </a:lnTo>
                  <a:lnTo>
                    <a:pt x="1530" y="1165"/>
                  </a:lnTo>
                  <a:lnTo>
                    <a:pt x="610" y="1165"/>
                  </a:lnTo>
                  <a:lnTo>
                    <a:pt x="596" y="1132"/>
                  </a:lnTo>
                  <a:lnTo>
                    <a:pt x="547" y="1123"/>
                  </a:lnTo>
                  <a:lnTo>
                    <a:pt x="550" y="1101"/>
                  </a:lnTo>
                  <a:lnTo>
                    <a:pt x="447" y="1072"/>
                  </a:lnTo>
                  <a:lnTo>
                    <a:pt x="459" y="1057"/>
                  </a:lnTo>
                  <a:lnTo>
                    <a:pt x="436" y="1015"/>
                  </a:lnTo>
                  <a:lnTo>
                    <a:pt x="409" y="1011"/>
                  </a:lnTo>
                  <a:lnTo>
                    <a:pt x="353" y="925"/>
                  </a:lnTo>
                  <a:lnTo>
                    <a:pt x="363" y="897"/>
                  </a:lnTo>
                  <a:lnTo>
                    <a:pt x="365" y="849"/>
                  </a:lnTo>
                  <a:lnTo>
                    <a:pt x="302" y="823"/>
                  </a:lnTo>
                  <a:lnTo>
                    <a:pt x="184" y="669"/>
                  </a:lnTo>
                  <a:lnTo>
                    <a:pt x="117" y="713"/>
                  </a:lnTo>
                  <a:lnTo>
                    <a:pt x="99" y="692"/>
                  </a:lnTo>
                  <a:lnTo>
                    <a:pt x="95" y="688"/>
                  </a:lnTo>
                  <a:lnTo>
                    <a:pt x="62" y="645"/>
                  </a:lnTo>
                  <a:lnTo>
                    <a:pt x="0" y="6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 name="30428289.5132.755.3759.3755">
              <a:extLst>
                <a:ext uri="{FF2B5EF4-FFF2-40B4-BE49-F238E27FC236}">
                  <a16:creationId xmlns:a16="http://schemas.microsoft.com/office/drawing/2014/main" id="{98C86AC3-F061-4143-B9D6-6A580C791C77}"/>
                </a:ext>
              </a:extLst>
            </p:cNvPr>
            <p:cNvSpPr>
              <a:spLocks noChangeAspect="1"/>
            </p:cNvSpPr>
            <p:nvPr/>
          </p:nvSpPr>
          <p:spPr bwMode="gray">
            <a:xfrm>
              <a:off x="1801119" y="2988773"/>
              <a:ext cx="152160" cy="85783"/>
            </a:xfrm>
            <a:custGeom>
              <a:avLst/>
              <a:gdLst/>
              <a:ahLst/>
              <a:cxnLst>
                <a:cxn ang="0">
                  <a:pos x="0" y="0"/>
                </a:cxn>
                <a:cxn ang="0">
                  <a:pos x="90" y="19"/>
                </a:cxn>
                <a:cxn ang="0">
                  <a:pos x="167" y="96"/>
                </a:cxn>
                <a:cxn ang="0">
                  <a:pos x="122" y="81"/>
                </a:cxn>
                <a:cxn ang="0">
                  <a:pos x="0" y="0"/>
                </a:cxn>
              </a:cxnLst>
              <a:rect l="0" t="0" r="r" b="b"/>
              <a:pathLst>
                <a:path w="167" h="96">
                  <a:moveTo>
                    <a:pt x="0" y="0"/>
                  </a:moveTo>
                  <a:lnTo>
                    <a:pt x="90" y="19"/>
                  </a:lnTo>
                  <a:lnTo>
                    <a:pt x="167" y="96"/>
                  </a:lnTo>
                  <a:lnTo>
                    <a:pt x="122" y="8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 name="30429218.75137.2512.2519.6255">
              <a:extLst>
                <a:ext uri="{FF2B5EF4-FFF2-40B4-BE49-F238E27FC236}">
                  <a16:creationId xmlns:a16="http://schemas.microsoft.com/office/drawing/2014/main" id="{2CF8F420-1DAC-4941-A2F5-21F6D6CD0356}"/>
                </a:ext>
              </a:extLst>
            </p:cNvPr>
            <p:cNvSpPr>
              <a:spLocks noChangeAspect="1"/>
            </p:cNvSpPr>
            <p:nvPr/>
          </p:nvSpPr>
          <p:spPr bwMode="gray">
            <a:xfrm>
              <a:off x="1873391" y="1841655"/>
              <a:ext cx="313830" cy="198475"/>
            </a:xfrm>
            <a:custGeom>
              <a:avLst/>
              <a:gdLst/>
              <a:ahLst/>
              <a:cxnLst>
                <a:cxn ang="0">
                  <a:pos x="0" y="164"/>
                </a:cxn>
                <a:cxn ang="0">
                  <a:pos x="15" y="136"/>
                </a:cxn>
                <a:cxn ang="0">
                  <a:pos x="65" y="46"/>
                </a:cxn>
                <a:cxn ang="0">
                  <a:pos x="42" y="8"/>
                </a:cxn>
                <a:cxn ang="0">
                  <a:pos x="150" y="0"/>
                </a:cxn>
                <a:cxn ang="0">
                  <a:pos x="224" y="36"/>
                </a:cxn>
                <a:cxn ang="0">
                  <a:pos x="274" y="15"/>
                </a:cxn>
                <a:cxn ang="0">
                  <a:pos x="349" y="66"/>
                </a:cxn>
                <a:cxn ang="0">
                  <a:pos x="189" y="146"/>
                </a:cxn>
                <a:cxn ang="0">
                  <a:pos x="175" y="194"/>
                </a:cxn>
                <a:cxn ang="0">
                  <a:pos x="96" y="217"/>
                </a:cxn>
                <a:cxn ang="0">
                  <a:pos x="61" y="179"/>
                </a:cxn>
                <a:cxn ang="0">
                  <a:pos x="0" y="164"/>
                </a:cxn>
              </a:cxnLst>
              <a:rect l="0" t="0" r="r" b="b"/>
              <a:pathLst>
                <a:path w="349" h="217">
                  <a:moveTo>
                    <a:pt x="0" y="164"/>
                  </a:moveTo>
                  <a:lnTo>
                    <a:pt x="15" y="136"/>
                  </a:lnTo>
                  <a:lnTo>
                    <a:pt x="65" y="46"/>
                  </a:lnTo>
                  <a:lnTo>
                    <a:pt x="42" y="8"/>
                  </a:lnTo>
                  <a:lnTo>
                    <a:pt x="150" y="0"/>
                  </a:lnTo>
                  <a:lnTo>
                    <a:pt x="224" y="36"/>
                  </a:lnTo>
                  <a:lnTo>
                    <a:pt x="274" y="15"/>
                  </a:lnTo>
                  <a:lnTo>
                    <a:pt x="349" y="66"/>
                  </a:lnTo>
                  <a:lnTo>
                    <a:pt x="189" y="146"/>
                  </a:lnTo>
                  <a:lnTo>
                    <a:pt x="175" y="194"/>
                  </a:lnTo>
                  <a:lnTo>
                    <a:pt x="96" y="217"/>
                  </a:lnTo>
                  <a:lnTo>
                    <a:pt x="61" y="179"/>
                  </a:lnTo>
                  <a:lnTo>
                    <a:pt x="0" y="16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 name="30430207.25142.8756.87513.755">
              <a:extLst>
                <a:ext uri="{FF2B5EF4-FFF2-40B4-BE49-F238E27FC236}">
                  <a16:creationId xmlns:a16="http://schemas.microsoft.com/office/drawing/2014/main" id="{893388D6-DAD8-4A5F-BFCE-4AB50D20160E}"/>
                </a:ext>
              </a:extLst>
            </p:cNvPr>
            <p:cNvSpPr>
              <a:spLocks noChangeAspect="1"/>
            </p:cNvSpPr>
            <p:nvPr/>
          </p:nvSpPr>
          <p:spPr bwMode="gray">
            <a:xfrm>
              <a:off x="1964689" y="1656636"/>
              <a:ext cx="218731" cy="109330"/>
            </a:xfrm>
            <a:custGeom>
              <a:avLst/>
              <a:gdLst/>
              <a:ahLst/>
              <a:cxnLst>
                <a:cxn ang="0">
                  <a:pos x="0" y="93"/>
                </a:cxn>
                <a:cxn ang="0">
                  <a:pos x="56" y="111"/>
                </a:cxn>
                <a:cxn ang="0">
                  <a:pos x="70" y="92"/>
                </a:cxn>
                <a:cxn ang="0">
                  <a:pos x="82" y="122"/>
                </a:cxn>
                <a:cxn ang="0">
                  <a:pos x="108" y="110"/>
                </a:cxn>
                <a:cxn ang="0">
                  <a:pos x="104" y="81"/>
                </a:cxn>
                <a:cxn ang="0">
                  <a:pos x="130" y="97"/>
                </a:cxn>
                <a:cxn ang="0">
                  <a:pos x="145" y="53"/>
                </a:cxn>
                <a:cxn ang="0">
                  <a:pos x="167" y="50"/>
                </a:cxn>
                <a:cxn ang="0">
                  <a:pos x="176" y="90"/>
                </a:cxn>
                <a:cxn ang="0">
                  <a:pos x="228" y="60"/>
                </a:cxn>
                <a:cxn ang="0">
                  <a:pos x="211" y="26"/>
                </a:cxn>
                <a:cxn ang="0">
                  <a:pos x="244" y="17"/>
                </a:cxn>
                <a:cxn ang="0">
                  <a:pos x="210" y="0"/>
                </a:cxn>
                <a:cxn ang="0">
                  <a:pos x="121" y="17"/>
                </a:cxn>
                <a:cxn ang="0">
                  <a:pos x="0" y="93"/>
                </a:cxn>
              </a:cxnLst>
              <a:rect l="0" t="0" r="r" b="b"/>
              <a:pathLst>
                <a:path w="244" h="122">
                  <a:moveTo>
                    <a:pt x="0" y="93"/>
                  </a:moveTo>
                  <a:lnTo>
                    <a:pt x="56" y="111"/>
                  </a:lnTo>
                  <a:lnTo>
                    <a:pt x="70" y="92"/>
                  </a:lnTo>
                  <a:lnTo>
                    <a:pt x="82" y="122"/>
                  </a:lnTo>
                  <a:lnTo>
                    <a:pt x="108" y="110"/>
                  </a:lnTo>
                  <a:lnTo>
                    <a:pt x="104" y="81"/>
                  </a:lnTo>
                  <a:lnTo>
                    <a:pt x="130" y="97"/>
                  </a:lnTo>
                  <a:lnTo>
                    <a:pt x="145" y="53"/>
                  </a:lnTo>
                  <a:lnTo>
                    <a:pt x="167" y="50"/>
                  </a:lnTo>
                  <a:lnTo>
                    <a:pt x="176" y="90"/>
                  </a:lnTo>
                  <a:lnTo>
                    <a:pt x="228" y="60"/>
                  </a:lnTo>
                  <a:lnTo>
                    <a:pt x="211" y="26"/>
                  </a:lnTo>
                  <a:lnTo>
                    <a:pt x="244" y="17"/>
                  </a:lnTo>
                  <a:lnTo>
                    <a:pt x="210" y="0"/>
                  </a:lnTo>
                  <a:lnTo>
                    <a:pt x="121" y="17"/>
                  </a:lnTo>
                  <a:lnTo>
                    <a:pt x="0" y="9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 name="30431223.125150.12516.625345">
              <a:extLst>
                <a:ext uri="{FF2B5EF4-FFF2-40B4-BE49-F238E27FC236}">
                  <a16:creationId xmlns:a16="http://schemas.microsoft.com/office/drawing/2014/main" id="{5A9B7DFF-0081-436F-B372-6FD9151464CF}"/>
                </a:ext>
              </a:extLst>
            </p:cNvPr>
            <p:cNvSpPr>
              <a:spLocks noChangeAspect="1"/>
            </p:cNvSpPr>
            <p:nvPr/>
          </p:nvSpPr>
          <p:spPr bwMode="gray">
            <a:xfrm>
              <a:off x="2078810" y="1912297"/>
              <a:ext cx="543976" cy="270801"/>
            </a:xfrm>
            <a:custGeom>
              <a:avLst/>
              <a:gdLst/>
              <a:ahLst/>
              <a:cxnLst>
                <a:cxn ang="0">
                  <a:pos x="0" y="95"/>
                </a:cxn>
                <a:cxn ang="0">
                  <a:pos x="30" y="72"/>
                </a:cxn>
                <a:cxn ang="0">
                  <a:pos x="15" y="59"/>
                </a:cxn>
                <a:cxn ang="0">
                  <a:pos x="87" y="17"/>
                </a:cxn>
                <a:cxn ang="0">
                  <a:pos x="146" y="0"/>
                </a:cxn>
                <a:cxn ang="0">
                  <a:pos x="165" y="30"/>
                </a:cxn>
                <a:cxn ang="0">
                  <a:pos x="144" y="48"/>
                </a:cxn>
                <a:cxn ang="0">
                  <a:pos x="198" y="24"/>
                </a:cxn>
                <a:cxn ang="0">
                  <a:pos x="257" y="44"/>
                </a:cxn>
                <a:cxn ang="0">
                  <a:pos x="235" y="66"/>
                </a:cxn>
                <a:cxn ang="0">
                  <a:pos x="304" y="51"/>
                </a:cxn>
                <a:cxn ang="0">
                  <a:pos x="285" y="26"/>
                </a:cxn>
                <a:cxn ang="0">
                  <a:pos x="312" y="29"/>
                </a:cxn>
                <a:cxn ang="0">
                  <a:pos x="366" y="109"/>
                </a:cxn>
                <a:cxn ang="0">
                  <a:pos x="385" y="90"/>
                </a:cxn>
                <a:cxn ang="0">
                  <a:pos x="363" y="3"/>
                </a:cxn>
                <a:cxn ang="0">
                  <a:pos x="407" y="4"/>
                </a:cxn>
                <a:cxn ang="0">
                  <a:pos x="455" y="35"/>
                </a:cxn>
                <a:cxn ang="0">
                  <a:pos x="483" y="143"/>
                </a:cxn>
                <a:cxn ang="0">
                  <a:pos x="602" y="195"/>
                </a:cxn>
                <a:cxn ang="0">
                  <a:pos x="601" y="224"/>
                </a:cxn>
                <a:cxn ang="0">
                  <a:pos x="568" y="212"/>
                </a:cxn>
                <a:cxn ang="0">
                  <a:pos x="532" y="231"/>
                </a:cxn>
                <a:cxn ang="0">
                  <a:pos x="583" y="255"/>
                </a:cxn>
                <a:cxn ang="0">
                  <a:pos x="536" y="279"/>
                </a:cxn>
                <a:cxn ang="0">
                  <a:pos x="459" y="267"/>
                </a:cxn>
                <a:cxn ang="0">
                  <a:pos x="414" y="237"/>
                </a:cxn>
                <a:cxn ang="0">
                  <a:pos x="315" y="286"/>
                </a:cxn>
                <a:cxn ang="0">
                  <a:pos x="191" y="296"/>
                </a:cxn>
                <a:cxn ang="0">
                  <a:pos x="166" y="249"/>
                </a:cxn>
                <a:cxn ang="0">
                  <a:pos x="98" y="246"/>
                </a:cxn>
                <a:cxn ang="0">
                  <a:pos x="54" y="206"/>
                </a:cxn>
                <a:cxn ang="0">
                  <a:pos x="228" y="182"/>
                </a:cxn>
                <a:cxn ang="0">
                  <a:pos x="47" y="169"/>
                </a:cxn>
                <a:cxn ang="0">
                  <a:pos x="24" y="145"/>
                </a:cxn>
                <a:cxn ang="0">
                  <a:pos x="117" y="117"/>
                </a:cxn>
                <a:cxn ang="0">
                  <a:pos x="30" y="121"/>
                </a:cxn>
                <a:cxn ang="0">
                  <a:pos x="37" y="109"/>
                </a:cxn>
                <a:cxn ang="0">
                  <a:pos x="0" y="95"/>
                </a:cxn>
              </a:cxnLst>
              <a:rect l="0" t="0" r="r" b="b"/>
              <a:pathLst>
                <a:path w="602" h="296">
                  <a:moveTo>
                    <a:pt x="0" y="95"/>
                  </a:moveTo>
                  <a:lnTo>
                    <a:pt x="30" y="72"/>
                  </a:lnTo>
                  <a:lnTo>
                    <a:pt x="15" y="59"/>
                  </a:lnTo>
                  <a:lnTo>
                    <a:pt x="87" y="17"/>
                  </a:lnTo>
                  <a:lnTo>
                    <a:pt x="146" y="0"/>
                  </a:lnTo>
                  <a:lnTo>
                    <a:pt x="165" y="30"/>
                  </a:lnTo>
                  <a:lnTo>
                    <a:pt x="144" y="48"/>
                  </a:lnTo>
                  <a:lnTo>
                    <a:pt x="198" y="24"/>
                  </a:lnTo>
                  <a:lnTo>
                    <a:pt x="257" y="44"/>
                  </a:lnTo>
                  <a:lnTo>
                    <a:pt x="235" y="66"/>
                  </a:lnTo>
                  <a:lnTo>
                    <a:pt x="304" y="51"/>
                  </a:lnTo>
                  <a:lnTo>
                    <a:pt x="285" y="26"/>
                  </a:lnTo>
                  <a:lnTo>
                    <a:pt x="312" y="29"/>
                  </a:lnTo>
                  <a:lnTo>
                    <a:pt x="366" y="109"/>
                  </a:lnTo>
                  <a:lnTo>
                    <a:pt x="385" y="90"/>
                  </a:lnTo>
                  <a:lnTo>
                    <a:pt x="363" y="3"/>
                  </a:lnTo>
                  <a:lnTo>
                    <a:pt x="407" y="4"/>
                  </a:lnTo>
                  <a:lnTo>
                    <a:pt x="455" y="35"/>
                  </a:lnTo>
                  <a:lnTo>
                    <a:pt x="483" y="143"/>
                  </a:lnTo>
                  <a:lnTo>
                    <a:pt x="602" y="195"/>
                  </a:lnTo>
                  <a:lnTo>
                    <a:pt x="601" y="224"/>
                  </a:lnTo>
                  <a:lnTo>
                    <a:pt x="568" y="212"/>
                  </a:lnTo>
                  <a:lnTo>
                    <a:pt x="532" y="231"/>
                  </a:lnTo>
                  <a:lnTo>
                    <a:pt x="583" y="255"/>
                  </a:lnTo>
                  <a:lnTo>
                    <a:pt x="536" y="279"/>
                  </a:lnTo>
                  <a:lnTo>
                    <a:pt x="459" y="267"/>
                  </a:lnTo>
                  <a:lnTo>
                    <a:pt x="414" y="237"/>
                  </a:lnTo>
                  <a:lnTo>
                    <a:pt x="315" y="286"/>
                  </a:lnTo>
                  <a:lnTo>
                    <a:pt x="191" y="296"/>
                  </a:lnTo>
                  <a:lnTo>
                    <a:pt x="166" y="249"/>
                  </a:lnTo>
                  <a:lnTo>
                    <a:pt x="98" y="246"/>
                  </a:lnTo>
                  <a:lnTo>
                    <a:pt x="54" y="206"/>
                  </a:lnTo>
                  <a:lnTo>
                    <a:pt x="228" y="182"/>
                  </a:lnTo>
                  <a:lnTo>
                    <a:pt x="47" y="169"/>
                  </a:lnTo>
                  <a:lnTo>
                    <a:pt x="24" y="145"/>
                  </a:lnTo>
                  <a:lnTo>
                    <a:pt x="117" y="117"/>
                  </a:lnTo>
                  <a:lnTo>
                    <a:pt x="30" y="121"/>
                  </a:lnTo>
                  <a:lnTo>
                    <a:pt x="37" y="109"/>
                  </a:lnTo>
                  <a:lnTo>
                    <a:pt x="0" y="9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 name="30432209.875152.6259.125235">
              <a:extLst>
                <a:ext uri="{FF2B5EF4-FFF2-40B4-BE49-F238E27FC236}">
                  <a16:creationId xmlns:a16="http://schemas.microsoft.com/office/drawing/2014/main" id="{4CB9A148-607F-4C8D-85CC-A90BD6A9D020}"/>
                </a:ext>
              </a:extLst>
            </p:cNvPr>
            <p:cNvSpPr>
              <a:spLocks noChangeAspect="1"/>
            </p:cNvSpPr>
            <p:nvPr/>
          </p:nvSpPr>
          <p:spPr bwMode="gray">
            <a:xfrm>
              <a:off x="2120654" y="1698685"/>
              <a:ext cx="367089" cy="148015"/>
            </a:xfrm>
            <a:custGeom>
              <a:avLst/>
              <a:gdLst/>
              <a:ahLst/>
              <a:cxnLst>
                <a:cxn ang="0">
                  <a:pos x="0" y="108"/>
                </a:cxn>
                <a:cxn ang="0">
                  <a:pos x="15" y="95"/>
                </a:cxn>
                <a:cxn ang="0">
                  <a:pos x="85" y="80"/>
                </a:cxn>
                <a:cxn ang="0">
                  <a:pos x="15" y="83"/>
                </a:cxn>
                <a:cxn ang="0">
                  <a:pos x="96" y="66"/>
                </a:cxn>
                <a:cxn ang="0">
                  <a:pos x="30" y="66"/>
                </a:cxn>
                <a:cxn ang="0">
                  <a:pos x="36" y="48"/>
                </a:cxn>
                <a:cxn ang="0">
                  <a:pos x="99" y="47"/>
                </a:cxn>
                <a:cxn ang="0">
                  <a:pos x="55" y="43"/>
                </a:cxn>
                <a:cxn ang="0">
                  <a:pos x="89" y="26"/>
                </a:cxn>
                <a:cxn ang="0">
                  <a:pos x="172" y="47"/>
                </a:cxn>
                <a:cxn ang="0">
                  <a:pos x="213" y="88"/>
                </a:cxn>
                <a:cxn ang="0">
                  <a:pos x="290" y="91"/>
                </a:cxn>
                <a:cxn ang="0">
                  <a:pos x="260" y="66"/>
                </a:cxn>
                <a:cxn ang="0">
                  <a:pos x="278" y="50"/>
                </a:cxn>
                <a:cxn ang="0">
                  <a:pos x="243" y="31"/>
                </a:cxn>
                <a:cxn ang="0">
                  <a:pos x="297" y="0"/>
                </a:cxn>
                <a:cxn ang="0">
                  <a:pos x="320" y="36"/>
                </a:cxn>
                <a:cxn ang="0">
                  <a:pos x="304" y="53"/>
                </a:cxn>
                <a:cxn ang="0">
                  <a:pos x="334" y="58"/>
                </a:cxn>
                <a:cxn ang="0">
                  <a:pos x="323" y="76"/>
                </a:cxn>
                <a:cxn ang="0">
                  <a:pos x="362" y="81"/>
                </a:cxn>
                <a:cxn ang="0">
                  <a:pos x="382" y="57"/>
                </a:cxn>
                <a:cxn ang="0">
                  <a:pos x="408" y="86"/>
                </a:cxn>
                <a:cxn ang="0">
                  <a:pos x="388" y="123"/>
                </a:cxn>
                <a:cxn ang="0">
                  <a:pos x="300" y="120"/>
                </a:cxn>
                <a:cxn ang="0">
                  <a:pos x="165" y="164"/>
                </a:cxn>
                <a:cxn ang="0">
                  <a:pos x="110" y="141"/>
                </a:cxn>
                <a:cxn ang="0">
                  <a:pos x="224" y="105"/>
                </a:cxn>
                <a:cxn ang="0">
                  <a:pos x="127" y="127"/>
                </a:cxn>
                <a:cxn ang="0">
                  <a:pos x="143" y="97"/>
                </a:cxn>
                <a:cxn ang="0">
                  <a:pos x="94" y="128"/>
                </a:cxn>
                <a:cxn ang="0">
                  <a:pos x="36" y="120"/>
                </a:cxn>
                <a:cxn ang="0">
                  <a:pos x="0" y="108"/>
                </a:cxn>
              </a:cxnLst>
              <a:rect l="0" t="0" r="r" b="b"/>
              <a:pathLst>
                <a:path w="408" h="164">
                  <a:moveTo>
                    <a:pt x="0" y="108"/>
                  </a:moveTo>
                  <a:lnTo>
                    <a:pt x="15" y="95"/>
                  </a:lnTo>
                  <a:lnTo>
                    <a:pt x="85" y="80"/>
                  </a:lnTo>
                  <a:lnTo>
                    <a:pt x="15" y="83"/>
                  </a:lnTo>
                  <a:lnTo>
                    <a:pt x="96" y="66"/>
                  </a:lnTo>
                  <a:lnTo>
                    <a:pt x="30" y="66"/>
                  </a:lnTo>
                  <a:lnTo>
                    <a:pt x="36" y="48"/>
                  </a:lnTo>
                  <a:lnTo>
                    <a:pt x="99" y="47"/>
                  </a:lnTo>
                  <a:lnTo>
                    <a:pt x="55" y="43"/>
                  </a:lnTo>
                  <a:lnTo>
                    <a:pt x="89" y="26"/>
                  </a:lnTo>
                  <a:lnTo>
                    <a:pt x="172" y="47"/>
                  </a:lnTo>
                  <a:lnTo>
                    <a:pt x="213" y="88"/>
                  </a:lnTo>
                  <a:lnTo>
                    <a:pt x="290" y="91"/>
                  </a:lnTo>
                  <a:lnTo>
                    <a:pt x="260" y="66"/>
                  </a:lnTo>
                  <a:lnTo>
                    <a:pt x="278" y="50"/>
                  </a:lnTo>
                  <a:lnTo>
                    <a:pt x="243" y="31"/>
                  </a:lnTo>
                  <a:lnTo>
                    <a:pt x="297" y="0"/>
                  </a:lnTo>
                  <a:lnTo>
                    <a:pt x="320" y="36"/>
                  </a:lnTo>
                  <a:lnTo>
                    <a:pt x="304" y="53"/>
                  </a:lnTo>
                  <a:lnTo>
                    <a:pt x="334" y="58"/>
                  </a:lnTo>
                  <a:lnTo>
                    <a:pt x="323" y="76"/>
                  </a:lnTo>
                  <a:lnTo>
                    <a:pt x="362" y="81"/>
                  </a:lnTo>
                  <a:lnTo>
                    <a:pt x="382" y="57"/>
                  </a:lnTo>
                  <a:lnTo>
                    <a:pt x="408" y="86"/>
                  </a:lnTo>
                  <a:lnTo>
                    <a:pt x="388" y="123"/>
                  </a:lnTo>
                  <a:lnTo>
                    <a:pt x="300" y="120"/>
                  </a:lnTo>
                  <a:lnTo>
                    <a:pt x="165" y="164"/>
                  </a:lnTo>
                  <a:lnTo>
                    <a:pt x="110" y="141"/>
                  </a:lnTo>
                  <a:lnTo>
                    <a:pt x="224" y="105"/>
                  </a:lnTo>
                  <a:lnTo>
                    <a:pt x="127" y="127"/>
                  </a:lnTo>
                  <a:lnTo>
                    <a:pt x="143" y="97"/>
                  </a:lnTo>
                  <a:lnTo>
                    <a:pt x="94" y="128"/>
                  </a:lnTo>
                  <a:lnTo>
                    <a:pt x="36" y="120"/>
                  </a:lnTo>
                  <a:lnTo>
                    <a:pt x="0" y="10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 name="30433200.25175.6255.7511.8755">
              <a:extLst>
                <a:ext uri="{FF2B5EF4-FFF2-40B4-BE49-F238E27FC236}">
                  <a16:creationId xmlns:a16="http://schemas.microsoft.com/office/drawing/2014/main" id="{57CE4C9D-E5B9-408D-9A1B-13E85749AC3C}"/>
                </a:ext>
              </a:extLst>
            </p:cNvPr>
            <p:cNvSpPr>
              <a:spLocks noChangeAspect="1"/>
            </p:cNvSpPr>
            <p:nvPr/>
          </p:nvSpPr>
          <p:spPr bwMode="gray">
            <a:xfrm>
              <a:off x="2487743" y="1543941"/>
              <a:ext cx="192103" cy="92509"/>
            </a:xfrm>
            <a:custGeom>
              <a:avLst/>
              <a:gdLst/>
              <a:ahLst/>
              <a:cxnLst>
                <a:cxn ang="0">
                  <a:pos x="0" y="0"/>
                </a:cxn>
                <a:cxn ang="0">
                  <a:pos x="18" y="36"/>
                </a:cxn>
                <a:cxn ang="0">
                  <a:pos x="69" y="36"/>
                </a:cxn>
                <a:cxn ang="0">
                  <a:pos x="52" y="44"/>
                </a:cxn>
                <a:cxn ang="0">
                  <a:pos x="65" y="56"/>
                </a:cxn>
                <a:cxn ang="0">
                  <a:pos x="19" y="62"/>
                </a:cxn>
                <a:cxn ang="0">
                  <a:pos x="93" y="75"/>
                </a:cxn>
                <a:cxn ang="0">
                  <a:pos x="212" y="102"/>
                </a:cxn>
                <a:cxn ang="0">
                  <a:pos x="194" y="42"/>
                </a:cxn>
                <a:cxn ang="0">
                  <a:pos x="109" y="8"/>
                </a:cxn>
                <a:cxn ang="0">
                  <a:pos x="81" y="23"/>
                </a:cxn>
                <a:cxn ang="0">
                  <a:pos x="73" y="0"/>
                </a:cxn>
                <a:cxn ang="0">
                  <a:pos x="0" y="0"/>
                </a:cxn>
              </a:cxnLst>
              <a:rect l="0" t="0" r="r" b="b"/>
              <a:pathLst>
                <a:path w="212" h="102">
                  <a:moveTo>
                    <a:pt x="0" y="0"/>
                  </a:moveTo>
                  <a:lnTo>
                    <a:pt x="18" y="36"/>
                  </a:lnTo>
                  <a:lnTo>
                    <a:pt x="69" y="36"/>
                  </a:lnTo>
                  <a:lnTo>
                    <a:pt x="52" y="44"/>
                  </a:lnTo>
                  <a:lnTo>
                    <a:pt x="65" y="56"/>
                  </a:lnTo>
                  <a:lnTo>
                    <a:pt x="19" y="62"/>
                  </a:lnTo>
                  <a:lnTo>
                    <a:pt x="93" y="75"/>
                  </a:lnTo>
                  <a:lnTo>
                    <a:pt x="212" y="102"/>
                  </a:lnTo>
                  <a:lnTo>
                    <a:pt x="194" y="42"/>
                  </a:lnTo>
                  <a:lnTo>
                    <a:pt x="109" y="8"/>
                  </a:lnTo>
                  <a:lnTo>
                    <a:pt x="81" y="23"/>
                  </a:lnTo>
                  <a:lnTo>
                    <a:pt x="73" y="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 name="30434211.125181.255.8759.55">
              <a:extLst>
                <a:ext uri="{FF2B5EF4-FFF2-40B4-BE49-F238E27FC236}">
                  <a16:creationId xmlns:a16="http://schemas.microsoft.com/office/drawing/2014/main" id="{20738728-2078-4F6A-A490-E7EEDB9A8222}"/>
                </a:ext>
              </a:extLst>
            </p:cNvPr>
            <p:cNvSpPr>
              <a:spLocks noChangeAspect="1"/>
            </p:cNvSpPr>
            <p:nvPr/>
          </p:nvSpPr>
          <p:spPr bwMode="gray">
            <a:xfrm>
              <a:off x="2579037" y="1718868"/>
              <a:ext cx="152160" cy="95874"/>
            </a:xfrm>
            <a:custGeom>
              <a:avLst/>
              <a:gdLst/>
              <a:ahLst/>
              <a:cxnLst>
                <a:cxn ang="0">
                  <a:pos x="0" y="67"/>
                </a:cxn>
                <a:cxn ang="0">
                  <a:pos x="18" y="42"/>
                </a:cxn>
                <a:cxn ang="0">
                  <a:pos x="51" y="46"/>
                </a:cxn>
                <a:cxn ang="0">
                  <a:pos x="10" y="22"/>
                </a:cxn>
                <a:cxn ang="0">
                  <a:pos x="19" y="7"/>
                </a:cxn>
                <a:cxn ang="0">
                  <a:pos x="88" y="40"/>
                </a:cxn>
                <a:cxn ang="0">
                  <a:pos x="49" y="4"/>
                </a:cxn>
                <a:cxn ang="0">
                  <a:pos x="151" y="0"/>
                </a:cxn>
                <a:cxn ang="0">
                  <a:pos x="169" y="75"/>
                </a:cxn>
                <a:cxn ang="0">
                  <a:pos x="148" y="63"/>
                </a:cxn>
                <a:cxn ang="0">
                  <a:pos x="147" y="103"/>
                </a:cxn>
                <a:cxn ang="0">
                  <a:pos x="64" y="99"/>
                </a:cxn>
                <a:cxn ang="0">
                  <a:pos x="81" y="88"/>
                </a:cxn>
                <a:cxn ang="0">
                  <a:pos x="59" y="73"/>
                </a:cxn>
                <a:cxn ang="0">
                  <a:pos x="118" y="52"/>
                </a:cxn>
                <a:cxn ang="0">
                  <a:pos x="0" y="67"/>
                </a:cxn>
              </a:cxnLst>
              <a:rect l="0" t="0" r="r" b="b"/>
              <a:pathLst>
                <a:path w="169" h="103">
                  <a:moveTo>
                    <a:pt x="0" y="67"/>
                  </a:moveTo>
                  <a:lnTo>
                    <a:pt x="18" y="42"/>
                  </a:lnTo>
                  <a:lnTo>
                    <a:pt x="51" y="46"/>
                  </a:lnTo>
                  <a:lnTo>
                    <a:pt x="10" y="22"/>
                  </a:lnTo>
                  <a:lnTo>
                    <a:pt x="19" y="7"/>
                  </a:lnTo>
                  <a:lnTo>
                    <a:pt x="88" y="40"/>
                  </a:lnTo>
                  <a:lnTo>
                    <a:pt x="49" y="4"/>
                  </a:lnTo>
                  <a:lnTo>
                    <a:pt x="151" y="0"/>
                  </a:lnTo>
                  <a:lnTo>
                    <a:pt x="169" y="75"/>
                  </a:lnTo>
                  <a:lnTo>
                    <a:pt x="148" y="63"/>
                  </a:lnTo>
                  <a:lnTo>
                    <a:pt x="147" y="103"/>
                  </a:lnTo>
                  <a:lnTo>
                    <a:pt x="64" y="99"/>
                  </a:lnTo>
                  <a:lnTo>
                    <a:pt x="81" y="88"/>
                  </a:lnTo>
                  <a:lnTo>
                    <a:pt x="59" y="73"/>
                  </a:lnTo>
                  <a:lnTo>
                    <a:pt x="118" y="52"/>
                  </a:lnTo>
                  <a:lnTo>
                    <a:pt x="0" y="6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 name="30435221.25181.3759.12511.255">
              <a:extLst>
                <a:ext uri="{FF2B5EF4-FFF2-40B4-BE49-F238E27FC236}">
                  <a16:creationId xmlns:a16="http://schemas.microsoft.com/office/drawing/2014/main" id="{4BA688D4-0C7F-4B7E-9EE1-612D6E15DE6F}"/>
                </a:ext>
              </a:extLst>
            </p:cNvPr>
            <p:cNvSpPr>
              <a:spLocks noChangeAspect="1"/>
            </p:cNvSpPr>
            <p:nvPr/>
          </p:nvSpPr>
          <p:spPr bwMode="gray">
            <a:xfrm>
              <a:off x="2582842" y="1882023"/>
              <a:ext cx="180692" cy="149699"/>
            </a:xfrm>
            <a:custGeom>
              <a:avLst/>
              <a:gdLst/>
              <a:ahLst/>
              <a:cxnLst>
                <a:cxn ang="0">
                  <a:pos x="0" y="81"/>
                </a:cxn>
                <a:cxn ang="0">
                  <a:pos x="10" y="61"/>
                </a:cxn>
                <a:cxn ang="0">
                  <a:pos x="76" y="73"/>
                </a:cxn>
                <a:cxn ang="0">
                  <a:pos x="66" y="47"/>
                </a:cxn>
                <a:cxn ang="0">
                  <a:pos x="84" y="48"/>
                </a:cxn>
                <a:cxn ang="0">
                  <a:pos x="40" y="35"/>
                </a:cxn>
                <a:cxn ang="0">
                  <a:pos x="60" y="28"/>
                </a:cxn>
                <a:cxn ang="0">
                  <a:pos x="41" y="14"/>
                </a:cxn>
                <a:cxn ang="0">
                  <a:pos x="168" y="0"/>
                </a:cxn>
                <a:cxn ang="0">
                  <a:pos x="172" y="36"/>
                </a:cxn>
                <a:cxn ang="0">
                  <a:pos x="133" y="65"/>
                </a:cxn>
                <a:cxn ang="0">
                  <a:pos x="191" y="73"/>
                </a:cxn>
                <a:cxn ang="0">
                  <a:pos x="198" y="131"/>
                </a:cxn>
                <a:cxn ang="0">
                  <a:pos x="113" y="162"/>
                </a:cxn>
                <a:cxn ang="0">
                  <a:pos x="76" y="117"/>
                </a:cxn>
                <a:cxn ang="0">
                  <a:pos x="0" y="81"/>
                </a:cxn>
              </a:cxnLst>
              <a:rect l="0" t="0" r="r" b="b"/>
              <a:pathLst>
                <a:path w="198" h="162">
                  <a:moveTo>
                    <a:pt x="0" y="81"/>
                  </a:moveTo>
                  <a:lnTo>
                    <a:pt x="10" y="61"/>
                  </a:lnTo>
                  <a:lnTo>
                    <a:pt x="76" y="73"/>
                  </a:lnTo>
                  <a:lnTo>
                    <a:pt x="66" y="47"/>
                  </a:lnTo>
                  <a:lnTo>
                    <a:pt x="84" y="48"/>
                  </a:lnTo>
                  <a:lnTo>
                    <a:pt x="40" y="35"/>
                  </a:lnTo>
                  <a:lnTo>
                    <a:pt x="60" y="28"/>
                  </a:lnTo>
                  <a:lnTo>
                    <a:pt x="41" y="14"/>
                  </a:lnTo>
                  <a:lnTo>
                    <a:pt x="168" y="0"/>
                  </a:lnTo>
                  <a:lnTo>
                    <a:pt x="172" y="36"/>
                  </a:lnTo>
                  <a:lnTo>
                    <a:pt x="133" y="65"/>
                  </a:lnTo>
                  <a:lnTo>
                    <a:pt x="191" y="73"/>
                  </a:lnTo>
                  <a:lnTo>
                    <a:pt x="198" y="131"/>
                  </a:lnTo>
                  <a:lnTo>
                    <a:pt x="113" y="162"/>
                  </a:lnTo>
                  <a:lnTo>
                    <a:pt x="76" y="117"/>
                  </a:lnTo>
                  <a:lnTo>
                    <a:pt x="0" y="8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 name="30436201.625189.254.756.755">
              <a:extLst>
                <a:ext uri="{FF2B5EF4-FFF2-40B4-BE49-F238E27FC236}">
                  <a16:creationId xmlns:a16="http://schemas.microsoft.com/office/drawing/2014/main" id="{D1C33FED-D3FB-44A9-882D-9D69F7A101CE}"/>
                </a:ext>
              </a:extLst>
            </p:cNvPr>
            <p:cNvSpPr>
              <a:spLocks noChangeAspect="1"/>
            </p:cNvSpPr>
            <p:nvPr/>
          </p:nvSpPr>
          <p:spPr bwMode="gray">
            <a:xfrm>
              <a:off x="2706474" y="1564127"/>
              <a:ext cx="110316" cy="77372"/>
            </a:xfrm>
            <a:custGeom>
              <a:avLst/>
              <a:gdLst/>
              <a:ahLst/>
              <a:cxnLst>
                <a:cxn ang="0">
                  <a:pos x="0" y="0"/>
                </a:cxn>
                <a:cxn ang="0">
                  <a:pos x="14" y="49"/>
                </a:cxn>
                <a:cxn ang="0">
                  <a:pos x="51" y="52"/>
                </a:cxn>
                <a:cxn ang="0">
                  <a:pos x="19" y="59"/>
                </a:cxn>
                <a:cxn ang="0">
                  <a:pos x="34" y="82"/>
                </a:cxn>
                <a:cxn ang="0">
                  <a:pos x="108" y="69"/>
                </a:cxn>
                <a:cxn ang="0">
                  <a:pos x="119" y="41"/>
                </a:cxn>
                <a:cxn ang="0">
                  <a:pos x="0" y="0"/>
                </a:cxn>
              </a:cxnLst>
              <a:rect l="0" t="0" r="r" b="b"/>
              <a:pathLst>
                <a:path w="119" h="82">
                  <a:moveTo>
                    <a:pt x="0" y="0"/>
                  </a:moveTo>
                  <a:lnTo>
                    <a:pt x="14" y="49"/>
                  </a:lnTo>
                  <a:lnTo>
                    <a:pt x="51" y="52"/>
                  </a:lnTo>
                  <a:lnTo>
                    <a:pt x="19" y="59"/>
                  </a:lnTo>
                  <a:lnTo>
                    <a:pt x="34" y="82"/>
                  </a:lnTo>
                  <a:lnTo>
                    <a:pt x="108" y="69"/>
                  </a:lnTo>
                  <a:lnTo>
                    <a:pt x="119" y="4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 name="30437208.875191.7510.12532.3755">
              <a:extLst>
                <a:ext uri="{FF2B5EF4-FFF2-40B4-BE49-F238E27FC236}">
                  <a16:creationId xmlns:a16="http://schemas.microsoft.com/office/drawing/2014/main" id="{8D60E337-2C7B-4F95-B35D-AC2C2C35C09F}"/>
                </a:ext>
              </a:extLst>
            </p:cNvPr>
            <p:cNvSpPr>
              <a:spLocks noChangeAspect="1"/>
            </p:cNvSpPr>
            <p:nvPr/>
          </p:nvSpPr>
          <p:spPr bwMode="gray">
            <a:xfrm>
              <a:off x="2746413" y="1680184"/>
              <a:ext cx="519249" cy="166517"/>
            </a:xfrm>
            <a:custGeom>
              <a:avLst/>
              <a:gdLst/>
              <a:ahLst/>
              <a:cxnLst>
                <a:cxn ang="0">
                  <a:pos x="0" y="29"/>
                </a:cxn>
                <a:cxn ang="0">
                  <a:pos x="36" y="0"/>
                </a:cxn>
                <a:cxn ang="0">
                  <a:pos x="87" y="16"/>
                </a:cxn>
                <a:cxn ang="0">
                  <a:pos x="121" y="29"/>
                </a:cxn>
                <a:cxn ang="0">
                  <a:pos x="110" y="50"/>
                </a:cxn>
                <a:cxn ang="0">
                  <a:pos x="176" y="32"/>
                </a:cxn>
                <a:cxn ang="0">
                  <a:pos x="219" y="50"/>
                </a:cxn>
                <a:cxn ang="0">
                  <a:pos x="183" y="50"/>
                </a:cxn>
                <a:cxn ang="0">
                  <a:pos x="256" y="64"/>
                </a:cxn>
                <a:cxn ang="0">
                  <a:pos x="176" y="69"/>
                </a:cxn>
                <a:cxn ang="0">
                  <a:pos x="219" y="82"/>
                </a:cxn>
                <a:cxn ang="0">
                  <a:pos x="187" y="97"/>
                </a:cxn>
                <a:cxn ang="0">
                  <a:pos x="227" y="84"/>
                </a:cxn>
                <a:cxn ang="0">
                  <a:pos x="263" y="120"/>
                </a:cxn>
                <a:cxn ang="0">
                  <a:pos x="271" y="104"/>
                </a:cxn>
                <a:cxn ang="0">
                  <a:pos x="377" y="120"/>
                </a:cxn>
                <a:cxn ang="0">
                  <a:pos x="486" y="86"/>
                </a:cxn>
                <a:cxn ang="0">
                  <a:pos x="575" y="126"/>
                </a:cxn>
                <a:cxn ang="0">
                  <a:pos x="547" y="145"/>
                </a:cxn>
                <a:cxn ang="0">
                  <a:pos x="557" y="175"/>
                </a:cxn>
                <a:cxn ang="0">
                  <a:pos x="505" y="182"/>
                </a:cxn>
                <a:cxn ang="0">
                  <a:pos x="446" y="153"/>
                </a:cxn>
                <a:cxn ang="0">
                  <a:pos x="446" y="175"/>
                </a:cxn>
                <a:cxn ang="0">
                  <a:pos x="414" y="179"/>
                </a:cxn>
                <a:cxn ang="0">
                  <a:pos x="285" y="182"/>
                </a:cxn>
                <a:cxn ang="0">
                  <a:pos x="271" y="157"/>
                </a:cxn>
                <a:cxn ang="0">
                  <a:pos x="240" y="179"/>
                </a:cxn>
                <a:cxn ang="0">
                  <a:pos x="200" y="157"/>
                </a:cxn>
                <a:cxn ang="0">
                  <a:pos x="174" y="172"/>
                </a:cxn>
                <a:cxn ang="0">
                  <a:pos x="124" y="54"/>
                </a:cxn>
                <a:cxn ang="0">
                  <a:pos x="65" y="65"/>
                </a:cxn>
                <a:cxn ang="0">
                  <a:pos x="0" y="29"/>
                </a:cxn>
              </a:cxnLst>
              <a:rect l="0" t="0" r="r" b="b"/>
              <a:pathLst>
                <a:path w="575" h="182">
                  <a:moveTo>
                    <a:pt x="0" y="29"/>
                  </a:moveTo>
                  <a:lnTo>
                    <a:pt x="36" y="0"/>
                  </a:lnTo>
                  <a:lnTo>
                    <a:pt x="87" y="16"/>
                  </a:lnTo>
                  <a:lnTo>
                    <a:pt x="121" y="29"/>
                  </a:lnTo>
                  <a:lnTo>
                    <a:pt x="110" y="50"/>
                  </a:lnTo>
                  <a:lnTo>
                    <a:pt x="176" y="32"/>
                  </a:lnTo>
                  <a:lnTo>
                    <a:pt x="219" y="50"/>
                  </a:lnTo>
                  <a:lnTo>
                    <a:pt x="183" y="50"/>
                  </a:lnTo>
                  <a:lnTo>
                    <a:pt x="256" y="64"/>
                  </a:lnTo>
                  <a:lnTo>
                    <a:pt x="176" y="69"/>
                  </a:lnTo>
                  <a:lnTo>
                    <a:pt x="219" y="82"/>
                  </a:lnTo>
                  <a:lnTo>
                    <a:pt x="187" y="97"/>
                  </a:lnTo>
                  <a:lnTo>
                    <a:pt x="227" y="84"/>
                  </a:lnTo>
                  <a:lnTo>
                    <a:pt x="263" y="120"/>
                  </a:lnTo>
                  <a:lnTo>
                    <a:pt x="271" y="104"/>
                  </a:lnTo>
                  <a:lnTo>
                    <a:pt x="377" y="120"/>
                  </a:lnTo>
                  <a:lnTo>
                    <a:pt x="486" y="86"/>
                  </a:lnTo>
                  <a:lnTo>
                    <a:pt x="575" y="126"/>
                  </a:lnTo>
                  <a:lnTo>
                    <a:pt x="547" y="145"/>
                  </a:lnTo>
                  <a:lnTo>
                    <a:pt x="557" y="175"/>
                  </a:lnTo>
                  <a:lnTo>
                    <a:pt x="505" y="182"/>
                  </a:lnTo>
                  <a:lnTo>
                    <a:pt x="446" y="153"/>
                  </a:lnTo>
                  <a:lnTo>
                    <a:pt x="446" y="175"/>
                  </a:lnTo>
                  <a:lnTo>
                    <a:pt x="414" y="179"/>
                  </a:lnTo>
                  <a:lnTo>
                    <a:pt x="285" y="182"/>
                  </a:lnTo>
                  <a:lnTo>
                    <a:pt x="271" y="157"/>
                  </a:lnTo>
                  <a:lnTo>
                    <a:pt x="240" y="179"/>
                  </a:lnTo>
                  <a:lnTo>
                    <a:pt x="200" y="157"/>
                  </a:lnTo>
                  <a:lnTo>
                    <a:pt x="174" y="172"/>
                  </a:lnTo>
                  <a:lnTo>
                    <a:pt x="124" y="54"/>
                  </a:lnTo>
                  <a:lnTo>
                    <a:pt x="65" y="65"/>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 name="30438191.2519313.7521.1255">
              <a:extLst>
                <a:ext uri="{FF2B5EF4-FFF2-40B4-BE49-F238E27FC236}">
                  <a16:creationId xmlns:a16="http://schemas.microsoft.com/office/drawing/2014/main" id="{CD018A54-FAD7-4B9F-96E0-FDEAB66032B4}"/>
                </a:ext>
              </a:extLst>
            </p:cNvPr>
            <p:cNvSpPr>
              <a:spLocks noChangeAspect="1"/>
            </p:cNvSpPr>
            <p:nvPr/>
          </p:nvSpPr>
          <p:spPr bwMode="gray">
            <a:xfrm>
              <a:off x="2765435" y="1394245"/>
              <a:ext cx="338557" cy="223706"/>
            </a:xfrm>
            <a:custGeom>
              <a:avLst/>
              <a:gdLst/>
              <a:ahLst/>
              <a:cxnLst>
                <a:cxn ang="0">
                  <a:pos x="0" y="75"/>
                </a:cxn>
                <a:cxn ang="0">
                  <a:pos x="90" y="61"/>
                </a:cxn>
                <a:cxn ang="0">
                  <a:pos x="42" y="28"/>
                </a:cxn>
                <a:cxn ang="0">
                  <a:pos x="122" y="13"/>
                </a:cxn>
                <a:cxn ang="0">
                  <a:pos x="59" y="0"/>
                </a:cxn>
                <a:cxn ang="0">
                  <a:pos x="159" y="17"/>
                </a:cxn>
                <a:cxn ang="0">
                  <a:pos x="188" y="63"/>
                </a:cxn>
                <a:cxn ang="0">
                  <a:pos x="240" y="64"/>
                </a:cxn>
                <a:cxn ang="0">
                  <a:pos x="260" y="96"/>
                </a:cxn>
                <a:cxn ang="0">
                  <a:pos x="264" y="74"/>
                </a:cxn>
                <a:cxn ang="0">
                  <a:pos x="290" y="75"/>
                </a:cxn>
                <a:cxn ang="0">
                  <a:pos x="279" y="96"/>
                </a:cxn>
                <a:cxn ang="0">
                  <a:pos x="308" y="111"/>
                </a:cxn>
                <a:cxn ang="0">
                  <a:pos x="290" y="133"/>
                </a:cxn>
                <a:cxn ang="0">
                  <a:pos x="349" y="130"/>
                </a:cxn>
                <a:cxn ang="0">
                  <a:pos x="375" y="162"/>
                </a:cxn>
                <a:cxn ang="0">
                  <a:pos x="304" y="173"/>
                </a:cxn>
                <a:cxn ang="0">
                  <a:pos x="284" y="202"/>
                </a:cxn>
                <a:cxn ang="0">
                  <a:pos x="271" y="171"/>
                </a:cxn>
                <a:cxn ang="0">
                  <a:pos x="251" y="240"/>
                </a:cxn>
                <a:cxn ang="0">
                  <a:pos x="206" y="205"/>
                </a:cxn>
                <a:cxn ang="0">
                  <a:pos x="229" y="242"/>
                </a:cxn>
                <a:cxn ang="0">
                  <a:pos x="141" y="236"/>
                </a:cxn>
                <a:cxn ang="0">
                  <a:pos x="114" y="217"/>
                </a:cxn>
                <a:cxn ang="0">
                  <a:pos x="155" y="214"/>
                </a:cxn>
                <a:cxn ang="0">
                  <a:pos x="111" y="207"/>
                </a:cxn>
                <a:cxn ang="0">
                  <a:pos x="99" y="196"/>
                </a:cxn>
                <a:cxn ang="0">
                  <a:pos x="122" y="195"/>
                </a:cxn>
                <a:cxn ang="0">
                  <a:pos x="85" y="180"/>
                </a:cxn>
                <a:cxn ang="0">
                  <a:pos x="203" y="158"/>
                </a:cxn>
                <a:cxn ang="0">
                  <a:pos x="59" y="162"/>
                </a:cxn>
                <a:cxn ang="0">
                  <a:pos x="33" y="138"/>
                </a:cxn>
                <a:cxn ang="0">
                  <a:pos x="85" y="127"/>
                </a:cxn>
                <a:cxn ang="0">
                  <a:pos x="5" y="111"/>
                </a:cxn>
                <a:cxn ang="0">
                  <a:pos x="23" y="110"/>
                </a:cxn>
                <a:cxn ang="0">
                  <a:pos x="1" y="93"/>
                </a:cxn>
                <a:cxn ang="0">
                  <a:pos x="90" y="93"/>
                </a:cxn>
                <a:cxn ang="0">
                  <a:pos x="0" y="75"/>
                </a:cxn>
              </a:cxnLst>
              <a:rect l="0" t="0" r="r" b="b"/>
              <a:pathLst>
                <a:path w="375" h="242">
                  <a:moveTo>
                    <a:pt x="0" y="75"/>
                  </a:moveTo>
                  <a:lnTo>
                    <a:pt x="90" y="61"/>
                  </a:lnTo>
                  <a:lnTo>
                    <a:pt x="42" y="28"/>
                  </a:lnTo>
                  <a:lnTo>
                    <a:pt x="122" y="13"/>
                  </a:lnTo>
                  <a:lnTo>
                    <a:pt x="59" y="0"/>
                  </a:lnTo>
                  <a:lnTo>
                    <a:pt x="159" y="17"/>
                  </a:lnTo>
                  <a:lnTo>
                    <a:pt x="188" y="63"/>
                  </a:lnTo>
                  <a:lnTo>
                    <a:pt x="240" y="64"/>
                  </a:lnTo>
                  <a:lnTo>
                    <a:pt x="260" y="96"/>
                  </a:lnTo>
                  <a:lnTo>
                    <a:pt x="264" y="74"/>
                  </a:lnTo>
                  <a:lnTo>
                    <a:pt x="290" y="75"/>
                  </a:lnTo>
                  <a:lnTo>
                    <a:pt x="279" y="96"/>
                  </a:lnTo>
                  <a:lnTo>
                    <a:pt x="308" y="111"/>
                  </a:lnTo>
                  <a:lnTo>
                    <a:pt x="290" y="133"/>
                  </a:lnTo>
                  <a:lnTo>
                    <a:pt x="349" y="130"/>
                  </a:lnTo>
                  <a:lnTo>
                    <a:pt x="375" y="162"/>
                  </a:lnTo>
                  <a:lnTo>
                    <a:pt x="304" y="173"/>
                  </a:lnTo>
                  <a:lnTo>
                    <a:pt x="284" y="202"/>
                  </a:lnTo>
                  <a:lnTo>
                    <a:pt x="271" y="171"/>
                  </a:lnTo>
                  <a:lnTo>
                    <a:pt x="251" y="240"/>
                  </a:lnTo>
                  <a:lnTo>
                    <a:pt x="206" y="205"/>
                  </a:lnTo>
                  <a:lnTo>
                    <a:pt x="229" y="242"/>
                  </a:lnTo>
                  <a:lnTo>
                    <a:pt x="141" y="236"/>
                  </a:lnTo>
                  <a:lnTo>
                    <a:pt x="114" y="217"/>
                  </a:lnTo>
                  <a:lnTo>
                    <a:pt x="155" y="214"/>
                  </a:lnTo>
                  <a:lnTo>
                    <a:pt x="111" y="207"/>
                  </a:lnTo>
                  <a:lnTo>
                    <a:pt x="99" y="196"/>
                  </a:lnTo>
                  <a:lnTo>
                    <a:pt x="122" y="195"/>
                  </a:lnTo>
                  <a:lnTo>
                    <a:pt x="85" y="180"/>
                  </a:lnTo>
                  <a:lnTo>
                    <a:pt x="203" y="158"/>
                  </a:lnTo>
                  <a:lnTo>
                    <a:pt x="59" y="162"/>
                  </a:lnTo>
                  <a:lnTo>
                    <a:pt x="33" y="138"/>
                  </a:lnTo>
                  <a:lnTo>
                    <a:pt x="85" y="127"/>
                  </a:lnTo>
                  <a:lnTo>
                    <a:pt x="5" y="111"/>
                  </a:lnTo>
                  <a:lnTo>
                    <a:pt x="23" y="110"/>
                  </a:lnTo>
                  <a:lnTo>
                    <a:pt x="1" y="93"/>
                  </a:lnTo>
                  <a:lnTo>
                    <a:pt x="90" y="93"/>
                  </a:lnTo>
                  <a:lnTo>
                    <a:pt x="0" y="7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 name="30439214.8751933.55.1255">
              <a:extLst>
                <a:ext uri="{FF2B5EF4-FFF2-40B4-BE49-F238E27FC236}">
                  <a16:creationId xmlns:a16="http://schemas.microsoft.com/office/drawing/2014/main" id="{CF775D98-8E87-4A79-89FD-366FFB56ECEE}"/>
                </a:ext>
              </a:extLst>
            </p:cNvPr>
            <p:cNvSpPr>
              <a:spLocks noChangeAspect="1"/>
            </p:cNvSpPr>
            <p:nvPr/>
          </p:nvSpPr>
          <p:spPr bwMode="gray">
            <a:xfrm>
              <a:off x="2765435" y="1777738"/>
              <a:ext cx="81787" cy="57186"/>
            </a:xfrm>
            <a:custGeom>
              <a:avLst/>
              <a:gdLst/>
              <a:ahLst/>
              <a:cxnLst>
                <a:cxn ang="0">
                  <a:pos x="0" y="43"/>
                </a:cxn>
                <a:cxn ang="0">
                  <a:pos x="15" y="0"/>
                </a:cxn>
                <a:cxn ang="0">
                  <a:pos x="74" y="13"/>
                </a:cxn>
                <a:cxn ang="0">
                  <a:pos x="90" y="62"/>
                </a:cxn>
                <a:cxn ang="0">
                  <a:pos x="0" y="43"/>
                </a:cxn>
              </a:cxnLst>
              <a:rect l="0" t="0" r="r" b="b"/>
              <a:pathLst>
                <a:path w="90" h="62">
                  <a:moveTo>
                    <a:pt x="0" y="43"/>
                  </a:moveTo>
                  <a:lnTo>
                    <a:pt x="15" y="0"/>
                  </a:lnTo>
                  <a:lnTo>
                    <a:pt x="74" y="13"/>
                  </a:lnTo>
                  <a:lnTo>
                    <a:pt x="90" y="62"/>
                  </a:lnTo>
                  <a:lnTo>
                    <a:pt x="0" y="4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 name="30440206.3751931.255.8755">
              <a:extLst>
                <a:ext uri="{FF2B5EF4-FFF2-40B4-BE49-F238E27FC236}">
                  <a16:creationId xmlns:a16="http://schemas.microsoft.com/office/drawing/2014/main" id="{C5C45DB7-7103-422B-A931-A51969E7D5E9}"/>
                </a:ext>
              </a:extLst>
            </p:cNvPr>
            <p:cNvSpPr>
              <a:spLocks noChangeAspect="1"/>
            </p:cNvSpPr>
            <p:nvPr/>
          </p:nvSpPr>
          <p:spPr bwMode="gray">
            <a:xfrm>
              <a:off x="2765435" y="1641496"/>
              <a:ext cx="95099" cy="20183"/>
            </a:xfrm>
            <a:custGeom>
              <a:avLst/>
              <a:gdLst/>
              <a:ahLst/>
              <a:cxnLst>
                <a:cxn ang="0">
                  <a:pos x="0" y="9"/>
                </a:cxn>
                <a:cxn ang="0">
                  <a:pos x="24" y="22"/>
                </a:cxn>
                <a:cxn ang="0">
                  <a:pos x="102" y="9"/>
                </a:cxn>
                <a:cxn ang="0">
                  <a:pos x="28" y="0"/>
                </a:cxn>
                <a:cxn ang="0">
                  <a:pos x="0" y="9"/>
                </a:cxn>
              </a:cxnLst>
              <a:rect l="0" t="0" r="r" b="b"/>
              <a:pathLst>
                <a:path w="102" h="22">
                  <a:moveTo>
                    <a:pt x="0" y="9"/>
                  </a:moveTo>
                  <a:lnTo>
                    <a:pt x="24" y="22"/>
                  </a:lnTo>
                  <a:lnTo>
                    <a:pt x="102" y="9"/>
                  </a:lnTo>
                  <a:lnTo>
                    <a:pt x="28" y="0"/>
                  </a:lnTo>
                  <a:lnTo>
                    <a:pt x="0" y="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 name="30441220.75194.1257.25105">
              <a:extLst>
                <a:ext uri="{FF2B5EF4-FFF2-40B4-BE49-F238E27FC236}">
                  <a16:creationId xmlns:a16="http://schemas.microsoft.com/office/drawing/2014/main" id="{F503622F-EF2B-4AE7-8F5F-71D0D0349CD0}"/>
                </a:ext>
              </a:extLst>
            </p:cNvPr>
            <p:cNvSpPr>
              <a:spLocks noChangeAspect="1"/>
            </p:cNvSpPr>
            <p:nvPr/>
          </p:nvSpPr>
          <p:spPr bwMode="gray">
            <a:xfrm>
              <a:off x="2784456" y="1873613"/>
              <a:ext cx="161670" cy="119422"/>
            </a:xfrm>
            <a:custGeom>
              <a:avLst/>
              <a:gdLst/>
              <a:ahLst/>
              <a:cxnLst>
                <a:cxn ang="0">
                  <a:pos x="0" y="21"/>
                </a:cxn>
                <a:cxn ang="0">
                  <a:pos x="4" y="81"/>
                </a:cxn>
                <a:cxn ang="0">
                  <a:pos x="23" y="92"/>
                </a:cxn>
                <a:cxn ang="0">
                  <a:pos x="17" y="126"/>
                </a:cxn>
                <a:cxn ang="0">
                  <a:pos x="44" y="128"/>
                </a:cxn>
                <a:cxn ang="0">
                  <a:pos x="73" y="100"/>
                </a:cxn>
                <a:cxn ang="0">
                  <a:pos x="44" y="81"/>
                </a:cxn>
                <a:cxn ang="0">
                  <a:pos x="117" y="81"/>
                </a:cxn>
                <a:cxn ang="0">
                  <a:pos x="179" y="8"/>
                </a:cxn>
                <a:cxn ang="0">
                  <a:pos x="14" y="0"/>
                </a:cxn>
                <a:cxn ang="0">
                  <a:pos x="36" y="23"/>
                </a:cxn>
                <a:cxn ang="0">
                  <a:pos x="0" y="21"/>
                </a:cxn>
              </a:cxnLst>
              <a:rect l="0" t="0" r="r" b="b"/>
              <a:pathLst>
                <a:path w="179" h="128">
                  <a:moveTo>
                    <a:pt x="0" y="21"/>
                  </a:moveTo>
                  <a:lnTo>
                    <a:pt x="4" y="81"/>
                  </a:lnTo>
                  <a:lnTo>
                    <a:pt x="23" y="92"/>
                  </a:lnTo>
                  <a:lnTo>
                    <a:pt x="17" y="126"/>
                  </a:lnTo>
                  <a:lnTo>
                    <a:pt x="44" y="128"/>
                  </a:lnTo>
                  <a:lnTo>
                    <a:pt x="73" y="100"/>
                  </a:lnTo>
                  <a:lnTo>
                    <a:pt x="44" y="81"/>
                  </a:lnTo>
                  <a:lnTo>
                    <a:pt x="117" y="81"/>
                  </a:lnTo>
                  <a:lnTo>
                    <a:pt x="179" y="8"/>
                  </a:lnTo>
                  <a:lnTo>
                    <a:pt x="14" y="0"/>
                  </a:lnTo>
                  <a:lnTo>
                    <a:pt x="36" y="23"/>
                  </a:lnTo>
                  <a:lnTo>
                    <a:pt x="0" y="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 name="30442183.2520129.557.8755">
              <a:extLst>
                <a:ext uri="{FF2B5EF4-FFF2-40B4-BE49-F238E27FC236}">
                  <a16:creationId xmlns:a16="http://schemas.microsoft.com/office/drawing/2014/main" id="{7C5D4A7B-04E5-4041-8AA7-35DA03BF59EE}"/>
                </a:ext>
              </a:extLst>
            </p:cNvPr>
            <p:cNvSpPr>
              <a:spLocks noChangeAspect="1"/>
            </p:cNvSpPr>
            <p:nvPr/>
          </p:nvSpPr>
          <p:spPr bwMode="gray">
            <a:xfrm>
              <a:off x="2894772" y="1266413"/>
              <a:ext cx="928178" cy="479367"/>
            </a:xfrm>
            <a:custGeom>
              <a:avLst/>
              <a:gdLst/>
              <a:ahLst/>
              <a:cxnLst>
                <a:cxn ang="0">
                  <a:pos x="58" y="143"/>
                </a:cxn>
                <a:cxn ang="0">
                  <a:pos x="109" y="151"/>
                </a:cxn>
                <a:cxn ang="0">
                  <a:pos x="250" y="147"/>
                </a:cxn>
                <a:cxn ang="0">
                  <a:pos x="223" y="166"/>
                </a:cxn>
                <a:cxn ang="0">
                  <a:pos x="190" y="203"/>
                </a:cxn>
                <a:cxn ang="0">
                  <a:pos x="281" y="204"/>
                </a:cxn>
                <a:cxn ang="0">
                  <a:pos x="396" y="155"/>
                </a:cxn>
                <a:cxn ang="0">
                  <a:pos x="550" y="171"/>
                </a:cxn>
                <a:cxn ang="0">
                  <a:pos x="399" y="270"/>
                </a:cxn>
                <a:cxn ang="0">
                  <a:pos x="183" y="220"/>
                </a:cxn>
                <a:cxn ang="0">
                  <a:pos x="182" y="261"/>
                </a:cxn>
                <a:cxn ang="0">
                  <a:pos x="348" y="324"/>
                </a:cxn>
                <a:cxn ang="0">
                  <a:pos x="227" y="326"/>
                </a:cxn>
                <a:cxn ang="0">
                  <a:pos x="204" y="370"/>
                </a:cxn>
                <a:cxn ang="0">
                  <a:pos x="246" y="350"/>
                </a:cxn>
                <a:cxn ang="0">
                  <a:pos x="208" y="397"/>
                </a:cxn>
                <a:cxn ang="0">
                  <a:pos x="239" y="427"/>
                </a:cxn>
                <a:cxn ang="0">
                  <a:pos x="250" y="444"/>
                </a:cxn>
                <a:cxn ang="0">
                  <a:pos x="173" y="452"/>
                </a:cxn>
                <a:cxn ang="0">
                  <a:pos x="112" y="478"/>
                </a:cxn>
                <a:cxn ang="0">
                  <a:pos x="217" y="518"/>
                </a:cxn>
                <a:cxn ang="0">
                  <a:pos x="286" y="503"/>
                </a:cxn>
                <a:cxn ang="0">
                  <a:pos x="323" y="502"/>
                </a:cxn>
                <a:cxn ang="0">
                  <a:pos x="365" y="522"/>
                </a:cxn>
                <a:cxn ang="0">
                  <a:pos x="428" y="478"/>
                </a:cxn>
                <a:cxn ang="0">
                  <a:pos x="459" y="442"/>
                </a:cxn>
                <a:cxn ang="0">
                  <a:pos x="534" y="397"/>
                </a:cxn>
                <a:cxn ang="0">
                  <a:pos x="565" y="376"/>
                </a:cxn>
                <a:cxn ang="0">
                  <a:pos x="572" y="334"/>
                </a:cxn>
                <a:cxn ang="0">
                  <a:pos x="472" y="310"/>
                </a:cxn>
                <a:cxn ang="0">
                  <a:pos x="470" y="301"/>
                </a:cxn>
                <a:cxn ang="0">
                  <a:pos x="675" y="270"/>
                </a:cxn>
                <a:cxn ang="0">
                  <a:pos x="722" y="236"/>
                </a:cxn>
                <a:cxn ang="0">
                  <a:pos x="917" y="134"/>
                </a:cxn>
                <a:cxn ang="0">
                  <a:pos x="769" y="132"/>
                </a:cxn>
                <a:cxn ang="0">
                  <a:pos x="1026" y="79"/>
                </a:cxn>
                <a:cxn ang="0">
                  <a:pos x="944" y="22"/>
                </a:cxn>
                <a:cxn ang="0">
                  <a:pos x="611" y="0"/>
                </a:cxn>
                <a:cxn ang="0">
                  <a:pos x="565" y="9"/>
                </a:cxn>
                <a:cxn ang="0">
                  <a:pos x="509" y="57"/>
                </a:cxn>
                <a:cxn ang="0">
                  <a:pos x="395" y="33"/>
                </a:cxn>
                <a:cxn ang="0">
                  <a:pos x="301" y="37"/>
                </a:cxn>
                <a:cxn ang="0">
                  <a:pos x="359" y="92"/>
                </a:cxn>
                <a:cxn ang="0">
                  <a:pos x="222" y="93"/>
                </a:cxn>
              </a:cxnLst>
              <a:rect l="0" t="0" r="r" b="b"/>
              <a:pathLst>
                <a:path w="1026" h="522">
                  <a:moveTo>
                    <a:pt x="0" y="123"/>
                  </a:moveTo>
                  <a:lnTo>
                    <a:pt x="90" y="123"/>
                  </a:lnTo>
                  <a:lnTo>
                    <a:pt x="58" y="143"/>
                  </a:lnTo>
                  <a:lnTo>
                    <a:pt x="184" y="129"/>
                  </a:lnTo>
                  <a:lnTo>
                    <a:pt x="75" y="143"/>
                  </a:lnTo>
                  <a:lnTo>
                    <a:pt x="109" y="151"/>
                  </a:lnTo>
                  <a:lnTo>
                    <a:pt x="72" y="154"/>
                  </a:lnTo>
                  <a:lnTo>
                    <a:pt x="87" y="167"/>
                  </a:lnTo>
                  <a:lnTo>
                    <a:pt x="250" y="147"/>
                  </a:lnTo>
                  <a:lnTo>
                    <a:pt x="90" y="178"/>
                  </a:lnTo>
                  <a:lnTo>
                    <a:pt x="160" y="203"/>
                  </a:lnTo>
                  <a:lnTo>
                    <a:pt x="223" y="166"/>
                  </a:lnTo>
                  <a:lnTo>
                    <a:pt x="330" y="160"/>
                  </a:lnTo>
                  <a:lnTo>
                    <a:pt x="217" y="174"/>
                  </a:lnTo>
                  <a:lnTo>
                    <a:pt x="190" y="203"/>
                  </a:lnTo>
                  <a:lnTo>
                    <a:pt x="257" y="207"/>
                  </a:lnTo>
                  <a:lnTo>
                    <a:pt x="330" y="177"/>
                  </a:lnTo>
                  <a:lnTo>
                    <a:pt x="281" y="204"/>
                  </a:lnTo>
                  <a:lnTo>
                    <a:pt x="330" y="204"/>
                  </a:lnTo>
                  <a:lnTo>
                    <a:pt x="406" y="184"/>
                  </a:lnTo>
                  <a:lnTo>
                    <a:pt x="396" y="155"/>
                  </a:lnTo>
                  <a:lnTo>
                    <a:pt x="480" y="132"/>
                  </a:lnTo>
                  <a:lnTo>
                    <a:pt x="419" y="181"/>
                  </a:lnTo>
                  <a:lnTo>
                    <a:pt x="550" y="171"/>
                  </a:lnTo>
                  <a:lnTo>
                    <a:pt x="286" y="220"/>
                  </a:lnTo>
                  <a:lnTo>
                    <a:pt x="347" y="270"/>
                  </a:lnTo>
                  <a:lnTo>
                    <a:pt x="399" y="270"/>
                  </a:lnTo>
                  <a:lnTo>
                    <a:pt x="371" y="281"/>
                  </a:lnTo>
                  <a:lnTo>
                    <a:pt x="270" y="228"/>
                  </a:lnTo>
                  <a:lnTo>
                    <a:pt x="183" y="220"/>
                  </a:lnTo>
                  <a:lnTo>
                    <a:pt x="180" y="242"/>
                  </a:lnTo>
                  <a:lnTo>
                    <a:pt x="220" y="253"/>
                  </a:lnTo>
                  <a:lnTo>
                    <a:pt x="182" y="261"/>
                  </a:lnTo>
                  <a:lnTo>
                    <a:pt x="286" y="317"/>
                  </a:lnTo>
                  <a:lnTo>
                    <a:pt x="244" y="320"/>
                  </a:lnTo>
                  <a:lnTo>
                    <a:pt x="348" y="324"/>
                  </a:lnTo>
                  <a:lnTo>
                    <a:pt x="289" y="337"/>
                  </a:lnTo>
                  <a:lnTo>
                    <a:pt x="321" y="356"/>
                  </a:lnTo>
                  <a:lnTo>
                    <a:pt x="227" y="326"/>
                  </a:lnTo>
                  <a:lnTo>
                    <a:pt x="172" y="338"/>
                  </a:lnTo>
                  <a:lnTo>
                    <a:pt x="150" y="385"/>
                  </a:lnTo>
                  <a:lnTo>
                    <a:pt x="204" y="370"/>
                  </a:lnTo>
                  <a:lnTo>
                    <a:pt x="195" y="386"/>
                  </a:lnTo>
                  <a:lnTo>
                    <a:pt x="215" y="386"/>
                  </a:lnTo>
                  <a:lnTo>
                    <a:pt x="246" y="350"/>
                  </a:lnTo>
                  <a:lnTo>
                    <a:pt x="235" y="379"/>
                  </a:lnTo>
                  <a:lnTo>
                    <a:pt x="266" y="383"/>
                  </a:lnTo>
                  <a:lnTo>
                    <a:pt x="208" y="397"/>
                  </a:lnTo>
                  <a:lnTo>
                    <a:pt x="244" y="398"/>
                  </a:lnTo>
                  <a:lnTo>
                    <a:pt x="215" y="408"/>
                  </a:lnTo>
                  <a:lnTo>
                    <a:pt x="239" y="427"/>
                  </a:lnTo>
                  <a:lnTo>
                    <a:pt x="281" y="427"/>
                  </a:lnTo>
                  <a:lnTo>
                    <a:pt x="321" y="390"/>
                  </a:lnTo>
                  <a:lnTo>
                    <a:pt x="250" y="444"/>
                  </a:lnTo>
                  <a:lnTo>
                    <a:pt x="182" y="404"/>
                  </a:lnTo>
                  <a:lnTo>
                    <a:pt x="123" y="411"/>
                  </a:lnTo>
                  <a:lnTo>
                    <a:pt x="173" y="452"/>
                  </a:lnTo>
                  <a:lnTo>
                    <a:pt x="87" y="475"/>
                  </a:lnTo>
                  <a:lnTo>
                    <a:pt x="95" y="506"/>
                  </a:lnTo>
                  <a:lnTo>
                    <a:pt x="112" y="478"/>
                  </a:lnTo>
                  <a:lnTo>
                    <a:pt x="114" y="506"/>
                  </a:lnTo>
                  <a:lnTo>
                    <a:pt x="175" y="493"/>
                  </a:lnTo>
                  <a:lnTo>
                    <a:pt x="217" y="518"/>
                  </a:lnTo>
                  <a:lnTo>
                    <a:pt x="248" y="517"/>
                  </a:lnTo>
                  <a:lnTo>
                    <a:pt x="226" y="496"/>
                  </a:lnTo>
                  <a:lnTo>
                    <a:pt x="286" y="503"/>
                  </a:lnTo>
                  <a:lnTo>
                    <a:pt x="281" y="484"/>
                  </a:lnTo>
                  <a:lnTo>
                    <a:pt x="308" y="506"/>
                  </a:lnTo>
                  <a:lnTo>
                    <a:pt x="323" y="502"/>
                  </a:lnTo>
                  <a:lnTo>
                    <a:pt x="315" y="486"/>
                  </a:lnTo>
                  <a:lnTo>
                    <a:pt x="363" y="502"/>
                  </a:lnTo>
                  <a:lnTo>
                    <a:pt x="365" y="522"/>
                  </a:lnTo>
                  <a:lnTo>
                    <a:pt x="451" y="502"/>
                  </a:lnTo>
                  <a:lnTo>
                    <a:pt x="468" y="471"/>
                  </a:lnTo>
                  <a:lnTo>
                    <a:pt x="428" y="478"/>
                  </a:lnTo>
                  <a:lnTo>
                    <a:pt x="428" y="451"/>
                  </a:lnTo>
                  <a:lnTo>
                    <a:pt x="330" y="449"/>
                  </a:lnTo>
                  <a:lnTo>
                    <a:pt x="459" y="442"/>
                  </a:lnTo>
                  <a:lnTo>
                    <a:pt x="479" y="422"/>
                  </a:lnTo>
                  <a:lnTo>
                    <a:pt x="459" y="396"/>
                  </a:lnTo>
                  <a:lnTo>
                    <a:pt x="534" y="397"/>
                  </a:lnTo>
                  <a:lnTo>
                    <a:pt x="549" y="386"/>
                  </a:lnTo>
                  <a:lnTo>
                    <a:pt x="499" y="379"/>
                  </a:lnTo>
                  <a:lnTo>
                    <a:pt x="565" y="376"/>
                  </a:lnTo>
                  <a:lnTo>
                    <a:pt x="521" y="359"/>
                  </a:lnTo>
                  <a:lnTo>
                    <a:pt x="575" y="348"/>
                  </a:lnTo>
                  <a:lnTo>
                    <a:pt x="572" y="334"/>
                  </a:lnTo>
                  <a:lnTo>
                    <a:pt x="473" y="326"/>
                  </a:lnTo>
                  <a:lnTo>
                    <a:pt x="529" y="314"/>
                  </a:lnTo>
                  <a:lnTo>
                    <a:pt x="472" y="310"/>
                  </a:lnTo>
                  <a:lnTo>
                    <a:pt x="575" y="320"/>
                  </a:lnTo>
                  <a:lnTo>
                    <a:pt x="579" y="306"/>
                  </a:lnTo>
                  <a:lnTo>
                    <a:pt x="470" y="301"/>
                  </a:lnTo>
                  <a:lnTo>
                    <a:pt x="612" y="281"/>
                  </a:lnTo>
                  <a:lnTo>
                    <a:pt x="573" y="264"/>
                  </a:lnTo>
                  <a:lnTo>
                    <a:pt x="675" y="270"/>
                  </a:lnTo>
                  <a:lnTo>
                    <a:pt x="707" y="242"/>
                  </a:lnTo>
                  <a:lnTo>
                    <a:pt x="656" y="239"/>
                  </a:lnTo>
                  <a:lnTo>
                    <a:pt x="722" y="236"/>
                  </a:lnTo>
                  <a:lnTo>
                    <a:pt x="714" y="215"/>
                  </a:lnTo>
                  <a:lnTo>
                    <a:pt x="745" y="220"/>
                  </a:lnTo>
                  <a:lnTo>
                    <a:pt x="917" y="134"/>
                  </a:lnTo>
                  <a:lnTo>
                    <a:pt x="727" y="165"/>
                  </a:lnTo>
                  <a:lnTo>
                    <a:pt x="833" y="129"/>
                  </a:lnTo>
                  <a:lnTo>
                    <a:pt x="769" y="132"/>
                  </a:lnTo>
                  <a:lnTo>
                    <a:pt x="753" y="115"/>
                  </a:lnTo>
                  <a:lnTo>
                    <a:pt x="873" y="123"/>
                  </a:lnTo>
                  <a:lnTo>
                    <a:pt x="1026" y="79"/>
                  </a:lnTo>
                  <a:lnTo>
                    <a:pt x="1024" y="57"/>
                  </a:lnTo>
                  <a:lnTo>
                    <a:pt x="960" y="57"/>
                  </a:lnTo>
                  <a:lnTo>
                    <a:pt x="944" y="22"/>
                  </a:lnTo>
                  <a:lnTo>
                    <a:pt x="769" y="38"/>
                  </a:lnTo>
                  <a:lnTo>
                    <a:pt x="844" y="13"/>
                  </a:lnTo>
                  <a:lnTo>
                    <a:pt x="611" y="0"/>
                  </a:lnTo>
                  <a:lnTo>
                    <a:pt x="591" y="17"/>
                  </a:lnTo>
                  <a:lnTo>
                    <a:pt x="608" y="27"/>
                  </a:lnTo>
                  <a:lnTo>
                    <a:pt x="565" y="9"/>
                  </a:lnTo>
                  <a:lnTo>
                    <a:pt x="461" y="11"/>
                  </a:lnTo>
                  <a:lnTo>
                    <a:pt x="535" y="46"/>
                  </a:lnTo>
                  <a:lnTo>
                    <a:pt x="509" y="57"/>
                  </a:lnTo>
                  <a:lnTo>
                    <a:pt x="472" y="20"/>
                  </a:lnTo>
                  <a:lnTo>
                    <a:pt x="376" y="16"/>
                  </a:lnTo>
                  <a:lnTo>
                    <a:pt x="395" y="33"/>
                  </a:lnTo>
                  <a:lnTo>
                    <a:pt x="322" y="27"/>
                  </a:lnTo>
                  <a:lnTo>
                    <a:pt x="358" y="52"/>
                  </a:lnTo>
                  <a:lnTo>
                    <a:pt x="301" y="37"/>
                  </a:lnTo>
                  <a:lnTo>
                    <a:pt x="319" y="52"/>
                  </a:lnTo>
                  <a:lnTo>
                    <a:pt x="285" y="57"/>
                  </a:lnTo>
                  <a:lnTo>
                    <a:pt x="359" y="92"/>
                  </a:lnTo>
                  <a:lnTo>
                    <a:pt x="198" y="53"/>
                  </a:lnTo>
                  <a:lnTo>
                    <a:pt x="158" y="81"/>
                  </a:lnTo>
                  <a:lnTo>
                    <a:pt x="222" y="93"/>
                  </a:lnTo>
                  <a:lnTo>
                    <a:pt x="114" y="83"/>
                  </a:lnTo>
                  <a:lnTo>
                    <a:pt x="0" y="12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 name="30443221.375204.62538.375545">
              <a:extLst>
                <a:ext uri="{FF2B5EF4-FFF2-40B4-BE49-F238E27FC236}">
                  <a16:creationId xmlns:a16="http://schemas.microsoft.com/office/drawing/2014/main" id="{967398BA-B2E1-4E48-8AEE-83D434CDFC75}"/>
                </a:ext>
              </a:extLst>
            </p:cNvPr>
            <p:cNvSpPr>
              <a:spLocks noChangeAspect="1"/>
            </p:cNvSpPr>
            <p:nvPr/>
          </p:nvSpPr>
          <p:spPr bwMode="gray">
            <a:xfrm>
              <a:off x="2951832" y="1885385"/>
              <a:ext cx="867316" cy="620656"/>
            </a:xfrm>
            <a:custGeom>
              <a:avLst/>
              <a:gdLst/>
              <a:ahLst/>
              <a:cxnLst>
                <a:cxn ang="0">
                  <a:pos x="7" y="78"/>
                </a:cxn>
                <a:cxn ang="0">
                  <a:pos x="114" y="0"/>
                </a:cxn>
                <a:cxn ang="0">
                  <a:pos x="110" y="78"/>
                </a:cxn>
                <a:cxn ang="0">
                  <a:pos x="169" y="161"/>
                </a:cxn>
                <a:cxn ang="0">
                  <a:pos x="172" y="175"/>
                </a:cxn>
                <a:cxn ang="0">
                  <a:pos x="136" y="117"/>
                </a:cxn>
                <a:cxn ang="0">
                  <a:pos x="144" y="60"/>
                </a:cxn>
                <a:cxn ang="0">
                  <a:pos x="150" y="52"/>
                </a:cxn>
                <a:cxn ang="0">
                  <a:pos x="168" y="33"/>
                </a:cxn>
                <a:cxn ang="0">
                  <a:pos x="245" y="10"/>
                </a:cxn>
                <a:cxn ang="0">
                  <a:pos x="286" y="40"/>
                </a:cxn>
                <a:cxn ang="0">
                  <a:pos x="304" y="120"/>
                </a:cxn>
                <a:cxn ang="0">
                  <a:pos x="363" y="102"/>
                </a:cxn>
                <a:cxn ang="0">
                  <a:pos x="495" y="88"/>
                </a:cxn>
                <a:cxn ang="0">
                  <a:pos x="504" y="139"/>
                </a:cxn>
                <a:cxn ang="0">
                  <a:pos x="536" y="150"/>
                </a:cxn>
                <a:cxn ang="0">
                  <a:pos x="587" y="136"/>
                </a:cxn>
                <a:cxn ang="0">
                  <a:pos x="632" y="169"/>
                </a:cxn>
                <a:cxn ang="0">
                  <a:pos x="649" y="175"/>
                </a:cxn>
                <a:cxn ang="0">
                  <a:pos x="675" y="187"/>
                </a:cxn>
                <a:cxn ang="0">
                  <a:pos x="721" y="203"/>
                </a:cxn>
                <a:cxn ang="0">
                  <a:pos x="716" y="225"/>
                </a:cxn>
                <a:cxn ang="0">
                  <a:pos x="734" y="220"/>
                </a:cxn>
                <a:cxn ang="0">
                  <a:pos x="709" y="263"/>
                </a:cxn>
                <a:cxn ang="0">
                  <a:pos x="720" y="285"/>
                </a:cxn>
                <a:cxn ang="0">
                  <a:pos x="726" y="318"/>
                </a:cxn>
                <a:cxn ang="0">
                  <a:pos x="844" y="351"/>
                </a:cxn>
                <a:cxn ang="0">
                  <a:pos x="903" y="395"/>
                </a:cxn>
                <a:cxn ang="0">
                  <a:pos x="958" y="426"/>
                </a:cxn>
                <a:cxn ang="0">
                  <a:pos x="921" y="448"/>
                </a:cxn>
                <a:cxn ang="0">
                  <a:pos x="918" y="488"/>
                </a:cxn>
                <a:cxn ang="0">
                  <a:pos x="885" y="525"/>
                </a:cxn>
                <a:cxn ang="0">
                  <a:pos x="735" y="446"/>
                </a:cxn>
                <a:cxn ang="0">
                  <a:pos x="742" y="488"/>
                </a:cxn>
                <a:cxn ang="0">
                  <a:pos x="783" y="531"/>
                </a:cxn>
                <a:cxn ang="0">
                  <a:pos x="831" y="565"/>
                </a:cxn>
                <a:cxn ang="0">
                  <a:pos x="845" y="646"/>
                </a:cxn>
                <a:cxn ang="0">
                  <a:pos x="800" y="679"/>
                </a:cxn>
                <a:cxn ang="0">
                  <a:pos x="603" y="595"/>
                </a:cxn>
                <a:cxn ang="0">
                  <a:pos x="572" y="573"/>
                </a:cxn>
                <a:cxn ang="0">
                  <a:pos x="513" y="525"/>
                </a:cxn>
                <a:cxn ang="0">
                  <a:pos x="484" y="538"/>
                </a:cxn>
                <a:cxn ang="0">
                  <a:pos x="398" y="538"/>
                </a:cxn>
                <a:cxn ang="0">
                  <a:pos x="551" y="496"/>
                </a:cxn>
                <a:cxn ang="0">
                  <a:pos x="592" y="395"/>
                </a:cxn>
                <a:cxn ang="0">
                  <a:pos x="507" y="308"/>
                </a:cxn>
                <a:cxn ang="0">
                  <a:pos x="448" y="316"/>
                </a:cxn>
                <a:cxn ang="0">
                  <a:pos x="475" y="279"/>
                </a:cxn>
                <a:cxn ang="0">
                  <a:pos x="415" y="224"/>
                </a:cxn>
                <a:cxn ang="0">
                  <a:pos x="375" y="245"/>
                </a:cxn>
                <a:cxn ang="0">
                  <a:pos x="305" y="252"/>
                </a:cxn>
                <a:cxn ang="0">
                  <a:pos x="21" y="175"/>
                </a:cxn>
                <a:cxn ang="0">
                  <a:pos x="0" y="151"/>
                </a:cxn>
              </a:cxnLst>
              <a:rect l="0" t="0" r="r" b="b"/>
              <a:pathLst>
                <a:path w="958" h="679">
                  <a:moveTo>
                    <a:pt x="0" y="151"/>
                  </a:moveTo>
                  <a:lnTo>
                    <a:pt x="7" y="78"/>
                  </a:lnTo>
                  <a:lnTo>
                    <a:pt x="47" y="25"/>
                  </a:lnTo>
                  <a:lnTo>
                    <a:pt x="114" y="0"/>
                  </a:lnTo>
                  <a:lnTo>
                    <a:pt x="169" y="10"/>
                  </a:lnTo>
                  <a:lnTo>
                    <a:pt x="110" y="78"/>
                  </a:lnTo>
                  <a:lnTo>
                    <a:pt x="125" y="120"/>
                  </a:lnTo>
                  <a:lnTo>
                    <a:pt x="169" y="161"/>
                  </a:lnTo>
                  <a:lnTo>
                    <a:pt x="114" y="176"/>
                  </a:lnTo>
                  <a:lnTo>
                    <a:pt x="172" y="175"/>
                  </a:lnTo>
                  <a:lnTo>
                    <a:pt x="179" y="139"/>
                  </a:lnTo>
                  <a:lnTo>
                    <a:pt x="136" y="117"/>
                  </a:lnTo>
                  <a:lnTo>
                    <a:pt x="172" y="93"/>
                  </a:lnTo>
                  <a:lnTo>
                    <a:pt x="144" y="60"/>
                  </a:lnTo>
                  <a:lnTo>
                    <a:pt x="201" y="69"/>
                  </a:lnTo>
                  <a:lnTo>
                    <a:pt x="150" y="52"/>
                  </a:lnTo>
                  <a:lnTo>
                    <a:pt x="207" y="56"/>
                  </a:lnTo>
                  <a:lnTo>
                    <a:pt x="168" y="33"/>
                  </a:lnTo>
                  <a:lnTo>
                    <a:pt x="214" y="34"/>
                  </a:lnTo>
                  <a:lnTo>
                    <a:pt x="245" y="10"/>
                  </a:lnTo>
                  <a:lnTo>
                    <a:pt x="283" y="8"/>
                  </a:lnTo>
                  <a:lnTo>
                    <a:pt x="286" y="40"/>
                  </a:lnTo>
                  <a:lnTo>
                    <a:pt x="313" y="52"/>
                  </a:lnTo>
                  <a:lnTo>
                    <a:pt x="304" y="120"/>
                  </a:lnTo>
                  <a:lnTo>
                    <a:pt x="341" y="88"/>
                  </a:lnTo>
                  <a:lnTo>
                    <a:pt x="363" y="102"/>
                  </a:lnTo>
                  <a:lnTo>
                    <a:pt x="415" y="70"/>
                  </a:lnTo>
                  <a:lnTo>
                    <a:pt x="495" y="88"/>
                  </a:lnTo>
                  <a:lnTo>
                    <a:pt x="528" y="120"/>
                  </a:lnTo>
                  <a:lnTo>
                    <a:pt x="504" y="139"/>
                  </a:lnTo>
                  <a:lnTo>
                    <a:pt x="551" y="131"/>
                  </a:lnTo>
                  <a:lnTo>
                    <a:pt x="536" y="150"/>
                  </a:lnTo>
                  <a:lnTo>
                    <a:pt x="565" y="161"/>
                  </a:lnTo>
                  <a:lnTo>
                    <a:pt x="587" y="136"/>
                  </a:lnTo>
                  <a:lnTo>
                    <a:pt x="622" y="148"/>
                  </a:lnTo>
                  <a:lnTo>
                    <a:pt x="632" y="169"/>
                  </a:lnTo>
                  <a:lnTo>
                    <a:pt x="602" y="175"/>
                  </a:lnTo>
                  <a:lnTo>
                    <a:pt x="649" y="175"/>
                  </a:lnTo>
                  <a:lnTo>
                    <a:pt x="642" y="201"/>
                  </a:lnTo>
                  <a:lnTo>
                    <a:pt x="675" y="187"/>
                  </a:lnTo>
                  <a:lnTo>
                    <a:pt x="654" y="209"/>
                  </a:lnTo>
                  <a:lnTo>
                    <a:pt x="721" y="203"/>
                  </a:lnTo>
                  <a:lnTo>
                    <a:pt x="684" y="225"/>
                  </a:lnTo>
                  <a:lnTo>
                    <a:pt x="716" y="225"/>
                  </a:lnTo>
                  <a:lnTo>
                    <a:pt x="704" y="242"/>
                  </a:lnTo>
                  <a:lnTo>
                    <a:pt x="734" y="220"/>
                  </a:lnTo>
                  <a:lnTo>
                    <a:pt x="764" y="243"/>
                  </a:lnTo>
                  <a:lnTo>
                    <a:pt x="709" y="263"/>
                  </a:lnTo>
                  <a:lnTo>
                    <a:pt x="789" y="279"/>
                  </a:lnTo>
                  <a:lnTo>
                    <a:pt x="720" y="285"/>
                  </a:lnTo>
                  <a:lnTo>
                    <a:pt x="746" y="296"/>
                  </a:lnTo>
                  <a:lnTo>
                    <a:pt x="726" y="318"/>
                  </a:lnTo>
                  <a:lnTo>
                    <a:pt x="805" y="358"/>
                  </a:lnTo>
                  <a:lnTo>
                    <a:pt x="844" y="351"/>
                  </a:lnTo>
                  <a:lnTo>
                    <a:pt x="863" y="399"/>
                  </a:lnTo>
                  <a:lnTo>
                    <a:pt x="903" y="395"/>
                  </a:lnTo>
                  <a:lnTo>
                    <a:pt x="897" y="415"/>
                  </a:lnTo>
                  <a:lnTo>
                    <a:pt x="958" y="426"/>
                  </a:lnTo>
                  <a:lnTo>
                    <a:pt x="950" y="452"/>
                  </a:lnTo>
                  <a:lnTo>
                    <a:pt x="921" y="448"/>
                  </a:lnTo>
                  <a:lnTo>
                    <a:pt x="933" y="465"/>
                  </a:lnTo>
                  <a:lnTo>
                    <a:pt x="918" y="488"/>
                  </a:lnTo>
                  <a:lnTo>
                    <a:pt x="890" y="477"/>
                  </a:lnTo>
                  <a:lnTo>
                    <a:pt x="885" y="525"/>
                  </a:lnTo>
                  <a:lnTo>
                    <a:pt x="776" y="436"/>
                  </a:lnTo>
                  <a:lnTo>
                    <a:pt x="735" y="446"/>
                  </a:lnTo>
                  <a:lnTo>
                    <a:pt x="764" y="466"/>
                  </a:lnTo>
                  <a:lnTo>
                    <a:pt x="742" y="488"/>
                  </a:lnTo>
                  <a:lnTo>
                    <a:pt x="760" y="487"/>
                  </a:lnTo>
                  <a:lnTo>
                    <a:pt x="783" y="531"/>
                  </a:lnTo>
                  <a:lnTo>
                    <a:pt x="835" y="540"/>
                  </a:lnTo>
                  <a:lnTo>
                    <a:pt x="831" y="565"/>
                  </a:lnTo>
                  <a:lnTo>
                    <a:pt x="860" y="587"/>
                  </a:lnTo>
                  <a:lnTo>
                    <a:pt x="845" y="646"/>
                  </a:lnTo>
                  <a:lnTo>
                    <a:pt x="709" y="586"/>
                  </a:lnTo>
                  <a:lnTo>
                    <a:pt x="800" y="679"/>
                  </a:lnTo>
                  <a:lnTo>
                    <a:pt x="628" y="627"/>
                  </a:lnTo>
                  <a:lnTo>
                    <a:pt x="603" y="595"/>
                  </a:lnTo>
                  <a:lnTo>
                    <a:pt x="627" y="593"/>
                  </a:lnTo>
                  <a:lnTo>
                    <a:pt x="572" y="573"/>
                  </a:lnTo>
                  <a:lnTo>
                    <a:pt x="555" y="538"/>
                  </a:lnTo>
                  <a:lnTo>
                    <a:pt x="513" y="525"/>
                  </a:lnTo>
                  <a:lnTo>
                    <a:pt x="510" y="550"/>
                  </a:lnTo>
                  <a:lnTo>
                    <a:pt x="484" y="538"/>
                  </a:lnTo>
                  <a:lnTo>
                    <a:pt x="447" y="561"/>
                  </a:lnTo>
                  <a:lnTo>
                    <a:pt x="398" y="538"/>
                  </a:lnTo>
                  <a:lnTo>
                    <a:pt x="425" y="496"/>
                  </a:lnTo>
                  <a:lnTo>
                    <a:pt x="551" y="496"/>
                  </a:lnTo>
                  <a:lnTo>
                    <a:pt x="521" y="455"/>
                  </a:lnTo>
                  <a:lnTo>
                    <a:pt x="592" y="395"/>
                  </a:lnTo>
                  <a:lnTo>
                    <a:pt x="541" y="315"/>
                  </a:lnTo>
                  <a:lnTo>
                    <a:pt x="507" y="308"/>
                  </a:lnTo>
                  <a:lnTo>
                    <a:pt x="526" y="294"/>
                  </a:lnTo>
                  <a:lnTo>
                    <a:pt x="448" y="316"/>
                  </a:lnTo>
                  <a:lnTo>
                    <a:pt x="447" y="293"/>
                  </a:lnTo>
                  <a:lnTo>
                    <a:pt x="475" y="279"/>
                  </a:lnTo>
                  <a:lnTo>
                    <a:pt x="416" y="249"/>
                  </a:lnTo>
                  <a:lnTo>
                    <a:pt x="415" y="224"/>
                  </a:lnTo>
                  <a:lnTo>
                    <a:pt x="361" y="212"/>
                  </a:lnTo>
                  <a:lnTo>
                    <a:pt x="375" y="245"/>
                  </a:lnTo>
                  <a:lnTo>
                    <a:pt x="282" y="232"/>
                  </a:lnTo>
                  <a:lnTo>
                    <a:pt x="305" y="252"/>
                  </a:lnTo>
                  <a:lnTo>
                    <a:pt x="63" y="219"/>
                  </a:lnTo>
                  <a:lnTo>
                    <a:pt x="21" y="175"/>
                  </a:lnTo>
                  <a:lnTo>
                    <a:pt x="96" y="177"/>
                  </a:lnTo>
                  <a:lnTo>
                    <a:pt x="0" y="15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 name="30444247.875210.1258.37512.55">
              <a:extLst>
                <a:ext uri="{FF2B5EF4-FFF2-40B4-BE49-F238E27FC236}">
                  <a16:creationId xmlns:a16="http://schemas.microsoft.com/office/drawing/2014/main" id="{33A1792D-2131-4163-A486-2C554E02DED1}"/>
                </a:ext>
              </a:extLst>
            </p:cNvPr>
            <p:cNvSpPr>
              <a:spLocks noChangeAspect="1"/>
            </p:cNvSpPr>
            <p:nvPr/>
          </p:nvSpPr>
          <p:spPr bwMode="gray">
            <a:xfrm>
              <a:off x="3041226" y="2314296"/>
              <a:ext cx="199713" cy="136239"/>
            </a:xfrm>
            <a:custGeom>
              <a:avLst/>
              <a:gdLst/>
              <a:ahLst/>
              <a:cxnLst>
                <a:cxn ang="0">
                  <a:pos x="0" y="121"/>
                </a:cxn>
                <a:cxn ang="0">
                  <a:pos x="33" y="92"/>
                </a:cxn>
                <a:cxn ang="0">
                  <a:pos x="54" y="0"/>
                </a:cxn>
                <a:cxn ang="0">
                  <a:pos x="73" y="33"/>
                </a:cxn>
                <a:cxn ang="0">
                  <a:pos x="124" y="41"/>
                </a:cxn>
                <a:cxn ang="0">
                  <a:pos x="223" y="109"/>
                </a:cxn>
                <a:cxn ang="0">
                  <a:pos x="209" y="132"/>
                </a:cxn>
                <a:cxn ang="0">
                  <a:pos x="120" y="100"/>
                </a:cxn>
                <a:cxn ang="0">
                  <a:pos x="65" y="148"/>
                </a:cxn>
                <a:cxn ang="0">
                  <a:pos x="51" y="109"/>
                </a:cxn>
                <a:cxn ang="0">
                  <a:pos x="0" y="121"/>
                </a:cxn>
              </a:cxnLst>
              <a:rect l="0" t="0" r="r" b="b"/>
              <a:pathLst>
                <a:path w="223" h="148">
                  <a:moveTo>
                    <a:pt x="0" y="121"/>
                  </a:moveTo>
                  <a:lnTo>
                    <a:pt x="33" y="92"/>
                  </a:lnTo>
                  <a:lnTo>
                    <a:pt x="54" y="0"/>
                  </a:lnTo>
                  <a:lnTo>
                    <a:pt x="73" y="33"/>
                  </a:lnTo>
                  <a:lnTo>
                    <a:pt x="124" y="41"/>
                  </a:lnTo>
                  <a:lnTo>
                    <a:pt x="223" y="109"/>
                  </a:lnTo>
                  <a:lnTo>
                    <a:pt x="209" y="132"/>
                  </a:lnTo>
                  <a:lnTo>
                    <a:pt x="120" y="100"/>
                  </a:lnTo>
                  <a:lnTo>
                    <a:pt x="65" y="148"/>
                  </a:lnTo>
                  <a:lnTo>
                    <a:pt x="51" y="109"/>
                  </a:lnTo>
                  <a:lnTo>
                    <a:pt x="0" y="1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5" name="30445287.375262.6251212.6255">
              <a:extLst>
                <a:ext uri="{FF2B5EF4-FFF2-40B4-BE49-F238E27FC236}">
                  <a16:creationId xmlns:a16="http://schemas.microsoft.com/office/drawing/2014/main" id="{EC4DDBDF-1705-4771-ADDE-E8E8FD43ECD1}"/>
                </a:ext>
              </a:extLst>
            </p:cNvPr>
            <p:cNvSpPr>
              <a:spLocks noChangeAspect="1"/>
            </p:cNvSpPr>
            <p:nvPr/>
          </p:nvSpPr>
          <p:spPr bwMode="gray">
            <a:xfrm>
              <a:off x="3883815" y="2951769"/>
              <a:ext cx="201614" cy="196794"/>
            </a:xfrm>
            <a:custGeom>
              <a:avLst/>
              <a:gdLst/>
              <a:ahLst/>
              <a:cxnLst>
                <a:cxn ang="0">
                  <a:pos x="0" y="168"/>
                </a:cxn>
                <a:cxn ang="0">
                  <a:pos x="92" y="11"/>
                </a:cxn>
                <a:cxn ang="0">
                  <a:pos x="127" y="0"/>
                </a:cxn>
                <a:cxn ang="0">
                  <a:pos x="85" y="84"/>
                </a:cxn>
                <a:cxn ang="0">
                  <a:pos x="114" y="65"/>
                </a:cxn>
                <a:cxn ang="0">
                  <a:pos x="133" y="100"/>
                </a:cxn>
                <a:cxn ang="0">
                  <a:pos x="192" y="100"/>
                </a:cxn>
                <a:cxn ang="0">
                  <a:pos x="180" y="133"/>
                </a:cxn>
                <a:cxn ang="0">
                  <a:pos x="210" y="131"/>
                </a:cxn>
                <a:cxn ang="0">
                  <a:pos x="189" y="165"/>
                </a:cxn>
                <a:cxn ang="0">
                  <a:pos x="217" y="146"/>
                </a:cxn>
                <a:cxn ang="0">
                  <a:pos x="224" y="179"/>
                </a:cxn>
                <a:cxn ang="0">
                  <a:pos x="195" y="215"/>
                </a:cxn>
                <a:cxn ang="0">
                  <a:pos x="192" y="188"/>
                </a:cxn>
                <a:cxn ang="0">
                  <a:pos x="178" y="202"/>
                </a:cxn>
                <a:cxn ang="0">
                  <a:pos x="178" y="161"/>
                </a:cxn>
                <a:cxn ang="0">
                  <a:pos x="123" y="202"/>
                </a:cxn>
                <a:cxn ang="0">
                  <a:pos x="155" y="175"/>
                </a:cxn>
                <a:cxn ang="0">
                  <a:pos x="109" y="179"/>
                </a:cxn>
                <a:cxn ang="0">
                  <a:pos x="120" y="162"/>
                </a:cxn>
                <a:cxn ang="0">
                  <a:pos x="0" y="168"/>
                </a:cxn>
              </a:cxnLst>
              <a:rect l="0" t="0" r="r" b="b"/>
              <a:pathLst>
                <a:path w="224" h="215">
                  <a:moveTo>
                    <a:pt x="0" y="168"/>
                  </a:moveTo>
                  <a:lnTo>
                    <a:pt x="92" y="11"/>
                  </a:lnTo>
                  <a:lnTo>
                    <a:pt x="127" y="0"/>
                  </a:lnTo>
                  <a:lnTo>
                    <a:pt x="85" y="84"/>
                  </a:lnTo>
                  <a:lnTo>
                    <a:pt x="114" y="65"/>
                  </a:lnTo>
                  <a:lnTo>
                    <a:pt x="133" y="100"/>
                  </a:lnTo>
                  <a:lnTo>
                    <a:pt x="192" y="100"/>
                  </a:lnTo>
                  <a:lnTo>
                    <a:pt x="180" y="133"/>
                  </a:lnTo>
                  <a:lnTo>
                    <a:pt x="210" y="131"/>
                  </a:lnTo>
                  <a:lnTo>
                    <a:pt x="189" y="165"/>
                  </a:lnTo>
                  <a:lnTo>
                    <a:pt x="217" y="146"/>
                  </a:lnTo>
                  <a:lnTo>
                    <a:pt x="224" y="179"/>
                  </a:lnTo>
                  <a:lnTo>
                    <a:pt x="195" y="215"/>
                  </a:lnTo>
                  <a:lnTo>
                    <a:pt x="192" y="188"/>
                  </a:lnTo>
                  <a:lnTo>
                    <a:pt x="178" y="202"/>
                  </a:lnTo>
                  <a:lnTo>
                    <a:pt x="178" y="161"/>
                  </a:lnTo>
                  <a:lnTo>
                    <a:pt x="123" y="202"/>
                  </a:lnTo>
                  <a:lnTo>
                    <a:pt x="155" y="175"/>
                  </a:lnTo>
                  <a:lnTo>
                    <a:pt x="109" y="179"/>
                  </a:lnTo>
                  <a:lnTo>
                    <a:pt x="120" y="162"/>
                  </a:lnTo>
                  <a:lnTo>
                    <a:pt x="0" y="16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6" name="30448372.75212.8755.1255.8755">
              <a:extLst>
                <a:ext uri="{FF2B5EF4-FFF2-40B4-BE49-F238E27FC236}">
                  <a16:creationId xmlns:a16="http://schemas.microsoft.com/office/drawing/2014/main" id="{8E0A6B35-02FA-421D-BAD5-293EA3046247}"/>
                </a:ext>
              </a:extLst>
            </p:cNvPr>
            <p:cNvSpPr>
              <a:spLocks noChangeAspect="1"/>
            </p:cNvSpPr>
            <p:nvPr/>
          </p:nvSpPr>
          <p:spPr bwMode="gray">
            <a:xfrm>
              <a:off x="3084970" y="4334369"/>
              <a:ext cx="95099" cy="84099"/>
            </a:xfrm>
            <a:custGeom>
              <a:avLst/>
              <a:gdLst/>
              <a:ahLst/>
              <a:cxnLst>
                <a:cxn ang="0">
                  <a:pos x="0" y="0"/>
                </a:cxn>
                <a:cxn ang="0">
                  <a:pos x="1" y="34"/>
                </a:cxn>
                <a:cxn ang="0">
                  <a:pos x="23" y="29"/>
                </a:cxn>
                <a:cxn ang="0">
                  <a:pos x="89" y="89"/>
                </a:cxn>
                <a:cxn ang="0">
                  <a:pos x="104" y="44"/>
                </a:cxn>
                <a:cxn ang="0">
                  <a:pos x="69" y="3"/>
                </a:cxn>
                <a:cxn ang="0">
                  <a:pos x="0" y="0"/>
                </a:cxn>
              </a:cxnLst>
              <a:rect l="0" t="0" r="r" b="b"/>
              <a:pathLst>
                <a:path w="104" h="89">
                  <a:moveTo>
                    <a:pt x="0" y="0"/>
                  </a:moveTo>
                  <a:lnTo>
                    <a:pt x="1" y="34"/>
                  </a:lnTo>
                  <a:lnTo>
                    <a:pt x="23" y="29"/>
                  </a:lnTo>
                  <a:lnTo>
                    <a:pt x="89" y="89"/>
                  </a:lnTo>
                  <a:lnTo>
                    <a:pt x="104" y="44"/>
                  </a:lnTo>
                  <a:lnTo>
                    <a:pt x="69" y="3"/>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7" name="30449349.375214.256.37520.3755">
              <a:extLst>
                <a:ext uri="{FF2B5EF4-FFF2-40B4-BE49-F238E27FC236}">
                  <a16:creationId xmlns:a16="http://schemas.microsoft.com/office/drawing/2014/main" id="{E932BB02-1CD2-4042-BBA9-DA9CFA42A4BB}"/>
                </a:ext>
              </a:extLst>
            </p:cNvPr>
            <p:cNvSpPr>
              <a:spLocks noChangeAspect="1"/>
            </p:cNvSpPr>
            <p:nvPr/>
          </p:nvSpPr>
          <p:spPr bwMode="gray">
            <a:xfrm>
              <a:off x="3107797" y="3957602"/>
              <a:ext cx="325241" cy="104285"/>
            </a:xfrm>
            <a:custGeom>
              <a:avLst/>
              <a:gdLst/>
              <a:ahLst/>
              <a:cxnLst>
                <a:cxn ang="0">
                  <a:pos x="0" y="44"/>
                </a:cxn>
                <a:cxn ang="0">
                  <a:pos x="48" y="5"/>
                </a:cxn>
                <a:cxn ang="0">
                  <a:pos x="140" y="0"/>
                </a:cxn>
                <a:cxn ang="0">
                  <a:pos x="358" y="96"/>
                </a:cxn>
                <a:cxn ang="0">
                  <a:pos x="242" y="113"/>
                </a:cxn>
                <a:cxn ang="0">
                  <a:pos x="262" y="91"/>
                </a:cxn>
                <a:cxn ang="0">
                  <a:pos x="206" y="55"/>
                </a:cxn>
                <a:cxn ang="0">
                  <a:pos x="97" y="34"/>
                </a:cxn>
                <a:cxn ang="0">
                  <a:pos x="103" y="18"/>
                </a:cxn>
                <a:cxn ang="0">
                  <a:pos x="0" y="44"/>
                </a:cxn>
              </a:cxnLst>
              <a:rect l="0" t="0" r="r" b="b"/>
              <a:pathLst>
                <a:path w="358" h="113">
                  <a:moveTo>
                    <a:pt x="0" y="44"/>
                  </a:moveTo>
                  <a:lnTo>
                    <a:pt x="48" y="5"/>
                  </a:lnTo>
                  <a:lnTo>
                    <a:pt x="140" y="0"/>
                  </a:lnTo>
                  <a:lnTo>
                    <a:pt x="358" y="96"/>
                  </a:lnTo>
                  <a:lnTo>
                    <a:pt x="242" y="113"/>
                  </a:lnTo>
                  <a:lnTo>
                    <a:pt x="262" y="91"/>
                  </a:lnTo>
                  <a:lnTo>
                    <a:pt x="206" y="55"/>
                  </a:lnTo>
                  <a:lnTo>
                    <a:pt x="97" y="34"/>
                  </a:lnTo>
                  <a:lnTo>
                    <a:pt x="103" y="18"/>
                  </a:lnTo>
                  <a:lnTo>
                    <a:pt x="0" y="4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8" name="30453355.75239.1253.6256.255">
              <a:extLst>
                <a:ext uri="{FF2B5EF4-FFF2-40B4-BE49-F238E27FC236}">
                  <a16:creationId xmlns:a16="http://schemas.microsoft.com/office/drawing/2014/main" id="{021DC920-6D6E-48D0-98DD-B1D356C1CE61}"/>
                </a:ext>
              </a:extLst>
            </p:cNvPr>
            <p:cNvSpPr>
              <a:spLocks noChangeAspect="1"/>
            </p:cNvSpPr>
            <p:nvPr/>
          </p:nvSpPr>
          <p:spPr bwMode="gray">
            <a:xfrm>
              <a:off x="3507219" y="4061884"/>
              <a:ext cx="100805" cy="55506"/>
            </a:xfrm>
            <a:custGeom>
              <a:avLst/>
              <a:gdLst/>
              <a:ahLst/>
              <a:cxnLst>
                <a:cxn ang="0">
                  <a:pos x="0" y="0"/>
                </a:cxn>
                <a:cxn ang="0">
                  <a:pos x="0" y="63"/>
                </a:cxn>
                <a:cxn ang="0">
                  <a:pos x="113" y="42"/>
                </a:cxn>
                <a:cxn ang="0">
                  <a:pos x="63" y="6"/>
                </a:cxn>
                <a:cxn ang="0">
                  <a:pos x="0" y="0"/>
                </a:cxn>
              </a:cxnLst>
              <a:rect l="0" t="0" r="r" b="b"/>
              <a:pathLst>
                <a:path w="113" h="63">
                  <a:moveTo>
                    <a:pt x="0" y="0"/>
                  </a:moveTo>
                  <a:lnTo>
                    <a:pt x="0" y="63"/>
                  </a:lnTo>
                  <a:lnTo>
                    <a:pt x="113" y="42"/>
                  </a:lnTo>
                  <a:lnTo>
                    <a:pt x="63" y="6"/>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9" name="30454366.125204.62524.55">
              <a:extLst>
                <a:ext uri="{FF2B5EF4-FFF2-40B4-BE49-F238E27FC236}">
                  <a16:creationId xmlns:a16="http://schemas.microsoft.com/office/drawing/2014/main" id="{559264E6-C7AF-41B6-AC92-85009B7BE158}"/>
                </a:ext>
              </a:extLst>
            </p:cNvPr>
            <p:cNvSpPr>
              <a:spLocks noChangeAspect="1"/>
            </p:cNvSpPr>
            <p:nvPr/>
          </p:nvSpPr>
          <p:spPr bwMode="gray">
            <a:xfrm>
              <a:off x="2951832" y="4228404"/>
              <a:ext cx="74177" cy="31958"/>
            </a:xfrm>
            <a:custGeom>
              <a:avLst/>
              <a:gdLst/>
              <a:ahLst/>
              <a:cxnLst>
                <a:cxn ang="0">
                  <a:pos x="0" y="26"/>
                </a:cxn>
                <a:cxn ang="0">
                  <a:pos x="22" y="0"/>
                </a:cxn>
                <a:cxn ang="0">
                  <a:pos x="77" y="34"/>
                </a:cxn>
                <a:cxn ang="0">
                  <a:pos x="0" y="26"/>
                </a:cxn>
              </a:cxnLst>
              <a:rect l="0" t="0" r="r" b="b"/>
              <a:pathLst>
                <a:path w="77" h="34">
                  <a:moveTo>
                    <a:pt x="0" y="26"/>
                  </a:moveTo>
                  <a:lnTo>
                    <a:pt x="22" y="0"/>
                  </a:lnTo>
                  <a:lnTo>
                    <a:pt x="77" y="34"/>
                  </a:lnTo>
                  <a:lnTo>
                    <a:pt x="0" y="2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0" name="30455499259.6251.62535">
              <a:extLst>
                <a:ext uri="{FF2B5EF4-FFF2-40B4-BE49-F238E27FC236}">
                  <a16:creationId xmlns:a16="http://schemas.microsoft.com/office/drawing/2014/main" id="{1F8388FC-A203-4172-BAFD-8A1542560CB0}"/>
                </a:ext>
              </a:extLst>
            </p:cNvPr>
            <p:cNvSpPr>
              <a:spLocks noChangeAspect="1"/>
            </p:cNvSpPr>
            <p:nvPr/>
          </p:nvSpPr>
          <p:spPr bwMode="gray">
            <a:xfrm>
              <a:off x="3836265" y="6379671"/>
              <a:ext cx="47550" cy="26912"/>
            </a:xfrm>
            <a:custGeom>
              <a:avLst/>
              <a:gdLst/>
              <a:ahLst/>
              <a:cxnLst>
                <a:cxn ang="0">
                  <a:pos x="0" y="29"/>
                </a:cxn>
                <a:cxn ang="0">
                  <a:pos x="30" y="14"/>
                </a:cxn>
                <a:cxn ang="0">
                  <a:pos x="15" y="0"/>
                </a:cxn>
                <a:cxn ang="0">
                  <a:pos x="51" y="3"/>
                </a:cxn>
                <a:cxn ang="0">
                  <a:pos x="0" y="29"/>
                </a:cxn>
              </a:cxnLst>
              <a:rect l="0" t="0" r="r" b="b"/>
              <a:pathLst>
                <a:path w="51" h="29">
                  <a:moveTo>
                    <a:pt x="0" y="29"/>
                  </a:moveTo>
                  <a:lnTo>
                    <a:pt x="30" y="14"/>
                  </a:lnTo>
                  <a:lnTo>
                    <a:pt x="15" y="0"/>
                  </a:lnTo>
                  <a:lnTo>
                    <a:pt x="51" y="3"/>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1" name="30456498.87526223.3755">
              <a:extLst>
                <a:ext uri="{FF2B5EF4-FFF2-40B4-BE49-F238E27FC236}">
                  <a16:creationId xmlns:a16="http://schemas.microsoft.com/office/drawing/2014/main" id="{982E1073-9935-49F1-A72E-A92951565D94}"/>
                </a:ext>
              </a:extLst>
            </p:cNvPr>
            <p:cNvSpPr>
              <a:spLocks noChangeAspect="1"/>
            </p:cNvSpPr>
            <p:nvPr/>
          </p:nvSpPr>
          <p:spPr bwMode="gray">
            <a:xfrm>
              <a:off x="3874304" y="6376309"/>
              <a:ext cx="53255" cy="33639"/>
            </a:xfrm>
            <a:custGeom>
              <a:avLst/>
              <a:gdLst/>
              <a:ahLst/>
              <a:cxnLst>
                <a:cxn ang="0">
                  <a:pos x="0" y="35"/>
                </a:cxn>
                <a:cxn ang="0">
                  <a:pos x="27" y="0"/>
                </a:cxn>
                <a:cxn ang="0">
                  <a:pos x="60" y="12"/>
                </a:cxn>
                <a:cxn ang="0">
                  <a:pos x="0" y="35"/>
                </a:cxn>
              </a:cxnLst>
              <a:rect l="0" t="0" r="r" b="b"/>
              <a:pathLst>
                <a:path w="60" h="35">
                  <a:moveTo>
                    <a:pt x="0" y="35"/>
                  </a:moveTo>
                  <a:lnTo>
                    <a:pt x="27" y="0"/>
                  </a:lnTo>
                  <a:lnTo>
                    <a:pt x="60" y="12"/>
                  </a:lnTo>
                  <a:lnTo>
                    <a:pt x="0" y="3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2" name="30460383271.8756.55.55">
              <a:extLst>
                <a:ext uri="{FF2B5EF4-FFF2-40B4-BE49-F238E27FC236}">
                  <a16:creationId xmlns:a16="http://schemas.microsoft.com/office/drawing/2014/main" id="{7D13F42C-E4CD-4ECB-8315-4B66B3F6D88E}"/>
                </a:ext>
              </a:extLst>
            </p:cNvPr>
            <p:cNvSpPr>
              <a:spLocks noChangeAspect="1"/>
            </p:cNvSpPr>
            <p:nvPr/>
          </p:nvSpPr>
          <p:spPr bwMode="gray">
            <a:xfrm>
              <a:off x="4032173" y="4500886"/>
              <a:ext cx="87493" cy="107646"/>
            </a:xfrm>
            <a:custGeom>
              <a:avLst/>
              <a:gdLst/>
              <a:ahLst/>
              <a:cxnLst>
                <a:cxn ang="0">
                  <a:pos x="0" y="110"/>
                </a:cxn>
                <a:cxn ang="0">
                  <a:pos x="14" y="0"/>
                </a:cxn>
                <a:cxn ang="0">
                  <a:pos x="96" y="49"/>
                </a:cxn>
                <a:cxn ang="0">
                  <a:pos x="47" y="114"/>
                </a:cxn>
                <a:cxn ang="0">
                  <a:pos x="0" y="110"/>
                </a:cxn>
              </a:cxnLst>
              <a:rect l="0" t="0" r="r" b="b"/>
              <a:pathLst>
                <a:path w="96" h="114">
                  <a:moveTo>
                    <a:pt x="0" y="110"/>
                  </a:moveTo>
                  <a:lnTo>
                    <a:pt x="14" y="0"/>
                  </a:lnTo>
                  <a:lnTo>
                    <a:pt x="96" y="49"/>
                  </a:lnTo>
                  <a:lnTo>
                    <a:pt x="47" y="114"/>
                  </a:lnTo>
                  <a:lnTo>
                    <a:pt x="0" y="11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3" name="30464181.25236.87583.625114.55">
              <a:extLst>
                <a:ext uri="{FF2B5EF4-FFF2-40B4-BE49-F238E27FC236}">
                  <a16:creationId xmlns:a16="http://schemas.microsoft.com/office/drawing/2014/main" id="{BF38B8C1-D7DA-4938-A6A3-BD4E3A04C6A7}"/>
                </a:ext>
              </a:extLst>
            </p:cNvPr>
            <p:cNvSpPr>
              <a:spLocks noChangeAspect="1"/>
            </p:cNvSpPr>
            <p:nvPr/>
          </p:nvSpPr>
          <p:spPr bwMode="gray">
            <a:xfrm>
              <a:off x="3471081" y="1234455"/>
              <a:ext cx="1835437" cy="1355688"/>
            </a:xfrm>
            <a:custGeom>
              <a:avLst/>
              <a:gdLst/>
              <a:ahLst/>
              <a:cxnLst>
                <a:cxn ang="0">
                  <a:pos x="226" y="350"/>
                </a:cxn>
                <a:cxn ang="0">
                  <a:pos x="263" y="287"/>
                </a:cxn>
                <a:cxn ang="0">
                  <a:pos x="176" y="256"/>
                </a:cxn>
                <a:cxn ang="0">
                  <a:pos x="378" y="140"/>
                </a:cxn>
                <a:cxn ang="0">
                  <a:pos x="585" y="96"/>
                </a:cxn>
                <a:cxn ang="0">
                  <a:pos x="746" y="152"/>
                </a:cxn>
                <a:cxn ang="0">
                  <a:pos x="706" y="88"/>
                </a:cxn>
                <a:cxn ang="0">
                  <a:pos x="951" y="122"/>
                </a:cxn>
                <a:cxn ang="0">
                  <a:pos x="1074" y="88"/>
                </a:cxn>
                <a:cxn ang="0">
                  <a:pos x="889" y="33"/>
                </a:cxn>
                <a:cxn ang="0">
                  <a:pos x="1111" y="63"/>
                </a:cxn>
                <a:cxn ang="0">
                  <a:pos x="1105" y="8"/>
                </a:cxn>
                <a:cxn ang="0">
                  <a:pos x="1529" y="29"/>
                </a:cxn>
                <a:cxn ang="0">
                  <a:pos x="1564" y="33"/>
                </a:cxn>
                <a:cxn ang="0">
                  <a:pos x="1704" y="80"/>
                </a:cxn>
                <a:cxn ang="0">
                  <a:pos x="1297" y="139"/>
                </a:cxn>
                <a:cxn ang="0">
                  <a:pos x="1513" y="170"/>
                </a:cxn>
                <a:cxn ang="0">
                  <a:pos x="1756" y="157"/>
                </a:cxn>
                <a:cxn ang="0">
                  <a:pos x="1929" y="133"/>
                </a:cxn>
                <a:cxn ang="0">
                  <a:pos x="1717" y="239"/>
                </a:cxn>
                <a:cxn ang="0">
                  <a:pos x="1855" y="275"/>
                </a:cxn>
                <a:cxn ang="0">
                  <a:pos x="1731" y="373"/>
                </a:cxn>
                <a:cxn ang="0">
                  <a:pos x="1748" y="448"/>
                </a:cxn>
                <a:cxn ang="0">
                  <a:pos x="1712" y="502"/>
                </a:cxn>
                <a:cxn ang="0">
                  <a:pos x="1771" y="554"/>
                </a:cxn>
                <a:cxn ang="0">
                  <a:pos x="1696" y="604"/>
                </a:cxn>
                <a:cxn ang="0">
                  <a:pos x="1735" y="660"/>
                </a:cxn>
                <a:cxn ang="0">
                  <a:pos x="1756" y="710"/>
                </a:cxn>
                <a:cxn ang="0">
                  <a:pos x="1537" y="745"/>
                </a:cxn>
                <a:cxn ang="0">
                  <a:pos x="1584" y="822"/>
                </a:cxn>
                <a:cxn ang="0">
                  <a:pos x="1700" y="846"/>
                </a:cxn>
                <a:cxn ang="0">
                  <a:pos x="1682" y="899"/>
                </a:cxn>
                <a:cxn ang="0">
                  <a:pos x="1514" y="840"/>
                </a:cxn>
                <a:cxn ang="0">
                  <a:pos x="1550" y="930"/>
                </a:cxn>
                <a:cxn ang="0">
                  <a:pos x="1555" y="1026"/>
                </a:cxn>
                <a:cxn ang="0">
                  <a:pos x="1364" y="1060"/>
                </a:cxn>
                <a:cxn ang="0">
                  <a:pos x="1230" y="1180"/>
                </a:cxn>
                <a:cxn ang="0">
                  <a:pos x="1171" y="1157"/>
                </a:cxn>
                <a:cxn ang="0">
                  <a:pos x="1059" y="1235"/>
                </a:cxn>
                <a:cxn ang="0">
                  <a:pos x="1052" y="1295"/>
                </a:cxn>
                <a:cxn ang="0">
                  <a:pos x="1048" y="1342"/>
                </a:cxn>
                <a:cxn ang="0">
                  <a:pos x="977" y="1461"/>
                </a:cxn>
                <a:cxn ang="0">
                  <a:pos x="828" y="1447"/>
                </a:cxn>
                <a:cxn ang="0">
                  <a:pos x="790" y="1412"/>
                </a:cxn>
                <a:cxn ang="0">
                  <a:pos x="718" y="1276"/>
                </a:cxn>
                <a:cxn ang="0">
                  <a:pos x="698" y="1209"/>
                </a:cxn>
                <a:cxn ang="0">
                  <a:pos x="676" y="1063"/>
                </a:cxn>
                <a:cxn ang="0">
                  <a:pos x="672" y="1042"/>
                </a:cxn>
                <a:cxn ang="0">
                  <a:pos x="687" y="946"/>
                </a:cxn>
                <a:cxn ang="0">
                  <a:pos x="746" y="908"/>
                </a:cxn>
                <a:cxn ang="0">
                  <a:pos x="702" y="861"/>
                </a:cxn>
                <a:cxn ang="0">
                  <a:pos x="635" y="861"/>
                </a:cxn>
                <a:cxn ang="0">
                  <a:pos x="582" y="828"/>
                </a:cxn>
                <a:cxn ang="0">
                  <a:pos x="540" y="671"/>
                </a:cxn>
                <a:cxn ang="0">
                  <a:pos x="402" y="560"/>
                </a:cxn>
                <a:cxn ang="0">
                  <a:pos x="222" y="575"/>
                </a:cxn>
                <a:cxn ang="0">
                  <a:pos x="50" y="502"/>
                </a:cxn>
                <a:cxn ang="0">
                  <a:pos x="220" y="469"/>
                </a:cxn>
              </a:cxnLst>
              <a:rect l="0" t="0" r="r" b="b"/>
              <a:pathLst>
                <a:path w="2028" h="1481">
                  <a:moveTo>
                    <a:pt x="0" y="415"/>
                  </a:moveTo>
                  <a:lnTo>
                    <a:pt x="11" y="393"/>
                  </a:lnTo>
                  <a:lnTo>
                    <a:pt x="143" y="350"/>
                  </a:lnTo>
                  <a:lnTo>
                    <a:pt x="226" y="350"/>
                  </a:lnTo>
                  <a:lnTo>
                    <a:pt x="273" y="317"/>
                  </a:lnTo>
                  <a:lnTo>
                    <a:pt x="259" y="306"/>
                  </a:lnTo>
                  <a:lnTo>
                    <a:pt x="288" y="295"/>
                  </a:lnTo>
                  <a:lnTo>
                    <a:pt x="263" y="287"/>
                  </a:lnTo>
                  <a:lnTo>
                    <a:pt x="309" y="273"/>
                  </a:lnTo>
                  <a:lnTo>
                    <a:pt x="292" y="262"/>
                  </a:lnTo>
                  <a:lnTo>
                    <a:pt x="233" y="284"/>
                  </a:lnTo>
                  <a:lnTo>
                    <a:pt x="176" y="256"/>
                  </a:lnTo>
                  <a:lnTo>
                    <a:pt x="250" y="239"/>
                  </a:lnTo>
                  <a:lnTo>
                    <a:pt x="291" y="192"/>
                  </a:lnTo>
                  <a:lnTo>
                    <a:pt x="382" y="191"/>
                  </a:lnTo>
                  <a:lnTo>
                    <a:pt x="378" y="140"/>
                  </a:lnTo>
                  <a:lnTo>
                    <a:pt x="445" y="139"/>
                  </a:lnTo>
                  <a:lnTo>
                    <a:pt x="514" y="174"/>
                  </a:lnTo>
                  <a:lnTo>
                    <a:pt x="433" y="128"/>
                  </a:lnTo>
                  <a:lnTo>
                    <a:pt x="585" y="96"/>
                  </a:lnTo>
                  <a:lnTo>
                    <a:pt x="622" y="118"/>
                  </a:lnTo>
                  <a:lnTo>
                    <a:pt x="628" y="163"/>
                  </a:lnTo>
                  <a:lnTo>
                    <a:pt x="647" y="125"/>
                  </a:lnTo>
                  <a:lnTo>
                    <a:pt x="746" y="152"/>
                  </a:lnTo>
                  <a:lnTo>
                    <a:pt x="712" y="130"/>
                  </a:lnTo>
                  <a:lnTo>
                    <a:pt x="760" y="133"/>
                  </a:lnTo>
                  <a:lnTo>
                    <a:pt x="718" y="108"/>
                  </a:lnTo>
                  <a:lnTo>
                    <a:pt x="706" y="88"/>
                  </a:lnTo>
                  <a:lnTo>
                    <a:pt x="728" y="84"/>
                  </a:lnTo>
                  <a:lnTo>
                    <a:pt x="923" y="146"/>
                  </a:lnTo>
                  <a:lnTo>
                    <a:pt x="908" y="125"/>
                  </a:lnTo>
                  <a:lnTo>
                    <a:pt x="951" y="122"/>
                  </a:lnTo>
                  <a:lnTo>
                    <a:pt x="923" y="104"/>
                  </a:lnTo>
                  <a:lnTo>
                    <a:pt x="989" y="108"/>
                  </a:lnTo>
                  <a:lnTo>
                    <a:pt x="885" y="63"/>
                  </a:lnTo>
                  <a:lnTo>
                    <a:pt x="1074" y="88"/>
                  </a:lnTo>
                  <a:lnTo>
                    <a:pt x="1032" y="62"/>
                  </a:lnTo>
                  <a:lnTo>
                    <a:pt x="920" y="58"/>
                  </a:lnTo>
                  <a:lnTo>
                    <a:pt x="958" y="55"/>
                  </a:lnTo>
                  <a:lnTo>
                    <a:pt x="889" y="33"/>
                  </a:lnTo>
                  <a:lnTo>
                    <a:pt x="970" y="38"/>
                  </a:lnTo>
                  <a:lnTo>
                    <a:pt x="937" y="29"/>
                  </a:lnTo>
                  <a:lnTo>
                    <a:pt x="973" y="22"/>
                  </a:lnTo>
                  <a:lnTo>
                    <a:pt x="1111" y="63"/>
                  </a:lnTo>
                  <a:lnTo>
                    <a:pt x="1096" y="48"/>
                  </a:lnTo>
                  <a:lnTo>
                    <a:pt x="1158" y="33"/>
                  </a:lnTo>
                  <a:lnTo>
                    <a:pt x="1106" y="29"/>
                  </a:lnTo>
                  <a:lnTo>
                    <a:pt x="1105" y="8"/>
                  </a:lnTo>
                  <a:lnTo>
                    <a:pt x="1139" y="0"/>
                  </a:lnTo>
                  <a:lnTo>
                    <a:pt x="1513" y="9"/>
                  </a:lnTo>
                  <a:lnTo>
                    <a:pt x="1540" y="20"/>
                  </a:lnTo>
                  <a:lnTo>
                    <a:pt x="1529" y="29"/>
                  </a:lnTo>
                  <a:lnTo>
                    <a:pt x="1278" y="31"/>
                  </a:lnTo>
                  <a:lnTo>
                    <a:pt x="1307" y="42"/>
                  </a:lnTo>
                  <a:lnTo>
                    <a:pt x="1209" y="55"/>
                  </a:lnTo>
                  <a:lnTo>
                    <a:pt x="1564" y="33"/>
                  </a:lnTo>
                  <a:lnTo>
                    <a:pt x="1576" y="52"/>
                  </a:lnTo>
                  <a:lnTo>
                    <a:pt x="1529" y="64"/>
                  </a:lnTo>
                  <a:lnTo>
                    <a:pt x="1610" y="56"/>
                  </a:lnTo>
                  <a:lnTo>
                    <a:pt x="1704" y="80"/>
                  </a:lnTo>
                  <a:lnTo>
                    <a:pt x="1564" y="118"/>
                  </a:lnTo>
                  <a:lnTo>
                    <a:pt x="1338" y="115"/>
                  </a:lnTo>
                  <a:lnTo>
                    <a:pt x="1392" y="122"/>
                  </a:lnTo>
                  <a:lnTo>
                    <a:pt x="1297" y="139"/>
                  </a:lnTo>
                  <a:lnTo>
                    <a:pt x="1297" y="158"/>
                  </a:lnTo>
                  <a:lnTo>
                    <a:pt x="1544" y="128"/>
                  </a:lnTo>
                  <a:lnTo>
                    <a:pt x="1565" y="140"/>
                  </a:lnTo>
                  <a:lnTo>
                    <a:pt x="1513" y="170"/>
                  </a:lnTo>
                  <a:lnTo>
                    <a:pt x="1674" y="122"/>
                  </a:lnTo>
                  <a:lnTo>
                    <a:pt x="1682" y="168"/>
                  </a:lnTo>
                  <a:lnTo>
                    <a:pt x="1603" y="247"/>
                  </a:lnTo>
                  <a:lnTo>
                    <a:pt x="1756" y="157"/>
                  </a:lnTo>
                  <a:lnTo>
                    <a:pt x="1755" y="170"/>
                  </a:lnTo>
                  <a:lnTo>
                    <a:pt x="1827" y="169"/>
                  </a:lnTo>
                  <a:lnTo>
                    <a:pt x="1849" y="139"/>
                  </a:lnTo>
                  <a:lnTo>
                    <a:pt x="1929" y="133"/>
                  </a:lnTo>
                  <a:lnTo>
                    <a:pt x="2028" y="161"/>
                  </a:lnTo>
                  <a:lnTo>
                    <a:pt x="1932" y="201"/>
                  </a:lnTo>
                  <a:lnTo>
                    <a:pt x="1937" y="217"/>
                  </a:lnTo>
                  <a:lnTo>
                    <a:pt x="1717" y="239"/>
                  </a:lnTo>
                  <a:lnTo>
                    <a:pt x="1893" y="242"/>
                  </a:lnTo>
                  <a:lnTo>
                    <a:pt x="1749" y="275"/>
                  </a:lnTo>
                  <a:lnTo>
                    <a:pt x="1759" y="300"/>
                  </a:lnTo>
                  <a:lnTo>
                    <a:pt x="1855" y="275"/>
                  </a:lnTo>
                  <a:lnTo>
                    <a:pt x="1785" y="306"/>
                  </a:lnTo>
                  <a:lnTo>
                    <a:pt x="1775" y="346"/>
                  </a:lnTo>
                  <a:lnTo>
                    <a:pt x="1799" y="337"/>
                  </a:lnTo>
                  <a:lnTo>
                    <a:pt x="1731" y="373"/>
                  </a:lnTo>
                  <a:lnTo>
                    <a:pt x="1707" y="448"/>
                  </a:lnTo>
                  <a:lnTo>
                    <a:pt x="1744" y="432"/>
                  </a:lnTo>
                  <a:lnTo>
                    <a:pt x="1794" y="448"/>
                  </a:lnTo>
                  <a:lnTo>
                    <a:pt x="1748" y="448"/>
                  </a:lnTo>
                  <a:lnTo>
                    <a:pt x="1748" y="470"/>
                  </a:lnTo>
                  <a:lnTo>
                    <a:pt x="1825" y="480"/>
                  </a:lnTo>
                  <a:lnTo>
                    <a:pt x="1827" y="507"/>
                  </a:lnTo>
                  <a:lnTo>
                    <a:pt x="1712" y="502"/>
                  </a:lnTo>
                  <a:lnTo>
                    <a:pt x="1744" y="514"/>
                  </a:lnTo>
                  <a:lnTo>
                    <a:pt x="1679" y="522"/>
                  </a:lnTo>
                  <a:lnTo>
                    <a:pt x="1712" y="553"/>
                  </a:lnTo>
                  <a:lnTo>
                    <a:pt x="1771" y="554"/>
                  </a:lnTo>
                  <a:lnTo>
                    <a:pt x="1735" y="572"/>
                  </a:lnTo>
                  <a:lnTo>
                    <a:pt x="1782" y="588"/>
                  </a:lnTo>
                  <a:lnTo>
                    <a:pt x="1781" y="627"/>
                  </a:lnTo>
                  <a:lnTo>
                    <a:pt x="1696" y="604"/>
                  </a:lnTo>
                  <a:lnTo>
                    <a:pt x="1746" y="624"/>
                  </a:lnTo>
                  <a:lnTo>
                    <a:pt x="1715" y="638"/>
                  </a:lnTo>
                  <a:lnTo>
                    <a:pt x="1744" y="635"/>
                  </a:lnTo>
                  <a:lnTo>
                    <a:pt x="1735" y="660"/>
                  </a:lnTo>
                  <a:lnTo>
                    <a:pt x="1797" y="672"/>
                  </a:lnTo>
                  <a:lnTo>
                    <a:pt x="1700" y="665"/>
                  </a:lnTo>
                  <a:lnTo>
                    <a:pt x="1682" y="679"/>
                  </a:lnTo>
                  <a:lnTo>
                    <a:pt x="1756" y="710"/>
                  </a:lnTo>
                  <a:lnTo>
                    <a:pt x="1746" y="736"/>
                  </a:lnTo>
                  <a:lnTo>
                    <a:pt x="1686" y="751"/>
                  </a:lnTo>
                  <a:lnTo>
                    <a:pt x="1627" y="714"/>
                  </a:lnTo>
                  <a:lnTo>
                    <a:pt x="1537" y="745"/>
                  </a:lnTo>
                  <a:lnTo>
                    <a:pt x="1601" y="765"/>
                  </a:lnTo>
                  <a:lnTo>
                    <a:pt x="1540" y="782"/>
                  </a:lnTo>
                  <a:lnTo>
                    <a:pt x="1606" y="785"/>
                  </a:lnTo>
                  <a:lnTo>
                    <a:pt x="1584" y="822"/>
                  </a:lnTo>
                  <a:lnTo>
                    <a:pt x="1610" y="800"/>
                  </a:lnTo>
                  <a:lnTo>
                    <a:pt x="1682" y="831"/>
                  </a:lnTo>
                  <a:lnTo>
                    <a:pt x="1660" y="855"/>
                  </a:lnTo>
                  <a:lnTo>
                    <a:pt x="1700" y="846"/>
                  </a:lnTo>
                  <a:lnTo>
                    <a:pt x="1682" y="872"/>
                  </a:lnTo>
                  <a:lnTo>
                    <a:pt x="1709" y="859"/>
                  </a:lnTo>
                  <a:lnTo>
                    <a:pt x="1713" y="923"/>
                  </a:lnTo>
                  <a:lnTo>
                    <a:pt x="1682" y="899"/>
                  </a:lnTo>
                  <a:lnTo>
                    <a:pt x="1682" y="923"/>
                  </a:lnTo>
                  <a:lnTo>
                    <a:pt x="1650" y="921"/>
                  </a:lnTo>
                  <a:lnTo>
                    <a:pt x="1610" y="869"/>
                  </a:lnTo>
                  <a:lnTo>
                    <a:pt x="1514" y="840"/>
                  </a:lnTo>
                  <a:lnTo>
                    <a:pt x="1581" y="875"/>
                  </a:lnTo>
                  <a:lnTo>
                    <a:pt x="1492" y="892"/>
                  </a:lnTo>
                  <a:lnTo>
                    <a:pt x="1467" y="923"/>
                  </a:lnTo>
                  <a:lnTo>
                    <a:pt x="1550" y="930"/>
                  </a:lnTo>
                  <a:lnTo>
                    <a:pt x="1480" y="947"/>
                  </a:lnTo>
                  <a:lnTo>
                    <a:pt x="1586" y="925"/>
                  </a:lnTo>
                  <a:lnTo>
                    <a:pt x="1689" y="953"/>
                  </a:lnTo>
                  <a:lnTo>
                    <a:pt x="1555" y="1026"/>
                  </a:lnTo>
                  <a:lnTo>
                    <a:pt x="1426" y="1058"/>
                  </a:lnTo>
                  <a:lnTo>
                    <a:pt x="1379" y="1060"/>
                  </a:lnTo>
                  <a:lnTo>
                    <a:pt x="1349" y="1027"/>
                  </a:lnTo>
                  <a:lnTo>
                    <a:pt x="1364" y="1060"/>
                  </a:lnTo>
                  <a:lnTo>
                    <a:pt x="1326" y="1080"/>
                  </a:lnTo>
                  <a:lnTo>
                    <a:pt x="1278" y="1158"/>
                  </a:lnTo>
                  <a:lnTo>
                    <a:pt x="1238" y="1157"/>
                  </a:lnTo>
                  <a:lnTo>
                    <a:pt x="1230" y="1180"/>
                  </a:lnTo>
                  <a:lnTo>
                    <a:pt x="1191" y="1184"/>
                  </a:lnTo>
                  <a:lnTo>
                    <a:pt x="1172" y="1176"/>
                  </a:lnTo>
                  <a:lnTo>
                    <a:pt x="1198" y="1159"/>
                  </a:lnTo>
                  <a:lnTo>
                    <a:pt x="1171" y="1157"/>
                  </a:lnTo>
                  <a:lnTo>
                    <a:pt x="1157" y="1196"/>
                  </a:lnTo>
                  <a:lnTo>
                    <a:pt x="1095" y="1201"/>
                  </a:lnTo>
                  <a:lnTo>
                    <a:pt x="1096" y="1232"/>
                  </a:lnTo>
                  <a:lnTo>
                    <a:pt x="1059" y="1235"/>
                  </a:lnTo>
                  <a:lnTo>
                    <a:pt x="1092" y="1261"/>
                  </a:lnTo>
                  <a:lnTo>
                    <a:pt x="1048" y="1267"/>
                  </a:lnTo>
                  <a:lnTo>
                    <a:pt x="1083" y="1295"/>
                  </a:lnTo>
                  <a:lnTo>
                    <a:pt x="1052" y="1295"/>
                  </a:lnTo>
                  <a:lnTo>
                    <a:pt x="1076" y="1302"/>
                  </a:lnTo>
                  <a:lnTo>
                    <a:pt x="1052" y="1334"/>
                  </a:lnTo>
                  <a:lnTo>
                    <a:pt x="1032" y="1328"/>
                  </a:lnTo>
                  <a:lnTo>
                    <a:pt x="1048" y="1342"/>
                  </a:lnTo>
                  <a:lnTo>
                    <a:pt x="1007" y="1355"/>
                  </a:lnTo>
                  <a:lnTo>
                    <a:pt x="1032" y="1399"/>
                  </a:lnTo>
                  <a:lnTo>
                    <a:pt x="1007" y="1459"/>
                  </a:lnTo>
                  <a:lnTo>
                    <a:pt x="977" y="1461"/>
                  </a:lnTo>
                  <a:lnTo>
                    <a:pt x="1000" y="1481"/>
                  </a:lnTo>
                  <a:lnTo>
                    <a:pt x="931" y="1481"/>
                  </a:lnTo>
                  <a:lnTo>
                    <a:pt x="923" y="1441"/>
                  </a:lnTo>
                  <a:lnTo>
                    <a:pt x="828" y="1447"/>
                  </a:lnTo>
                  <a:lnTo>
                    <a:pt x="850" y="1436"/>
                  </a:lnTo>
                  <a:lnTo>
                    <a:pt x="801" y="1419"/>
                  </a:lnTo>
                  <a:lnTo>
                    <a:pt x="826" y="1412"/>
                  </a:lnTo>
                  <a:lnTo>
                    <a:pt x="790" y="1412"/>
                  </a:lnTo>
                  <a:lnTo>
                    <a:pt x="802" y="1381"/>
                  </a:lnTo>
                  <a:lnTo>
                    <a:pt x="782" y="1388"/>
                  </a:lnTo>
                  <a:lnTo>
                    <a:pt x="718" y="1302"/>
                  </a:lnTo>
                  <a:lnTo>
                    <a:pt x="718" y="1276"/>
                  </a:lnTo>
                  <a:lnTo>
                    <a:pt x="765" y="1249"/>
                  </a:lnTo>
                  <a:lnTo>
                    <a:pt x="746" y="1240"/>
                  </a:lnTo>
                  <a:lnTo>
                    <a:pt x="698" y="1272"/>
                  </a:lnTo>
                  <a:lnTo>
                    <a:pt x="698" y="1209"/>
                  </a:lnTo>
                  <a:lnTo>
                    <a:pt x="654" y="1176"/>
                  </a:lnTo>
                  <a:lnTo>
                    <a:pt x="666" y="1125"/>
                  </a:lnTo>
                  <a:lnTo>
                    <a:pt x="639" y="1106"/>
                  </a:lnTo>
                  <a:lnTo>
                    <a:pt x="676" y="1063"/>
                  </a:lnTo>
                  <a:lnTo>
                    <a:pt x="654" y="1058"/>
                  </a:lnTo>
                  <a:lnTo>
                    <a:pt x="735" y="1058"/>
                  </a:lnTo>
                  <a:lnTo>
                    <a:pt x="727" y="1041"/>
                  </a:lnTo>
                  <a:lnTo>
                    <a:pt x="672" y="1042"/>
                  </a:lnTo>
                  <a:lnTo>
                    <a:pt x="754" y="1004"/>
                  </a:lnTo>
                  <a:lnTo>
                    <a:pt x="735" y="990"/>
                  </a:lnTo>
                  <a:lnTo>
                    <a:pt x="754" y="947"/>
                  </a:lnTo>
                  <a:lnTo>
                    <a:pt x="687" y="946"/>
                  </a:lnTo>
                  <a:lnTo>
                    <a:pt x="613" y="910"/>
                  </a:lnTo>
                  <a:lnTo>
                    <a:pt x="746" y="930"/>
                  </a:lnTo>
                  <a:lnTo>
                    <a:pt x="723" y="914"/>
                  </a:lnTo>
                  <a:lnTo>
                    <a:pt x="746" y="908"/>
                  </a:lnTo>
                  <a:lnTo>
                    <a:pt x="694" y="881"/>
                  </a:lnTo>
                  <a:lnTo>
                    <a:pt x="712" y="869"/>
                  </a:lnTo>
                  <a:lnTo>
                    <a:pt x="684" y="879"/>
                  </a:lnTo>
                  <a:lnTo>
                    <a:pt x="702" y="861"/>
                  </a:lnTo>
                  <a:lnTo>
                    <a:pt x="668" y="862"/>
                  </a:lnTo>
                  <a:lnTo>
                    <a:pt x="706" y="848"/>
                  </a:lnTo>
                  <a:lnTo>
                    <a:pt x="647" y="828"/>
                  </a:lnTo>
                  <a:lnTo>
                    <a:pt x="635" y="861"/>
                  </a:lnTo>
                  <a:lnTo>
                    <a:pt x="585" y="862"/>
                  </a:lnTo>
                  <a:lnTo>
                    <a:pt x="575" y="848"/>
                  </a:lnTo>
                  <a:lnTo>
                    <a:pt x="608" y="828"/>
                  </a:lnTo>
                  <a:lnTo>
                    <a:pt x="582" y="828"/>
                  </a:lnTo>
                  <a:lnTo>
                    <a:pt x="613" y="773"/>
                  </a:lnTo>
                  <a:lnTo>
                    <a:pt x="578" y="763"/>
                  </a:lnTo>
                  <a:lnTo>
                    <a:pt x="595" y="738"/>
                  </a:lnTo>
                  <a:lnTo>
                    <a:pt x="540" y="671"/>
                  </a:lnTo>
                  <a:lnTo>
                    <a:pt x="558" y="670"/>
                  </a:lnTo>
                  <a:lnTo>
                    <a:pt x="483" y="610"/>
                  </a:lnTo>
                  <a:lnTo>
                    <a:pt x="483" y="588"/>
                  </a:lnTo>
                  <a:lnTo>
                    <a:pt x="402" y="560"/>
                  </a:lnTo>
                  <a:lnTo>
                    <a:pt x="327" y="543"/>
                  </a:lnTo>
                  <a:lnTo>
                    <a:pt x="258" y="571"/>
                  </a:lnTo>
                  <a:lnTo>
                    <a:pt x="202" y="553"/>
                  </a:lnTo>
                  <a:lnTo>
                    <a:pt x="222" y="575"/>
                  </a:lnTo>
                  <a:lnTo>
                    <a:pt x="163" y="565"/>
                  </a:lnTo>
                  <a:lnTo>
                    <a:pt x="112" y="542"/>
                  </a:lnTo>
                  <a:lnTo>
                    <a:pt x="163" y="522"/>
                  </a:lnTo>
                  <a:lnTo>
                    <a:pt x="50" y="502"/>
                  </a:lnTo>
                  <a:lnTo>
                    <a:pt x="92" y="483"/>
                  </a:lnTo>
                  <a:lnTo>
                    <a:pt x="226" y="488"/>
                  </a:lnTo>
                  <a:lnTo>
                    <a:pt x="243" y="481"/>
                  </a:lnTo>
                  <a:lnTo>
                    <a:pt x="220" y="469"/>
                  </a:lnTo>
                  <a:lnTo>
                    <a:pt x="242" y="458"/>
                  </a:lnTo>
                  <a:lnTo>
                    <a:pt x="121" y="466"/>
                  </a:lnTo>
                  <a:lnTo>
                    <a:pt x="0" y="41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4" name="30465359.5200.58.1257.55">
              <a:extLst>
                <a:ext uri="{FF2B5EF4-FFF2-40B4-BE49-F238E27FC236}">
                  <a16:creationId xmlns:a16="http://schemas.microsoft.com/office/drawing/2014/main" id="{EC2DB788-2500-45C5-A171-58ECBC521B9E}"/>
                </a:ext>
              </a:extLst>
            </p:cNvPr>
            <p:cNvSpPr>
              <a:spLocks noChangeAspect="1"/>
            </p:cNvSpPr>
            <p:nvPr/>
          </p:nvSpPr>
          <p:spPr bwMode="gray">
            <a:xfrm>
              <a:off x="2885261" y="4120754"/>
              <a:ext cx="121727" cy="131197"/>
            </a:xfrm>
            <a:custGeom>
              <a:avLst/>
              <a:gdLst/>
              <a:ahLst/>
              <a:cxnLst>
                <a:cxn ang="0">
                  <a:pos x="0" y="115"/>
                </a:cxn>
                <a:cxn ang="0">
                  <a:pos x="28" y="63"/>
                </a:cxn>
                <a:cxn ang="0">
                  <a:pos x="62" y="62"/>
                </a:cxn>
                <a:cxn ang="0">
                  <a:pos x="26" y="18"/>
                </a:cxn>
                <a:cxn ang="0">
                  <a:pos x="103" y="0"/>
                </a:cxn>
                <a:cxn ang="0">
                  <a:pos x="114" y="68"/>
                </a:cxn>
                <a:cxn ang="0">
                  <a:pos x="132" y="74"/>
                </a:cxn>
                <a:cxn ang="0">
                  <a:pos x="96" y="118"/>
                </a:cxn>
                <a:cxn ang="0">
                  <a:pos x="74" y="144"/>
                </a:cxn>
                <a:cxn ang="0">
                  <a:pos x="0" y="115"/>
                </a:cxn>
              </a:cxnLst>
              <a:rect l="0" t="0" r="r" b="b"/>
              <a:pathLst>
                <a:path w="132" h="144">
                  <a:moveTo>
                    <a:pt x="0" y="115"/>
                  </a:moveTo>
                  <a:lnTo>
                    <a:pt x="28" y="63"/>
                  </a:lnTo>
                  <a:lnTo>
                    <a:pt x="62" y="62"/>
                  </a:lnTo>
                  <a:lnTo>
                    <a:pt x="26" y="18"/>
                  </a:lnTo>
                  <a:lnTo>
                    <a:pt x="103" y="0"/>
                  </a:lnTo>
                  <a:lnTo>
                    <a:pt x="114" y="68"/>
                  </a:lnTo>
                  <a:lnTo>
                    <a:pt x="132" y="74"/>
                  </a:lnTo>
                  <a:lnTo>
                    <a:pt x="96" y="118"/>
                  </a:lnTo>
                  <a:lnTo>
                    <a:pt x="74" y="144"/>
                  </a:lnTo>
                  <a:lnTo>
                    <a:pt x="0" y="11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5" name="30466377.87525912.7595">
              <a:extLst>
                <a:ext uri="{FF2B5EF4-FFF2-40B4-BE49-F238E27FC236}">
                  <a16:creationId xmlns:a16="http://schemas.microsoft.com/office/drawing/2014/main" id="{E1C8CAFF-4CFA-4E81-BF7A-57E0FBED6499}"/>
                </a:ext>
              </a:extLst>
            </p:cNvPr>
            <p:cNvSpPr>
              <a:spLocks noChangeAspect="1"/>
            </p:cNvSpPr>
            <p:nvPr/>
          </p:nvSpPr>
          <p:spPr bwMode="gray">
            <a:xfrm>
              <a:off x="3826754" y="4418468"/>
              <a:ext cx="140748" cy="206885"/>
            </a:xfrm>
            <a:custGeom>
              <a:avLst/>
              <a:gdLst/>
              <a:ahLst/>
              <a:cxnLst>
                <a:cxn ang="0">
                  <a:pos x="0" y="75"/>
                </a:cxn>
                <a:cxn ang="0">
                  <a:pos x="24" y="106"/>
                </a:cxn>
                <a:cxn ang="0">
                  <a:pos x="54" y="130"/>
                </a:cxn>
                <a:cxn ang="0">
                  <a:pos x="47" y="193"/>
                </a:cxn>
                <a:cxn ang="0">
                  <a:pos x="65" y="227"/>
                </a:cxn>
                <a:cxn ang="0">
                  <a:pos x="160" y="213"/>
                </a:cxn>
                <a:cxn ang="0">
                  <a:pos x="106" y="143"/>
                </a:cxn>
                <a:cxn ang="0">
                  <a:pos x="143" y="83"/>
                </a:cxn>
                <a:cxn ang="0">
                  <a:pos x="48" y="0"/>
                </a:cxn>
                <a:cxn ang="0">
                  <a:pos x="17" y="24"/>
                </a:cxn>
                <a:cxn ang="0">
                  <a:pos x="29" y="46"/>
                </a:cxn>
                <a:cxn ang="0">
                  <a:pos x="0" y="75"/>
                </a:cxn>
              </a:cxnLst>
              <a:rect l="0" t="0" r="r" b="b"/>
              <a:pathLst>
                <a:path w="160" h="227">
                  <a:moveTo>
                    <a:pt x="0" y="75"/>
                  </a:moveTo>
                  <a:lnTo>
                    <a:pt x="24" y="106"/>
                  </a:lnTo>
                  <a:lnTo>
                    <a:pt x="54" y="130"/>
                  </a:lnTo>
                  <a:lnTo>
                    <a:pt x="47" y="193"/>
                  </a:lnTo>
                  <a:lnTo>
                    <a:pt x="65" y="227"/>
                  </a:lnTo>
                  <a:lnTo>
                    <a:pt x="160" y="213"/>
                  </a:lnTo>
                  <a:lnTo>
                    <a:pt x="106" y="143"/>
                  </a:lnTo>
                  <a:lnTo>
                    <a:pt x="143" y="83"/>
                  </a:lnTo>
                  <a:lnTo>
                    <a:pt x="48" y="0"/>
                  </a:lnTo>
                  <a:lnTo>
                    <a:pt x="17" y="24"/>
                  </a:lnTo>
                  <a:lnTo>
                    <a:pt x="29" y="46"/>
                  </a:lnTo>
                  <a:lnTo>
                    <a:pt x="0" y="7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6" name="30467355.75234.1253.62555">
              <a:extLst>
                <a:ext uri="{FF2B5EF4-FFF2-40B4-BE49-F238E27FC236}">
                  <a16:creationId xmlns:a16="http://schemas.microsoft.com/office/drawing/2014/main" id="{0625D054-55FD-43F2-8D91-1AB003B00841}"/>
                </a:ext>
              </a:extLst>
            </p:cNvPr>
            <p:cNvSpPr>
              <a:spLocks noChangeAspect="1"/>
            </p:cNvSpPr>
            <p:nvPr/>
          </p:nvSpPr>
          <p:spPr bwMode="gray">
            <a:xfrm>
              <a:off x="3427332" y="4061884"/>
              <a:ext cx="79883" cy="55506"/>
            </a:xfrm>
            <a:custGeom>
              <a:avLst/>
              <a:gdLst/>
              <a:ahLst/>
              <a:cxnLst>
                <a:cxn ang="0">
                  <a:pos x="0" y="46"/>
                </a:cxn>
                <a:cxn ang="0">
                  <a:pos x="65" y="45"/>
                </a:cxn>
                <a:cxn ang="0">
                  <a:pos x="34" y="4"/>
                </a:cxn>
                <a:cxn ang="0">
                  <a:pos x="86" y="0"/>
                </a:cxn>
                <a:cxn ang="0">
                  <a:pos x="86" y="63"/>
                </a:cxn>
                <a:cxn ang="0">
                  <a:pos x="0" y="46"/>
                </a:cxn>
              </a:cxnLst>
              <a:rect l="0" t="0" r="r" b="b"/>
              <a:pathLst>
                <a:path w="86" h="63">
                  <a:moveTo>
                    <a:pt x="0" y="46"/>
                  </a:moveTo>
                  <a:lnTo>
                    <a:pt x="65" y="45"/>
                  </a:lnTo>
                  <a:lnTo>
                    <a:pt x="34" y="4"/>
                  </a:lnTo>
                  <a:lnTo>
                    <a:pt x="86" y="0"/>
                  </a:lnTo>
                  <a:lnTo>
                    <a:pt x="86" y="63"/>
                  </a:lnTo>
                  <a:lnTo>
                    <a:pt x="0" y="4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7" name="30468363.375205.8755.62511.55">
              <a:extLst>
                <a:ext uri="{FF2B5EF4-FFF2-40B4-BE49-F238E27FC236}">
                  <a16:creationId xmlns:a16="http://schemas.microsoft.com/office/drawing/2014/main" id="{A203FC18-50A9-48FB-95AF-72556897277A}"/>
                </a:ext>
              </a:extLst>
            </p:cNvPr>
            <p:cNvSpPr>
              <a:spLocks noChangeAspect="1"/>
            </p:cNvSpPr>
            <p:nvPr/>
          </p:nvSpPr>
          <p:spPr bwMode="gray">
            <a:xfrm>
              <a:off x="2974655" y="4182989"/>
              <a:ext cx="184493" cy="92509"/>
            </a:xfrm>
            <a:custGeom>
              <a:avLst/>
              <a:gdLst/>
              <a:ahLst/>
              <a:cxnLst>
                <a:cxn ang="0">
                  <a:pos x="0" y="50"/>
                </a:cxn>
                <a:cxn ang="0">
                  <a:pos x="36" y="6"/>
                </a:cxn>
                <a:cxn ang="0">
                  <a:pos x="146" y="0"/>
                </a:cxn>
                <a:cxn ang="0">
                  <a:pos x="204" y="31"/>
                </a:cxn>
                <a:cxn ang="0">
                  <a:pos x="156" y="38"/>
                </a:cxn>
                <a:cxn ang="0">
                  <a:pos x="70" y="101"/>
                </a:cxn>
                <a:cxn ang="0">
                  <a:pos x="55" y="84"/>
                </a:cxn>
                <a:cxn ang="0">
                  <a:pos x="0" y="50"/>
                </a:cxn>
              </a:cxnLst>
              <a:rect l="0" t="0" r="r" b="b"/>
              <a:pathLst>
                <a:path w="204" h="101">
                  <a:moveTo>
                    <a:pt x="0" y="50"/>
                  </a:moveTo>
                  <a:lnTo>
                    <a:pt x="36" y="6"/>
                  </a:lnTo>
                  <a:lnTo>
                    <a:pt x="146" y="0"/>
                  </a:lnTo>
                  <a:lnTo>
                    <a:pt x="204" y="31"/>
                  </a:lnTo>
                  <a:lnTo>
                    <a:pt x="156" y="38"/>
                  </a:lnTo>
                  <a:lnTo>
                    <a:pt x="70" y="101"/>
                  </a:lnTo>
                  <a:lnTo>
                    <a:pt x="55" y="84"/>
                  </a:lnTo>
                  <a:lnTo>
                    <a:pt x="0" y="5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8" name="30469245.875328.259.62520.6255">
              <a:extLst>
                <a:ext uri="{FF2B5EF4-FFF2-40B4-BE49-F238E27FC236}">
                  <a16:creationId xmlns:a16="http://schemas.microsoft.com/office/drawing/2014/main" id="{5BA15340-D20F-498B-9A9D-62574008C416}"/>
                </a:ext>
              </a:extLst>
            </p:cNvPr>
            <p:cNvSpPr>
              <a:spLocks noChangeAspect="1"/>
            </p:cNvSpPr>
            <p:nvPr/>
          </p:nvSpPr>
          <p:spPr bwMode="gray">
            <a:xfrm>
              <a:off x="4937528" y="2280653"/>
              <a:ext cx="329046" cy="158106"/>
            </a:xfrm>
            <a:custGeom>
              <a:avLst/>
              <a:gdLst/>
              <a:ahLst/>
              <a:cxnLst>
                <a:cxn ang="0">
                  <a:pos x="0" y="60"/>
                </a:cxn>
                <a:cxn ang="0">
                  <a:pos x="23" y="52"/>
                </a:cxn>
                <a:cxn ang="0">
                  <a:pos x="9" y="37"/>
                </a:cxn>
                <a:cxn ang="0">
                  <a:pos x="41" y="47"/>
                </a:cxn>
                <a:cxn ang="0">
                  <a:pos x="27" y="19"/>
                </a:cxn>
                <a:cxn ang="0">
                  <a:pos x="63" y="36"/>
                </a:cxn>
                <a:cxn ang="0">
                  <a:pos x="45" y="3"/>
                </a:cxn>
                <a:cxn ang="0">
                  <a:pos x="103" y="29"/>
                </a:cxn>
                <a:cxn ang="0">
                  <a:pos x="107" y="71"/>
                </a:cxn>
                <a:cxn ang="0">
                  <a:pos x="137" y="23"/>
                </a:cxn>
                <a:cxn ang="0">
                  <a:pos x="167" y="41"/>
                </a:cxn>
                <a:cxn ang="0">
                  <a:pos x="191" y="18"/>
                </a:cxn>
                <a:cxn ang="0">
                  <a:pos x="211" y="48"/>
                </a:cxn>
                <a:cxn ang="0">
                  <a:pos x="206" y="19"/>
                </a:cxn>
                <a:cxn ang="0">
                  <a:pos x="266" y="19"/>
                </a:cxn>
                <a:cxn ang="0">
                  <a:pos x="274" y="0"/>
                </a:cxn>
                <a:cxn ang="0">
                  <a:pos x="301" y="18"/>
                </a:cxn>
                <a:cxn ang="0">
                  <a:pos x="333" y="11"/>
                </a:cxn>
                <a:cxn ang="0">
                  <a:pos x="310" y="23"/>
                </a:cxn>
                <a:cxn ang="0">
                  <a:pos x="366" y="77"/>
                </a:cxn>
                <a:cxn ang="0">
                  <a:pos x="318" y="124"/>
                </a:cxn>
                <a:cxn ang="0">
                  <a:pos x="182" y="169"/>
                </a:cxn>
                <a:cxn ang="0">
                  <a:pos x="61" y="148"/>
                </a:cxn>
                <a:cxn ang="0">
                  <a:pos x="90" y="104"/>
                </a:cxn>
                <a:cxn ang="0">
                  <a:pos x="19" y="89"/>
                </a:cxn>
                <a:cxn ang="0">
                  <a:pos x="88" y="85"/>
                </a:cxn>
                <a:cxn ang="0">
                  <a:pos x="63" y="73"/>
                </a:cxn>
                <a:cxn ang="0">
                  <a:pos x="89" y="60"/>
                </a:cxn>
                <a:cxn ang="0">
                  <a:pos x="0" y="60"/>
                </a:cxn>
              </a:cxnLst>
              <a:rect l="0" t="0" r="r" b="b"/>
              <a:pathLst>
                <a:path w="366" h="169">
                  <a:moveTo>
                    <a:pt x="0" y="60"/>
                  </a:moveTo>
                  <a:lnTo>
                    <a:pt x="23" y="52"/>
                  </a:lnTo>
                  <a:lnTo>
                    <a:pt x="9" y="37"/>
                  </a:lnTo>
                  <a:lnTo>
                    <a:pt x="41" y="47"/>
                  </a:lnTo>
                  <a:lnTo>
                    <a:pt x="27" y="19"/>
                  </a:lnTo>
                  <a:lnTo>
                    <a:pt x="63" y="36"/>
                  </a:lnTo>
                  <a:lnTo>
                    <a:pt x="45" y="3"/>
                  </a:lnTo>
                  <a:lnTo>
                    <a:pt x="103" y="29"/>
                  </a:lnTo>
                  <a:lnTo>
                    <a:pt x="107" y="71"/>
                  </a:lnTo>
                  <a:lnTo>
                    <a:pt x="137" y="23"/>
                  </a:lnTo>
                  <a:lnTo>
                    <a:pt x="167" y="41"/>
                  </a:lnTo>
                  <a:lnTo>
                    <a:pt x="191" y="18"/>
                  </a:lnTo>
                  <a:lnTo>
                    <a:pt x="211" y="48"/>
                  </a:lnTo>
                  <a:lnTo>
                    <a:pt x="206" y="19"/>
                  </a:lnTo>
                  <a:lnTo>
                    <a:pt x="266" y="19"/>
                  </a:lnTo>
                  <a:lnTo>
                    <a:pt x="274" y="0"/>
                  </a:lnTo>
                  <a:lnTo>
                    <a:pt x="301" y="18"/>
                  </a:lnTo>
                  <a:lnTo>
                    <a:pt x="333" y="11"/>
                  </a:lnTo>
                  <a:lnTo>
                    <a:pt x="310" y="23"/>
                  </a:lnTo>
                  <a:lnTo>
                    <a:pt x="366" y="77"/>
                  </a:lnTo>
                  <a:lnTo>
                    <a:pt x="318" y="124"/>
                  </a:lnTo>
                  <a:lnTo>
                    <a:pt x="182" y="169"/>
                  </a:lnTo>
                  <a:lnTo>
                    <a:pt x="61" y="148"/>
                  </a:lnTo>
                  <a:lnTo>
                    <a:pt x="90" y="104"/>
                  </a:lnTo>
                  <a:lnTo>
                    <a:pt x="19" y="89"/>
                  </a:lnTo>
                  <a:lnTo>
                    <a:pt x="88" y="85"/>
                  </a:lnTo>
                  <a:lnTo>
                    <a:pt x="63" y="73"/>
                  </a:lnTo>
                  <a:lnTo>
                    <a:pt x="89" y="60"/>
                  </a:lnTo>
                  <a:lnTo>
                    <a:pt x="0" y="6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39" name="30482330.25153.87535.7556.8755">
              <a:extLst>
                <a:ext uri="{FF2B5EF4-FFF2-40B4-BE49-F238E27FC236}">
                  <a16:creationId xmlns:a16="http://schemas.microsoft.com/office/drawing/2014/main" id="{D0EC4880-68AA-4791-9529-5318654AF622}"/>
                </a:ext>
              </a:extLst>
            </p:cNvPr>
            <p:cNvSpPr>
              <a:spLocks noChangeAspect="1"/>
            </p:cNvSpPr>
            <p:nvPr/>
          </p:nvSpPr>
          <p:spPr bwMode="gray">
            <a:xfrm>
              <a:off x="2139675" y="3648113"/>
              <a:ext cx="911061" cy="580287"/>
            </a:xfrm>
            <a:custGeom>
              <a:avLst/>
              <a:gdLst/>
              <a:ahLst/>
              <a:cxnLst>
                <a:cxn ang="0">
                  <a:pos x="0" y="7"/>
                </a:cxn>
                <a:cxn ang="0">
                  <a:pos x="48" y="106"/>
                </a:cxn>
                <a:cxn ang="0">
                  <a:pos x="105" y="152"/>
                </a:cxn>
                <a:cxn ang="0">
                  <a:pos x="100" y="179"/>
                </a:cxn>
                <a:cxn ang="0">
                  <a:pos x="72" y="185"/>
                </a:cxn>
                <a:cxn ang="0">
                  <a:pos x="135" y="207"/>
                </a:cxn>
                <a:cxn ang="0">
                  <a:pos x="169" y="252"/>
                </a:cxn>
                <a:cxn ang="0">
                  <a:pos x="166" y="289"/>
                </a:cxn>
                <a:cxn ang="0">
                  <a:pos x="239" y="351"/>
                </a:cxn>
                <a:cxn ang="0">
                  <a:pos x="256" y="330"/>
                </a:cxn>
                <a:cxn ang="0">
                  <a:pos x="85" y="91"/>
                </a:cxn>
                <a:cxn ang="0">
                  <a:pos x="74" y="26"/>
                </a:cxn>
                <a:cxn ang="0">
                  <a:pos x="111" y="43"/>
                </a:cxn>
                <a:cxn ang="0">
                  <a:pos x="175" y="147"/>
                </a:cxn>
                <a:cxn ang="0">
                  <a:pos x="264" y="226"/>
                </a:cxn>
                <a:cxn ang="0">
                  <a:pos x="261" y="256"/>
                </a:cxn>
                <a:cxn ang="0">
                  <a:pos x="385" y="363"/>
                </a:cxn>
                <a:cxn ang="0">
                  <a:pos x="400" y="409"/>
                </a:cxn>
                <a:cxn ang="0">
                  <a:pos x="385" y="439"/>
                </a:cxn>
                <a:cxn ang="0">
                  <a:pos x="414" y="480"/>
                </a:cxn>
                <a:cxn ang="0">
                  <a:pos x="653" y="592"/>
                </a:cxn>
                <a:cxn ang="0">
                  <a:pos x="757" y="584"/>
                </a:cxn>
                <a:cxn ang="0">
                  <a:pos x="826" y="637"/>
                </a:cxn>
                <a:cxn ang="0">
                  <a:pos x="854" y="585"/>
                </a:cxn>
                <a:cxn ang="0">
                  <a:pos x="888" y="584"/>
                </a:cxn>
                <a:cxn ang="0">
                  <a:pos x="852" y="540"/>
                </a:cxn>
                <a:cxn ang="0">
                  <a:pos x="929" y="522"/>
                </a:cxn>
                <a:cxn ang="0">
                  <a:pos x="957" y="502"/>
                </a:cxn>
                <a:cxn ang="0">
                  <a:pos x="966" y="491"/>
                </a:cxn>
                <a:cxn ang="0">
                  <a:pos x="975" y="516"/>
                </a:cxn>
                <a:cxn ang="0">
                  <a:pos x="1007" y="410"/>
                </a:cxn>
                <a:cxn ang="0">
                  <a:pos x="965" y="394"/>
                </a:cxn>
                <a:cxn ang="0">
                  <a:pos x="889" y="410"/>
                </a:cxn>
                <a:cxn ang="0">
                  <a:pos x="849" y="502"/>
                </a:cxn>
                <a:cxn ang="0">
                  <a:pos x="752" y="512"/>
                </a:cxn>
                <a:cxn ang="0">
                  <a:pos x="712" y="489"/>
                </a:cxn>
                <a:cxn ang="0">
                  <a:pos x="647" y="376"/>
                </a:cxn>
                <a:cxn ang="0">
                  <a:pos x="645" y="289"/>
                </a:cxn>
                <a:cxn ang="0">
                  <a:pos x="667" y="247"/>
                </a:cxn>
                <a:cxn ang="0">
                  <a:pos x="601" y="225"/>
                </a:cxn>
                <a:cxn ang="0">
                  <a:pos x="517" y="105"/>
                </a:cxn>
                <a:cxn ang="0">
                  <a:pos x="447" y="131"/>
                </a:cxn>
                <a:cxn ang="0">
                  <a:pos x="355" y="32"/>
                </a:cxn>
                <a:cxn ang="0">
                  <a:pos x="204" y="53"/>
                </a:cxn>
                <a:cxn ang="0">
                  <a:pos x="77" y="0"/>
                </a:cxn>
                <a:cxn ang="0">
                  <a:pos x="0" y="7"/>
                </a:cxn>
              </a:cxnLst>
              <a:rect l="0" t="0" r="r" b="b"/>
              <a:pathLst>
                <a:path w="1007" h="637">
                  <a:moveTo>
                    <a:pt x="0" y="7"/>
                  </a:moveTo>
                  <a:lnTo>
                    <a:pt x="48" y="106"/>
                  </a:lnTo>
                  <a:lnTo>
                    <a:pt x="105" y="152"/>
                  </a:lnTo>
                  <a:lnTo>
                    <a:pt x="100" y="179"/>
                  </a:lnTo>
                  <a:lnTo>
                    <a:pt x="72" y="185"/>
                  </a:lnTo>
                  <a:lnTo>
                    <a:pt x="135" y="207"/>
                  </a:lnTo>
                  <a:lnTo>
                    <a:pt x="169" y="252"/>
                  </a:lnTo>
                  <a:lnTo>
                    <a:pt x="166" y="289"/>
                  </a:lnTo>
                  <a:lnTo>
                    <a:pt x="239" y="351"/>
                  </a:lnTo>
                  <a:lnTo>
                    <a:pt x="256" y="330"/>
                  </a:lnTo>
                  <a:lnTo>
                    <a:pt x="85" y="91"/>
                  </a:lnTo>
                  <a:lnTo>
                    <a:pt x="74" y="26"/>
                  </a:lnTo>
                  <a:lnTo>
                    <a:pt x="111" y="43"/>
                  </a:lnTo>
                  <a:lnTo>
                    <a:pt x="175" y="147"/>
                  </a:lnTo>
                  <a:lnTo>
                    <a:pt x="264" y="226"/>
                  </a:lnTo>
                  <a:lnTo>
                    <a:pt x="261" y="256"/>
                  </a:lnTo>
                  <a:lnTo>
                    <a:pt x="385" y="363"/>
                  </a:lnTo>
                  <a:lnTo>
                    <a:pt x="400" y="409"/>
                  </a:lnTo>
                  <a:lnTo>
                    <a:pt x="385" y="439"/>
                  </a:lnTo>
                  <a:lnTo>
                    <a:pt x="414" y="480"/>
                  </a:lnTo>
                  <a:lnTo>
                    <a:pt x="653" y="592"/>
                  </a:lnTo>
                  <a:lnTo>
                    <a:pt x="757" y="584"/>
                  </a:lnTo>
                  <a:lnTo>
                    <a:pt x="826" y="637"/>
                  </a:lnTo>
                  <a:lnTo>
                    <a:pt x="854" y="585"/>
                  </a:lnTo>
                  <a:lnTo>
                    <a:pt x="888" y="584"/>
                  </a:lnTo>
                  <a:lnTo>
                    <a:pt x="852" y="540"/>
                  </a:lnTo>
                  <a:lnTo>
                    <a:pt x="929" y="522"/>
                  </a:lnTo>
                  <a:lnTo>
                    <a:pt x="957" y="502"/>
                  </a:lnTo>
                  <a:lnTo>
                    <a:pt x="966" y="491"/>
                  </a:lnTo>
                  <a:lnTo>
                    <a:pt x="975" y="516"/>
                  </a:lnTo>
                  <a:lnTo>
                    <a:pt x="1007" y="410"/>
                  </a:lnTo>
                  <a:lnTo>
                    <a:pt x="965" y="394"/>
                  </a:lnTo>
                  <a:lnTo>
                    <a:pt x="889" y="410"/>
                  </a:lnTo>
                  <a:lnTo>
                    <a:pt x="849" y="502"/>
                  </a:lnTo>
                  <a:lnTo>
                    <a:pt x="752" y="512"/>
                  </a:lnTo>
                  <a:lnTo>
                    <a:pt x="712" y="489"/>
                  </a:lnTo>
                  <a:lnTo>
                    <a:pt x="647" y="376"/>
                  </a:lnTo>
                  <a:lnTo>
                    <a:pt x="645" y="289"/>
                  </a:lnTo>
                  <a:lnTo>
                    <a:pt x="667" y="247"/>
                  </a:lnTo>
                  <a:lnTo>
                    <a:pt x="601" y="225"/>
                  </a:lnTo>
                  <a:lnTo>
                    <a:pt x="517" y="105"/>
                  </a:lnTo>
                  <a:lnTo>
                    <a:pt x="447" y="131"/>
                  </a:lnTo>
                  <a:lnTo>
                    <a:pt x="355" y="32"/>
                  </a:lnTo>
                  <a:lnTo>
                    <a:pt x="204" y="53"/>
                  </a:lnTo>
                  <a:lnTo>
                    <a:pt x="77" y="0"/>
                  </a:lnTo>
                  <a:lnTo>
                    <a:pt x="0" y="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0" name="30489365.125209.8757.757.55">
              <a:extLst>
                <a:ext uri="{FF2B5EF4-FFF2-40B4-BE49-F238E27FC236}">
                  <a16:creationId xmlns:a16="http://schemas.microsoft.com/office/drawing/2014/main" id="{41F69462-BED0-478E-8D29-92F8A9055417}"/>
                </a:ext>
              </a:extLst>
            </p:cNvPr>
            <p:cNvSpPr>
              <a:spLocks noChangeAspect="1"/>
            </p:cNvSpPr>
            <p:nvPr/>
          </p:nvSpPr>
          <p:spPr bwMode="gray">
            <a:xfrm>
              <a:off x="3037420" y="4213263"/>
              <a:ext cx="121727" cy="124467"/>
            </a:xfrm>
            <a:custGeom>
              <a:avLst/>
              <a:gdLst/>
              <a:ahLst/>
              <a:cxnLst>
                <a:cxn ang="0">
                  <a:pos x="0" y="70"/>
                </a:cxn>
                <a:cxn ang="0">
                  <a:pos x="54" y="136"/>
                </a:cxn>
                <a:cxn ang="0">
                  <a:pos x="123" y="139"/>
                </a:cxn>
                <a:cxn ang="0">
                  <a:pos x="134" y="0"/>
                </a:cxn>
                <a:cxn ang="0">
                  <a:pos x="86" y="7"/>
                </a:cxn>
                <a:cxn ang="0">
                  <a:pos x="0" y="70"/>
                </a:cxn>
              </a:cxnLst>
              <a:rect l="0" t="0" r="r" b="b"/>
              <a:pathLst>
                <a:path w="134" h="139">
                  <a:moveTo>
                    <a:pt x="0" y="70"/>
                  </a:moveTo>
                  <a:lnTo>
                    <a:pt x="54" y="136"/>
                  </a:lnTo>
                  <a:lnTo>
                    <a:pt x="123" y="139"/>
                  </a:lnTo>
                  <a:lnTo>
                    <a:pt x="134" y="0"/>
                  </a:lnTo>
                  <a:lnTo>
                    <a:pt x="86" y="7"/>
                  </a:lnTo>
                  <a:lnTo>
                    <a:pt x="0" y="7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1" name="30491375.252184.7510.6255">
              <a:extLst>
                <a:ext uri="{FF2B5EF4-FFF2-40B4-BE49-F238E27FC236}">
                  <a16:creationId xmlns:a16="http://schemas.microsoft.com/office/drawing/2014/main" id="{BB6908B7-5AC4-400C-B6AF-668C0A9EF026}"/>
                </a:ext>
              </a:extLst>
            </p:cNvPr>
            <p:cNvSpPr>
              <a:spLocks noChangeAspect="1"/>
            </p:cNvSpPr>
            <p:nvPr/>
          </p:nvSpPr>
          <p:spPr bwMode="gray">
            <a:xfrm>
              <a:off x="3168662" y="4376418"/>
              <a:ext cx="169276" cy="77372"/>
            </a:xfrm>
            <a:custGeom>
              <a:avLst/>
              <a:gdLst/>
              <a:ahLst/>
              <a:cxnLst>
                <a:cxn ang="0">
                  <a:pos x="0" y="45"/>
                </a:cxn>
                <a:cxn ang="0">
                  <a:pos x="15" y="0"/>
                </a:cxn>
                <a:cxn ang="0">
                  <a:pos x="55" y="27"/>
                </a:cxn>
                <a:cxn ang="0">
                  <a:pos x="127" y="1"/>
                </a:cxn>
                <a:cxn ang="0">
                  <a:pos x="189" y="33"/>
                </a:cxn>
                <a:cxn ang="0">
                  <a:pos x="172" y="81"/>
                </a:cxn>
                <a:cxn ang="0">
                  <a:pos x="167" y="41"/>
                </a:cxn>
                <a:cxn ang="0">
                  <a:pos x="127" y="26"/>
                </a:cxn>
                <a:cxn ang="0">
                  <a:pos x="88" y="51"/>
                </a:cxn>
                <a:cxn ang="0">
                  <a:pos x="98" y="73"/>
                </a:cxn>
                <a:cxn ang="0">
                  <a:pos x="81" y="84"/>
                </a:cxn>
                <a:cxn ang="0">
                  <a:pos x="0" y="45"/>
                </a:cxn>
              </a:cxnLst>
              <a:rect l="0" t="0" r="r" b="b"/>
              <a:pathLst>
                <a:path w="189" h="84">
                  <a:moveTo>
                    <a:pt x="0" y="45"/>
                  </a:moveTo>
                  <a:lnTo>
                    <a:pt x="15" y="0"/>
                  </a:lnTo>
                  <a:lnTo>
                    <a:pt x="55" y="27"/>
                  </a:lnTo>
                  <a:lnTo>
                    <a:pt x="127" y="1"/>
                  </a:lnTo>
                  <a:lnTo>
                    <a:pt x="189" y="33"/>
                  </a:lnTo>
                  <a:lnTo>
                    <a:pt x="172" y="81"/>
                  </a:lnTo>
                  <a:lnTo>
                    <a:pt x="167" y="41"/>
                  </a:lnTo>
                  <a:lnTo>
                    <a:pt x="127" y="26"/>
                  </a:lnTo>
                  <a:lnTo>
                    <a:pt x="88" y="51"/>
                  </a:lnTo>
                  <a:lnTo>
                    <a:pt x="98" y="73"/>
                  </a:lnTo>
                  <a:lnTo>
                    <a:pt x="81" y="84"/>
                  </a:lnTo>
                  <a:lnTo>
                    <a:pt x="0" y="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2" name="30495429.75256.3751615.55">
              <a:extLst>
                <a:ext uri="{FF2B5EF4-FFF2-40B4-BE49-F238E27FC236}">
                  <a16:creationId xmlns:a16="http://schemas.microsoft.com/office/drawing/2014/main" id="{C2CE343E-2FF7-455D-90E9-08123A84A921}"/>
                </a:ext>
              </a:extLst>
            </p:cNvPr>
            <p:cNvSpPr>
              <a:spLocks noChangeAspect="1"/>
            </p:cNvSpPr>
            <p:nvPr/>
          </p:nvSpPr>
          <p:spPr bwMode="gray">
            <a:xfrm>
              <a:off x="3781105" y="5259465"/>
              <a:ext cx="251064" cy="259026"/>
            </a:xfrm>
            <a:custGeom>
              <a:avLst/>
              <a:gdLst/>
              <a:ahLst/>
              <a:cxnLst>
                <a:cxn ang="0">
                  <a:pos x="0" y="106"/>
                </a:cxn>
                <a:cxn ang="0">
                  <a:pos x="21" y="16"/>
                </a:cxn>
                <a:cxn ang="0">
                  <a:pos x="118" y="0"/>
                </a:cxn>
                <a:cxn ang="0">
                  <a:pos x="151" y="30"/>
                </a:cxn>
                <a:cxn ang="0">
                  <a:pos x="159" y="97"/>
                </a:cxn>
                <a:cxn ang="0">
                  <a:pos x="228" y="108"/>
                </a:cxn>
                <a:cxn ang="0">
                  <a:pos x="238" y="155"/>
                </a:cxn>
                <a:cxn ang="0">
                  <a:pos x="272" y="164"/>
                </a:cxn>
                <a:cxn ang="0">
                  <a:pos x="267" y="223"/>
                </a:cxn>
                <a:cxn ang="0">
                  <a:pos x="232" y="283"/>
                </a:cxn>
                <a:cxn ang="0">
                  <a:pos x="142" y="279"/>
                </a:cxn>
                <a:cxn ang="0">
                  <a:pos x="161" y="212"/>
                </a:cxn>
                <a:cxn ang="0">
                  <a:pos x="0" y="106"/>
                </a:cxn>
              </a:cxnLst>
              <a:rect l="0" t="0" r="r" b="b"/>
              <a:pathLst>
                <a:path w="272" h="283">
                  <a:moveTo>
                    <a:pt x="0" y="106"/>
                  </a:moveTo>
                  <a:lnTo>
                    <a:pt x="21" y="16"/>
                  </a:lnTo>
                  <a:lnTo>
                    <a:pt x="118" y="0"/>
                  </a:lnTo>
                  <a:lnTo>
                    <a:pt x="151" y="30"/>
                  </a:lnTo>
                  <a:lnTo>
                    <a:pt x="159" y="97"/>
                  </a:lnTo>
                  <a:lnTo>
                    <a:pt x="228" y="108"/>
                  </a:lnTo>
                  <a:lnTo>
                    <a:pt x="238" y="155"/>
                  </a:lnTo>
                  <a:lnTo>
                    <a:pt x="272" y="164"/>
                  </a:lnTo>
                  <a:lnTo>
                    <a:pt x="267" y="223"/>
                  </a:lnTo>
                  <a:lnTo>
                    <a:pt x="232" y="283"/>
                  </a:lnTo>
                  <a:lnTo>
                    <a:pt x="142" y="279"/>
                  </a:lnTo>
                  <a:lnTo>
                    <a:pt x="161" y="212"/>
                  </a:lnTo>
                  <a:lnTo>
                    <a:pt x="0" y="10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3" name="30496393.625221.12534.12523.6255">
              <a:extLst>
                <a:ext uri="{FF2B5EF4-FFF2-40B4-BE49-F238E27FC236}">
                  <a16:creationId xmlns:a16="http://schemas.microsoft.com/office/drawing/2014/main" id="{32A367FE-ED6C-44C8-B3DD-115AD3903E63}"/>
                </a:ext>
              </a:extLst>
            </p:cNvPr>
            <p:cNvSpPr>
              <a:spLocks noChangeAspect="1"/>
            </p:cNvSpPr>
            <p:nvPr/>
          </p:nvSpPr>
          <p:spPr bwMode="gray">
            <a:xfrm>
              <a:off x="3218112" y="4674132"/>
              <a:ext cx="380401" cy="551694"/>
            </a:xfrm>
            <a:custGeom>
              <a:avLst/>
              <a:gdLst/>
              <a:ahLst/>
              <a:cxnLst>
                <a:cxn ang="0">
                  <a:pos x="0" y="142"/>
                </a:cxn>
                <a:cxn ang="0">
                  <a:pos x="8" y="190"/>
                </a:cxn>
                <a:cxn ang="0">
                  <a:pos x="83" y="274"/>
                </a:cxn>
                <a:cxn ang="0">
                  <a:pos x="167" y="472"/>
                </a:cxn>
                <a:cxn ang="0">
                  <a:pos x="358" y="604"/>
                </a:cxn>
                <a:cxn ang="0">
                  <a:pos x="391" y="580"/>
                </a:cxn>
                <a:cxn ang="0">
                  <a:pos x="409" y="538"/>
                </a:cxn>
                <a:cxn ang="0">
                  <a:pos x="380" y="523"/>
                </a:cxn>
                <a:cxn ang="0">
                  <a:pos x="398" y="512"/>
                </a:cxn>
                <a:cxn ang="0">
                  <a:pos x="419" y="408"/>
                </a:cxn>
                <a:cxn ang="0">
                  <a:pos x="389" y="360"/>
                </a:cxn>
                <a:cxn ang="0">
                  <a:pos x="360" y="360"/>
                </a:cxn>
                <a:cxn ang="0">
                  <a:pos x="360" y="305"/>
                </a:cxn>
                <a:cxn ang="0">
                  <a:pos x="324" y="329"/>
                </a:cxn>
                <a:cxn ang="0">
                  <a:pos x="279" y="308"/>
                </a:cxn>
                <a:cxn ang="0">
                  <a:pos x="250" y="246"/>
                </a:cxn>
                <a:cxn ang="0">
                  <a:pos x="296" y="169"/>
                </a:cxn>
                <a:cxn ang="0">
                  <a:pos x="380" y="135"/>
                </a:cxn>
                <a:cxn ang="0">
                  <a:pos x="357" y="121"/>
                </a:cxn>
                <a:cxn ang="0">
                  <a:pos x="371" y="81"/>
                </a:cxn>
                <a:cxn ang="0">
                  <a:pos x="276" y="74"/>
                </a:cxn>
                <a:cxn ang="0">
                  <a:pos x="203" y="0"/>
                </a:cxn>
                <a:cxn ang="0">
                  <a:pos x="187" y="55"/>
                </a:cxn>
                <a:cxn ang="0">
                  <a:pos x="111" y="100"/>
                </a:cxn>
                <a:cxn ang="0">
                  <a:pos x="72" y="158"/>
                </a:cxn>
                <a:cxn ang="0">
                  <a:pos x="29" y="148"/>
                </a:cxn>
                <a:cxn ang="0">
                  <a:pos x="34" y="114"/>
                </a:cxn>
                <a:cxn ang="0">
                  <a:pos x="0" y="142"/>
                </a:cxn>
              </a:cxnLst>
              <a:rect l="0" t="0" r="r" b="b"/>
              <a:pathLst>
                <a:path w="419" h="604">
                  <a:moveTo>
                    <a:pt x="0" y="142"/>
                  </a:moveTo>
                  <a:lnTo>
                    <a:pt x="8" y="190"/>
                  </a:lnTo>
                  <a:lnTo>
                    <a:pt x="83" y="274"/>
                  </a:lnTo>
                  <a:lnTo>
                    <a:pt x="167" y="472"/>
                  </a:lnTo>
                  <a:lnTo>
                    <a:pt x="358" y="604"/>
                  </a:lnTo>
                  <a:lnTo>
                    <a:pt x="391" y="580"/>
                  </a:lnTo>
                  <a:lnTo>
                    <a:pt x="409" y="538"/>
                  </a:lnTo>
                  <a:lnTo>
                    <a:pt x="380" y="523"/>
                  </a:lnTo>
                  <a:lnTo>
                    <a:pt x="398" y="512"/>
                  </a:lnTo>
                  <a:lnTo>
                    <a:pt x="419" y="408"/>
                  </a:lnTo>
                  <a:lnTo>
                    <a:pt x="389" y="360"/>
                  </a:lnTo>
                  <a:lnTo>
                    <a:pt x="360" y="360"/>
                  </a:lnTo>
                  <a:lnTo>
                    <a:pt x="360" y="305"/>
                  </a:lnTo>
                  <a:lnTo>
                    <a:pt x="324" y="329"/>
                  </a:lnTo>
                  <a:lnTo>
                    <a:pt x="279" y="308"/>
                  </a:lnTo>
                  <a:lnTo>
                    <a:pt x="250" y="246"/>
                  </a:lnTo>
                  <a:lnTo>
                    <a:pt x="296" y="169"/>
                  </a:lnTo>
                  <a:lnTo>
                    <a:pt x="380" y="135"/>
                  </a:lnTo>
                  <a:lnTo>
                    <a:pt x="357" y="121"/>
                  </a:lnTo>
                  <a:lnTo>
                    <a:pt x="371" y="81"/>
                  </a:lnTo>
                  <a:lnTo>
                    <a:pt x="276" y="74"/>
                  </a:lnTo>
                  <a:lnTo>
                    <a:pt x="203" y="0"/>
                  </a:lnTo>
                  <a:lnTo>
                    <a:pt x="187" y="55"/>
                  </a:lnTo>
                  <a:lnTo>
                    <a:pt x="111" y="100"/>
                  </a:lnTo>
                  <a:lnTo>
                    <a:pt x="72" y="158"/>
                  </a:lnTo>
                  <a:lnTo>
                    <a:pt x="29" y="148"/>
                  </a:lnTo>
                  <a:lnTo>
                    <a:pt x="34" y="114"/>
                  </a:lnTo>
                  <a:lnTo>
                    <a:pt x="0" y="14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4" name="30514382.52657.257.755">
              <a:extLst>
                <a:ext uri="{FF2B5EF4-FFF2-40B4-BE49-F238E27FC236}">
                  <a16:creationId xmlns:a16="http://schemas.microsoft.com/office/drawing/2014/main" id="{ADCCFAC7-95E9-4D86-B948-1B14FA5B8A1C}"/>
                </a:ext>
              </a:extLst>
            </p:cNvPr>
            <p:cNvSpPr>
              <a:spLocks noChangeAspect="1"/>
            </p:cNvSpPr>
            <p:nvPr/>
          </p:nvSpPr>
          <p:spPr bwMode="gray">
            <a:xfrm>
              <a:off x="3921854" y="4492475"/>
              <a:ext cx="121727" cy="119422"/>
            </a:xfrm>
            <a:custGeom>
              <a:avLst/>
              <a:gdLst/>
              <a:ahLst/>
              <a:cxnLst>
                <a:cxn ang="0">
                  <a:pos x="0" y="60"/>
                </a:cxn>
                <a:cxn ang="0">
                  <a:pos x="37" y="0"/>
                </a:cxn>
                <a:cxn ang="0">
                  <a:pos x="138" y="11"/>
                </a:cxn>
                <a:cxn ang="0">
                  <a:pos x="124" y="121"/>
                </a:cxn>
                <a:cxn ang="0">
                  <a:pos x="54" y="130"/>
                </a:cxn>
                <a:cxn ang="0">
                  <a:pos x="0" y="60"/>
                </a:cxn>
              </a:cxnLst>
              <a:rect l="0" t="0" r="r" b="b"/>
              <a:pathLst>
                <a:path w="138" h="130">
                  <a:moveTo>
                    <a:pt x="0" y="60"/>
                  </a:moveTo>
                  <a:lnTo>
                    <a:pt x="37" y="0"/>
                  </a:lnTo>
                  <a:lnTo>
                    <a:pt x="138" y="11"/>
                  </a:lnTo>
                  <a:lnTo>
                    <a:pt x="124" y="121"/>
                  </a:lnTo>
                  <a:lnTo>
                    <a:pt x="54" y="130"/>
                  </a:lnTo>
                  <a:lnTo>
                    <a:pt x="0" y="6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5" name="30521373.25257.6251.3751.755">
              <a:extLst>
                <a:ext uri="{FF2B5EF4-FFF2-40B4-BE49-F238E27FC236}">
                  <a16:creationId xmlns:a16="http://schemas.microsoft.com/office/drawing/2014/main" id="{DEAC0207-22F0-431B-BE15-785198CDFE6E}"/>
                </a:ext>
              </a:extLst>
            </p:cNvPr>
            <p:cNvSpPr>
              <a:spLocks noChangeAspect="1"/>
            </p:cNvSpPr>
            <p:nvPr/>
          </p:nvSpPr>
          <p:spPr bwMode="gray">
            <a:xfrm>
              <a:off x="3803932" y="4344460"/>
              <a:ext cx="28528" cy="20183"/>
            </a:xfrm>
            <a:custGeom>
              <a:avLst/>
              <a:gdLst/>
              <a:ahLst/>
              <a:cxnLst>
                <a:cxn ang="0">
                  <a:pos x="0" y="23"/>
                </a:cxn>
                <a:cxn ang="0">
                  <a:pos x="31" y="19"/>
                </a:cxn>
                <a:cxn ang="0">
                  <a:pos x="33" y="0"/>
                </a:cxn>
                <a:cxn ang="0">
                  <a:pos x="0" y="23"/>
                </a:cxn>
              </a:cxnLst>
              <a:rect l="0" t="0" r="r" b="b"/>
              <a:pathLst>
                <a:path w="33" h="23">
                  <a:moveTo>
                    <a:pt x="0" y="23"/>
                  </a:moveTo>
                  <a:lnTo>
                    <a:pt x="31" y="19"/>
                  </a:lnTo>
                  <a:lnTo>
                    <a:pt x="33" y="0"/>
                  </a:lnTo>
                  <a:lnTo>
                    <a:pt x="0" y="2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6" name="3053123057.8754956.255">
              <a:extLst>
                <a:ext uri="{FF2B5EF4-FFF2-40B4-BE49-F238E27FC236}">
                  <a16:creationId xmlns:a16="http://schemas.microsoft.com/office/drawing/2014/main" id="{B85DCFDF-34E3-41FF-BACD-372F9F85EA71}"/>
                </a:ext>
              </a:extLst>
            </p:cNvPr>
            <p:cNvSpPr>
              <a:spLocks noChangeAspect="1"/>
            </p:cNvSpPr>
            <p:nvPr/>
          </p:nvSpPr>
          <p:spPr bwMode="gray">
            <a:xfrm>
              <a:off x="600951" y="2024992"/>
              <a:ext cx="901550" cy="793902"/>
            </a:xfrm>
            <a:custGeom>
              <a:avLst/>
              <a:gdLst/>
              <a:ahLst/>
              <a:cxnLst>
                <a:cxn ang="0">
                  <a:pos x="64" y="348"/>
                </a:cxn>
                <a:cxn ang="0">
                  <a:pos x="66" y="386"/>
                </a:cxn>
                <a:cxn ang="0">
                  <a:pos x="180" y="404"/>
                </a:cxn>
                <a:cxn ang="0">
                  <a:pos x="222" y="389"/>
                </a:cxn>
                <a:cxn ang="0">
                  <a:pos x="98" y="492"/>
                </a:cxn>
                <a:cxn ang="0">
                  <a:pos x="94" y="541"/>
                </a:cxn>
                <a:cxn ang="0">
                  <a:pos x="94" y="574"/>
                </a:cxn>
                <a:cxn ang="0">
                  <a:pos x="116" y="609"/>
                </a:cxn>
                <a:cxn ang="0">
                  <a:pos x="165" y="641"/>
                </a:cxn>
                <a:cxn ang="0">
                  <a:pos x="186" y="609"/>
                </a:cxn>
                <a:cxn ang="0">
                  <a:pos x="200" y="690"/>
                </a:cxn>
                <a:cxn ang="0">
                  <a:pos x="303" y="699"/>
                </a:cxn>
                <a:cxn ang="0">
                  <a:pos x="330" y="690"/>
                </a:cxn>
                <a:cxn ang="0">
                  <a:pos x="312" y="777"/>
                </a:cxn>
                <a:cxn ang="0">
                  <a:pos x="262" y="822"/>
                </a:cxn>
                <a:cxn ang="0">
                  <a:pos x="156" y="868"/>
                </a:cxn>
                <a:cxn ang="0">
                  <a:pos x="278" y="836"/>
                </a:cxn>
                <a:cxn ang="0">
                  <a:pos x="297" y="788"/>
                </a:cxn>
                <a:cxn ang="0">
                  <a:pos x="464" y="710"/>
                </a:cxn>
                <a:cxn ang="0">
                  <a:pos x="465" y="656"/>
                </a:cxn>
                <a:cxn ang="0">
                  <a:pos x="591" y="507"/>
                </a:cxn>
                <a:cxn ang="0">
                  <a:pos x="623" y="547"/>
                </a:cxn>
                <a:cxn ang="0">
                  <a:pos x="634" y="579"/>
                </a:cxn>
                <a:cxn ang="0">
                  <a:pos x="539" y="633"/>
                </a:cxn>
                <a:cxn ang="0">
                  <a:pos x="542" y="664"/>
                </a:cxn>
                <a:cxn ang="0">
                  <a:pos x="663" y="596"/>
                </a:cxn>
                <a:cxn ang="0">
                  <a:pos x="671" y="558"/>
                </a:cxn>
                <a:cxn ang="0">
                  <a:pos x="721" y="567"/>
                </a:cxn>
                <a:cxn ang="0">
                  <a:pos x="797" y="622"/>
                </a:cxn>
                <a:cxn ang="0">
                  <a:pos x="947" y="619"/>
                </a:cxn>
                <a:cxn ang="0">
                  <a:pos x="942" y="648"/>
                </a:cxn>
                <a:cxn ang="0">
                  <a:pos x="997" y="652"/>
                </a:cxn>
                <a:cxn ang="0">
                  <a:pos x="902" y="609"/>
                </a:cxn>
                <a:cxn ang="0">
                  <a:pos x="545" y="58"/>
                </a:cxn>
                <a:cxn ang="0">
                  <a:pos x="432" y="16"/>
                </a:cxn>
                <a:cxn ang="0">
                  <a:pos x="392" y="32"/>
                </a:cxn>
                <a:cxn ang="0">
                  <a:pos x="378" y="0"/>
                </a:cxn>
                <a:cxn ang="0">
                  <a:pos x="274" y="37"/>
                </a:cxn>
                <a:cxn ang="0">
                  <a:pos x="264" y="49"/>
                </a:cxn>
                <a:cxn ang="0">
                  <a:pos x="213" y="89"/>
                </a:cxn>
                <a:cxn ang="0">
                  <a:pos x="149" y="131"/>
                </a:cxn>
                <a:cxn ang="0">
                  <a:pos x="66" y="172"/>
                </a:cxn>
                <a:cxn ang="0">
                  <a:pos x="146" y="249"/>
                </a:cxn>
                <a:cxn ang="0">
                  <a:pos x="200" y="274"/>
                </a:cxn>
                <a:cxn ang="0">
                  <a:pos x="238" y="296"/>
                </a:cxn>
                <a:cxn ang="0">
                  <a:pos x="146" y="307"/>
                </a:cxn>
                <a:cxn ang="0">
                  <a:pos x="113" y="279"/>
                </a:cxn>
              </a:cxnLst>
              <a:rect l="0" t="0" r="r" b="b"/>
              <a:pathLst>
                <a:path w="997" h="868">
                  <a:moveTo>
                    <a:pt x="0" y="331"/>
                  </a:moveTo>
                  <a:lnTo>
                    <a:pt x="64" y="348"/>
                  </a:lnTo>
                  <a:lnTo>
                    <a:pt x="39" y="355"/>
                  </a:lnTo>
                  <a:lnTo>
                    <a:pt x="66" y="386"/>
                  </a:lnTo>
                  <a:lnTo>
                    <a:pt x="165" y="384"/>
                  </a:lnTo>
                  <a:lnTo>
                    <a:pt x="180" y="404"/>
                  </a:lnTo>
                  <a:lnTo>
                    <a:pt x="244" y="378"/>
                  </a:lnTo>
                  <a:lnTo>
                    <a:pt x="222" y="389"/>
                  </a:lnTo>
                  <a:lnTo>
                    <a:pt x="234" y="443"/>
                  </a:lnTo>
                  <a:lnTo>
                    <a:pt x="98" y="492"/>
                  </a:lnTo>
                  <a:lnTo>
                    <a:pt x="61" y="549"/>
                  </a:lnTo>
                  <a:lnTo>
                    <a:pt x="94" y="541"/>
                  </a:lnTo>
                  <a:lnTo>
                    <a:pt x="69" y="554"/>
                  </a:lnTo>
                  <a:lnTo>
                    <a:pt x="94" y="574"/>
                  </a:lnTo>
                  <a:lnTo>
                    <a:pt x="145" y="580"/>
                  </a:lnTo>
                  <a:lnTo>
                    <a:pt x="116" y="609"/>
                  </a:lnTo>
                  <a:lnTo>
                    <a:pt x="139" y="638"/>
                  </a:lnTo>
                  <a:lnTo>
                    <a:pt x="165" y="641"/>
                  </a:lnTo>
                  <a:lnTo>
                    <a:pt x="219" y="580"/>
                  </a:lnTo>
                  <a:lnTo>
                    <a:pt x="186" y="609"/>
                  </a:lnTo>
                  <a:lnTo>
                    <a:pt x="213" y="667"/>
                  </a:lnTo>
                  <a:lnTo>
                    <a:pt x="200" y="690"/>
                  </a:lnTo>
                  <a:lnTo>
                    <a:pt x="262" y="657"/>
                  </a:lnTo>
                  <a:lnTo>
                    <a:pt x="303" y="699"/>
                  </a:lnTo>
                  <a:lnTo>
                    <a:pt x="316" y="674"/>
                  </a:lnTo>
                  <a:lnTo>
                    <a:pt x="330" y="690"/>
                  </a:lnTo>
                  <a:lnTo>
                    <a:pt x="377" y="668"/>
                  </a:lnTo>
                  <a:lnTo>
                    <a:pt x="312" y="777"/>
                  </a:lnTo>
                  <a:lnTo>
                    <a:pt x="263" y="799"/>
                  </a:lnTo>
                  <a:lnTo>
                    <a:pt x="262" y="822"/>
                  </a:lnTo>
                  <a:lnTo>
                    <a:pt x="200" y="824"/>
                  </a:lnTo>
                  <a:lnTo>
                    <a:pt x="156" y="868"/>
                  </a:lnTo>
                  <a:lnTo>
                    <a:pt x="213" y="835"/>
                  </a:lnTo>
                  <a:lnTo>
                    <a:pt x="278" y="836"/>
                  </a:lnTo>
                  <a:lnTo>
                    <a:pt x="314" y="810"/>
                  </a:lnTo>
                  <a:lnTo>
                    <a:pt x="297" y="788"/>
                  </a:lnTo>
                  <a:lnTo>
                    <a:pt x="337" y="792"/>
                  </a:lnTo>
                  <a:lnTo>
                    <a:pt x="464" y="710"/>
                  </a:lnTo>
                  <a:lnTo>
                    <a:pt x="488" y="679"/>
                  </a:lnTo>
                  <a:lnTo>
                    <a:pt x="465" y="656"/>
                  </a:lnTo>
                  <a:lnTo>
                    <a:pt x="575" y="557"/>
                  </a:lnTo>
                  <a:lnTo>
                    <a:pt x="591" y="507"/>
                  </a:lnTo>
                  <a:lnTo>
                    <a:pt x="579" y="557"/>
                  </a:lnTo>
                  <a:lnTo>
                    <a:pt x="623" y="547"/>
                  </a:lnTo>
                  <a:lnTo>
                    <a:pt x="600" y="568"/>
                  </a:lnTo>
                  <a:lnTo>
                    <a:pt x="634" y="579"/>
                  </a:lnTo>
                  <a:lnTo>
                    <a:pt x="554" y="586"/>
                  </a:lnTo>
                  <a:lnTo>
                    <a:pt x="539" y="633"/>
                  </a:lnTo>
                  <a:lnTo>
                    <a:pt x="568" y="631"/>
                  </a:lnTo>
                  <a:lnTo>
                    <a:pt x="542" y="664"/>
                  </a:lnTo>
                  <a:lnTo>
                    <a:pt x="648" y="622"/>
                  </a:lnTo>
                  <a:lnTo>
                    <a:pt x="663" y="596"/>
                  </a:lnTo>
                  <a:lnTo>
                    <a:pt x="646" y="583"/>
                  </a:lnTo>
                  <a:lnTo>
                    <a:pt x="671" y="558"/>
                  </a:lnTo>
                  <a:lnTo>
                    <a:pt x="667" y="579"/>
                  </a:lnTo>
                  <a:lnTo>
                    <a:pt x="721" y="567"/>
                  </a:lnTo>
                  <a:lnTo>
                    <a:pt x="710" y="587"/>
                  </a:lnTo>
                  <a:lnTo>
                    <a:pt x="797" y="622"/>
                  </a:lnTo>
                  <a:lnTo>
                    <a:pt x="925" y="638"/>
                  </a:lnTo>
                  <a:lnTo>
                    <a:pt x="947" y="619"/>
                  </a:lnTo>
                  <a:lnTo>
                    <a:pt x="965" y="629"/>
                  </a:lnTo>
                  <a:lnTo>
                    <a:pt x="942" y="648"/>
                  </a:lnTo>
                  <a:lnTo>
                    <a:pt x="979" y="667"/>
                  </a:lnTo>
                  <a:lnTo>
                    <a:pt x="997" y="652"/>
                  </a:lnTo>
                  <a:lnTo>
                    <a:pt x="964" y="609"/>
                  </a:lnTo>
                  <a:lnTo>
                    <a:pt x="902" y="609"/>
                  </a:lnTo>
                  <a:lnTo>
                    <a:pt x="902" y="99"/>
                  </a:lnTo>
                  <a:lnTo>
                    <a:pt x="545" y="58"/>
                  </a:lnTo>
                  <a:lnTo>
                    <a:pt x="531" y="33"/>
                  </a:lnTo>
                  <a:lnTo>
                    <a:pt x="432" y="16"/>
                  </a:lnTo>
                  <a:lnTo>
                    <a:pt x="421" y="37"/>
                  </a:lnTo>
                  <a:lnTo>
                    <a:pt x="392" y="32"/>
                  </a:lnTo>
                  <a:lnTo>
                    <a:pt x="420" y="14"/>
                  </a:lnTo>
                  <a:lnTo>
                    <a:pt x="378" y="0"/>
                  </a:lnTo>
                  <a:lnTo>
                    <a:pt x="338" y="33"/>
                  </a:lnTo>
                  <a:lnTo>
                    <a:pt x="274" y="37"/>
                  </a:lnTo>
                  <a:lnTo>
                    <a:pt x="271" y="67"/>
                  </a:lnTo>
                  <a:lnTo>
                    <a:pt x="264" y="49"/>
                  </a:lnTo>
                  <a:lnTo>
                    <a:pt x="204" y="66"/>
                  </a:lnTo>
                  <a:lnTo>
                    <a:pt x="213" y="89"/>
                  </a:lnTo>
                  <a:lnTo>
                    <a:pt x="186" y="82"/>
                  </a:lnTo>
                  <a:lnTo>
                    <a:pt x="149" y="131"/>
                  </a:lnTo>
                  <a:lnTo>
                    <a:pt x="61" y="150"/>
                  </a:lnTo>
                  <a:lnTo>
                    <a:pt x="66" y="172"/>
                  </a:lnTo>
                  <a:lnTo>
                    <a:pt x="40" y="177"/>
                  </a:lnTo>
                  <a:lnTo>
                    <a:pt x="146" y="249"/>
                  </a:lnTo>
                  <a:lnTo>
                    <a:pt x="286" y="283"/>
                  </a:lnTo>
                  <a:lnTo>
                    <a:pt x="200" y="274"/>
                  </a:lnTo>
                  <a:lnTo>
                    <a:pt x="204" y="294"/>
                  </a:lnTo>
                  <a:lnTo>
                    <a:pt x="238" y="296"/>
                  </a:lnTo>
                  <a:lnTo>
                    <a:pt x="209" y="311"/>
                  </a:lnTo>
                  <a:lnTo>
                    <a:pt x="146" y="307"/>
                  </a:lnTo>
                  <a:lnTo>
                    <a:pt x="146" y="276"/>
                  </a:lnTo>
                  <a:lnTo>
                    <a:pt x="113" y="279"/>
                  </a:lnTo>
                  <a:lnTo>
                    <a:pt x="0" y="33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7" name="30532271.2582.752.754.8755">
              <a:extLst>
                <a:ext uri="{FF2B5EF4-FFF2-40B4-BE49-F238E27FC236}">
                  <a16:creationId xmlns:a16="http://schemas.microsoft.com/office/drawing/2014/main" id="{F7C1B384-DEA1-4711-B48E-AB645A581591}"/>
                </a:ext>
              </a:extLst>
            </p:cNvPr>
            <p:cNvSpPr>
              <a:spLocks noChangeAspect="1"/>
            </p:cNvSpPr>
            <p:nvPr/>
          </p:nvSpPr>
          <p:spPr bwMode="gray">
            <a:xfrm>
              <a:off x="1000373" y="2691062"/>
              <a:ext cx="77982" cy="43734"/>
            </a:xfrm>
            <a:custGeom>
              <a:avLst/>
              <a:gdLst/>
              <a:ahLst/>
              <a:cxnLst>
                <a:cxn ang="0">
                  <a:pos x="0" y="21"/>
                </a:cxn>
                <a:cxn ang="0">
                  <a:pos x="25" y="51"/>
                </a:cxn>
                <a:cxn ang="0">
                  <a:pos x="88" y="8"/>
                </a:cxn>
                <a:cxn ang="0">
                  <a:pos x="29" y="0"/>
                </a:cxn>
                <a:cxn ang="0">
                  <a:pos x="36" y="19"/>
                </a:cxn>
                <a:cxn ang="0">
                  <a:pos x="0" y="21"/>
                </a:cxn>
              </a:cxnLst>
              <a:rect l="0" t="0" r="r" b="b"/>
              <a:pathLst>
                <a:path w="88" h="51">
                  <a:moveTo>
                    <a:pt x="0" y="21"/>
                  </a:moveTo>
                  <a:lnTo>
                    <a:pt x="25" y="51"/>
                  </a:lnTo>
                  <a:lnTo>
                    <a:pt x="88" y="8"/>
                  </a:lnTo>
                  <a:lnTo>
                    <a:pt x="29" y="0"/>
                  </a:lnTo>
                  <a:lnTo>
                    <a:pt x="36" y="19"/>
                  </a:lnTo>
                  <a:lnTo>
                    <a:pt x="0" y="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8" name="30533265.75114.2513.5155">
              <a:extLst>
                <a:ext uri="{FF2B5EF4-FFF2-40B4-BE49-F238E27FC236}">
                  <a16:creationId xmlns:a16="http://schemas.microsoft.com/office/drawing/2014/main" id="{FC6D8392-FC5E-4659-BB6F-1D9B3F043A4A}"/>
                </a:ext>
              </a:extLst>
            </p:cNvPr>
            <p:cNvSpPr>
              <a:spLocks noChangeAspect="1"/>
            </p:cNvSpPr>
            <p:nvPr/>
          </p:nvSpPr>
          <p:spPr bwMode="gray">
            <a:xfrm>
              <a:off x="1506306" y="2601915"/>
              <a:ext cx="239653" cy="220341"/>
            </a:xfrm>
            <a:custGeom>
              <a:avLst/>
              <a:gdLst/>
              <a:ahLst/>
              <a:cxnLst>
                <a:cxn ang="0">
                  <a:pos x="0" y="23"/>
                </a:cxn>
                <a:cxn ang="0">
                  <a:pos x="11" y="59"/>
                </a:cxn>
                <a:cxn ang="0">
                  <a:pos x="48" y="73"/>
                </a:cxn>
                <a:cxn ang="0">
                  <a:pos x="64" y="62"/>
                </a:cxn>
                <a:cxn ang="0">
                  <a:pos x="33" y="44"/>
                </a:cxn>
                <a:cxn ang="0">
                  <a:pos x="64" y="44"/>
                </a:cxn>
                <a:cxn ang="0">
                  <a:pos x="92" y="74"/>
                </a:cxn>
                <a:cxn ang="0">
                  <a:pos x="84" y="20"/>
                </a:cxn>
                <a:cxn ang="0">
                  <a:pos x="106" y="67"/>
                </a:cxn>
                <a:cxn ang="0">
                  <a:pos x="162" y="95"/>
                </a:cxn>
                <a:cxn ang="0">
                  <a:pos x="151" y="128"/>
                </a:cxn>
                <a:cxn ang="0">
                  <a:pos x="216" y="169"/>
                </a:cxn>
                <a:cxn ang="0">
                  <a:pos x="198" y="203"/>
                </a:cxn>
                <a:cxn ang="0">
                  <a:pos x="232" y="176"/>
                </a:cxn>
                <a:cxn ang="0">
                  <a:pos x="239" y="239"/>
                </a:cxn>
                <a:cxn ang="0">
                  <a:pos x="264" y="228"/>
                </a:cxn>
                <a:cxn ang="0">
                  <a:pos x="266" y="180"/>
                </a:cxn>
                <a:cxn ang="0">
                  <a:pos x="203" y="154"/>
                </a:cxn>
                <a:cxn ang="0">
                  <a:pos x="85" y="0"/>
                </a:cxn>
                <a:cxn ang="0">
                  <a:pos x="18" y="44"/>
                </a:cxn>
                <a:cxn ang="0">
                  <a:pos x="0" y="23"/>
                </a:cxn>
              </a:cxnLst>
              <a:rect l="0" t="0" r="r" b="b"/>
              <a:pathLst>
                <a:path w="266" h="239">
                  <a:moveTo>
                    <a:pt x="0" y="23"/>
                  </a:moveTo>
                  <a:lnTo>
                    <a:pt x="11" y="59"/>
                  </a:lnTo>
                  <a:lnTo>
                    <a:pt x="48" y="73"/>
                  </a:lnTo>
                  <a:lnTo>
                    <a:pt x="64" y="62"/>
                  </a:lnTo>
                  <a:lnTo>
                    <a:pt x="33" y="44"/>
                  </a:lnTo>
                  <a:lnTo>
                    <a:pt x="64" y="44"/>
                  </a:lnTo>
                  <a:lnTo>
                    <a:pt x="92" y="74"/>
                  </a:lnTo>
                  <a:lnTo>
                    <a:pt x="84" y="20"/>
                  </a:lnTo>
                  <a:lnTo>
                    <a:pt x="106" y="67"/>
                  </a:lnTo>
                  <a:lnTo>
                    <a:pt x="162" y="95"/>
                  </a:lnTo>
                  <a:lnTo>
                    <a:pt x="151" y="128"/>
                  </a:lnTo>
                  <a:lnTo>
                    <a:pt x="216" y="169"/>
                  </a:lnTo>
                  <a:lnTo>
                    <a:pt x="198" y="203"/>
                  </a:lnTo>
                  <a:lnTo>
                    <a:pt x="232" y="176"/>
                  </a:lnTo>
                  <a:lnTo>
                    <a:pt x="239" y="239"/>
                  </a:lnTo>
                  <a:lnTo>
                    <a:pt x="264" y="228"/>
                  </a:lnTo>
                  <a:lnTo>
                    <a:pt x="266" y="180"/>
                  </a:lnTo>
                  <a:lnTo>
                    <a:pt x="203" y="154"/>
                  </a:lnTo>
                  <a:lnTo>
                    <a:pt x="85" y="0"/>
                  </a:lnTo>
                  <a:lnTo>
                    <a:pt x="18" y="44"/>
                  </a:lnTo>
                  <a:lnTo>
                    <a:pt x="0" y="2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49" name="30534270.125117.6252.252.3755">
              <a:extLst>
                <a:ext uri="{FF2B5EF4-FFF2-40B4-BE49-F238E27FC236}">
                  <a16:creationId xmlns:a16="http://schemas.microsoft.com/office/drawing/2014/main" id="{2DA81FEB-C302-43B8-8514-917ADFC9B27E}"/>
                </a:ext>
              </a:extLst>
            </p:cNvPr>
            <p:cNvSpPr>
              <a:spLocks noChangeAspect="1"/>
            </p:cNvSpPr>
            <p:nvPr/>
          </p:nvSpPr>
          <p:spPr bwMode="gray">
            <a:xfrm>
              <a:off x="1559561" y="2672557"/>
              <a:ext cx="38039" cy="37004"/>
            </a:xfrm>
            <a:custGeom>
              <a:avLst/>
              <a:gdLst/>
              <a:ahLst/>
              <a:cxnLst>
                <a:cxn ang="0">
                  <a:pos x="0" y="0"/>
                </a:cxn>
                <a:cxn ang="0">
                  <a:pos x="13" y="38"/>
                </a:cxn>
                <a:cxn ang="0">
                  <a:pos x="16" y="19"/>
                </a:cxn>
                <a:cxn ang="0">
                  <a:pos x="45" y="35"/>
                </a:cxn>
                <a:cxn ang="0">
                  <a:pos x="19" y="19"/>
                </a:cxn>
                <a:cxn ang="0">
                  <a:pos x="44" y="7"/>
                </a:cxn>
                <a:cxn ang="0">
                  <a:pos x="0" y="0"/>
                </a:cxn>
              </a:cxnLst>
              <a:rect l="0" t="0" r="r" b="b"/>
              <a:pathLst>
                <a:path w="45" h="38">
                  <a:moveTo>
                    <a:pt x="0" y="0"/>
                  </a:moveTo>
                  <a:lnTo>
                    <a:pt x="13" y="38"/>
                  </a:lnTo>
                  <a:lnTo>
                    <a:pt x="16" y="19"/>
                  </a:lnTo>
                  <a:lnTo>
                    <a:pt x="45" y="35"/>
                  </a:lnTo>
                  <a:lnTo>
                    <a:pt x="19" y="19"/>
                  </a:lnTo>
                  <a:lnTo>
                    <a:pt x="44" y="7"/>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0" name="30535272118.753.251.55">
              <a:extLst>
                <a:ext uri="{FF2B5EF4-FFF2-40B4-BE49-F238E27FC236}">
                  <a16:creationId xmlns:a16="http://schemas.microsoft.com/office/drawing/2014/main" id="{590F9622-BF4C-4DCA-B6A2-7F12F834D618}"/>
                </a:ext>
              </a:extLst>
            </p:cNvPr>
            <p:cNvSpPr>
              <a:spLocks noChangeAspect="1"/>
            </p:cNvSpPr>
            <p:nvPr/>
          </p:nvSpPr>
          <p:spPr bwMode="gray">
            <a:xfrm>
              <a:off x="1576678" y="2702834"/>
              <a:ext cx="24727" cy="53825"/>
            </a:xfrm>
            <a:custGeom>
              <a:avLst/>
              <a:gdLst/>
              <a:ahLst/>
              <a:cxnLst>
                <a:cxn ang="0">
                  <a:pos x="0" y="0"/>
                </a:cxn>
                <a:cxn ang="0">
                  <a:pos x="24" y="11"/>
                </a:cxn>
                <a:cxn ang="0">
                  <a:pos x="26" y="59"/>
                </a:cxn>
                <a:cxn ang="0">
                  <a:pos x="0" y="0"/>
                </a:cxn>
              </a:cxnLst>
              <a:rect l="0" t="0" r="r" b="b"/>
              <a:pathLst>
                <a:path w="26" h="59">
                  <a:moveTo>
                    <a:pt x="0" y="0"/>
                  </a:moveTo>
                  <a:lnTo>
                    <a:pt x="24" y="11"/>
                  </a:lnTo>
                  <a:lnTo>
                    <a:pt x="26" y="59"/>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1" name="30536270.25120.3752.1251.8755">
              <a:extLst>
                <a:ext uri="{FF2B5EF4-FFF2-40B4-BE49-F238E27FC236}">
                  <a16:creationId xmlns:a16="http://schemas.microsoft.com/office/drawing/2014/main" id="{4D63DE81-FA7C-4CEE-A2E3-06E900AC50B4}"/>
                </a:ext>
              </a:extLst>
            </p:cNvPr>
            <p:cNvSpPr>
              <a:spLocks noChangeAspect="1"/>
            </p:cNvSpPr>
            <p:nvPr/>
          </p:nvSpPr>
          <p:spPr bwMode="gray">
            <a:xfrm>
              <a:off x="1603310" y="2675922"/>
              <a:ext cx="28532" cy="33639"/>
            </a:xfrm>
            <a:custGeom>
              <a:avLst/>
              <a:gdLst/>
              <a:ahLst/>
              <a:cxnLst>
                <a:cxn ang="0">
                  <a:pos x="0" y="0"/>
                </a:cxn>
                <a:cxn ang="0">
                  <a:pos x="7" y="36"/>
                </a:cxn>
                <a:cxn ang="0">
                  <a:pos x="28" y="36"/>
                </a:cxn>
                <a:cxn ang="0">
                  <a:pos x="18" y="4"/>
                </a:cxn>
                <a:cxn ang="0">
                  <a:pos x="33" y="26"/>
                </a:cxn>
                <a:cxn ang="0">
                  <a:pos x="20" y="0"/>
                </a:cxn>
                <a:cxn ang="0">
                  <a:pos x="0" y="0"/>
                </a:cxn>
              </a:cxnLst>
              <a:rect l="0" t="0" r="r" b="b"/>
              <a:pathLst>
                <a:path w="33" h="36">
                  <a:moveTo>
                    <a:pt x="0" y="0"/>
                  </a:moveTo>
                  <a:lnTo>
                    <a:pt x="7" y="36"/>
                  </a:lnTo>
                  <a:lnTo>
                    <a:pt x="28" y="36"/>
                  </a:lnTo>
                  <a:lnTo>
                    <a:pt x="18" y="4"/>
                  </a:lnTo>
                  <a:lnTo>
                    <a:pt x="33" y="26"/>
                  </a:lnTo>
                  <a:lnTo>
                    <a:pt x="20" y="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2" name="30537273.3751221.3751.55">
              <a:extLst>
                <a:ext uri="{FF2B5EF4-FFF2-40B4-BE49-F238E27FC236}">
                  <a16:creationId xmlns:a16="http://schemas.microsoft.com/office/drawing/2014/main" id="{9D0E02F0-7266-417C-BACD-83F8E72FE89E}"/>
                </a:ext>
              </a:extLst>
            </p:cNvPr>
            <p:cNvSpPr>
              <a:spLocks noChangeAspect="1"/>
            </p:cNvSpPr>
            <p:nvPr/>
          </p:nvSpPr>
          <p:spPr bwMode="gray">
            <a:xfrm>
              <a:off x="1629938" y="2726382"/>
              <a:ext cx="20922" cy="21867"/>
            </a:xfrm>
            <a:custGeom>
              <a:avLst/>
              <a:gdLst/>
              <a:ahLst/>
              <a:cxnLst>
                <a:cxn ang="0">
                  <a:pos x="0" y="0"/>
                </a:cxn>
                <a:cxn ang="0">
                  <a:pos x="27" y="26"/>
                </a:cxn>
                <a:cxn ang="0">
                  <a:pos x="29" y="3"/>
                </a:cxn>
                <a:cxn ang="0">
                  <a:pos x="0" y="0"/>
                </a:cxn>
              </a:cxnLst>
              <a:rect l="0" t="0" r="r" b="b"/>
              <a:pathLst>
                <a:path w="29" h="26">
                  <a:moveTo>
                    <a:pt x="0" y="0"/>
                  </a:moveTo>
                  <a:lnTo>
                    <a:pt x="27" y="26"/>
                  </a:lnTo>
                  <a:lnTo>
                    <a:pt x="29" y="3"/>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3" name="30538275.25122.3753.52.6255">
              <a:extLst>
                <a:ext uri="{FF2B5EF4-FFF2-40B4-BE49-F238E27FC236}">
                  <a16:creationId xmlns:a16="http://schemas.microsoft.com/office/drawing/2014/main" id="{8A276E01-99FA-4E35-AD0A-76A8E30ECA82}"/>
                </a:ext>
              </a:extLst>
            </p:cNvPr>
            <p:cNvSpPr>
              <a:spLocks noChangeAspect="1"/>
            </p:cNvSpPr>
            <p:nvPr/>
          </p:nvSpPr>
          <p:spPr bwMode="gray">
            <a:xfrm>
              <a:off x="1635643" y="2756659"/>
              <a:ext cx="41844" cy="55506"/>
            </a:xfrm>
            <a:custGeom>
              <a:avLst/>
              <a:gdLst/>
              <a:ahLst/>
              <a:cxnLst>
                <a:cxn ang="0">
                  <a:pos x="0" y="0"/>
                </a:cxn>
                <a:cxn ang="0">
                  <a:pos x="36" y="22"/>
                </a:cxn>
                <a:cxn ang="0">
                  <a:pos x="46" y="62"/>
                </a:cxn>
                <a:cxn ang="0">
                  <a:pos x="0" y="0"/>
                </a:cxn>
              </a:cxnLst>
              <a:rect l="0" t="0" r="r" b="b"/>
              <a:pathLst>
                <a:path w="46" h="62">
                  <a:moveTo>
                    <a:pt x="0" y="0"/>
                  </a:moveTo>
                  <a:lnTo>
                    <a:pt x="36" y="22"/>
                  </a:lnTo>
                  <a:lnTo>
                    <a:pt x="46" y="62"/>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4" name="30539276.25126.521.3755">
              <a:extLst>
                <a:ext uri="{FF2B5EF4-FFF2-40B4-BE49-F238E27FC236}">
                  <a16:creationId xmlns:a16="http://schemas.microsoft.com/office/drawing/2014/main" id="{885E253C-9100-40C3-AF12-B23A7645D1AF}"/>
                </a:ext>
              </a:extLst>
            </p:cNvPr>
            <p:cNvSpPr>
              <a:spLocks noChangeAspect="1"/>
            </p:cNvSpPr>
            <p:nvPr/>
          </p:nvSpPr>
          <p:spPr bwMode="gray">
            <a:xfrm>
              <a:off x="1702214" y="2773477"/>
              <a:ext cx="22823" cy="30277"/>
            </a:xfrm>
            <a:custGeom>
              <a:avLst/>
              <a:gdLst/>
              <a:ahLst/>
              <a:cxnLst>
                <a:cxn ang="0">
                  <a:pos x="0" y="21"/>
                </a:cxn>
                <a:cxn ang="0">
                  <a:pos x="11" y="0"/>
                </a:cxn>
                <a:cxn ang="0">
                  <a:pos x="23" y="36"/>
                </a:cxn>
                <a:cxn ang="0">
                  <a:pos x="0" y="21"/>
                </a:cxn>
              </a:cxnLst>
              <a:rect l="0" t="0" r="r" b="b"/>
              <a:pathLst>
                <a:path w="23" h="36">
                  <a:moveTo>
                    <a:pt x="0" y="21"/>
                  </a:moveTo>
                  <a:lnTo>
                    <a:pt x="11" y="0"/>
                  </a:lnTo>
                  <a:lnTo>
                    <a:pt x="23" y="36"/>
                  </a:lnTo>
                  <a:lnTo>
                    <a:pt x="0" y="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5" name="30540292.625139.62552.75108.55">
              <a:extLst>
                <a:ext uri="{FF2B5EF4-FFF2-40B4-BE49-F238E27FC236}">
                  <a16:creationId xmlns:a16="http://schemas.microsoft.com/office/drawing/2014/main" id="{11FD77BA-FC9F-49A3-B362-C047CF685E29}"/>
                </a:ext>
              </a:extLst>
            </p:cNvPr>
            <p:cNvSpPr>
              <a:spLocks noChangeAspect="1"/>
            </p:cNvSpPr>
            <p:nvPr/>
          </p:nvSpPr>
          <p:spPr bwMode="gray">
            <a:xfrm>
              <a:off x="1911434" y="3039233"/>
              <a:ext cx="1740338" cy="852773"/>
            </a:xfrm>
            <a:custGeom>
              <a:avLst/>
              <a:gdLst/>
              <a:ahLst/>
              <a:cxnLst>
                <a:cxn ang="0">
                  <a:pos x="22" y="128"/>
                </a:cxn>
                <a:cxn ang="0">
                  <a:pos x="27" y="140"/>
                </a:cxn>
                <a:cxn ang="0">
                  <a:pos x="59" y="461"/>
                </a:cxn>
                <a:cxn ang="0">
                  <a:pos x="78" y="495"/>
                </a:cxn>
                <a:cxn ang="0">
                  <a:pos x="203" y="615"/>
                </a:cxn>
                <a:cxn ang="0">
                  <a:pos x="331" y="664"/>
                </a:cxn>
                <a:cxn ang="0">
                  <a:pos x="609" y="696"/>
                </a:cxn>
                <a:cxn ang="0">
                  <a:pos x="771" y="769"/>
                </a:cxn>
                <a:cxn ang="0">
                  <a:pos x="921" y="911"/>
                </a:cxn>
                <a:cxn ang="0">
                  <a:pos x="983" y="802"/>
                </a:cxn>
                <a:cxn ang="0">
                  <a:pos x="1090" y="769"/>
                </a:cxn>
                <a:cxn ang="0">
                  <a:pos x="1178" y="755"/>
                </a:cxn>
                <a:cxn ang="0">
                  <a:pos x="1216" y="748"/>
                </a:cxn>
                <a:cxn ang="0">
                  <a:pos x="1226" y="752"/>
                </a:cxn>
                <a:cxn ang="0">
                  <a:pos x="1398" y="794"/>
                </a:cxn>
                <a:cxn ang="0">
                  <a:pos x="1447" y="934"/>
                </a:cxn>
                <a:cxn ang="0">
                  <a:pos x="1484" y="871"/>
                </a:cxn>
                <a:cxn ang="0">
                  <a:pos x="1466" y="670"/>
                </a:cxn>
                <a:cxn ang="0">
                  <a:pos x="1602" y="542"/>
                </a:cxn>
                <a:cxn ang="0">
                  <a:pos x="1609" y="499"/>
                </a:cxn>
                <a:cxn ang="0">
                  <a:pos x="1580" y="440"/>
                </a:cxn>
                <a:cxn ang="0">
                  <a:pos x="1604" y="417"/>
                </a:cxn>
                <a:cxn ang="0">
                  <a:pos x="1633" y="495"/>
                </a:cxn>
                <a:cxn ang="0">
                  <a:pos x="1642" y="399"/>
                </a:cxn>
                <a:cxn ang="0">
                  <a:pos x="1694" y="351"/>
                </a:cxn>
                <a:cxn ang="0">
                  <a:pos x="1795" y="297"/>
                </a:cxn>
                <a:cxn ang="0">
                  <a:pos x="1921" y="199"/>
                </a:cxn>
                <a:cxn ang="0">
                  <a:pos x="1899" y="157"/>
                </a:cxn>
                <a:cxn ang="0">
                  <a:pos x="1844" y="85"/>
                </a:cxn>
                <a:cxn ang="0">
                  <a:pos x="1633" y="206"/>
                </a:cxn>
                <a:cxn ang="0">
                  <a:pos x="1523" y="260"/>
                </a:cxn>
                <a:cxn ang="0">
                  <a:pos x="1431" y="326"/>
                </a:cxn>
                <a:cxn ang="0">
                  <a:pos x="1387" y="308"/>
                </a:cxn>
                <a:cxn ang="0">
                  <a:pos x="1404" y="281"/>
                </a:cxn>
                <a:cxn ang="0">
                  <a:pos x="1395" y="224"/>
                </a:cxn>
                <a:cxn ang="0">
                  <a:pos x="1373" y="175"/>
                </a:cxn>
                <a:cxn ang="0">
                  <a:pos x="1282" y="199"/>
                </a:cxn>
                <a:cxn ang="0">
                  <a:pos x="1237" y="314"/>
                </a:cxn>
                <a:cxn ang="0">
                  <a:pos x="1252" y="177"/>
                </a:cxn>
                <a:cxn ang="0">
                  <a:pos x="1270" y="147"/>
                </a:cxn>
                <a:cxn ang="0">
                  <a:pos x="1343" y="124"/>
                </a:cxn>
                <a:cxn ang="0">
                  <a:pos x="1208" y="111"/>
                </a:cxn>
                <a:cxn ang="0">
                  <a:pos x="1149" y="120"/>
                </a:cxn>
                <a:cxn ang="0">
                  <a:pos x="1163" y="62"/>
                </a:cxn>
                <a:cxn ang="0">
                  <a:pos x="984" y="0"/>
                </a:cxn>
                <a:cxn ang="0">
                  <a:pos x="63" y="19"/>
                </a:cxn>
                <a:cxn ang="0">
                  <a:pos x="59" y="85"/>
                </a:cxn>
                <a:cxn ang="0">
                  <a:pos x="0" y="52"/>
                </a:cxn>
              </a:cxnLst>
              <a:rect l="0" t="0" r="r" b="b"/>
              <a:pathLst>
                <a:path w="1924" h="934">
                  <a:moveTo>
                    <a:pt x="0" y="52"/>
                  </a:moveTo>
                  <a:lnTo>
                    <a:pt x="22" y="128"/>
                  </a:lnTo>
                  <a:lnTo>
                    <a:pt x="49" y="136"/>
                  </a:lnTo>
                  <a:lnTo>
                    <a:pt x="27" y="140"/>
                  </a:lnTo>
                  <a:lnTo>
                    <a:pt x="11" y="371"/>
                  </a:lnTo>
                  <a:lnTo>
                    <a:pt x="59" y="461"/>
                  </a:lnTo>
                  <a:lnTo>
                    <a:pt x="91" y="461"/>
                  </a:lnTo>
                  <a:lnTo>
                    <a:pt x="78" y="495"/>
                  </a:lnTo>
                  <a:lnTo>
                    <a:pt x="140" y="593"/>
                  </a:lnTo>
                  <a:lnTo>
                    <a:pt x="203" y="615"/>
                  </a:lnTo>
                  <a:lnTo>
                    <a:pt x="254" y="671"/>
                  </a:lnTo>
                  <a:lnTo>
                    <a:pt x="331" y="664"/>
                  </a:lnTo>
                  <a:lnTo>
                    <a:pt x="458" y="717"/>
                  </a:lnTo>
                  <a:lnTo>
                    <a:pt x="609" y="696"/>
                  </a:lnTo>
                  <a:lnTo>
                    <a:pt x="701" y="795"/>
                  </a:lnTo>
                  <a:lnTo>
                    <a:pt x="771" y="769"/>
                  </a:lnTo>
                  <a:lnTo>
                    <a:pt x="855" y="889"/>
                  </a:lnTo>
                  <a:lnTo>
                    <a:pt x="921" y="911"/>
                  </a:lnTo>
                  <a:lnTo>
                    <a:pt x="914" y="843"/>
                  </a:lnTo>
                  <a:lnTo>
                    <a:pt x="983" y="802"/>
                  </a:lnTo>
                  <a:lnTo>
                    <a:pt x="989" y="770"/>
                  </a:lnTo>
                  <a:lnTo>
                    <a:pt x="1090" y="769"/>
                  </a:lnTo>
                  <a:lnTo>
                    <a:pt x="1176" y="795"/>
                  </a:lnTo>
                  <a:lnTo>
                    <a:pt x="1178" y="755"/>
                  </a:lnTo>
                  <a:lnTo>
                    <a:pt x="1143" y="750"/>
                  </a:lnTo>
                  <a:lnTo>
                    <a:pt x="1216" y="748"/>
                  </a:lnTo>
                  <a:lnTo>
                    <a:pt x="1220" y="729"/>
                  </a:lnTo>
                  <a:lnTo>
                    <a:pt x="1226" y="752"/>
                  </a:lnTo>
                  <a:lnTo>
                    <a:pt x="1362" y="761"/>
                  </a:lnTo>
                  <a:lnTo>
                    <a:pt x="1398" y="794"/>
                  </a:lnTo>
                  <a:lnTo>
                    <a:pt x="1403" y="854"/>
                  </a:lnTo>
                  <a:lnTo>
                    <a:pt x="1447" y="934"/>
                  </a:lnTo>
                  <a:lnTo>
                    <a:pt x="1473" y="931"/>
                  </a:lnTo>
                  <a:lnTo>
                    <a:pt x="1484" y="871"/>
                  </a:lnTo>
                  <a:lnTo>
                    <a:pt x="1439" y="729"/>
                  </a:lnTo>
                  <a:lnTo>
                    <a:pt x="1466" y="670"/>
                  </a:lnTo>
                  <a:lnTo>
                    <a:pt x="1635" y="554"/>
                  </a:lnTo>
                  <a:lnTo>
                    <a:pt x="1602" y="542"/>
                  </a:lnTo>
                  <a:lnTo>
                    <a:pt x="1633" y="538"/>
                  </a:lnTo>
                  <a:lnTo>
                    <a:pt x="1609" y="499"/>
                  </a:lnTo>
                  <a:lnTo>
                    <a:pt x="1615" y="466"/>
                  </a:lnTo>
                  <a:lnTo>
                    <a:pt x="1580" y="440"/>
                  </a:lnTo>
                  <a:lnTo>
                    <a:pt x="1615" y="458"/>
                  </a:lnTo>
                  <a:lnTo>
                    <a:pt x="1604" y="417"/>
                  </a:lnTo>
                  <a:lnTo>
                    <a:pt x="1628" y="404"/>
                  </a:lnTo>
                  <a:lnTo>
                    <a:pt x="1633" y="495"/>
                  </a:lnTo>
                  <a:lnTo>
                    <a:pt x="1659" y="441"/>
                  </a:lnTo>
                  <a:lnTo>
                    <a:pt x="1642" y="399"/>
                  </a:lnTo>
                  <a:lnTo>
                    <a:pt x="1660" y="424"/>
                  </a:lnTo>
                  <a:lnTo>
                    <a:pt x="1694" y="351"/>
                  </a:lnTo>
                  <a:lnTo>
                    <a:pt x="1829" y="318"/>
                  </a:lnTo>
                  <a:lnTo>
                    <a:pt x="1795" y="297"/>
                  </a:lnTo>
                  <a:lnTo>
                    <a:pt x="1819" y="241"/>
                  </a:lnTo>
                  <a:lnTo>
                    <a:pt x="1921" y="199"/>
                  </a:lnTo>
                  <a:lnTo>
                    <a:pt x="1924" y="176"/>
                  </a:lnTo>
                  <a:lnTo>
                    <a:pt x="1899" y="157"/>
                  </a:lnTo>
                  <a:lnTo>
                    <a:pt x="1899" y="103"/>
                  </a:lnTo>
                  <a:lnTo>
                    <a:pt x="1844" y="85"/>
                  </a:lnTo>
                  <a:lnTo>
                    <a:pt x="1803" y="173"/>
                  </a:lnTo>
                  <a:lnTo>
                    <a:pt x="1633" y="206"/>
                  </a:lnTo>
                  <a:lnTo>
                    <a:pt x="1620" y="245"/>
                  </a:lnTo>
                  <a:lnTo>
                    <a:pt x="1523" y="260"/>
                  </a:lnTo>
                  <a:lnTo>
                    <a:pt x="1529" y="272"/>
                  </a:lnTo>
                  <a:lnTo>
                    <a:pt x="1431" y="326"/>
                  </a:lnTo>
                  <a:lnTo>
                    <a:pt x="1389" y="325"/>
                  </a:lnTo>
                  <a:lnTo>
                    <a:pt x="1387" y="308"/>
                  </a:lnTo>
                  <a:lnTo>
                    <a:pt x="1395" y="292"/>
                  </a:lnTo>
                  <a:lnTo>
                    <a:pt x="1404" y="281"/>
                  </a:lnTo>
                  <a:lnTo>
                    <a:pt x="1409" y="264"/>
                  </a:lnTo>
                  <a:lnTo>
                    <a:pt x="1395" y="224"/>
                  </a:lnTo>
                  <a:lnTo>
                    <a:pt x="1360" y="239"/>
                  </a:lnTo>
                  <a:lnTo>
                    <a:pt x="1373" y="175"/>
                  </a:lnTo>
                  <a:lnTo>
                    <a:pt x="1322" y="157"/>
                  </a:lnTo>
                  <a:lnTo>
                    <a:pt x="1282" y="199"/>
                  </a:lnTo>
                  <a:lnTo>
                    <a:pt x="1267" y="311"/>
                  </a:lnTo>
                  <a:lnTo>
                    <a:pt x="1237" y="314"/>
                  </a:lnTo>
                  <a:lnTo>
                    <a:pt x="1227" y="261"/>
                  </a:lnTo>
                  <a:lnTo>
                    <a:pt x="1252" y="177"/>
                  </a:lnTo>
                  <a:lnTo>
                    <a:pt x="1229" y="191"/>
                  </a:lnTo>
                  <a:lnTo>
                    <a:pt x="1270" y="147"/>
                  </a:lnTo>
                  <a:lnTo>
                    <a:pt x="1359" y="146"/>
                  </a:lnTo>
                  <a:lnTo>
                    <a:pt x="1343" y="124"/>
                  </a:lnTo>
                  <a:lnTo>
                    <a:pt x="1337" y="124"/>
                  </a:lnTo>
                  <a:lnTo>
                    <a:pt x="1208" y="111"/>
                  </a:lnTo>
                  <a:lnTo>
                    <a:pt x="1229" y="84"/>
                  </a:lnTo>
                  <a:lnTo>
                    <a:pt x="1149" y="120"/>
                  </a:lnTo>
                  <a:lnTo>
                    <a:pt x="1088" y="120"/>
                  </a:lnTo>
                  <a:lnTo>
                    <a:pt x="1163" y="62"/>
                  </a:lnTo>
                  <a:lnTo>
                    <a:pt x="1005" y="30"/>
                  </a:lnTo>
                  <a:lnTo>
                    <a:pt x="984" y="0"/>
                  </a:lnTo>
                  <a:lnTo>
                    <a:pt x="983" y="19"/>
                  </a:lnTo>
                  <a:lnTo>
                    <a:pt x="63" y="19"/>
                  </a:lnTo>
                  <a:lnTo>
                    <a:pt x="81" y="56"/>
                  </a:lnTo>
                  <a:lnTo>
                    <a:pt x="59" y="85"/>
                  </a:lnTo>
                  <a:lnTo>
                    <a:pt x="66" y="55"/>
                  </a:lnTo>
                  <a:lnTo>
                    <a:pt x="0" y="5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6" name="30542451.375264.25109.8755">
              <a:extLst>
                <a:ext uri="{FF2B5EF4-FFF2-40B4-BE49-F238E27FC236}">
                  <a16:creationId xmlns:a16="http://schemas.microsoft.com/office/drawing/2014/main" id="{5A7A1F72-612F-4261-A222-4AC358092386}"/>
                </a:ext>
              </a:extLst>
            </p:cNvPr>
            <p:cNvSpPr>
              <a:spLocks noChangeAspect="1"/>
            </p:cNvSpPr>
            <p:nvPr/>
          </p:nvSpPr>
          <p:spPr bwMode="gray">
            <a:xfrm>
              <a:off x="3908542" y="5609320"/>
              <a:ext cx="157865" cy="161471"/>
            </a:xfrm>
            <a:custGeom>
              <a:avLst/>
              <a:gdLst/>
              <a:ahLst/>
              <a:cxnLst>
                <a:cxn ang="0">
                  <a:pos x="0" y="144"/>
                </a:cxn>
                <a:cxn ang="0">
                  <a:pos x="29" y="7"/>
                </a:cxn>
                <a:cxn ang="0">
                  <a:pos x="53" y="0"/>
                </a:cxn>
                <a:cxn ang="0">
                  <a:pos x="154" y="70"/>
                </a:cxn>
                <a:cxn ang="0">
                  <a:pos x="174" y="99"/>
                </a:cxn>
                <a:cxn ang="0">
                  <a:pos x="166" y="135"/>
                </a:cxn>
                <a:cxn ang="0">
                  <a:pos x="119" y="179"/>
                </a:cxn>
                <a:cxn ang="0">
                  <a:pos x="0" y="144"/>
                </a:cxn>
              </a:cxnLst>
              <a:rect l="0" t="0" r="r" b="b"/>
              <a:pathLst>
                <a:path w="174" h="179">
                  <a:moveTo>
                    <a:pt x="0" y="144"/>
                  </a:moveTo>
                  <a:lnTo>
                    <a:pt x="29" y="7"/>
                  </a:lnTo>
                  <a:lnTo>
                    <a:pt x="53" y="0"/>
                  </a:lnTo>
                  <a:lnTo>
                    <a:pt x="154" y="70"/>
                  </a:lnTo>
                  <a:lnTo>
                    <a:pt x="174" y="99"/>
                  </a:lnTo>
                  <a:lnTo>
                    <a:pt x="166" y="135"/>
                  </a:lnTo>
                  <a:lnTo>
                    <a:pt x="119" y="179"/>
                  </a:lnTo>
                  <a:lnTo>
                    <a:pt x="0" y="14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7" name="30543434.75236.12566.537.1255">
              <a:extLst>
                <a:ext uri="{FF2B5EF4-FFF2-40B4-BE49-F238E27FC236}">
                  <a16:creationId xmlns:a16="http://schemas.microsoft.com/office/drawing/2014/main" id="{0E73364D-BA85-4B23-854A-D2EAE6D2B5A3}"/>
                </a:ext>
              </a:extLst>
            </p:cNvPr>
            <p:cNvSpPr>
              <a:spLocks noChangeAspect="1"/>
            </p:cNvSpPr>
            <p:nvPr/>
          </p:nvSpPr>
          <p:spPr bwMode="gray">
            <a:xfrm>
              <a:off x="3446141" y="5340199"/>
              <a:ext cx="593426" cy="1074795"/>
            </a:xfrm>
            <a:custGeom>
              <a:avLst/>
              <a:gdLst/>
              <a:ahLst/>
              <a:cxnLst>
                <a:cxn ang="0">
                  <a:pos x="0" y="1089"/>
                </a:cxn>
                <a:cxn ang="0">
                  <a:pos x="6" y="1114"/>
                </a:cxn>
                <a:cxn ang="0">
                  <a:pos x="33" y="1106"/>
                </a:cxn>
                <a:cxn ang="0">
                  <a:pos x="44" y="1165"/>
                </a:cxn>
                <a:cxn ang="0">
                  <a:pos x="165" y="1177"/>
                </a:cxn>
                <a:cxn ang="0">
                  <a:pos x="132" y="1147"/>
                </a:cxn>
                <a:cxn ang="0">
                  <a:pos x="157" y="1067"/>
                </a:cxn>
                <a:cxn ang="0">
                  <a:pos x="180" y="1082"/>
                </a:cxn>
                <a:cxn ang="0">
                  <a:pos x="256" y="971"/>
                </a:cxn>
                <a:cxn ang="0">
                  <a:pos x="197" y="908"/>
                </a:cxn>
                <a:cxn ang="0">
                  <a:pos x="263" y="869"/>
                </a:cxn>
                <a:cxn ang="0">
                  <a:pos x="272" y="811"/>
                </a:cxn>
                <a:cxn ang="0">
                  <a:pos x="303" y="785"/>
                </a:cxn>
                <a:cxn ang="0">
                  <a:pos x="276" y="774"/>
                </a:cxn>
                <a:cxn ang="0">
                  <a:pos x="326" y="774"/>
                </a:cxn>
                <a:cxn ang="0">
                  <a:pos x="320" y="747"/>
                </a:cxn>
                <a:cxn ang="0">
                  <a:pos x="298" y="766"/>
                </a:cxn>
                <a:cxn ang="0">
                  <a:pos x="276" y="745"/>
                </a:cxn>
                <a:cxn ang="0">
                  <a:pos x="274" y="703"/>
                </a:cxn>
                <a:cxn ang="0">
                  <a:pos x="363" y="707"/>
                </a:cxn>
                <a:cxn ang="0">
                  <a:pos x="371" y="620"/>
                </a:cxn>
                <a:cxn ang="0">
                  <a:pos x="513" y="606"/>
                </a:cxn>
                <a:cxn ang="0">
                  <a:pos x="554" y="546"/>
                </a:cxn>
                <a:cxn ang="0">
                  <a:pos x="498" y="437"/>
                </a:cxn>
                <a:cxn ang="0">
                  <a:pos x="527" y="300"/>
                </a:cxn>
                <a:cxn ang="0">
                  <a:pos x="657" y="187"/>
                </a:cxn>
                <a:cxn ang="0">
                  <a:pos x="652" y="136"/>
                </a:cxn>
                <a:cxn ang="0">
                  <a:pos x="626" y="135"/>
                </a:cxn>
                <a:cxn ang="0">
                  <a:pos x="591" y="195"/>
                </a:cxn>
                <a:cxn ang="0">
                  <a:pos x="501" y="191"/>
                </a:cxn>
                <a:cxn ang="0">
                  <a:pos x="520" y="124"/>
                </a:cxn>
                <a:cxn ang="0">
                  <a:pos x="359" y="18"/>
                </a:cxn>
                <a:cxn ang="0">
                  <a:pos x="305" y="9"/>
                </a:cxn>
                <a:cxn ang="0">
                  <a:pos x="301" y="31"/>
                </a:cxn>
                <a:cxn ang="0">
                  <a:pos x="239" y="0"/>
                </a:cxn>
                <a:cxn ang="0">
                  <a:pos x="204" y="38"/>
                </a:cxn>
                <a:cxn ang="0">
                  <a:pos x="201" y="80"/>
                </a:cxn>
                <a:cxn ang="0">
                  <a:pos x="164" y="98"/>
                </a:cxn>
                <a:cxn ang="0">
                  <a:pos x="165" y="179"/>
                </a:cxn>
                <a:cxn ang="0">
                  <a:pos x="125" y="224"/>
                </a:cxn>
                <a:cxn ang="0">
                  <a:pos x="94" y="338"/>
                </a:cxn>
                <a:cxn ang="0">
                  <a:pos x="117" y="447"/>
                </a:cxn>
                <a:cxn ang="0">
                  <a:pos x="74" y="539"/>
                </a:cxn>
                <a:cxn ang="0">
                  <a:pos x="44" y="769"/>
                </a:cxn>
                <a:cxn ang="0">
                  <a:pos x="68" y="853"/>
                </a:cxn>
                <a:cxn ang="0">
                  <a:pos x="46" y="860"/>
                </a:cxn>
                <a:cxn ang="0">
                  <a:pos x="57" y="934"/>
                </a:cxn>
                <a:cxn ang="0">
                  <a:pos x="0" y="1089"/>
                </a:cxn>
              </a:cxnLst>
              <a:rect l="0" t="0" r="r" b="b"/>
              <a:pathLst>
                <a:path w="657" h="1177">
                  <a:moveTo>
                    <a:pt x="0" y="1089"/>
                  </a:moveTo>
                  <a:lnTo>
                    <a:pt x="6" y="1114"/>
                  </a:lnTo>
                  <a:lnTo>
                    <a:pt x="33" y="1106"/>
                  </a:lnTo>
                  <a:lnTo>
                    <a:pt x="44" y="1165"/>
                  </a:lnTo>
                  <a:lnTo>
                    <a:pt x="165" y="1177"/>
                  </a:lnTo>
                  <a:lnTo>
                    <a:pt x="132" y="1147"/>
                  </a:lnTo>
                  <a:lnTo>
                    <a:pt x="157" y="1067"/>
                  </a:lnTo>
                  <a:lnTo>
                    <a:pt x="180" y="1082"/>
                  </a:lnTo>
                  <a:lnTo>
                    <a:pt x="256" y="971"/>
                  </a:lnTo>
                  <a:lnTo>
                    <a:pt x="197" y="908"/>
                  </a:lnTo>
                  <a:lnTo>
                    <a:pt x="263" y="869"/>
                  </a:lnTo>
                  <a:lnTo>
                    <a:pt x="272" y="811"/>
                  </a:lnTo>
                  <a:lnTo>
                    <a:pt x="303" y="785"/>
                  </a:lnTo>
                  <a:lnTo>
                    <a:pt x="276" y="774"/>
                  </a:lnTo>
                  <a:lnTo>
                    <a:pt x="326" y="774"/>
                  </a:lnTo>
                  <a:lnTo>
                    <a:pt x="320" y="747"/>
                  </a:lnTo>
                  <a:lnTo>
                    <a:pt x="298" y="766"/>
                  </a:lnTo>
                  <a:lnTo>
                    <a:pt x="276" y="745"/>
                  </a:lnTo>
                  <a:lnTo>
                    <a:pt x="274" y="703"/>
                  </a:lnTo>
                  <a:lnTo>
                    <a:pt x="363" y="707"/>
                  </a:lnTo>
                  <a:lnTo>
                    <a:pt x="371" y="620"/>
                  </a:lnTo>
                  <a:lnTo>
                    <a:pt x="513" y="606"/>
                  </a:lnTo>
                  <a:lnTo>
                    <a:pt x="554" y="546"/>
                  </a:lnTo>
                  <a:lnTo>
                    <a:pt x="498" y="437"/>
                  </a:lnTo>
                  <a:lnTo>
                    <a:pt x="527" y="300"/>
                  </a:lnTo>
                  <a:lnTo>
                    <a:pt x="657" y="187"/>
                  </a:lnTo>
                  <a:lnTo>
                    <a:pt x="652" y="136"/>
                  </a:lnTo>
                  <a:lnTo>
                    <a:pt x="626" y="135"/>
                  </a:lnTo>
                  <a:lnTo>
                    <a:pt x="591" y="195"/>
                  </a:lnTo>
                  <a:lnTo>
                    <a:pt x="501" y="191"/>
                  </a:lnTo>
                  <a:lnTo>
                    <a:pt x="520" y="124"/>
                  </a:lnTo>
                  <a:lnTo>
                    <a:pt x="359" y="18"/>
                  </a:lnTo>
                  <a:lnTo>
                    <a:pt x="305" y="9"/>
                  </a:lnTo>
                  <a:lnTo>
                    <a:pt x="301" y="31"/>
                  </a:lnTo>
                  <a:lnTo>
                    <a:pt x="239" y="0"/>
                  </a:lnTo>
                  <a:lnTo>
                    <a:pt x="204" y="38"/>
                  </a:lnTo>
                  <a:lnTo>
                    <a:pt x="201" y="80"/>
                  </a:lnTo>
                  <a:lnTo>
                    <a:pt x="164" y="98"/>
                  </a:lnTo>
                  <a:lnTo>
                    <a:pt x="165" y="179"/>
                  </a:lnTo>
                  <a:lnTo>
                    <a:pt x="125" y="224"/>
                  </a:lnTo>
                  <a:lnTo>
                    <a:pt x="94" y="338"/>
                  </a:lnTo>
                  <a:lnTo>
                    <a:pt x="117" y="447"/>
                  </a:lnTo>
                  <a:lnTo>
                    <a:pt x="74" y="539"/>
                  </a:lnTo>
                  <a:lnTo>
                    <a:pt x="44" y="769"/>
                  </a:lnTo>
                  <a:lnTo>
                    <a:pt x="68" y="853"/>
                  </a:lnTo>
                  <a:lnTo>
                    <a:pt x="46" y="860"/>
                  </a:lnTo>
                  <a:lnTo>
                    <a:pt x="57" y="934"/>
                  </a:lnTo>
                  <a:lnTo>
                    <a:pt x="0" y="108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8" name="30544502.252455.756.6255">
              <a:extLst>
                <a:ext uri="{FF2B5EF4-FFF2-40B4-BE49-F238E27FC236}">
                  <a16:creationId xmlns:a16="http://schemas.microsoft.com/office/drawing/2014/main" id="{109BFADA-71EB-4BB3-97F8-8DB79F8F8837}"/>
                </a:ext>
              </a:extLst>
            </p:cNvPr>
            <p:cNvSpPr>
              <a:spLocks noChangeAspect="1"/>
            </p:cNvSpPr>
            <p:nvPr/>
          </p:nvSpPr>
          <p:spPr bwMode="gray">
            <a:xfrm>
              <a:off x="3600414" y="6433496"/>
              <a:ext cx="104610" cy="92509"/>
            </a:xfrm>
            <a:custGeom>
              <a:avLst/>
              <a:gdLst/>
              <a:ahLst/>
              <a:cxnLst>
                <a:cxn ang="0">
                  <a:pos x="0" y="0"/>
                </a:cxn>
                <a:cxn ang="0">
                  <a:pos x="3" y="102"/>
                </a:cxn>
                <a:cxn ang="0">
                  <a:pos x="117" y="91"/>
                </a:cxn>
                <a:cxn ang="0">
                  <a:pos x="26" y="50"/>
                </a:cxn>
                <a:cxn ang="0">
                  <a:pos x="0" y="0"/>
                </a:cxn>
              </a:cxnLst>
              <a:rect l="0" t="0" r="r" b="b"/>
              <a:pathLst>
                <a:path w="117" h="102">
                  <a:moveTo>
                    <a:pt x="0" y="0"/>
                  </a:moveTo>
                  <a:lnTo>
                    <a:pt x="3" y="102"/>
                  </a:lnTo>
                  <a:lnTo>
                    <a:pt x="117" y="91"/>
                  </a:lnTo>
                  <a:lnTo>
                    <a:pt x="26" y="5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59" name="30545383.875235.257573.55">
              <a:extLst>
                <a:ext uri="{FF2B5EF4-FFF2-40B4-BE49-F238E27FC236}">
                  <a16:creationId xmlns:a16="http://schemas.microsoft.com/office/drawing/2014/main" id="{F5BE3EDB-840C-4C91-A801-CB47795CC7C7}"/>
                </a:ext>
              </a:extLst>
            </p:cNvPr>
            <p:cNvSpPr>
              <a:spLocks noChangeAspect="1"/>
            </p:cNvSpPr>
            <p:nvPr/>
          </p:nvSpPr>
          <p:spPr bwMode="gray">
            <a:xfrm>
              <a:off x="3442548" y="4516023"/>
              <a:ext cx="1181146" cy="1212718"/>
            </a:xfrm>
            <a:custGeom>
              <a:avLst/>
              <a:gdLst/>
              <a:ahLst/>
              <a:cxnLst>
                <a:cxn ang="0">
                  <a:pos x="29" y="483"/>
                </a:cxn>
                <a:cxn ang="0">
                  <a:pos x="110" y="480"/>
                </a:cxn>
                <a:cxn ang="0">
                  <a:pos x="139" y="535"/>
                </a:cxn>
                <a:cxn ang="0">
                  <a:pos x="280" y="490"/>
                </a:cxn>
                <a:cxn ang="0">
                  <a:pos x="437" y="625"/>
                </a:cxn>
                <a:cxn ang="0">
                  <a:pos x="517" y="718"/>
                </a:cxn>
                <a:cxn ang="0">
                  <a:pos x="526" y="846"/>
                </a:cxn>
                <a:cxn ang="0">
                  <a:pos x="603" y="924"/>
                </a:cxn>
                <a:cxn ang="0">
                  <a:pos x="647" y="980"/>
                </a:cxn>
                <a:cxn ang="0">
                  <a:pos x="668" y="1040"/>
                </a:cxn>
                <a:cxn ang="0">
                  <a:pos x="543" y="1204"/>
                </a:cxn>
                <a:cxn ang="0">
                  <a:pos x="668" y="1267"/>
                </a:cxn>
                <a:cxn ang="0">
                  <a:pos x="680" y="1332"/>
                </a:cxn>
                <a:cxn ang="0">
                  <a:pos x="849" y="1033"/>
                </a:cxn>
                <a:cxn ang="0">
                  <a:pos x="1057" y="942"/>
                </a:cxn>
                <a:cxn ang="0">
                  <a:pos x="1156" y="759"/>
                </a:cxn>
                <a:cxn ang="0">
                  <a:pos x="1290" y="469"/>
                </a:cxn>
                <a:cxn ang="0">
                  <a:pos x="1282" y="345"/>
                </a:cxn>
                <a:cxn ang="0">
                  <a:pos x="1146" y="274"/>
                </a:cxn>
                <a:cxn ang="0">
                  <a:pos x="967" y="222"/>
                </a:cxn>
                <a:cxn ang="0">
                  <a:pos x="863" y="194"/>
                </a:cxn>
                <a:cxn ang="0">
                  <a:pos x="817" y="231"/>
                </a:cxn>
                <a:cxn ang="0">
                  <a:pos x="776" y="230"/>
                </a:cxn>
                <a:cxn ang="0">
                  <a:pos x="801" y="120"/>
                </a:cxn>
                <a:cxn ang="0">
                  <a:pos x="697" y="102"/>
                </a:cxn>
                <a:cxn ang="0">
                  <a:pos x="580" y="107"/>
                </a:cxn>
                <a:cxn ang="0">
                  <a:pos x="467" y="87"/>
                </a:cxn>
                <a:cxn ang="0">
                  <a:pos x="444" y="0"/>
                </a:cxn>
                <a:cxn ang="0">
                  <a:pos x="303" y="28"/>
                </a:cxn>
                <a:cxn ang="0">
                  <a:pos x="352" y="99"/>
                </a:cxn>
                <a:cxn ang="0">
                  <a:pos x="233" y="128"/>
                </a:cxn>
                <a:cxn ang="0">
                  <a:pos x="134" y="117"/>
                </a:cxn>
                <a:cxn ang="0">
                  <a:pos x="128" y="154"/>
                </a:cxn>
                <a:cxn ang="0">
                  <a:pos x="130" y="310"/>
                </a:cxn>
                <a:cxn ang="0">
                  <a:pos x="0" y="421"/>
                </a:cxn>
              </a:cxnLst>
              <a:rect l="0" t="0" r="r" b="b"/>
              <a:pathLst>
                <a:path w="1303" h="1332">
                  <a:moveTo>
                    <a:pt x="0" y="421"/>
                  </a:moveTo>
                  <a:lnTo>
                    <a:pt x="29" y="483"/>
                  </a:lnTo>
                  <a:lnTo>
                    <a:pt x="74" y="504"/>
                  </a:lnTo>
                  <a:lnTo>
                    <a:pt x="110" y="480"/>
                  </a:lnTo>
                  <a:lnTo>
                    <a:pt x="110" y="535"/>
                  </a:lnTo>
                  <a:lnTo>
                    <a:pt x="139" y="535"/>
                  </a:lnTo>
                  <a:lnTo>
                    <a:pt x="180" y="538"/>
                  </a:lnTo>
                  <a:lnTo>
                    <a:pt x="280" y="490"/>
                  </a:lnTo>
                  <a:lnTo>
                    <a:pt x="288" y="565"/>
                  </a:lnTo>
                  <a:lnTo>
                    <a:pt x="437" y="625"/>
                  </a:lnTo>
                  <a:lnTo>
                    <a:pt x="460" y="714"/>
                  </a:lnTo>
                  <a:lnTo>
                    <a:pt x="517" y="718"/>
                  </a:lnTo>
                  <a:lnTo>
                    <a:pt x="538" y="777"/>
                  </a:lnTo>
                  <a:lnTo>
                    <a:pt x="526" y="846"/>
                  </a:lnTo>
                  <a:lnTo>
                    <a:pt x="534" y="913"/>
                  </a:lnTo>
                  <a:lnTo>
                    <a:pt x="603" y="924"/>
                  </a:lnTo>
                  <a:lnTo>
                    <a:pt x="613" y="971"/>
                  </a:lnTo>
                  <a:lnTo>
                    <a:pt x="647" y="980"/>
                  </a:lnTo>
                  <a:lnTo>
                    <a:pt x="642" y="1039"/>
                  </a:lnTo>
                  <a:lnTo>
                    <a:pt x="668" y="1040"/>
                  </a:lnTo>
                  <a:lnTo>
                    <a:pt x="673" y="1091"/>
                  </a:lnTo>
                  <a:lnTo>
                    <a:pt x="543" y="1204"/>
                  </a:lnTo>
                  <a:lnTo>
                    <a:pt x="567" y="1197"/>
                  </a:lnTo>
                  <a:lnTo>
                    <a:pt x="668" y="1267"/>
                  </a:lnTo>
                  <a:lnTo>
                    <a:pt x="688" y="1296"/>
                  </a:lnTo>
                  <a:lnTo>
                    <a:pt x="680" y="1332"/>
                  </a:lnTo>
                  <a:lnTo>
                    <a:pt x="839" y="1134"/>
                  </a:lnTo>
                  <a:lnTo>
                    <a:pt x="849" y="1033"/>
                  </a:lnTo>
                  <a:lnTo>
                    <a:pt x="977" y="942"/>
                  </a:lnTo>
                  <a:lnTo>
                    <a:pt x="1057" y="942"/>
                  </a:lnTo>
                  <a:lnTo>
                    <a:pt x="1090" y="911"/>
                  </a:lnTo>
                  <a:lnTo>
                    <a:pt x="1156" y="759"/>
                  </a:lnTo>
                  <a:lnTo>
                    <a:pt x="1164" y="611"/>
                  </a:lnTo>
                  <a:lnTo>
                    <a:pt x="1290" y="469"/>
                  </a:lnTo>
                  <a:lnTo>
                    <a:pt x="1303" y="407"/>
                  </a:lnTo>
                  <a:lnTo>
                    <a:pt x="1282" y="345"/>
                  </a:lnTo>
                  <a:lnTo>
                    <a:pt x="1230" y="337"/>
                  </a:lnTo>
                  <a:lnTo>
                    <a:pt x="1146" y="274"/>
                  </a:lnTo>
                  <a:lnTo>
                    <a:pt x="982" y="260"/>
                  </a:lnTo>
                  <a:lnTo>
                    <a:pt x="967" y="222"/>
                  </a:lnTo>
                  <a:lnTo>
                    <a:pt x="893" y="193"/>
                  </a:lnTo>
                  <a:lnTo>
                    <a:pt x="863" y="194"/>
                  </a:lnTo>
                  <a:lnTo>
                    <a:pt x="819" y="252"/>
                  </a:lnTo>
                  <a:lnTo>
                    <a:pt x="817" y="231"/>
                  </a:lnTo>
                  <a:lnTo>
                    <a:pt x="747" y="241"/>
                  </a:lnTo>
                  <a:lnTo>
                    <a:pt x="776" y="230"/>
                  </a:lnTo>
                  <a:lnTo>
                    <a:pt x="749" y="184"/>
                  </a:lnTo>
                  <a:lnTo>
                    <a:pt x="801" y="120"/>
                  </a:lnTo>
                  <a:lnTo>
                    <a:pt x="746" y="37"/>
                  </a:lnTo>
                  <a:lnTo>
                    <a:pt x="697" y="102"/>
                  </a:lnTo>
                  <a:lnTo>
                    <a:pt x="650" y="98"/>
                  </a:lnTo>
                  <a:lnTo>
                    <a:pt x="580" y="107"/>
                  </a:lnTo>
                  <a:lnTo>
                    <a:pt x="485" y="121"/>
                  </a:lnTo>
                  <a:lnTo>
                    <a:pt x="467" y="87"/>
                  </a:lnTo>
                  <a:lnTo>
                    <a:pt x="474" y="24"/>
                  </a:lnTo>
                  <a:lnTo>
                    <a:pt x="444" y="0"/>
                  </a:lnTo>
                  <a:lnTo>
                    <a:pt x="361" y="40"/>
                  </a:lnTo>
                  <a:lnTo>
                    <a:pt x="303" y="28"/>
                  </a:lnTo>
                  <a:lnTo>
                    <a:pt x="320" y="91"/>
                  </a:lnTo>
                  <a:lnTo>
                    <a:pt x="352" y="99"/>
                  </a:lnTo>
                  <a:lnTo>
                    <a:pt x="272" y="145"/>
                  </a:lnTo>
                  <a:lnTo>
                    <a:pt x="233" y="128"/>
                  </a:lnTo>
                  <a:lnTo>
                    <a:pt x="214" y="105"/>
                  </a:lnTo>
                  <a:lnTo>
                    <a:pt x="134" y="117"/>
                  </a:lnTo>
                  <a:lnTo>
                    <a:pt x="159" y="151"/>
                  </a:lnTo>
                  <a:lnTo>
                    <a:pt x="128" y="154"/>
                  </a:lnTo>
                  <a:lnTo>
                    <a:pt x="145" y="213"/>
                  </a:lnTo>
                  <a:lnTo>
                    <a:pt x="130" y="310"/>
                  </a:lnTo>
                  <a:lnTo>
                    <a:pt x="46" y="344"/>
                  </a:lnTo>
                  <a:lnTo>
                    <a:pt x="0" y="4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0" name="30546426.37523278.7515.6255">
              <a:extLst>
                <a:ext uri="{FF2B5EF4-FFF2-40B4-BE49-F238E27FC236}">
                  <a16:creationId xmlns:a16="http://schemas.microsoft.com/office/drawing/2014/main" id="{6A5C4809-508A-424D-82F0-665451458C3A}"/>
                </a:ext>
              </a:extLst>
            </p:cNvPr>
            <p:cNvSpPr>
              <a:spLocks noChangeAspect="1"/>
            </p:cNvSpPr>
            <p:nvPr/>
          </p:nvSpPr>
          <p:spPr bwMode="gray">
            <a:xfrm>
              <a:off x="3393098" y="5202275"/>
              <a:ext cx="249163" cy="1274950"/>
            </a:xfrm>
            <a:custGeom>
              <a:avLst/>
              <a:gdLst/>
              <a:ahLst/>
              <a:cxnLst>
                <a:cxn ang="0">
                  <a:pos x="0" y="1091"/>
                </a:cxn>
                <a:cxn ang="0">
                  <a:pos x="22" y="1053"/>
                </a:cxn>
                <a:cxn ang="0">
                  <a:pos x="59" y="1080"/>
                </a:cxn>
                <a:cxn ang="0">
                  <a:pos x="95" y="1009"/>
                </a:cxn>
                <a:cxn ang="0">
                  <a:pos x="81" y="981"/>
                </a:cxn>
                <a:cxn ang="0">
                  <a:pos x="110" y="882"/>
                </a:cxn>
                <a:cxn ang="0">
                  <a:pos x="58" y="874"/>
                </a:cxn>
                <a:cxn ang="0">
                  <a:pos x="66" y="714"/>
                </a:cxn>
                <a:cxn ang="0">
                  <a:pos x="135" y="548"/>
                </a:cxn>
                <a:cxn ang="0">
                  <a:pos x="133" y="407"/>
                </a:cxn>
                <a:cxn ang="0">
                  <a:pos x="181" y="142"/>
                </a:cxn>
                <a:cxn ang="0">
                  <a:pos x="166" y="24"/>
                </a:cxn>
                <a:cxn ang="0">
                  <a:pos x="199" y="0"/>
                </a:cxn>
                <a:cxn ang="0">
                  <a:pos x="234" y="61"/>
                </a:cxn>
                <a:cxn ang="0">
                  <a:pos x="254" y="185"/>
                </a:cxn>
                <a:cxn ang="0">
                  <a:pos x="278" y="187"/>
                </a:cxn>
                <a:cxn ang="0">
                  <a:pos x="275" y="229"/>
                </a:cxn>
                <a:cxn ang="0">
                  <a:pos x="238" y="247"/>
                </a:cxn>
                <a:cxn ang="0">
                  <a:pos x="239" y="328"/>
                </a:cxn>
                <a:cxn ang="0">
                  <a:pos x="199" y="373"/>
                </a:cxn>
                <a:cxn ang="0">
                  <a:pos x="168" y="487"/>
                </a:cxn>
                <a:cxn ang="0">
                  <a:pos x="191" y="596"/>
                </a:cxn>
                <a:cxn ang="0">
                  <a:pos x="148" y="688"/>
                </a:cxn>
                <a:cxn ang="0">
                  <a:pos x="118" y="918"/>
                </a:cxn>
                <a:cxn ang="0">
                  <a:pos x="142" y="1002"/>
                </a:cxn>
                <a:cxn ang="0">
                  <a:pos x="120" y="1009"/>
                </a:cxn>
                <a:cxn ang="0">
                  <a:pos x="131" y="1083"/>
                </a:cxn>
                <a:cxn ang="0">
                  <a:pos x="74" y="1238"/>
                </a:cxn>
                <a:cxn ang="0">
                  <a:pos x="80" y="1263"/>
                </a:cxn>
                <a:cxn ang="0">
                  <a:pos x="107" y="1255"/>
                </a:cxn>
                <a:cxn ang="0">
                  <a:pos x="118" y="1314"/>
                </a:cxn>
                <a:cxn ang="0">
                  <a:pos x="239" y="1326"/>
                </a:cxn>
                <a:cxn ang="0">
                  <a:pos x="158" y="1350"/>
                </a:cxn>
                <a:cxn ang="0">
                  <a:pos x="148" y="1395"/>
                </a:cxn>
                <a:cxn ang="0">
                  <a:pos x="113" y="1383"/>
                </a:cxn>
                <a:cxn ang="0">
                  <a:pos x="153" y="1354"/>
                </a:cxn>
                <a:cxn ang="0">
                  <a:pos x="94" y="1341"/>
                </a:cxn>
                <a:cxn ang="0">
                  <a:pos x="87" y="1292"/>
                </a:cxn>
                <a:cxn ang="0">
                  <a:pos x="72" y="1315"/>
                </a:cxn>
                <a:cxn ang="0">
                  <a:pos x="50" y="1270"/>
                </a:cxn>
                <a:cxn ang="0">
                  <a:pos x="61" y="1256"/>
                </a:cxn>
                <a:cxn ang="0">
                  <a:pos x="34" y="1236"/>
                </a:cxn>
                <a:cxn ang="0">
                  <a:pos x="58" y="1209"/>
                </a:cxn>
                <a:cxn ang="0">
                  <a:pos x="36" y="1142"/>
                </a:cxn>
                <a:cxn ang="0">
                  <a:pos x="78" y="1149"/>
                </a:cxn>
                <a:cxn ang="0">
                  <a:pos x="36" y="1114"/>
                </a:cxn>
                <a:cxn ang="0">
                  <a:pos x="45" y="1088"/>
                </a:cxn>
                <a:cxn ang="0">
                  <a:pos x="0" y="1091"/>
                </a:cxn>
              </a:cxnLst>
              <a:rect l="0" t="0" r="r" b="b"/>
              <a:pathLst>
                <a:path w="278" h="1395">
                  <a:moveTo>
                    <a:pt x="0" y="1091"/>
                  </a:moveTo>
                  <a:lnTo>
                    <a:pt x="22" y="1053"/>
                  </a:lnTo>
                  <a:lnTo>
                    <a:pt x="59" y="1080"/>
                  </a:lnTo>
                  <a:lnTo>
                    <a:pt x="95" y="1009"/>
                  </a:lnTo>
                  <a:lnTo>
                    <a:pt x="81" y="981"/>
                  </a:lnTo>
                  <a:lnTo>
                    <a:pt x="110" y="882"/>
                  </a:lnTo>
                  <a:lnTo>
                    <a:pt x="58" y="874"/>
                  </a:lnTo>
                  <a:lnTo>
                    <a:pt x="66" y="714"/>
                  </a:lnTo>
                  <a:lnTo>
                    <a:pt x="135" y="548"/>
                  </a:lnTo>
                  <a:lnTo>
                    <a:pt x="133" y="407"/>
                  </a:lnTo>
                  <a:lnTo>
                    <a:pt x="181" y="142"/>
                  </a:lnTo>
                  <a:lnTo>
                    <a:pt x="166" y="24"/>
                  </a:lnTo>
                  <a:lnTo>
                    <a:pt x="199" y="0"/>
                  </a:lnTo>
                  <a:lnTo>
                    <a:pt x="234" y="61"/>
                  </a:lnTo>
                  <a:lnTo>
                    <a:pt x="254" y="185"/>
                  </a:lnTo>
                  <a:lnTo>
                    <a:pt x="278" y="187"/>
                  </a:lnTo>
                  <a:lnTo>
                    <a:pt x="275" y="229"/>
                  </a:lnTo>
                  <a:lnTo>
                    <a:pt x="238" y="247"/>
                  </a:lnTo>
                  <a:lnTo>
                    <a:pt x="239" y="328"/>
                  </a:lnTo>
                  <a:lnTo>
                    <a:pt x="199" y="373"/>
                  </a:lnTo>
                  <a:lnTo>
                    <a:pt x="168" y="487"/>
                  </a:lnTo>
                  <a:lnTo>
                    <a:pt x="191" y="596"/>
                  </a:lnTo>
                  <a:lnTo>
                    <a:pt x="148" y="688"/>
                  </a:lnTo>
                  <a:lnTo>
                    <a:pt x="118" y="918"/>
                  </a:lnTo>
                  <a:lnTo>
                    <a:pt x="142" y="1002"/>
                  </a:lnTo>
                  <a:lnTo>
                    <a:pt x="120" y="1009"/>
                  </a:lnTo>
                  <a:lnTo>
                    <a:pt x="131" y="1083"/>
                  </a:lnTo>
                  <a:lnTo>
                    <a:pt x="74" y="1238"/>
                  </a:lnTo>
                  <a:lnTo>
                    <a:pt x="80" y="1263"/>
                  </a:lnTo>
                  <a:lnTo>
                    <a:pt x="107" y="1255"/>
                  </a:lnTo>
                  <a:lnTo>
                    <a:pt x="118" y="1314"/>
                  </a:lnTo>
                  <a:lnTo>
                    <a:pt x="239" y="1326"/>
                  </a:lnTo>
                  <a:lnTo>
                    <a:pt x="158" y="1350"/>
                  </a:lnTo>
                  <a:lnTo>
                    <a:pt x="148" y="1395"/>
                  </a:lnTo>
                  <a:lnTo>
                    <a:pt x="113" y="1383"/>
                  </a:lnTo>
                  <a:lnTo>
                    <a:pt x="153" y="1354"/>
                  </a:lnTo>
                  <a:lnTo>
                    <a:pt x="94" y="1341"/>
                  </a:lnTo>
                  <a:lnTo>
                    <a:pt x="87" y="1292"/>
                  </a:lnTo>
                  <a:lnTo>
                    <a:pt x="72" y="1315"/>
                  </a:lnTo>
                  <a:lnTo>
                    <a:pt x="50" y="1270"/>
                  </a:lnTo>
                  <a:lnTo>
                    <a:pt x="61" y="1256"/>
                  </a:lnTo>
                  <a:lnTo>
                    <a:pt x="34" y="1236"/>
                  </a:lnTo>
                  <a:lnTo>
                    <a:pt x="58" y="1209"/>
                  </a:lnTo>
                  <a:lnTo>
                    <a:pt x="36" y="1142"/>
                  </a:lnTo>
                  <a:lnTo>
                    <a:pt x="78" y="1149"/>
                  </a:lnTo>
                  <a:lnTo>
                    <a:pt x="36" y="1114"/>
                  </a:lnTo>
                  <a:lnTo>
                    <a:pt x="45" y="1088"/>
                  </a:lnTo>
                  <a:lnTo>
                    <a:pt x="0" y="109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1" name="30547492.375232.87531.255">
              <a:extLst>
                <a:ext uri="{FF2B5EF4-FFF2-40B4-BE49-F238E27FC236}">
                  <a16:creationId xmlns:a16="http://schemas.microsoft.com/office/drawing/2014/main" id="{FCFB8232-A86D-4C11-AD6B-CD83B099478D}"/>
                </a:ext>
              </a:extLst>
            </p:cNvPr>
            <p:cNvSpPr>
              <a:spLocks noChangeAspect="1"/>
            </p:cNvSpPr>
            <p:nvPr/>
          </p:nvSpPr>
          <p:spPr bwMode="gray">
            <a:xfrm>
              <a:off x="3404510" y="6272025"/>
              <a:ext cx="22823" cy="48779"/>
            </a:xfrm>
            <a:custGeom>
              <a:avLst/>
              <a:gdLst/>
              <a:ahLst/>
              <a:cxnLst>
                <a:cxn ang="0">
                  <a:pos x="0" y="23"/>
                </a:cxn>
                <a:cxn ang="0">
                  <a:pos x="8" y="0"/>
                </a:cxn>
                <a:cxn ang="0">
                  <a:pos x="22" y="51"/>
                </a:cxn>
                <a:cxn ang="0">
                  <a:pos x="0" y="23"/>
                </a:cxn>
              </a:cxnLst>
              <a:rect l="0" t="0" r="r" b="b"/>
              <a:pathLst>
                <a:path w="22" h="51">
                  <a:moveTo>
                    <a:pt x="0" y="23"/>
                  </a:moveTo>
                  <a:lnTo>
                    <a:pt x="8" y="0"/>
                  </a:lnTo>
                  <a:lnTo>
                    <a:pt x="22" y="51"/>
                  </a:lnTo>
                  <a:lnTo>
                    <a:pt x="0" y="2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2" name="30548476.5234.1253.751.1255">
              <a:extLst>
                <a:ext uri="{FF2B5EF4-FFF2-40B4-BE49-F238E27FC236}">
                  <a16:creationId xmlns:a16="http://schemas.microsoft.com/office/drawing/2014/main" id="{94B73B66-2C07-45CB-93BC-B6D406C12164}"/>
                </a:ext>
              </a:extLst>
            </p:cNvPr>
            <p:cNvSpPr>
              <a:spLocks noChangeAspect="1"/>
            </p:cNvSpPr>
            <p:nvPr/>
          </p:nvSpPr>
          <p:spPr bwMode="gray">
            <a:xfrm>
              <a:off x="3427332" y="6014680"/>
              <a:ext cx="15216" cy="62232"/>
            </a:xfrm>
            <a:custGeom>
              <a:avLst/>
              <a:gdLst/>
              <a:ahLst/>
              <a:cxnLst>
                <a:cxn ang="0">
                  <a:pos x="0" y="56"/>
                </a:cxn>
                <a:cxn ang="0">
                  <a:pos x="19" y="0"/>
                </a:cxn>
                <a:cxn ang="0">
                  <a:pos x="19" y="66"/>
                </a:cxn>
                <a:cxn ang="0">
                  <a:pos x="0" y="56"/>
                </a:cxn>
              </a:cxnLst>
              <a:rect l="0" t="0" r="r" b="b"/>
              <a:pathLst>
                <a:path w="19" h="66">
                  <a:moveTo>
                    <a:pt x="0" y="56"/>
                  </a:moveTo>
                  <a:lnTo>
                    <a:pt x="19" y="0"/>
                  </a:lnTo>
                  <a:lnTo>
                    <a:pt x="19" y="66"/>
                  </a:lnTo>
                  <a:lnTo>
                    <a:pt x="0" y="5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3" name="30549504.125235.51.752.55">
              <a:extLst>
                <a:ext uri="{FF2B5EF4-FFF2-40B4-BE49-F238E27FC236}">
                  <a16:creationId xmlns:a16="http://schemas.microsoft.com/office/drawing/2014/main" id="{78704E40-119C-4E60-94B2-3C8EB4116479}"/>
                </a:ext>
              </a:extLst>
            </p:cNvPr>
            <p:cNvSpPr>
              <a:spLocks noChangeAspect="1"/>
            </p:cNvSpPr>
            <p:nvPr/>
          </p:nvSpPr>
          <p:spPr bwMode="gray">
            <a:xfrm>
              <a:off x="3450159" y="6463773"/>
              <a:ext cx="38039" cy="28593"/>
            </a:xfrm>
            <a:custGeom>
              <a:avLst/>
              <a:gdLst/>
              <a:ahLst/>
              <a:cxnLst>
                <a:cxn ang="0">
                  <a:pos x="0" y="0"/>
                </a:cxn>
                <a:cxn ang="0">
                  <a:pos x="42" y="6"/>
                </a:cxn>
                <a:cxn ang="0">
                  <a:pos x="44" y="28"/>
                </a:cxn>
                <a:cxn ang="0">
                  <a:pos x="0" y="0"/>
                </a:cxn>
              </a:cxnLst>
              <a:rect l="0" t="0" r="r" b="b"/>
              <a:pathLst>
                <a:path w="44" h="28">
                  <a:moveTo>
                    <a:pt x="0" y="0"/>
                  </a:moveTo>
                  <a:lnTo>
                    <a:pt x="42" y="6"/>
                  </a:lnTo>
                  <a:lnTo>
                    <a:pt x="44" y="28"/>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4" name="30550500.52363.753.6255">
              <a:extLst>
                <a:ext uri="{FF2B5EF4-FFF2-40B4-BE49-F238E27FC236}">
                  <a16:creationId xmlns:a16="http://schemas.microsoft.com/office/drawing/2014/main" id="{5793B76F-3597-42E8-B225-879C3F98A953}"/>
                </a:ext>
              </a:extLst>
            </p:cNvPr>
            <p:cNvSpPr>
              <a:spLocks noChangeAspect="1"/>
            </p:cNvSpPr>
            <p:nvPr/>
          </p:nvSpPr>
          <p:spPr bwMode="gray">
            <a:xfrm>
              <a:off x="3455864" y="6403218"/>
              <a:ext cx="60865" cy="62235"/>
            </a:xfrm>
            <a:custGeom>
              <a:avLst/>
              <a:gdLst/>
              <a:ahLst/>
              <a:cxnLst>
                <a:cxn ang="0">
                  <a:pos x="0" y="11"/>
                </a:cxn>
                <a:cxn ang="0">
                  <a:pos x="18" y="0"/>
                </a:cxn>
                <a:cxn ang="0">
                  <a:pos x="17" y="30"/>
                </a:cxn>
                <a:cxn ang="0">
                  <a:pos x="66" y="41"/>
                </a:cxn>
                <a:cxn ang="0">
                  <a:pos x="34" y="66"/>
                </a:cxn>
                <a:cxn ang="0">
                  <a:pos x="0" y="11"/>
                </a:cxn>
              </a:cxnLst>
              <a:rect l="0" t="0" r="r" b="b"/>
              <a:pathLst>
                <a:path w="66" h="66">
                  <a:moveTo>
                    <a:pt x="0" y="11"/>
                  </a:moveTo>
                  <a:lnTo>
                    <a:pt x="18" y="0"/>
                  </a:lnTo>
                  <a:lnTo>
                    <a:pt x="17" y="30"/>
                  </a:lnTo>
                  <a:lnTo>
                    <a:pt x="66" y="41"/>
                  </a:lnTo>
                  <a:lnTo>
                    <a:pt x="34" y="66"/>
                  </a:lnTo>
                  <a:lnTo>
                    <a:pt x="0" y="1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5" name="30551505.375238.625125">
              <a:extLst>
                <a:ext uri="{FF2B5EF4-FFF2-40B4-BE49-F238E27FC236}">
                  <a16:creationId xmlns:a16="http://schemas.microsoft.com/office/drawing/2014/main" id="{45B0FC69-75F1-4E27-BFA4-939CBFB97E22}"/>
                </a:ext>
              </a:extLst>
            </p:cNvPr>
            <p:cNvSpPr>
              <a:spLocks noChangeAspect="1"/>
            </p:cNvSpPr>
            <p:nvPr/>
          </p:nvSpPr>
          <p:spPr bwMode="gray">
            <a:xfrm>
              <a:off x="3499609" y="6483956"/>
              <a:ext cx="32333" cy="15137"/>
            </a:xfrm>
            <a:custGeom>
              <a:avLst/>
              <a:gdLst/>
              <a:ahLst/>
              <a:cxnLst>
                <a:cxn ang="0">
                  <a:pos x="0" y="12"/>
                </a:cxn>
                <a:cxn ang="0">
                  <a:pos x="10" y="0"/>
                </a:cxn>
                <a:cxn ang="0">
                  <a:pos x="36" y="16"/>
                </a:cxn>
                <a:cxn ang="0">
                  <a:pos x="0" y="12"/>
                </a:cxn>
              </a:cxnLst>
              <a:rect l="0" t="0" r="r" b="b"/>
              <a:pathLst>
                <a:path w="36" h="16">
                  <a:moveTo>
                    <a:pt x="0" y="12"/>
                  </a:moveTo>
                  <a:lnTo>
                    <a:pt x="10" y="0"/>
                  </a:lnTo>
                  <a:lnTo>
                    <a:pt x="36" y="16"/>
                  </a:lnTo>
                  <a:lnTo>
                    <a:pt x="0" y="1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6" name="30552502.252405.755.255">
              <a:extLst>
                <a:ext uri="{FF2B5EF4-FFF2-40B4-BE49-F238E27FC236}">
                  <a16:creationId xmlns:a16="http://schemas.microsoft.com/office/drawing/2014/main" id="{6DFC39E5-5165-4E7A-B720-B41C41D70EE5}"/>
                </a:ext>
              </a:extLst>
            </p:cNvPr>
            <p:cNvSpPr>
              <a:spLocks noChangeAspect="1"/>
            </p:cNvSpPr>
            <p:nvPr/>
          </p:nvSpPr>
          <p:spPr bwMode="gray">
            <a:xfrm>
              <a:off x="3522435" y="6433496"/>
              <a:ext cx="81787" cy="92509"/>
            </a:xfrm>
            <a:custGeom>
              <a:avLst/>
              <a:gdLst/>
              <a:ahLst/>
              <a:cxnLst>
                <a:cxn ang="0">
                  <a:pos x="0" y="83"/>
                </a:cxn>
                <a:cxn ang="0">
                  <a:pos x="15" y="68"/>
                </a:cxn>
                <a:cxn ang="0">
                  <a:pos x="64" y="77"/>
                </a:cxn>
                <a:cxn ang="0">
                  <a:pos x="42" y="51"/>
                </a:cxn>
                <a:cxn ang="0">
                  <a:pos x="66" y="35"/>
                </a:cxn>
                <a:cxn ang="0">
                  <a:pos x="30" y="30"/>
                </a:cxn>
                <a:cxn ang="0">
                  <a:pos x="30" y="6"/>
                </a:cxn>
                <a:cxn ang="0">
                  <a:pos x="89" y="0"/>
                </a:cxn>
                <a:cxn ang="0">
                  <a:pos x="92" y="102"/>
                </a:cxn>
                <a:cxn ang="0">
                  <a:pos x="0" y="83"/>
                </a:cxn>
              </a:cxnLst>
              <a:rect l="0" t="0" r="r" b="b"/>
              <a:pathLst>
                <a:path w="92" h="102">
                  <a:moveTo>
                    <a:pt x="0" y="83"/>
                  </a:moveTo>
                  <a:lnTo>
                    <a:pt x="15" y="68"/>
                  </a:lnTo>
                  <a:lnTo>
                    <a:pt x="64" y="77"/>
                  </a:lnTo>
                  <a:lnTo>
                    <a:pt x="42" y="51"/>
                  </a:lnTo>
                  <a:lnTo>
                    <a:pt x="66" y="35"/>
                  </a:lnTo>
                  <a:lnTo>
                    <a:pt x="30" y="30"/>
                  </a:lnTo>
                  <a:lnTo>
                    <a:pt x="30" y="6"/>
                  </a:lnTo>
                  <a:lnTo>
                    <a:pt x="89" y="0"/>
                  </a:lnTo>
                  <a:lnTo>
                    <a:pt x="92" y="102"/>
                  </a:lnTo>
                  <a:lnTo>
                    <a:pt x="0" y="8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7" name="30553508.875242.6251.1253.8755">
              <a:extLst>
                <a:ext uri="{FF2B5EF4-FFF2-40B4-BE49-F238E27FC236}">
                  <a16:creationId xmlns:a16="http://schemas.microsoft.com/office/drawing/2014/main" id="{1F2D2A75-E575-4D5B-9DED-9681811BF281}"/>
                </a:ext>
              </a:extLst>
            </p:cNvPr>
            <p:cNvSpPr>
              <a:spLocks noChangeAspect="1"/>
            </p:cNvSpPr>
            <p:nvPr/>
          </p:nvSpPr>
          <p:spPr bwMode="gray">
            <a:xfrm>
              <a:off x="3564279" y="6541142"/>
              <a:ext cx="58961" cy="16821"/>
            </a:xfrm>
            <a:custGeom>
              <a:avLst/>
              <a:gdLst/>
              <a:ahLst/>
              <a:cxnLst>
                <a:cxn ang="0">
                  <a:pos x="0" y="0"/>
                </a:cxn>
                <a:cxn ang="0">
                  <a:pos x="62" y="6"/>
                </a:cxn>
                <a:cxn ang="0">
                  <a:pos x="69" y="21"/>
                </a:cxn>
                <a:cxn ang="0">
                  <a:pos x="0" y="0"/>
                </a:cxn>
              </a:cxnLst>
              <a:rect l="0" t="0" r="r" b="b"/>
              <a:pathLst>
                <a:path w="69" h="21">
                  <a:moveTo>
                    <a:pt x="0" y="0"/>
                  </a:moveTo>
                  <a:lnTo>
                    <a:pt x="62" y="6"/>
                  </a:lnTo>
                  <a:lnTo>
                    <a:pt x="69" y="2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8" name="30554508.125246.3750.751.755">
              <a:extLst>
                <a:ext uri="{FF2B5EF4-FFF2-40B4-BE49-F238E27FC236}">
                  <a16:creationId xmlns:a16="http://schemas.microsoft.com/office/drawing/2014/main" id="{3AA2FD6B-A53E-4DE3-9E60-9AB3CC478FD0}"/>
                </a:ext>
              </a:extLst>
            </p:cNvPr>
            <p:cNvSpPr>
              <a:spLocks noChangeAspect="1"/>
            </p:cNvSpPr>
            <p:nvPr/>
          </p:nvSpPr>
          <p:spPr bwMode="gray">
            <a:xfrm>
              <a:off x="3623240" y="6527686"/>
              <a:ext cx="28532" cy="13456"/>
            </a:xfrm>
            <a:custGeom>
              <a:avLst/>
              <a:gdLst/>
              <a:ahLst/>
              <a:cxnLst>
                <a:cxn ang="0">
                  <a:pos x="0" y="14"/>
                </a:cxn>
                <a:cxn ang="0">
                  <a:pos x="7" y="0"/>
                </a:cxn>
                <a:cxn ang="0">
                  <a:pos x="32" y="14"/>
                </a:cxn>
                <a:cxn ang="0">
                  <a:pos x="0" y="14"/>
                </a:cxn>
              </a:cxnLst>
              <a:rect l="0" t="0" r="r" b="b"/>
              <a:pathLst>
                <a:path w="32" h="14">
                  <a:moveTo>
                    <a:pt x="0" y="14"/>
                  </a:moveTo>
                  <a:lnTo>
                    <a:pt x="7" y="0"/>
                  </a:lnTo>
                  <a:lnTo>
                    <a:pt x="32" y="14"/>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69" name="30555370.125225.87531.12522.6255">
              <a:extLst>
                <a:ext uri="{FF2B5EF4-FFF2-40B4-BE49-F238E27FC236}">
                  <a16:creationId xmlns:a16="http://schemas.microsoft.com/office/drawing/2014/main" id="{E9A04B94-A08E-47B9-B8E8-0E5110A394F2}"/>
                </a:ext>
              </a:extLst>
            </p:cNvPr>
            <p:cNvSpPr>
              <a:spLocks noChangeAspect="1"/>
            </p:cNvSpPr>
            <p:nvPr/>
          </p:nvSpPr>
          <p:spPr bwMode="gray">
            <a:xfrm>
              <a:off x="3294194" y="4292320"/>
              <a:ext cx="363284" cy="506280"/>
            </a:xfrm>
            <a:custGeom>
              <a:avLst/>
              <a:gdLst/>
              <a:ahLst/>
              <a:cxnLst>
                <a:cxn ang="0">
                  <a:pos x="0" y="367"/>
                </a:cxn>
                <a:cxn ang="0">
                  <a:pos x="50" y="407"/>
                </a:cxn>
                <a:cxn ang="0">
                  <a:pos x="120" y="417"/>
                </a:cxn>
                <a:cxn ang="0">
                  <a:pos x="193" y="491"/>
                </a:cxn>
                <a:cxn ang="0">
                  <a:pos x="288" y="498"/>
                </a:cxn>
                <a:cxn ang="0">
                  <a:pos x="274" y="538"/>
                </a:cxn>
                <a:cxn ang="0">
                  <a:pos x="297" y="552"/>
                </a:cxn>
                <a:cxn ang="0">
                  <a:pos x="312" y="455"/>
                </a:cxn>
                <a:cxn ang="0">
                  <a:pos x="295" y="396"/>
                </a:cxn>
                <a:cxn ang="0">
                  <a:pos x="326" y="393"/>
                </a:cxn>
                <a:cxn ang="0">
                  <a:pos x="301" y="359"/>
                </a:cxn>
                <a:cxn ang="0">
                  <a:pos x="381" y="347"/>
                </a:cxn>
                <a:cxn ang="0">
                  <a:pos x="400" y="370"/>
                </a:cxn>
                <a:cxn ang="0">
                  <a:pos x="370" y="322"/>
                </a:cxn>
                <a:cxn ang="0">
                  <a:pos x="380" y="206"/>
                </a:cxn>
                <a:cxn ang="0">
                  <a:pos x="315" y="211"/>
                </a:cxn>
                <a:cxn ang="0">
                  <a:pos x="295" y="183"/>
                </a:cxn>
                <a:cxn ang="0">
                  <a:pos x="229" y="175"/>
                </a:cxn>
                <a:cxn ang="0">
                  <a:pos x="187" y="109"/>
                </a:cxn>
                <a:cxn ang="0">
                  <a:pos x="251" y="21"/>
                </a:cxn>
                <a:cxn ang="0">
                  <a:pos x="242" y="0"/>
                </a:cxn>
                <a:cxn ang="0">
                  <a:pos x="130" y="48"/>
                </a:cxn>
                <a:cxn ang="0">
                  <a:pos x="68" y="147"/>
                </a:cxn>
                <a:cxn ang="0">
                  <a:pos x="49" y="124"/>
                </a:cxn>
                <a:cxn ang="0">
                  <a:pos x="32" y="172"/>
                </a:cxn>
                <a:cxn ang="0">
                  <a:pos x="49" y="282"/>
                </a:cxn>
                <a:cxn ang="0">
                  <a:pos x="62" y="282"/>
                </a:cxn>
                <a:cxn ang="0">
                  <a:pos x="0" y="367"/>
                </a:cxn>
              </a:cxnLst>
              <a:rect l="0" t="0" r="r" b="b"/>
              <a:pathLst>
                <a:path w="400" h="552">
                  <a:moveTo>
                    <a:pt x="0" y="367"/>
                  </a:moveTo>
                  <a:lnTo>
                    <a:pt x="50" y="407"/>
                  </a:lnTo>
                  <a:lnTo>
                    <a:pt x="120" y="417"/>
                  </a:lnTo>
                  <a:lnTo>
                    <a:pt x="193" y="491"/>
                  </a:lnTo>
                  <a:lnTo>
                    <a:pt x="288" y="498"/>
                  </a:lnTo>
                  <a:lnTo>
                    <a:pt x="274" y="538"/>
                  </a:lnTo>
                  <a:lnTo>
                    <a:pt x="297" y="552"/>
                  </a:lnTo>
                  <a:lnTo>
                    <a:pt x="312" y="455"/>
                  </a:lnTo>
                  <a:lnTo>
                    <a:pt x="295" y="396"/>
                  </a:lnTo>
                  <a:lnTo>
                    <a:pt x="326" y="393"/>
                  </a:lnTo>
                  <a:lnTo>
                    <a:pt x="301" y="359"/>
                  </a:lnTo>
                  <a:lnTo>
                    <a:pt x="381" y="347"/>
                  </a:lnTo>
                  <a:lnTo>
                    <a:pt x="400" y="370"/>
                  </a:lnTo>
                  <a:lnTo>
                    <a:pt x="370" y="322"/>
                  </a:lnTo>
                  <a:lnTo>
                    <a:pt x="380" y="206"/>
                  </a:lnTo>
                  <a:lnTo>
                    <a:pt x="315" y="211"/>
                  </a:lnTo>
                  <a:lnTo>
                    <a:pt x="295" y="183"/>
                  </a:lnTo>
                  <a:lnTo>
                    <a:pt x="229" y="175"/>
                  </a:lnTo>
                  <a:lnTo>
                    <a:pt x="187" y="109"/>
                  </a:lnTo>
                  <a:lnTo>
                    <a:pt x="251" y="21"/>
                  </a:lnTo>
                  <a:lnTo>
                    <a:pt x="242" y="0"/>
                  </a:lnTo>
                  <a:lnTo>
                    <a:pt x="130" y="48"/>
                  </a:lnTo>
                  <a:lnTo>
                    <a:pt x="68" y="147"/>
                  </a:lnTo>
                  <a:lnTo>
                    <a:pt x="49" y="124"/>
                  </a:lnTo>
                  <a:lnTo>
                    <a:pt x="32" y="172"/>
                  </a:lnTo>
                  <a:lnTo>
                    <a:pt x="49" y="282"/>
                  </a:lnTo>
                  <a:lnTo>
                    <a:pt x="62" y="282"/>
                  </a:lnTo>
                  <a:lnTo>
                    <a:pt x="0" y="36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0" name="30556390.875222.12511.62510.55">
              <a:extLst>
                <a:ext uri="{FF2B5EF4-FFF2-40B4-BE49-F238E27FC236}">
                  <a16:creationId xmlns:a16="http://schemas.microsoft.com/office/drawing/2014/main" id="{B0CBE6B7-3FDB-4098-9D07-242B98825D5A}"/>
                </a:ext>
              </a:extLst>
            </p:cNvPr>
            <p:cNvSpPr>
              <a:spLocks noChangeAspect="1"/>
            </p:cNvSpPr>
            <p:nvPr/>
          </p:nvSpPr>
          <p:spPr bwMode="gray">
            <a:xfrm>
              <a:off x="3233329" y="4628718"/>
              <a:ext cx="169276" cy="188383"/>
            </a:xfrm>
            <a:custGeom>
              <a:avLst/>
              <a:gdLst/>
              <a:ahLst/>
              <a:cxnLst>
                <a:cxn ang="0">
                  <a:pos x="0" y="80"/>
                </a:cxn>
                <a:cxn ang="0">
                  <a:pos x="1" y="121"/>
                </a:cxn>
                <a:cxn ang="0">
                  <a:pos x="34" y="131"/>
                </a:cxn>
                <a:cxn ang="0">
                  <a:pos x="16" y="164"/>
                </a:cxn>
                <a:cxn ang="0">
                  <a:pos x="11" y="198"/>
                </a:cxn>
                <a:cxn ang="0">
                  <a:pos x="54" y="208"/>
                </a:cxn>
                <a:cxn ang="0">
                  <a:pos x="93" y="150"/>
                </a:cxn>
                <a:cxn ang="0">
                  <a:pos x="169" y="105"/>
                </a:cxn>
                <a:cxn ang="0">
                  <a:pos x="185" y="50"/>
                </a:cxn>
                <a:cxn ang="0">
                  <a:pos x="115" y="40"/>
                </a:cxn>
                <a:cxn ang="0">
                  <a:pos x="65" y="0"/>
                </a:cxn>
                <a:cxn ang="0">
                  <a:pos x="23" y="21"/>
                </a:cxn>
                <a:cxn ang="0">
                  <a:pos x="0" y="80"/>
                </a:cxn>
              </a:cxnLst>
              <a:rect l="0" t="0" r="r" b="b"/>
              <a:pathLst>
                <a:path w="185" h="208">
                  <a:moveTo>
                    <a:pt x="0" y="80"/>
                  </a:moveTo>
                  <a:lnTo>
                    <a:pt x="1" y="121"/>
                  </a:lnTo>
                  <a:lnTo>
                    <a:pt x="34" y="131"/>
                  </a:lnTo>
                  <a:lnTo>
                    <a:pt x="16" y="164"/>
                  </a:lnTo>
                  <a:lnTo>
                    <a:pt x="11" y="198"/>
                  </a:lnTo>
                  <a:lnTo>
                    <a:pt x="54" y="208"/>
                  </a:lnTo>
                  <a:lnTo>
                    <a:pt x="93" y="150"/>
                  </a:lnTo>
                  <a:lnTo>
                    <a:pt x="169" y="105"/>
                  </a:lnTo>
                  <a:lnTo>
                    <a:pt x="185" y="50"/>
                  </a:lnTo>
                  <a:lnTo>
                    <a:pt x="115" y="40"/>
                  </a:lnTo>
                  <a:lnTo>
                    <a:pt x="65" y="0"/>
                  </a:lnTo>
                  <a:lnTo>
                    <a:pt x="23" y="21"/>
                  </a:lnTo>
                  <a:lnTo>
                    <a:pt x="0" y="8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1" name="30557370.375236.37521.62525.255">
              <a:extLst>
                <a:ext uri="{FF2B5EF4-FFF2-40B4-BE49-F238E27FC236}">
                  <a16:creationId xmlns:a16="http://schemas.microsoft.com/office/drawing/2014/main" id="{648757B4-BF7A-4472-B01A-9872DB71DD1C}"/>
                </a:ext>
              </a:extLst>
            </p:cNvPr>
            <p:cNvSpPr>
              <a:spLocks noChangeAspect="1"/>
            </p:cNvSpPr>
            <p:nvPr/>
          </p:nvSpPr>
          <p:spPr bwMode="gray">
            <a:xfrm>
              <a:off x="3461570" y="4295681"/>
              <a:ext cx="405128" cy="351535"/>
            </a:xfrm>
            <a:custGeom>
              <a:avLst/>
              <a:gdLst/>
              <a:ahLst/>
              <a:cxnLst>
                <a:cxn ang="0">
                  <a:pos x="0" y="105"/>
                </a:cxn>
                <a:cxn ang="0">
                  <a:pos x="42" y="171"/>
                </a:cxn>
                <a:cxn ang="0">
                  <a:pos x="108" y="179"/>
                </a:cxn>
                <a:cxn ang="0">
                  <a:pos x="128" y="207"/>
                </a:cxn>
                <a:cxn ang="0">
                  <a:pos x="193" y="202"/>
                </a:cxn>
                <a:cxn ang="0">
                  <a:pos x="183" y="318"/>
                </a:cxn>
                <a:cxn ang="0">
                  <a:pos x="213" y="366"/>
                </a:cxn>
                <a:cxn ang="0">
                  <a:pos x="252" y="383"/>
                </a:cxn>
                <a:cxn ang="0">
                  <a:pos x="332" y="337"/>
                </a:cxn>
                <a:cxn ang="0">
                  <a:pos x="300" y="329"/>
                </a:cxn>
                <a:cxn ang="0">
                  <a:pos x="283" y="266"/>
                </a:cxn>
                <a:cxn ang="0">
                  <a:pos x="341" y="278"/>
                </a:cxn>
                <a:cxn ang="0">
                  <a:pos x="424" y="238"/>
                </a:cxn>
                <a:cxn ang="0">
                  <a:pos x="400" y="207"/>
                </a:cxn>
                <a:cxn ang="0">
                  <a:pos x="429" y="178"/>
                </a:cxn>
                <a:cxn ang="0">
                  <a:pos x="417" y="156"/>
                </a:cxn>
                <a:cxn ang="0">
                  <a:pos x="448" y="132"/>
                </a:cxn>
                <a:cxn ang="0">
                  <a:pos x="409" y="127"/>
                </a:cxn>
                <a:cxn ang="0">
                  <a:pos x="409" y="96"/>
                </a:cxn>
                <a:cxn ang="0">
                  <a:pos x="344" y="63"/>
                </a:cxn>
                <a:cxn ang="0">
                  <a:pos x="373" y="54"/>
                </a:cxn>
                <a:cxn ang="0">
                  <a:pos x="176" y="61"/>
                </a:cxn>
                <a:cxn ang="0">
                  <a:pos x="112" y="0"/>
                </a:cxn>
                <a:cxn ang="0">
                  <a:pos x="114" y="28"/>
                </a:cxn>
                <a:cxn ang="0">
                  <a:pos x="59" y="51"/>
                </a:cxn>
                <a:cxn ang="0">
                  <a:pos x="76" y="96"/>
                </a:cxn>
                <a:cxn ang="0">
                  <a:pos x="55" y="113"/>
                </a:cxn>
                <a:cxn ang="0">
                  <a:pos x="42" y="72"/>
                </a:cxn>
                <a:cxn ang="0">
                  <a:pos x="64" y="17"/>
                </a:cxn>
                <a:cxn ang="0">
                  <a:pos x="0" y="105"/>
                </a:cxn>
              </a:cxnLst>
              <a:rect l="0" t="0" r="r" b="b"/>
              <a:pathLst>
                <a:path w="448" h="383">
                  <a:moveTo>
                    <a:pt x="0" y="105"/>
                  </a:moveTo>
                  <a:lnTo>
                    <a:pt x="42" y="171"/>
                  </a:lnTo>
                  <a:lnTo>
                    <a:pt x="108" y="179"/>
                  </a:lnTo>
                  <a:lnTo>
                    <a:pt x="128" y="207"/>
                  </a:lnTo>
                  <a:lnTo>
                    <a:pt x="193" y="202"/>
                  </a:lnTo>
                  <a:lnTo>
                    <a:pt x="183" y="318"/>
                  </a:lnTo>
                  <a:lnTo>
                    <a:pt x="213" y="366"/>
                  </a:lnTo>
                  <a:lnTo>
                    <a:pt x="252" y="383"/>
                  </a:lnTo>
                  <a:lnTo>
                    <a:pt x="332" y="337"/>
                  </a:lnTo>
                  <a:lnTo>
                    <a:pt x="300" y="329"/>
                  </a:lnTo>
                  <a:lnTo>
                    <a:pt x="283" y="266"/>
                  </a:lnTo>
                  <a:lnTo>
                    <a:pt x="341" y="278"/>
                  </a:lnTo>
                  <a:lnTo>
                    <a:pt x="424" y="238"/>
                  </a:lnTo>
                  <a:lnTo>
                    <a:pt x="400" y="207"/>
                  </a:lnTo>
                  <a:lnTo>
                    <a:pt x="429" y="178"/>
                  </a:lnTo>
                  <a:lnTo>
                    <a:pt x="417" y="156"/>
                  </a:lnTo>
                  <a:lnTo>
                    <a:pt x="448" y="132"/>
                  </a:lnTo>
                  <a:lnTo>
                    <a:pt x="409" y="127"/>
                  </a:lnTo>
                  <a:lnTo>
                    <a:pt x="409" y="96"/>
                  </a:lnTo>
                  <a:lnTo>
                    <a:pt x="344" y="63"/>
                  </a:lnTo>
                  <a:lnTo>
                    <a:pt x="373" y="54"/>
                  </a:lnTo>
                  <a:lnTo>
                    <a:pt x="176" y="61"/>
                  </a:lnTo>
                  <a:lnTo>
                    <a:pt x="112" y="0"/>
                  </a:lnTo>
                  <a:lnTo>
                    <a:pt x="114" y="28"/>
                  </a:lnTo>
                  <a:lnTo>
                    <a:pt x="59" y="51"/>
                  </a:lnTo>
                  <a:lnTo>
                    <a:pt x="76" y="96"/>
                  </a:lnTo>
                  <a:lnTo>
                    <a:pt x="55" y="113"/>
                  </a:lnTo>
                  <a:lnTo>
                    <a:pt x="42" y="72"/>
                  </a:lnTo>
                  <a:lnTo>
                    <a:pt x="64" y="17"/>
                  </a:lnTo>
                  <a:lnTo>
                    <a:pt x="0" y="10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2" name="30413317.75488.519.12526.6255">
              <a:extLst>
                <a:ext uri="{FF2B5EF4-FFF2-40B4-BE49-F238E27FC236}">
                  <a16:creationId xmlns:a16="http://schemas.microsoft.com/office/drawing/2014/main" id="{8E8A57F8-BABF-42FB-8D53-68C7A158EB9E}"/>
                </a:ext>
              </a:extLst>
            </p:cNvPr>
            <p:cNvSpPr>
              <a:spLocks noChangeAspect="1"/>
            </p:cNvSpPr>
            <p:nvPr/>
          </p:nvSpPr>
          <p:spPr bwMode="gray">
            <a:xfrm>
              <a:off x="7503333" y="3446275"/>
              <a:ext cx="427950" cy="309486"/>
            </a:xfrm>
            <a:custGeom>
              <a:avLst/>
              <a:gdLst/>
              <a:ahLst/>
              <a:cxnLst>
                <a:cxn ang="0">
                  <a:pos x="0" y="163"/>
                </a:cxn>
                <a:cxn ang="0">
                  <a:pos x="4" y="251"/>
                </a:cxn>
                <a:cxn ang="0">
                  <a:pos x="39" y="277"/>
                </a:cxn>
                <a:cxn ang="0">
                  <a:pos x="11" y="322"/>
                </a:cxn>
                <a:cxn ang="0">
                  <a:pos x="63" y="339"/>
                </a:cxn>
                <a:cxn ang="0">
                  <a:pos x="186" y="322"/>
                </a:cxn>
                <a:cxn ang="0">
                  <a:pos x="209" y="273"/>
                </a:cxn>
                <a:cxn ang="0">
                  <a:pos x="292" y="245"/>
                </a:cxn>
                <a:cxn ang="0">
                  <a:pos x="300" y="204"/>
                </a:cxn>
                <a:cxn ang="0">
                  <a:pos x="327" y="193"/>
                </a:cxn>
                <a:cxn ang="0">
                  <a:pos x="315" y="171"/>
                </a:cxn>
                <a:cxn ang="0">
                  <a:pos x="345" y="169"/>
                </a:cxn>
                <a:cxn ang="0">
                  <a:pos x="367" y="127"/>
                </a:cxn>
                <a:cxn ang="0">
                  <a:pos x="358" y="86"/>
                </a:cxn>
                <a:cxn ang="0">
                  <a:pos x="469" y="55"/>
                </a:cxn>
                <a:cxn ang="0">
                  <a:pos x="472" y="47"/>
                </a:cxn>
                <a:cxn ang="0">
                  <a:pos x="430" y="39"/>
                </a:cxn>
                <a:cxn ang="0">
                  <a:pos x="371" y="68"/>
                </a:cxn>
                <a:cxn ang="0">
                  <a:pos x="344" y="0"/>
                </a:cxn>
                <a:cxn ang="0">
                  <a:pos x="293" y="51"/>
                </a:cxn>
                <a:cxn ang="0">
                  <a:pos x="147" y="47"/>
                </a:cxn>
                <a:cxn ang="0">
                  <a:pos x="73" y="124"/>
                </a:cxn>
                <a:cxn ang="0">
                  <a:pos x="24" y="99"/>
                </a:cxn>
                <a:cxn ang="0">
                  <a:pos x="0" y="163"/>
                </a:cxn>
              </a:cxnLst>
              <a:rect l="0" t="0" r="r" b="b"/>
              <a:pathLst>
                <a:path w="472" h="339">
                  <a:moveTo>
                    <a:pt x="0" y="163"/>
                  </a:moveTo>
                  <a:lnTo>
                    <a:pt x="4" y="251"/>
                  </a:lnTo>
                  <a:lnTo>
                    <a:pt x="39" y="277"/>
                  </a:lnTo>
                  <a:lnTo>
                    <a:pt x="11" y="322"/>
                  </a:lnTo>
                  <a:lnTo>
                    <a:pt x="63" y="339"/>
                  </a:lnTo>
                  <a:lnTo>
                    <a:pt x="186" y="322"/>
                  </a:lnTo>
                  <a:lnTo>
                    <a:pt x="209" y="273"/>
                  </a:lnTo>
                  <a:lnTo>
                    <a:pt x="292" y="245"/>
                  </a:lnTo>
                  <a:lnTo>
                    <a:pt x="300" y="204"/>
                  </a:lnTo>
                  <a:lnTo>
                    <a:pt x="327" y="193"/>
                  </a:lnTo>
                  <a:lnTo>
                    <a:pt x="315" y="171"/>
                  </a:lnTo>
                  <a:lnTo>
                    <a:pt x="345" y="169"/>
                  </a:lnTo>
                  <a:lnTo>
                    <a:pt x="367" y="127"/>
                  </a:lnTo>
                  <a:lnTo>
                    <a:pt x="358" y="86"/>
                  </a:lnTo>
                  <a:lnTo>
                    <a:pt x="469" y="55"/>
                  </a:lnTo>
                  <a:lnTo>
                    <a:pt x="472" y="47"/>
                  </a:lnTo>
                  <a:lnTo>
                    <a:pt x="430" y="39"/>
                  </a:lnTo>
                  <a:lnTo>
                    <a:pt x="371" y="68"/>
                  </a:lnTo>
                  <a:lnTo>
                    <a:pt x="344" y="0"/>
                  </a:lnTo>
                  <a:lnTo>
                    <a:pt x="293" y="51"/>
                  </a:lnTo>
                  <a:lnTo>
                    <a:pt x="147" y="47"/>
                  </a:lnTo>
                  <a:lnTo>
                    <a:pt x="73" y="124"/>
                  </a:lnTo>
                  <a:lnTo>
                    <a:pt x="24" y="99"/>
                  </a:lnTo>
                  <a:lnTo>
                    <a:pt x="0" y="16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3" name="30414308.625410.6256.53.3755">
              <a:extLst>
                <a:ext uri="{FF2B5EF4-FFF2-40B4-BE49-F238E27FC236}">
                  <a16:creationId xmlns:a16="http://schemas.microsoft.com/office/drawing/2014/main" id="{55E38E02-CCAC-4C16-914E-119EB409B6ED}"/>
                </a:ext>
              </a:extLst>
            </p:cNvPr>
            <p:cNvSpPr>
              <a:spLocks noChangeAspect="1"/>
            </p:cNvSpPr>
            <p:nvPr/>
          </p:nvSpPr>
          <p:spPr bwMode="gray">
            <a:xfrm>
              <a:off x="6257516" y="3296576"/>
              <a:ext cx="53255" cy="104285"/>
            </a:xfrm>
            <a:custGeom>
              <a:avLst/>
              <a:gdLst/>
              <a:ahLst/>
              <a:cxnLst>
                <a:cxn ang="0">
                  <a:pos x="0" y="87"/>
                </a:cxn>
                <a:cxn ang="0">
                  <a:pos x="3" y="28"/>
                </a:cxn>
                <a:cxn ang="0">
                  <a:pos x="30" y="0"/>
                </a:cxn>
                <a:cxn ang="0">
                  <a:pos x="61" y="68"/>
                </a:cxn>
                <a:cxn ang="0">
                  <a:pos x="32" y="114"/>
                </a:cxn>
                <a:cxn ang="0">
                  <a:pos x="0" y="87"/>
                </a:cxn>
              </a:cxnLst>
              <a:rect l="0" t="0" r="r" b="b"/>
              <a:pathLst>
                <a:path w="61" h="114">
                  <a:moveTo>
                    <a:pt x="0" y="87"/>
                  </a:moveTo>
                  <a:lnTo>
                    <a:pt x="3" y="28"/>
                  </a:lnTo>
                  <a:lnTo>
                    <a:pt x="30" y="0"/>
                  </a:lnTo>
                  <a:lnTo>
                    <a:pt x="61" y="68"/>
                  </a:lnTo>
                  <a:lnTo>
                    <a:pt x="32" y="114"/>
                  </a:lnTo>
                  <a:lnTo>
                    <a:pt x="0" y="8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4" name="30415321.125358.12536.2538.255">
              <a:extLst>
                <a:ext uri="{FF2B5EF4-FFF2-40B4-BE49-F238E27FC236}">
                  <a16:creationId xmlns:a16="http://schemas.microsoft.com/office/drawing/2014/main" id="{2E8724AD-E8C8-4E41-91FE-3AAFD09797CB}"/>
                </a:ext>
              </a:extLst>
            </p:cNvPr>
            <p:cNvSpPr>
              <a:spLocks noChangeAspect="1"/>
            </p:cNvSpPr>
            <p:nvPr/>
          </p:nvSpPr>
          <p:spPr bwMode="gray">
            <a:xfrm>
              <a:off x="5414927" y="3500097"/>
              <a:ext cx="614348" cy="588698"/>
            </a:xfrm>
            <a:custGeom>
              <a:avLst/>
              <a:gdLst/>
              <a:ahLst/>
              <a:cxnLst>
                <a:cxn ang="0">
                  <a:pos x="0" y="345"/>
                </a:cxn>
                <a:cxn ang="0">
                  <a:pos x="3" y="358"/>
                </a:cxn>
                <a:cxn ang="0">
                  <a:pos x="126" y="439"/>
                </a:cxn>
                <a:cxn ang="0">
                  <a:pos x="394" y="616"/>
                </a:cxn>
                <a:cxn ang="0">
                  <a:pos x="397" y="646"/>
                </a:cxn>
                <a:cxn ang="0">
                  <a:pos x="423" y="642"/>
                </a:cxn>
                <a:cxn ang="0">
                  <a:pos x="476" y="629"/>
                </a:cxn>
                <a:cxn ang="0">
                  <a:pos x="678" y="490"/>
                </a:cxn>
                <a:cxn ang="0">
                  <a:pos x="599" y="398"/>
                </a:cxn>
                <a:cxn ang="0">
                  <a:pos x="601" y="249"/>
                </a:cxn>
                <a:cxn ang="0">
                  <a:pos x="591" y="182"/>
                </a:cxn>
                <a:cxn ang="0">
                  <a:pos x="535" y="114"/>
                </a:cxn>
                <a:cxn ang="0">
                  <a:pos x="563" y="91"/>
                </a:cxn>
                <a:cxn ang="0">
                  <a:pos x="577" y="0"/>
                </a:cxn>
                <a:cxn ang="0">
                  <a:pos x="338" y="15"/>
                </a:cxn>
                <a:cxn ang="0">
                  <a:pos x="214" y="69"/>
                </a:cxn>
                <a:cxn ang="0">
                  <a:pos x="246" y="179"/>
                </a:cxn>
                <a:cxn ang="0">
                  <a:pos x="192" y="182"/>
                </a:cxn>
                <a:cxn ang="0">
                  <a:pos x="164" y="194"/>
                </a:cxn>
                <a:cxn ang="0">
                  <a:pos x="169" y="223"/>
                </a:cxn>
                <a:cxn ang="0">
                  <a:pos x="18" y="289"/>
                </a:cxn>
                <a:cxn ang="0">
                  <a:pos x="0" y="345"/>
                </a:cxn>
              </a:cxnLst>
              <a:rect l="0" t="0" r="r" b="b"/>
              <a:pathLst>
                <a:path w="678" h="646">
                  <a:moveTo>
                    <a:pt x="0" y="345"/>
                  </a:moveTo>
                  <a:lnTo>
                    <a:pt x="3" y="358"/>
                  </a:lnTo>
                  <a:lnTo>
                    <a:pt x="126" y="439"/>
                  </a:lnTo>
                  <a:lnTo>
                    <a:pt x="394" y="616"/>
                  </a:lnTo>
                  <a:lnTo>
                    <a:pt x="397" y="646"/>
                  </a:lnTo>
                  <a:lnTo>
                    <a:pt x="423" y="642"/>
                  </a:lnTo>
                  <a:lnTo>
                    <a:pt x="476" y="629"/>
                  </a:lnTo>
                  <a:lnTo>
                    <a:pt x="678" y="490"/>
                  </a:lnTo>
                  <a:lnTo>
                    <a:pt x="599" y="398"/>
                  </a:lnTo>
                  <a:lnTo>
                    <a:pt x="601" y="249"/>
                  </a:lnTo>
                  <a:lnTo>
                    <a:pt x="591" y="182"/>
                  </a:lnTo>
                  <a:lnTo>
                    <a:pt x="535" y="114"/>
                  </a:lnTo>
                  <a:lnTo>
                    <a:pt x="563" y="91"/>
                  </a:lnTo>
                  <a:lnTo>
                    <a:pt x="577" y="0"/>
                  </a:lnTo>
                  <a:lnTo>
                    <a:pt x="338" y="15"/>
                  </a:lnTo>
                  <a:lnTo>
                    <a:pt x="214" y="69"/>
                  </a:lnTo>
                  <a:lnTo>
                    <a:pt x="246" y="179"/>
                  </a:lnTo>
                  <a:lnTo>
                    <a:pt x="192" y="182"/>
                  </a:lnTo>
                  <a:lnTo>
                    <a:pt x="164" y="194"/>
                  </a:lnTo>
                  <a:lnTo>
                    <a:pt x="169" y="223"/>
                  </a:lnTo>
                  <a:lnTo>
                    <a:pt x="18" y="289"/>
                  </a:lnTo>
                  <a:lnTo>
                    <a:pt x="0" y="3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5" name="30416413.5587.37557.12576.1255">
              <a:extLst>
                <a:ext uri="{FF2B5EF4-FFF2-40B4-BE49-F238E27FC236}">
                  <a16:creationId xmlns:a16="http://schemas.microsoft.com/office/drawing/2014/main" id="{563FEC83-F8F1-49EC-A310-60DC746C59FE}"/>
                </a:ext>
              </a:extLst>
            </p:cNvPr>
            <p:cNvSpPr>
              <a:spLocks noChangeAspect="1"/>
            </p:cNvSpPr>
            <p:nvPr/>
          </p:nvSpPr>
          <p:spPr bwMode="gray">
            <a:xfrm>
              <a:off x="9089602" y="4995392"/>
              <a:ext cx="1221089" cy="923415"/>
            </a:xfrm>
            <a:custGeom>
              <a:avLst/>
              <a:gdLst/>
              <a:ahLst/>
              <a:cxnLst>
                <a:cxn ang="0">
                  <a:pos x="24" y="542"/>
                </a:cxn>
                <a:cxn ang="0">
                  <a:pos x="36" y="528"/>
                </a:cxn>
                <a:cxn ang="0">
                  <a:pos x="27" y="381"/>
                </a:cxn>
                <a:cxn ang="0">
                  <a:pos x="119" y="334"/>
                </a:cxn>
                <a:cxn ang="0">
                  <a:pos x="307" y="249"/>
                </a:cxn>
                <a:cxn ang="0">
                  <a:pos x="325" y="191"/>
                </a:cxn>
                <a:cxn ang="0">
                  <a:pos x="345" y="187"/>
                </a:cxn>
                <a:cxn ang="0">
                  <a:pos x="378" y="164"/>
                </a:cxn>
                <a:cxn ang="0">
                  <a:pos x="483" y="117"/>
                </a:cxn>
                <a:cxn ang="0">
                  <a:pos x="514" y="138"/>
                </a:cxn>
                <a:cxn ang="0">
                  <a:pos x="539" y="121"/>
                </a:cxn>
                <a:cxn ang="0">
                  <a:pos x="650" y="48"/>
                </a:cxn>
                <a:cxn ang="0">
                  <a:pos x="782" y="56"/>
                </a:cxn>
                <a:cxn ang="0">
                  <a:pos x="902" y="239"/>
                </a:cxn>
                <a:cxn ang="0">
                  <a:pos x="956" y="47"/>
                </a:cxn>
                <a:cxn ang="0">
                  <a:pos x="1024" y="120"/>
                </a:cxn>
                <a:cxn ang="0">
                  <a:pos x="1111" y="283"/>
                </a:cxn>
                <a:cxn ang="0">
                  <a:pos x="1222" y="404"/>
                </a:cxn>
                <a:cxn ang="0">
                  <a:pos x="1261" y="440"/>
                </a:cxn>
                <a:cxn ang="0">
                  <a:pos x="1350" y="607"/>
                </a:cxn>
                <a:cxn ang="0">
                  <a:pos x="1274" y="799"/>
                </a:cxn>
                <a:cxn ang="0">
                  <a:pos x="1156" y="967"/>
                </a:cxn>
                <a:cxn ang="0">
                  <a:pos x="1112" y="1012"/>
                </a:cxn>
                <a:cxn ang="0">
                  <a:pos x="1012" y="999"/>
                </a:cxn>
                <a:cxn ang="0">
                  <a:pos x="898" y="945"/>
                </a:cxn>
                <a:cxn ang="0">
                  <a:pos x="836" y="878"/>
                </a:cxn>
                <a:cxn ang="0">
                  <a:pos x="822" y="860"/>
                </a:cxn>
                <a:cxn ang="0">
                  <a:pos x="824" y="762"/>
                </a:cxn>
                <a:cxn ang="0">
                  <a:pos x="737" y="836"/>
                </a:cxn>
                <a:cxn ang="0">
                  <a:pos x="608" y="722"/>
                </a:cxn>
                <a:cxn ang="0">
                  <a:pos x="354" y="807"/>
                </a:cxn>
                <a:cxn ang="0">
                  <a:pos x="160" y="858"/>
                </a:cxn>
                <a:cxn ang="0">
                  <a:pos x="87" y="728"/>
                </a:cxn>
              </a:cxnLst>
              <a:rect l="0" t="0" r="r" b="b"/>
              <a:pathLst>
                <a:path w="1350" h="1012">
                  <a:moveTo>
                    <a:pt x="0" y="534"/>
                  </a:moveTo>
                  <a:lnTo>
                    <a:pt x="24" y="542"/>
                  </a:lnTo>
                  <a:lnTo>
                    <a:pt x="10" y="512"/>
                  </a:lnTo>
                  <a:lnTo>
                    <a:pt x="36" y="528"/>
                  </a:lnTo>
                  <a:lnTo>
                    <a:pt x="9" y="470"/>
                  </a:lnTo>
                  <a:lnTo>
                    <a:pt x="27" y="381"/>
                  </a:lnTo>
                  <a:lnTo>
                    <a:pt x="35" y="404"/>
                  </a:lnTo>
                  <a:lnTo>
                    <a:pt x="119" y="334"/>
                  </a:lnTo>
                  <a:lnTo>
                    <a:pt x="259" y="301"/>
                  </a:lnTo>
                  <a:lnTo>
                    <a:pt x="307" y="249"/>
                  </a:lnTo>
                  <a:lnTo>
                    <a:pt x="306" y="216"/>
                  </a:lnTo>
                  <a:lnTo>
                    <a:pt x="325" y="191"/>
                  </a:lnTo>
                  <a:lnTo>
                    <a:pt x="345" y="231"/>
                  </a:lnTo>
                  <a:lnTo>
                    <a:pt x="345" y="187"/>
                  </a:lnTo>
                  <a:lnTo>
                    <a:pt x="377" y="197"/>
                  </a:lnTo>
                  <a:lnTo>
                    <a:pt x="378" y="164"/>
                  </a:lnTo>
                  <a:lnTo>
                    <a:pt x="429" y="114"/>
                  </a:lnTo>
                  <a:lnTo>
                    <a:pt x="483" y="117"/>
                  </a:lnTo>
                  <a:lnTo>
                    <a:pt x="494" y="166"/>
                  </a:lnTo>
                  <a:lnTo>
                    <a:pt x="514" y="138"/>
                  </a:lnTo>
                  <a:lnTo>
                    <a:pt x="554" y="154"/>
                  </a:lnTo>
                  <a:lnTo>
                    <a:pt x="539" y="121"/>
                  </a:lnTo>
                  <a:lnTo>
                    <a:pt x="571" y="69"/>
                  </a:lnTo>
                  <a:lnTo>
                    <a:pt x="650" y="48"/>
                  </a:lnTo>
                  <a:lnTo>
                    <a:pt x="630" y="14"/>
                  </a:lnTo>
                  <a:lnTo>
                    <a:pt x="782" y="56"/>
                  </a:lnTo>
                  <a:lnTo>
                    <a:pt x="749" y="146"/>
                  </a:lnTo>
                  <a:lnTo>
                    <a:pt x="902" y="239"/>
                  </a:lnTo>
                  <a:lnTo>
                    <a:pt x="939" y="202"/>
                  </a:lnTo>
                  <a:lnTo>
                    <a:pt x="956" y="47"/>
                  </a:lnTo>
                  <a:lnTo>
                    <a:pt x="993" y="0"/>
                  </a:lnTo>
                  <a:lnTo>
                    <a:pt x="1024" y="120"/>
                  </a:lnTo>
                  <a:lnTo>
                    <a:pt x="1076" y="146"/>
                  </a:lnTo>
                  <a:lnTo>
                    <a:pt x="1111" y="283"/>
                  </a:lnTo>
                  <a:lnTo>
                    <a:pt x="1193" y="327"/>
                  </a:lnTo>
                  <a:lnTo>
                    <a:pt x="1222" y="404"/>
                  </a:lnTo>
                  <a:lnTo>
                    <a:pt x="1254" y="399"/>
                  </a:lnTo>
                  <a:lnTo>
                    <a:pt x="1261" y="440"/>
                  </a:lnTo>
                  <a:lnTo>
                    <a:pt x="1328" y="499"/>
                  </a:lnTo>
                  <a:lnTo>
                    <a:pt x="1350" y="607"/>
                  </a:lnTo>
                  <a:lnTo>
                    <a:pt x="1335" y="710"/>
                  </a:lnTo>
                  <a:lnTo>
                    <a:pt x="1274" y="799"/>
                  </a:lnTo>
                  <a:lnTo>
                    <a:pt x="1232" y="950"/>
                  </a:lnTo>
                  <a:lnTo>
                    <a:pt x="1156" y="967"/>
                  </a:lnTo>
                  <a:lnTo>
                    <a:pt x="1109" y="994"/>
                  </a:lnTo>
                  <a:lnTo>
                    <a:pt x="1112" y="1012"/>
                  </a:lnTo>
                  <a:lnTo>
                    <a:pt x="1064" y="961"/>
                  </a:lnTo>
                  <a:lnTo>
                    <a:pt x="1012" y="999"/>
                  </a:lnTo>
                  <a:lnTo>
                    <a:pt x="949" y="982"/>
                  </a:lnTo>
                  <a:lnTo>
                    <a:pt x="898" y="945"/>
                  </a:lnTo>
                  <a:lnTo>
                    <a:pt x="874" y="868"/>
                  </a:lnTo>
                  <a:lnTo>
                    <a:pt x="836" y="878"/>
                  </a:lnTo>
                  <a:lnTo>
                    <a:pt x="835" y="827"/>
                  </a:lnTo>
                  <a:lnTo>
                    <a:pt x="822" y="860"/>
                  </a:lnTo>
                  <a:lnTo>
                    <a:pt x="795" y="861"/>
                  </a:lnTo>
                  <a:lnTo>
                    <a:pt x="824" y="762"/>
                  </a:lnTo>
                  <a:lnTo>
                    <a:pt x="765" y="856"/>
                  </a:lnTo>
                  <a:lnTo>
                    <a:pt x="737" y="836"/>
                  </a:lnTo>
                  <a:lnTo>
                    <a:pt x="707" y="763"/>
                  </a:lnTo>
                  <a:lnTo>
                    <a:pt x="608" y="722"/>
                  </a:lnTo>
                  <a:lnTo>
                    <a:pt x="428" y="754"/>
                  </a:lnTo>
                  <a:lnTo>
                    <a:pt x="354" y="807"/>
                  </a:lnTo>
                  <a:lnTo>
                    <a:pt x="230" y="812"/>
                  </a:lnTo>
                  <a:lnTo>
                    <a:pt x="160" y="858"/>
                  </a:lnTo>
                  <a:lnTo>
                    <a:pt x="66" y="825"/>
                  </a:lnTo>
                  <a:lnTo>
                    <a:pt x="87" y="728"/>
                  </a:lnTo>
                  <a:lnTo>
                    <a:pt x="0" y="53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6" name="304174746476.3756.6255">
              <a:extLst>
                <a:ext uri="{FF2B5EF4-FFF2-40B4-BE49-F238E27FC236}">
                  <a16:creationId xmlns:a16="http://schemas.microsoft.com/office/drawing/2014/main" id="{1B1F2F5D-5ED6-466C-8470-513186D3E02F}"/>
                </a:ext>
              </a:extLst>
            </p:cNvPr>
            <p:cNvSpPr>
              <a:spLocks noChangeAspect="1"/>
            </p:cNvSpPr>
            <p:nvPr/>
          </p:nvSpPr>
          <p:spPr bwMode="gray">
            <a:xfrm>
              <a:off x="10044412" y="5975990"/>
              <a:ext cx="108415" cy="104285"/>
            </a:xfrm>
            <a:custGeom>
              <a:avLst/>
              <a:gdLst/>
              <a:ahLst/>
              <a:cxnLst>
                <a:cxn ang="0">
                  <a:pos x="0" y="20"/>
                </a:cxn>
                <a:cxn ang="0">
                  <a:pos x="1" y="0"/>
                </a:cxn>
                <a:cxn ang="0">
                  <a:pos x="60" y="17"/>
                </a:cxn>
                <a:cxn ang="0">
                  <a:pos x="105" y="3"/>
                </a:cxn>
                <a:cxn ang="0">
                  <a:pos x="116" y="31"/>
                </a:cxn>
                <a:cxn ang="0">
                  <a:pos x="116" y="65"/>
                </a:cxn>
                <a:cxn ang="0">
                  <a:pos x="72" y="115"/>
                </a:cxn>
                <a:cxn ang="0">
                  <a:pos x="42" y="112"/>
                </a:cxn>
                <a:cxn ang="0">
                  <a:pos x="0" y="20"/>
                </a:cxn>
              </a:cxnLst>
              <a:rect l="0" t="0" r="r" b="b"/>
              <a:pathLst>
                <a:path w="116" h="115">
                  <a:moveTo>
                    <a:pt x="0" y="20"/>
                  </a:moveTo>
                  <a:lnTo>
                    <a:pt x="1" y="0"/>
                  </a:lnTo>
                  <a:lnTo>
                    <a:pt x="60" y="17"/>
                  </a:lnTo>
                  <a:lnTo>
                    <a:pt x="105" y="3"/>
                  </a:lnTo>
                  <a:lnTo>
                    <a:pt x="116" y="31"/>
                  </a:lnTo>
                  <a:lnTo>
                    <a:pt x="116" y="65"/>
                  </a:lnTo>
                  <a:lnTo>
                    <a:pt x="72" y="115"/>
                  </a:lnTo>
                  <a:lnTo>
                    <a:pt x="42" y="112"/>
                  </a:lnTo>
                  <a:lnTo>
                    <a:pt x="0" y="2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7" name="30418294.25392.1255.37514.3755">
              <a:extLst>
                <a:ext uri="{FF2B5EF4-FFF2-40B4-BE49-F238E27FC236}">
                  <a16:creationId xmlns:a16="http://schemas.microsoft.com/office/drawing/2014/main" id="{1C92AAA1-70AB-47A5-A88C-A0AAFC7308EF}"/>
                </a:ext>
              </a:extLst>
            </p:cNvPr>
            <p:cNvSpPr>
              <a:spLocks noChangeAspect="1"/>
            </p:cNvSpPr>
            <p:nvPr/>
          </p:nvSpPr>
          <p:spPr bwMode="gray">
            <a:xfrm>
              <a:off x="5958903" y="3066144"/>
              <a:ext cx="232046" cy="85783"/>
            </a:xfrm>
            <a:custGeom>
              <a:avLst/>
              <a:gdLst/>
              <a:ahLst/>
              <a:cxnLst>
                <a:cxn ang="0">
                  <a:pos x="0" y="55"/>
                </a:cxn>
                <a:cxn ang="0">
                  <a:pos x="4" y="59"/>
                </a:cxn>
                <a:cxn ang="0">
                  <a:pos x="5" y="77"/>
                </a:cxn>
                <a:cxn ang="0">
                  <a:pos x="33" y="81"/>
                </a:cxn>
                <a:cxn ang="0">
                  <a:pos x="85" y="72"/>
                </a:cxn>
                <a:cxn ang="0">
                  <a:pos x="142" y="98"/>
                </a:cxn>
                <a:cxn ang="0">
                  <a:pos x="221" y="80"/>
                </a:cxn>
                <a:cxn ang="0">
                  <a:pos x="256" y="30"/>
                </a:cxn>
                <a:cxn ang="0">
                  <a:pos x="242" y="0"/>
                </a:cxn>
                <a:cxn ang="0">
                  <a:pos x="143" y="1"/>
                </a:cxn>
                <a:cxn ang="0">
                  <a:pos x="113" y="54"/>
                </a:cxn>
                <a:cxn ang="0">
                  <a:pos x="0" y="55"/>
                </a:cxn>
              </a:cxnLst>
              <a:rect l="0" t="0" r="r" b="b"/>
              <a:pathLst>
                <a:path w="256" h="98">
                  <a:moveTo>
                    <a:pt x="0" y="55"/>
                  </a:moveTo>
                  <a:lnTo>
                    <a:pt x="4" y="59"/>
                  </a:lnTo>
                  <a:lnTo>
                    <a:pt x="5" y="77"/>
                  </a:lnTo>
                  <a:lnTo>
                    <a:pt x="33" y="81"/>
                  </a:lnTo>
                  <a:lnTo>
                    <a:pt x="85" y="72"/>
                  </a:lnTo>
                  <a:lnTo>
                    <a:pt x="142" y="98"/>
                  </a:lnTo>
                  <a:lnTo>
                    <a:pt x="221" y="80"/>
                  </a:lnTo>
                  <a:lnTo>
                    <a:pt x="256" y="30"/>
                  </a:lnTo>
                  <a:lnTo>
                    <a:pt x="242" y="0"/>
                  </a:lnTo>
                  <a:lnTo>
                    <a:pt x="143" y="1"/>
                  </a:lnTo>
                  <a:lnTo>
                    <a:pt x="113" y="54"/>
                  </a:lnTo>
                  <a:lnTo>
                    <a:pt x="0" y="5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8" name="30419342.625539.87511.12595">
              <a:extLst>
                <a:ext uri="{FF2B5EF4-FFF2-40B4-BE49-F238E27FC236}">
                  <a16:creationId xmlns:a16="http://schemas.microsoft.com/office/drawing/2014/main" id="{3F847BC4-6D9E-44AA-BB09-9234C2F1D45C}"/>
                </a:ext>
              </a:extLst>
            </p:cNvPr>
            <p:cNvSpPr>
              <a:spLocks noChangeAspect="1"/>
            </p:cNvSpPr>
            <p:nvPr/>
          </p:nvSpPr>
          <p:spPr bwMode="gray">
            <a:xfrm>
              <a:off x="8326900" y="3846589"/>
              <a:ext cx="144553" cy="181654"/>
            </a:xfrm>
            <a:custGeom>
              <a:avLst/>
              <a:gdLst/>
              <a:ahLst/>
              <a:cxnLst>
                <a:cxn ang="0">
                  <a:pos x="0" y="59"/>
                </a:cxn>
                <a:cxn ang="0">
                  <a:pos x="22" y="80"/>
                </a:cxn>
                <a:cxn ang="0">
                  <a:pos x="34" y="172"/>
                </a:cxn>
                <a:cxn ang="0">
                  <a:pos x="74" y="166"/>
                </a:cxn>
                <a:cxn ang="0">
                  <a:pos x="98" y="126"/>
                </a:cxn>
                <a:cxn ang="0">
                  <a:pos x="126" y="135"/>
                </a:cxn>
                <a:cxn ang="0">
                  <a:pos x="146" y="198"/>
                </a:cxn>
                <a:cxn ang="0">
                  <a:pos x="159" y="162"/>
                </a:cxn>
                <a:cxn ang="0">
                  <a:pos x="142" y="97"/>
                </a:cxn>
                <a:cxn ang="0">
                  <a:pos x="126" y="122"/>
                </a:cxn>
                <a:cxn ang="0">
                  <a:pos x="106" y="91"/>
                </a:cxn>
                <a:cxn ang="0">
                  <a:pos x="144" y="51"/>
                </a:cxn>
                <a:cxn ang="0">
                  <a:pos x="69" y="45"/>
                </a:cxn>
                <a:cxn ang="0">
                  <a:pos x="21" y="0"/>
                </a:cxn>
                <a:cxn ang="0">
                  <a:pos x="5" y="25"/>
                </a:cxn>
                <a:cxn ang="0">
                  <a:pos x="23" y="45"/>
                </a:cxn>
                <a:cxn ang="0">
                  <a:pos x="0" y="59"/>
                </a:cxn>
              </a:cxnLst>
              <a:rect l="0" t="0" r="r" b="b"/>
              <a:pathLst>
                <a:path w="159" h="198">
                  <a:moveTo>
                    <a:pt x="0" y="59"/>
                  </a:moveTo>
                  <a:lnTo>
                    <a:pt x="22" y="80"/>
                  </a:lnTo>
                  <a:lnTo>
                    <a:pt x="34" y="172"/>
                  </a:lnTo>
                  <a:lnTo>
                    <a:pt x="74" y="166"/>
                  </a:lnTo>
                  <a:lnTo>
                    <a:pt x="98" y="126"/>
                  </a:lnTo>
                  <a:lnTo>
                    <a:pt x="126" y="135"/>
                  </a:lnTo>
                  <a:lnTo>
                    <a:pt x="146" y="198"/>
                  </a:lnTo>
                  <a:lnTo>
                    <a:pt x="159" y="162"/>
                  </a:lnTo>
                  <a:lnTo>
                    <a:pt x="142" y="97"/>
                  </a:lnTo>
                  <a:lnTo>
                    <a:pt x="126" y="122"/>
                  </a:lnTo>
                  <a:lnTo>
                    <a:pt x="106" y="91"/>
                  </a:lnTo>
                  <a:lnTo>
                    <a:pt x="144" y="51"/>
                  </a:lnTo>
                  <a:lnTo>
                    <a:pt x="69" y="45"/>
                  </a:lnTo>
                  <a:lnTo>
                    <a:pt x="21" y="0"/>
                  </a:lnTo>
                  <a:lnTo>
                    <a:pt x="5" y="25"/>
                  </a:lnTo>
                  <a:lnTo>
                    <a:pt x="23" y="45"/>
                  </a:lnTo>
                  <a:lnTo>
                    <a:pt x="0" y="5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79" name="30420287.625379.754.62565">
              <a:extLst>
                <a:ext uri="{FF2B5EF4-FFF2-40B4-BE49-F238E27FC236}">
                  <a16:creationId xmlns:a16="http://schemas.microsoft.com/office/drawing/2014/main" id="{CC03008C-59B7-4369-9ED0-F5BBABC66C90}"/>
                </a:ext>
              </a:extLst>
            </p:cNvPr>
            <p:cNvSpPr>
              <a:spLocks noChangeAspect="1"/>
            </p:cNvSpPr>
            <p:nvPr/>
          </p:nvSpPr>
          <p:spPr bwMode="gray">
            <a:xfrm>
              <a:off x="5759190" y="2958497"/>
              <a:ext cx="98904" cy="74007"/>
            </a:xfrm>
            <a:custGeom>
              <a:avLst/>
              <a:gdLst/>
              <a:ahLst/>
              <a:cxnLst>
                <a:cxn ang="0">
                  <a:pos x="0" y="15"/>
                </a:cxn>
                <a:cxn ang="0">
                  <a:pos x="25" y="4"/>
                </a:cxn>
                <a:cxn ang="0">
                  <a:pos x="73" y="0"/>
                </a:cxn>
                <a:cxn ang="0">
                  <a:pos x="106" y="32"/>
                </a:cxn>
                <a:cxn ang="0">
                  <a:pos x="109" y="56"/>
                </a:cxn>
                <a:cxn ang="0">
                  <a:pos x="96" y="78"/>
                </a:cxn>
                <a:cxn ang="0">
                  <a:pos x="0" y="15"/>
                </a:cxn>
              </a:cxnLst>
              <a:rect l="0" t="0" r="r" b="b"/>
              <a:pathLst>
                <a:path w="109" h="78">
                  <a:moveTo>
                    <a:pt x="0" y="15"/>
                  </a:moveTo>
                  <a:lnTo>
                    <a:pt x="25" y="4"/>
                  </a:lnTo>
                  <a:lnTo>
                    <a:pt x="73" y="0"/>
                  </a:lnTo>
                  <a:lnTo>
                    <a:pt x="106" y="32"/>
                  </a:lnTo>
                  <a:lnTo>
                    <a:pt x="109" y="56"/>
                  </a:lnTo>
                  <a:lnTo>
                    <a:pt x="96" y="78"/>
                  </a:lnTo>
                  <a:lnTo>
                    <a:pt x="0" y="1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0" name="30421339.125541.753.255.755">
              <a:extLst>
                <a:ext uri="{FF2B5EF4-FFF2-40B4-BE49-F238E27FC236}">
                  <a16:creationId xmlns:a16="http://schemas.microsoft.com/office/drawing/2014/main" id="{DD70AB84-C29E-4C63-B16D-88BBA9A15EC0}"/>
                </a:ext>
              </a:extLst>
            </p:cNvPr>
            <p:cNvSpPr>
              <a:spLocks noChangeAspect="1"/>
            </p:cNvSpPr>
            <p:nvPr/>
          </p:nvSpPr>
          <p:spPr bwMode="gray">
            <a:xfrm>
              <a:off x="8357333" y="3791084"/>
              <a:ext cx="93199" cy="53825"/>
            </a:xfrm>
            <a:custGeom>
              <a:avLst/>
              <a:gdLst/>
              <a:ahLst/>
              <a:cxnLst>
                <a:cxn ang="0">
                  <a:pos x="0" y="34"/>
                </a:cxn>
                <a:cxn ang="0">
                  <a:pos x="14" y="56"/>
                </a:cxn>
                <a:cxn ang="0">
                  <a:pos x="102" y="47"/>
                </a:cxn>
                <a:cxn ang="0">
                  <a:pos x="97" y="16"/>
                </a:cxn>
                <a:cxn ang="0">
                  <a:pos x="33" y="0"/>
                </a:cxn>
                <a:cxn ang="0">
                  <a:pos x="0" y="34"/>
                </a:cxn>
              </a:cxnLst>
              <a:rect l="0" t="0" r="r" b="b"/>
              <a:pathLst>
                <a:path w="102" h="56">
                  <a:moveTo>
                    <a:pt x="0" y="34"/>
                  </a:moveTo>
                  <a:lnTo>
                    <a:pt x="14" y="56"/>
                  </a:lnTo>
                  <a:lnTo>
                    <a:pt x="102" y="47"/>
                  </a:lnTo>
                  <a:lnTo>
                    <a:pt x="97" y="16"/>
                  </a:lnTo>
                  <a:lnTo>
                    <a:pt x="33" y="0"/>
                  </a:lnTo>
                  <a:lnTo>
                    <a:pt x="0" y="3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1" name="30424383.875589.12522.255">
              <a:extLst>
                <a:ext uri="{FF2B5EF4-FFF2-40B4-BE49-F238E27FC236}">
                  <a16:creationId xmlns:a16="http://schemas.microsoft.com/office/drawing/2014/main" id="{D42F2069-DA64-4B28-B321-70BDB318F666}"/>
                </a:ext>
              </a:extLst>
            </p:cNvPr>
            <p:cNvSpPr>
              <a:spLocks noChangeAspect="1"/>
            </p:cNvSpPr>
            <p:nvPr/>
          </p:nvSpPr>
          <p:spPr bwMode="gray">
            <a:xfrm>
              <a:off x="9118135" y="4516021"/>
              <a:ext cx="34238" cy="31958"/>
            </a:xfrm>
            <a:custGeom>
              <a:avLst/>
              <a:gdLst/>
              <a:ahLst/>
              <a:cxnLst>
                <a:cxn ang="0">
                  <a:pos x="0" y="15"/>
                </a:cxn>
                <a:cxn ang="0">
                  <a:pos x="21" y="34"/>
                </a:cxn>
                <a:cxn ang="0">
                  <a:pos x="40" y="0"/>
                </a:cxn>
                <a:cxn ang="0">
                  <a:pos x="0" y="15"/>
                </a:cxn>
              </a:cxnLst>
              <a:rect l="0" t="0" r="r" b="b"/>
              <a:pathLst>
                <a:path w="40" h="34">
                  <a:moveTo>
                    <a:pt x="0" y="15"/>
                  </a:moveTo>
                  <a:lnTo>
                    <a:pt x="21" y="34"/>
                  </a:lnTo>
                  <a:lnTo>
                    <a:pt x="40" y="0"/>
                  </a:lnTo>
                  <a:lnTo>
                    <a:pt x="0" y="1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2" name="30425339.554834.875175">
              <a:extLst>
                <a:ext uri="{FF2B5EF4-FFF2-40B4-BE49-F238E27FC236}">
                  <a16:creationId xmlns:a16="http://schemas.microsoft.com/office/drawing/2014/main" id="{DC5216B3-70E7-4509-B4DA-79326723C6FC}"/>
                </a:ext>
              </a:extLst>
            </p:cNvPr>
            <p:cNvSpPr>
              <a:spLocks noChangeAspect="1"/>
            </p:cNvSpPr>
            <p:nvPr/>
          </p:nvSpPr>
          <p:spPr bwMode="gray">
            <a:xfrm>
              <a:off x="8460042" y="3796130"/>
              <a:ext cx="271986" cy="565150"/>
            </a:xfrm>
            <a:custGeom>
              <a:avLst/>
              <a:gdLst/>
              <a:ahLst/>
              <a:cxnLst>
                <a:cxn ang="0">
                  <a:pos x="0" y="255"/>
                </a:cxn>
                <a:cxn ang="0">
                  <a:pos x="13" y="219"/>
                </a:cxn>
                <a:cxn ang="0">
                  <a:pos x="100" y="58"/>
                </a:cxn>
                <a:cxn ang="0">
                  <a:pos x="159" y="36"/>
                </a:cxn>
                <a:cxn ang="0">
                  <a:pos x="173" y="0"/>
                </a:cxn>
                <a:cxn ang="0">
                  <a:pos x="214" y="21"/>
                </a:cxn>
                <a:cxn ang="0">
                  <a:pos x="215" y="53"/>
                </a:cxn>
                <a:cxn ang="0">
                  <a:pos x="180" y="152"/>
                </a:cxn>
                <a:cxn ang="0">
                  <a:pos x="218" y="143"/>
                </a:cxn>
                <a:cxn ang="0">
                  <a:pos x="237" y="211"/>
                </a:cxn>
                <a:cxn ang="0">
                  <a:pos x="301" y="229"/>
                </a:cxn>
                <a:cxn ang="0">
                  <a:pos x="269" y="260"/>
                </a:cxn>
                <a:cxn ang="0">
                  <a:pos x="198" y="302"/>
                </a:cxn>
                <a:cxn ang="0">
                  <a:pos x="180" y="342"/>
                </a:cxn>
                <a:cxn ang="0">
                  <a:pos x="218" y="417"/>
                </a:cxn>
                <a:cxn ang="0">
                  <a:pos x="203" y="461"/>
                </a:cxn>
                <a:cxn ang="0">
                  <a:pos x="250" y="560"/>
                </a:cxn>
                <a:cxn ang="0">
                  <a:pos x="215" y="619"/>
                </a:cxn>
                <a:cxn ang="0">
                  <a:pos x="181" y="408"/>
                </a:cxn>
                <a:cxn ang="0">
                  <a:pos x="152" y="375"/>
                </a:cxn>
                <a:cxn ang="0">
                  <a:pos x="104" y="431"/>
                </a:cxn>
                <a:cxn ang="0">
                  <a:pos x="67" y="420"/>
                </a:cxn>
                <a:cxn ang="0">
                  <a:pos x="74" y="343"/>
                </a:cxn>
                <a:cxn ang="0">
                  <a:pos x="0" y="255"/>
                </a:cxn>
              </a:cxnLst>
              <a:rect l="0" t="0" r="r" b="b"/>
              <a:pathLst>
                <a:path w="301" h="619">
                  <a:moveTo>
                    <a:pt x="0" y="255"/>
                  </a:moveTo>
                  <a:lnTo>
                    <a:pt x="13" y="219"/>
                  </a:lnTo>
                  <a:lnTo>
                    <a:pt x="100" y="58"/>
                  </a:lnTo>
                  <a:lnTo>
                    <a:pt x="159" y="36"/>
                  </a:lnTo>
                  <a:lnTo>
                    <a:pt x="173" y="0"/>
                  </a:lnTo>
                  <a:lnTo>
                    <a:pt x="214" y="21"/>
                  </a:lnTo>
                  <a:lnTo>
                    <a:pt x="215" y="53"/>
                  </a:lnTo>
                  <a:lnTo>
                    <a:pt x="180" y="152"/>
                  </a:lnTo>
                  <a:lnTo>
                    <a:pt x="218" y="143"/>
                  </a:lnTo>
                  <a:lnTo>
                    <a:pt x="237" y="211"/>
                  </a:lnTo>
                  <a:lnTo>
                    <a:pt x="301" y="229"/>
                  </a:lnTo>
                  <a:lnTo>
                    <a:pt x="269" y="260"/>
                  </a:lnTo>
                  <a:lnTo>
                    <a:pt x="198" y="302"/>
                  </a:lnTo>
                  <a:lnTo>
                    <a:pt x="180" y="342"/>
                  </a:lnTo>
                  <a:lnTo>
                    <a:pt x="218" y="417"/>
                  </a:lnTo>
                  <a:lnTo>
                    <a:pt x="203" y="461"/>
                  </a:lnTo>
                  <a:lnTo>
                    <a:pt x="250" y="560"/>
                  </a:lnTo>
                  <a:lnTo>
                    <a:pt x="215" y="619"/>
                  </a:lnTo>
                  <a:lnTo>
                    <a:pt x="181" y="408"/>
                  </a:lnTo>
                  <a:lnTo>
                    <a:pt x="152" y="375"/>
                  </a:lnTo>
                  <a:lnTo>
                    <a:pt x="104" y="431"/>
                  </a:lnTo>
                  <a:lnTo>
                    <a:pt x="67" y="420"/>
                  </a:lnTo>
                  <a:lnTo>
                    <a:pt x="74" y="343"/>
                  </a:lnTo>
                  <a:lnTo>
                    <a:pt x="0" y="25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3" name="30426365.625567.58.1259.55">
              <a:extLst>
                <a:ext uri="{FF2B5EF4-FFF2-40B4-BE49-F238E27FC236}">
                  <a16:creationId xmlns:a16="http://schemas.microsoft.com/office/drawing/2014/main" id="{F91364E5-7782-4907-B79A-F7F1BC6B0D65}"/>
                </a:ext>
              </a:extLst>
            </p:cNvPr>
            <p:cNvSpPr>
              <a:spLocks noChangeAspect="1"/>
            </p:cNvSpPr>
            <p:nvPr/>
          </p:nvSpPr>
          <p:spPr bwMode="gray">
            <a:xfrm>
              <a:off x="8770067" y="4218311"/>
              <a:ext cx="152160" cy="134559"/>
            </a:xfrm>
            <a:custGeom>
              <a:avLst/>
              <a:gdLst/>
              <a:ahLst/>
              <a:cxnLst>
                <a:cxn ang="0">
                  <a:pos x="0" y="29"/>
                </a:cxn>
                <a:cxn ang="0">
                  <a:pos x="12" y="100"/>
                </a:cxn>
                <a:cxn ang="0">
                  <a:pos x="34" y="137"/>
                </a:cxn>
                <a:cxn ang="0">
                  <a:pos x="67" y="143"/>
                </a:cxn>
                <a:cxn ang="0">
                  <a:pos x="167" y="77"/>
                </a:cxn>
                <a:cxn ang="0">
                  <a:pos x="163" y="0"/>
                </a:cxn>
                <a:cxn ang="0">
                  <a:pos x="88" y="12"/>
                </a:cxn>
                <a:cxn ang="0">
                  <a:pos x="23" y="9"/>
                </a:cxn>
                <a:cxn ang="0">
                  <a:pos x="0" y="29"/>
                </a:cxn>
              </a:cxnLst>
              <a:rect l="0" t="0" r="r" b="b"/>
              <a:pathLst>
                <a:path w="167" h="143">
                  <a:moveTo>
                    <a:pt x="0" y="29"/>
                  </a:moveTo>
                  <a:lnTo>
                    <a:pt x="12" y="100"/>
                  </a:lnTo>
                  <a:lnTo>
                    <a:pt x="34" y="137"/>
                  </a:lnTo>
                  <a:lnTo>
                    <a:pt x="67" y="143"/>
                  </a:lnTo>
                  <a:lnTo>
                    <a:pt x="167" y="77"/>
                  </a:lnTo>
                  <a:lnTo>
                    <a:pt x="163" y="0"/>
                  </a:lnTo>
                  <a:lnTo>
                    <a:pt x="88" y="12"/>
                  </a:lnTo>
                  <a:lnTo>
                    <a:pt x="23" y="9"/>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4" name="30446375.125524.8756.8753.55">
              <a:extLst>
                <a:ext uri="{FF2B5EF4-FFF2-40B4-BE49-F238E27FC236}">
                  <a16:creationId xmlns:a16="http://schemas.microsoft.com/office/drawing/2014/main" id="{C5807F84-374C-4BB4-A932-B96588A4151D}"/>
                </a:ext>
              </a:extLst>
            </p:cNvPr>
            <p:cNvSpPr>
              <a:spLocks noChangeAspect="1"/>
            </p:cNvSpPr>
            <p:nvPr/>
          </p:nvSpPr>
          <p:spPr bwMode="gray">
            <a:xfrm>
              <a:off x="8085343" y="4373052"/>
              <a:ext cx="57060" cy="112692"/>
            </a:xfrm>
            <a:custGeom>
              <a:avLst/>
              <a:gdLst/>
              <a:ahLst/>
              <a:cxnLst>
                <a:cxn ang="0">
                  <a:pos x="0" y="0"/>
                </a:cxn>
                <a:cxn ang="0">
                  <a:pos x="11" y="124"/>
                </a:cxn>
                <a:cxn ang="0">
                  <a:pos x="62" y="102"/>
                </a:cxn>
                <a:cxn ang="0">
                  <a:pos x="37" y="29"/>
                </a:cxn>
                <a:cxn ang="0">
                  <a:pos x="0" y="0"/>
                </a:cxn>
              </a:cxnLst>
              <a:rect l="0" t="0" r="r" b="b"/>
              <a:pathLst>
                <a:path w="62" h="124">
                  <a:moveTo>
                    <a:pt x="0" y="0"/>
                  </a:moveTo>
                  <a:lnTo>
                    <a:pt x="11" y="124"/>
                  </a:lnTo>
                  <a:lnTo>
                    <a:pt x="62" y="102"/>
                  </a:lnTo>
                  <a:lnTo>
                    <a:pt x="37" y="29"/>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5" name="30447345.625600.56.1253.3755">
              <a:extLst>
                <a:ext uri="{FF2B5EF4-FFF2-40B4-BE49-F238E27FC236}">
                  <a16:creationId xmlns:a16="http://schemas.microsoft.com/office/drawing/2014/main" id="{0F796C71-366E-4B48-8FF4-50EA6CC929EA}"/>
                </a:ext>
              </a:extLst>
            </p:cNvPr>
            <p:cNvSpPr>
              <a:spLocks noChangeAspect="1"/>
            </p:cNvSpPr>
            <p:nvPr/>
          </p:nvSpPr>
          <p:spPr bwMode="gray">
            <a:xfrm>
              <a:off x="9300727" y="3897049"/>
              <a:ext cx="55156" cy="99239"/>
            </a:xfrm>
            <a:custGeom>
              <a:avLst/>
              <a:gdLst/>
              <a:ahLst/>
              <a:cxnLst>
                <a:cxn ang="0">
                  <a:pos x="0" y="44"/>
                </a:cxn>
                <a:cxn ang="0">
                  <a:pos x="23" y="109"/>
                </a:cxn>
                <a:cxn ang="0">
                  <a:pos x="59" y="0"/>
                </a:cxn>
                <a:cxn ang="0">
                  <a:pos x="28" y="2"/>
                </a:cxn>
                <a:cxn ang="0">
                  <a:pos x="0" y="44"/>
                </a:cxn>
              </a:cxnLst>
              <a:rect l="0" t="0" r="r" b="b"/>
              <a:pathLst>
                <a:path w="59" h="109">
                  <a:moveTo>
                    <a:pt x="0" y="44"/>
                  </a:moveTo>
                  <a:lnTo>
                    <a:pt x="23" y="109"/>
                  </a:lnTo>
                  <a:lnTo>
                    <a:pt x="59" y="0"/>
                  </a:lnTo>
                  <a:lnTo>
                    <a:pt x="28" y="2"/>
                  </a:lnTo>
                  <a:lnTo>
                    <a:pt x="0" y="4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6" name="30450271.5389.757.555">
              <a:extLst>
                <a:ext uri="{FF2B5EF4-FFF2-40B4-BE49-F238E27FC236}">
                  <a16:creationId xmlns:a16="http://schemas.microsoft.com/office/drawing/2014/main" id="{483A9A3D-4BC3-452E-B2ED-601EBE9B0C8A}"/>
                </a:ext>
              </a:extLst>
            </p:cNvPr>
            <p:cNvSpPr>
              <a:spLocks noChangeAspect="1"/>
            </p:cNvSpPr>
            <p:nvPr/>
          </p:nvSpPr>
          <p:spPr bwMode="gray">
            <a:xfrm>
              <a:off x="5920860" y="2696107"/>
              <a:ext cx="79883" cy="122787"/>
            </a:xfrm>
            <a:custGeom>
              <a:avLst/>
              <a:gdLst/>
              <a:ahLst/>
              <a:cxnLst>
                <a:cxn ang="0">
                  <a:pos x="0" y="100"/>
                </a:cxn>
                <a:cxn ang="0">
                  <a:pos x="6" y="36"/>
                </a:cxn>
                <a:cxn ang="0">
                  <a:pos x="76" y="0"/>
                </a:cxn>
                <a:cxn ang="0">
                  <a:pos x="64" y="51"/>
                </a:cxn>
                <a:cxn ang="0">
                  <a:pos x="88" y="66"/>
                </a:cxn>
                <a:cxn ang="0">
                  <a:pos x="44" y="95"/>
                </a:cxn>
                <a:cxn ang="0">
                  <a:pos x="43" y="132"/>
                </a:cxn>
                <a:cxn ang="0">
                  <a:pos x="17" y="132"/>
                </a:cxn>
                <a:cxn ang="0">
                  <a:pos x="0" y="100"/>
                </a:cxn>
              </a:cxnLst>
              <a:rect l="0" t="0" r="r" b="b"/>
              <a:pathLst>
                <a:path w="88" h="132">
                  <a:moveTo>
                    <a:pt x="0" y="100"/>
                  </a:moveTo>
                  <a:lnTo>
                    <a:pt x="6" y="36"/>
                  </a:lnTo>
                  <a:lnTo>
                    <a:pt x="76" y="0"/>
                  </a:lnTo>
                  <a:lnTo>
                    <a:pt x="64" y="51"/>
                  </a:lnTo>
                  <a:lnTo>
                    <a:pt x="88" y="66"/>
                  </a:lnTo>
                  <a:lnTo>
                    <a:pt x="44" y="95"/>
                  </a:lnTo>
                  <a:lnTo>
                    <a:pt x="43" y="132"/>
                  </a:lnTo>
                  <a:lnTo>
                    <a:pt x="17" y="132"/>
                  </a:lnTo>
                  <a:lnTo>
                    <a:pt x="0" y="10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7" name="30451277.12539311.8755">
              <a:extLst>
                <a:ext uri="{FF2B5EF4-FFF2-40B4-BE49-F238E27FC236}">
                  <a16:creationId xmlns:a16="http://schemas.microsoft.com/office/drawing/2014/main" id="{DBC01456-7C1B-46D2-BB53-259C1F3B65E8}"/>
                </a:ext>
              </a:extLst>
            </p:cNvPr>
            <p:cNvSpPr>
              <a:spLocks noChangeAspect="1"/>
            </p:cNvSpPr>
            <p:nvPr/>
          </p:nvSpPr>
          <p:spPr bwMode="gray">
            <a:xfrm>
              <a:off x="5972215" y="2785251"/>
              <a:ext cx="30433" cy="18502"/>
            </a:xfrm>
            <a:custGeom>
              <a:avLst/>
              <a:gdLst/>
              <a:ahLst/>
              <a:cxnLst>
                <a:cxn ang="0">
                  <a:pos x="0" y="16"/>
                </a:cxn>
                <a:cxn ang="0">
                  <a:pos x="25" y="0"/>
                </a:cxn>
                <a:cxn ang="0">
                  <a:pos x="32" y="11"/>
                </a:cxn>
                <a:cxn ang="0">
                  <a:pos x="0" y="16"/>
                </a:cxn>
              </a:cxnLst>
              <a:rect l="0" t="0" r="r" b="b"/>
              <a:pathLst>
                <a:path w="32" h="16">
                  <a:moveTo>
                    <a:pt x="0" y="16"/>
                  </a:moveTo>
                  <a:lnTo>
                    <a:pt x="25" y="0"/>
                  </a:lnTo>
                  <a:lnTo>
                    <a:pt x="32" y="11"/>
                  </a:lnTo>
                  <a:lnTo>
                    <a:pt x="0" y="1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8" name="30452275.5395.253.2535">
              <a:extLst>
                <a:ext uri="{FF2B5EF4-FFF2-40B4-BE49-F238E27FC236}">
                  <a16:creationId xmlns:a16="http://schemas.microsoft.com/office/drawing/2014/main" id="{C77C54F1-39E6-4A13-BC6F-47AC0089B314}"/>
                </a:ext>
              </a:extLst>
            </p:cNvPr>
            <p:cNvSpPr>
              <a:spLocks noChangeAspect="1"/>
            </p:cNvSpPr>
            <p:nvPr/>
          </p:nvSpPr>
          <p:spPr bwMode="gray">
            <a:xfrm>
              <a:off x="6010257" y="2760019"/>
              <a:ext cx="47550" cy="52141"/>
            </a:xfrm>
            <a:custGeom>
              <a:avLst/>
              <a:gdLst/>
              <a:ahLst/>
              <a:cxnLst>
                <a:cxn ang="0">
                  <a:pos x="0" y="29"/>
                </a:cxn>
                <a:cxn ang="0">
                  <a:pos x="39" y="56"/>
                </a:cxn>
                <a:cxn ang="0">
                  <a:pos x="53" y="27"/>
                </a:cxn>
                <a:cxn ang="0">
                  <a:pos x="43" y="0"/>
                </a:cxn>
                <a:cxn ang="0">
                  <a:pos x="0" y="29"/>
                </a:cxn>
              </a:cxnLst>
              <a:rect l="0" t="0" r="r" b="b"/>
              <a:pathLst>
                <a:path w="53" h="56">
                  <a:moveTo>
                    <a:pt x="0" y="29"/>
                  </a:moveTo>
                  <a:lnTo>
                    <a:pt x="39" y="56"/>
                  </a:lnTo>
                  <a:lnTo>
                    <a:pt x="53" y="27"/>
                  </a:lnTo>
                  <a:lnTo>
                    <a:pt x="43" y="0"/>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89" name="30457234.75413.12530.7520.55">
              <a:extLst>
                <a:ext uri="{FF2B5EF4-FFF2-40B4-BE49-F238E27FC236}">
                  <a16:creationId xmlns:a16="http://schemas.microsoft.com/office/drawing/2014/main" id="{4A684A63-CE48-4CAB-8B24-3911AB26AEBC}"/>
                </a:ext>
              </a:extLst>
            </p:cNvPr>
            <p:cNvSpPr>
              <a:spLocks noChangeAspect="1"/>
            </p:cNvSpPr>
            <p:nvPr/>
          </p:nvSpPr>
          <p:spPr bwMode="gray">
            <a:xfrm>
              <a:off x="6295559" y="2098998"/>
              <a:ext cx="329046" cy="499550"/>
            </a:xfrm>
            <a:custGeom>
              <a:avLst/>
              <a:gdLst/>
              <a:ahLst/>
              <a:cxnLst>
                <a:cxn ang="0">
                  <a:pos x="0" y="57"/>
                </a:cxn>
                <a:cxn ang="0">
                  <a:pos x="24" y="40"/>
                </a:cxn>
                <a:cxn ang="0">
                  <a:pos x="62" y="73"/>
                </a:cxn>
                <a:cxn ang="0">
                  <a:pos x="132" y="79"/>
                </a:cxn>
                <a:cxn ang="0">
                  <a:pos x="172" y="58"/>
                </a:cxn>
                <a:cxn ang="0">
                  <a:pos x="183" y="13"/>
                </a:cxn>
                <a:cxn ang="0">
                  <a:pos x="249" y="0"/>
                </a:cxn>
                <a:cxn ang="0">
                  <a:pos x="285" y="18"/>
                </a:cxn>
                <a:cxn ang="0">
                  <a:pos x="281" y="57"/>
                </a:cxn>
                <a:cxn ang="0">
                  <a:pos x="267" y="95"/>
                </a:cxn>
                <a:cxn ang="0">
                  <a:pos x="314" y="142"/>
                </a:cxn>
                <a:cxn ang="0">
                  <a:pos x="286" y="177"/>
                </a:cxn>
                <a:cxn ang="0">
                  <a:pos x="321" y="237"/>
                </a:cxn>
                <a:cxn ang="0">
                  <a:pos x="307" y="291"/>
                </a:cxn>
                <a:cxn ang="0">
                  <a:pos x="363" y="405"/>
                </a:cxn>
                <a:cxn ang="0">
                  <a:pos x="235" y="512"/>
                </a:cxn>
                <a:cxn ang="0">
                  <a:pos x="81" y="547"/>
                </a:cxn>
                <a:cxn ang="0">
                  <a:pos x="73" y="525"/>
                </a:cxn>
                <a:cxn ang="0">
                  <a:pos x="24" y="508"/>
                </a:cxn>
                <a:cxn ang="0">
                  <a:pos x="17" y="402"/>
                </a:cxn>
                <a:cxn ang="0">
                  <a:pos x="164" y="287"/>
                </a:cxn>
                <a:cxn ang="0">
                  <a:pos x="116" y="230"/>
                </a:cxn>
                <a:cxn ang="0">
                  <a:pos x="98" y="116"/>
                </a:cxn>
                <a:cxn ang="0">
                  <a:pos x="0" y="57"/>
                </a:cxn>
              </a:cxnLst>
              <a:rect l="0" t="0" r="r" b="b"/>
              <a:pathLst>
                <a:path w="363" h="547">
                  <a:moveTo>
                    <a:pt x="0" y="57"/>
                  </a:moveTo>
                  <a:lnTo>
                    <a:pt x="24" y="40"/>
                  </a:lnTo>
                  <a:lnTo>
                    <a:pt x="62" y="73"/>
                  </a:lnTo>
                  <a:lnTo>
                    <a:pt x="132" y="79"/>
                  </a:lnTo>
                  <a:lnTo>
                    <a:pt x="172" y="58"/>
                  </a:lnTo>
                  <a:lnTo>
                    <a:pt x="183" y="13"/>
                  </a:lnTo>
                  <a:lnTo>
                    <a:pt x="249" y="0"/>
                  </a:lnTo>
                  <a:lnTo>
                    <a:pt x="285" y="18"/>
                  </a:lnTo>
                  <a:lnTo>
                    <a:pt x="281" y="57"/>
                  </a:lnTo>
                  <a:lnTo>
                    <a:pt x="267" y="95"/>
                  </a:lnTo>
                  <a:lnTo>
                    <a:pt x="314" y="142"/>
                  </a:lnTo>
                  <a:lnTo>
                    <a:pt x="286" y="177"/>
                  </a:lnTo>
                  <a:lnTo>
                    <a:pt x="321" y="237"/>
                  </a:lnTo>
                  <a:lnTo>
                    <a:pt x="307" y="291"/>
                  </a:lnTo>
                  <a:lnTo>
                    <a:pt x="363" y="405"/>
                  </a:lnTo>
                  <a:lnTo>
                    <a:pt x="235" y="512"/>
                  </a:lnTo>
                  <a:lnTo>
                    <a:pt x="81" y="547"/>
                  </a:lnTo>
                  <a:lnTo>
                    <a:pt x="73" y="525"/>
                  </a:lnTo>
                  <a:lnTo>
                    <a:pt x="24" y="508"/>
                  </a:lnTo>
                  <a:lnTo>
                    <a:pt x="17" y="402"/>
                  </a:lnTo>
                  <a:lnTo>
                    <a:pt x="164" y="287"/>
                  </a:lnTo>
                  <a:lnTo>
                    <a:pt x="116" y="230"/>
                  </a:lnTo>
                  <a:lnTo>
                    <a:pt x="98" y="116"/>
                  </a:lnTo>
                  <a:lnTo>
                    <a:pt x="0" y="5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0" name="30458288.625365.87520.523.6255">
              <a:extLst>
                <a:ext uri="{FF2B5EF4-FFF2-40B4-BE49-F238E27FC236}">
                  <a16:creationId xmlns:a16="http://schemas.microsoft.com/office/drawing/2014/main" id="{536A816E-1B16-45F3-82C1-BF8F38F08206}"/>
                </a:ext>
              </a:extLst>
            </p:cNvPr>
            <p:cNvSpPr>
              <a:spLocks noChangeAspect="1"/>
            </p:cNvSpPr>
            <p:nvPr/>
          </p:nvSpPr>
          <p:spPr bwMode="gray">
            <a:xfrm>
              <a:off x="5538559" y="2973634"/>
              <a:ext cx="380401" cy="333033"/>
            </a:xfrm>
            <a:custGeom>
              <a:avLst/>
              <a:gdLst/>
              <a:ahLst/>
              <a:cxnLst>
                <a:cxn ang="0">
                  <a:pos x="0" y="111"/>
                </a:cxn>
                <a:cxn ang="0">
                  <a:pos x="14" y="143"/>
                </a:cxn>
                <a:cxn ang="0">
                  <a:pos x="100" y="165"/>
                </a:cxn>
                <a:cxn ang="0">
                  <a:pos x="87" y="183"/>
                </a:cxn>
                <a:cxn ang="0">
                  <a:pos x="118" y="206"/>
                </a:cxn>
                <a:cxn ang="0">
                  <a:pos x="132" y="248"/>
                </a:cxn>
                <a:cxn ang="0">
                  <a:pos x="95" y="325"/>
                </a:cxn>
                <a:cxn ang="0">
                  <a:pos x="199" y="355"/>
                </a:cxn>
                <a:cxn ang="0">
                  <a:pos x="210" y="359"/>
                </a:cxn>
                <a:cxn ang="0">
                  <a:pos x="260" y="365"/>
                </a:cxn>
                <a:cxn ang="0">
                  <a:pos x="260" y="334"/>
                </a:cxn>
                <a:cxn ang="0">
                  <a:pos x="287" y="318"/>
                </a:cxn>
                <a:cxn ang="0">
                  <a:pos x="357" y="337"/>
                </a:cxn>
                <a:cxn ang="0">
                  <a:pos x="401" y="307"/>
                </a:cxn>
                <a:cxn ang="0">
                  <a:pos x="375" y="263"/>
                </a:cxn>
                <a:cxn ang="0">
                  <a:pos x="385" y="220"/>
                </a:cxn>
                <a:cxn ang="0">
                  <a:pos x="352" y="197"/>
                </a:cxn>
                <a:cxn ang="0">
                  <a:pos x="401" y="147"/>
                </a:cxn>
                <a:cxn ang="0">
                  <a:pos x="421" y="92"/>
                </a:cxn>
                <a:cxn ang="0">
                  <a:pos x="359" y="69"/>
                </a:cxn>
                <a:cxn ang="0">
                  <a:pos x="342" y="63"/>
                </a:cxn>
                <a:cxn ang="0">
                  <a:pos x="246" y="0"/>
                </a:cxn>
                <a:cxn ang="0">
                  <a:pos x="213" y="11"/>
                </a:cxn>
                <a:cxn ang="0">
                  <a:pos x="175" y="72"/>
                </a:cxn>
                <a:cxn ang="0">
                  <a:pos x="94" y="61"/>
                </a:cxn>
                <a:cxn ang="0">
                  <a:pos x="106" y="109"/>
                </a:cxn>
                <a:cxn ang="0">
                  <a:pos x="0" y="111"/>
                </a:cxn>
              </a:cxnLst>
              <a:rect l="0" t="0" r="r" b="b"/>
              <a:pathLst>
                <a:path w="421" h="365">
                  <a:moveTo>
                    <a:pt x="0" y="111"/>
                  </a:moveTo>
                  <a:lnTo>
                    <a:pt x="14" y="143"/>
                  </a:lnTo>
                  <a:lnTo>
                    <a:pt x="100" y="165"/>
                  </a:lnTo>
                  <a:lnTo>
                    <a:pt x="87" y="183"/>
                  </a:lnTo>
                  <a:lnTo>
                    <a:pt x="118" y="206"/>
                  </a:lnTo>
                  <a:lnTo>
                    <a:pt x="132" y="248"/>
                  </a:lnTo>
                  <a:lnTo>
                    <a:pt x="95" y="325"/>
                  </a:lnTo>
                  <a:lnTo>
                    <a:pt x="199" y="355"/>
                  </a:lnTo>
                  <a:lnTo>
                    <a:pt x="210" y="359"/>
                  </a:lnTo>
                  <a:lnTo>
                    <a:pt x="260" y="365"/>
                  </a:lnTo>
                  <a:lnTo>
                    <a:pt x="260" y="334"/>
                  </a:lnTo>
                  <a:lnTo>
                    <a:pt x="287" y="318"/>
                  </a:lnTo>
                  <a:lnTo>
                    <a:pt x="357" y="337"/>
                  </a:lnTo>
                  <a:lnTo>
                    <a:pt x="401" y="307"/>
                  </a:lnTo>
                  <a:lnTo>
                    <a:pt x="375" y="263"/>
                  </a:lnTo>
                  <a:lnTo>
                    <a:pt x="385" y="220"/>
                  </a:lnTo>
                  <a:lnTo>
                    <a:pt x="352" y="197"/>
                  </a:lnTo>
                  <a:lnTo>
                    <a:pt x="401" y="147"/>
                  </a:lnTo>
                  <a:lnTo>
                    <a:pt x="421" y="92"/>
                  </a:lnTo>
                  <a:lnTo>
                    <a:pt x="359" y="69"/>
                  </a:lnTo>
                  <a:lnTo>
                    <a:pt x="342" y="63"/>
                  </a:lnTo>
                  <a:lnTo>
                    <a:pt x="246" y="0"/>
                  </a:lnTo>
                  <a:lnTo>
                    <a:pt x="213" y="11"/>
                  </a:lnTo>
                  <a:lnTo>
                    <a:pt x="175" y="72"/>
                  </a:lnTo>
                  <a:lnTo>
                    <a:pt x="94" y="61"/>
                  </a:lnTo>
                  <a:lnTo>
                    <a:pt x="106" y="109"/>
                  </a:lnTo>
                  <a:lnTo>
                    <a:pt x="0" y="11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1" name="30459307.625390.53.8751.55">
              <a:extLst>
                <a:ext uri="{FF2B5EF4-FFF2-40B4-BE49-F238E27FC236}">
                  <a16:creationId xmlns:a16="http://schemas.microsoft.com/office/drawing/2014/main" id="{BBBC57B9-6F1C-4E0D-9560-57FADECEDF90}"/>
                </a:ext>
              </a:extLst>
            </p:cNvPr>
            <p:cNvSpPr>
              <a:spLocks noChangeAspect="1"/>
            </p:cNvSpPr>
            <p:nvPr/>
          </p:nvSpPr>
          <p:spPr bwMode="gray">
            <a:xfrm>
              <a:off x="5934176" y="3279759"/>
              <a:ext cx="20922" cy="65597"/>
            </a:xfrm>
            <a:custGeom>
              <a:avLst/>
              <a:gdLst/>
              <a:ahLst/>
              <a:cxnLst>
                <a:cxn ang="0">
                  <a:pos x="0" y="34"/>
                </a:cxn>
                <a:cxn ang="0">
                  <a:pos x="24" y="69"/>
                </a:cxn>
                <a:cxn ang="0">
                  <a:pos x="27" y="0"/>
                </a:cxn>
                <a:cxn ang="0">
                  <a:pos x="0" y="34"/>
                </a:cxn>
              </a:cxnLst>
              <a:rect l="0" t="0" r="r" b="b"/>
              <a:pathLst>
                <a:path w="27" h="69">
                  <a:moveTo>
                    <a:pt x="0" y="34"/>
                  </a:moveTo>
                  <a:lnTo>
                    <a:pt x="24" y="69"/>
                  </a:lnTo>
                  <a:lnTo>
                    <a:pt x="27" y="0"/>
                  </a:lnTo>
                  <a:lnTo>
                    <a:pt x="0" y="3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2" name="30461279385.62518.2516.255">
              <a:extLst>
                <a:ext uri="{FF2B5EF4-FFF2-40B4-BE49-F238E27FC236}">
                  <a16:creationId xmlns:a16="http://schemas.microsoft.com/office/drawing/2014/main" id="{2210A4F3-C62D-4944-B36B-1BD41188E1AE}"/>
                </a:ext>
              </a:extLst>
            </p:cNvPr>
            <p:cNvSpPr>
              <a:spLocks noChangeAspect="1"/>
            </p:cNvSpPr>
            <p:nvPr/>
          </p:nvSpPr>
          <p:spPr bwMode="gray">
            <a:xfrm>
              <a:off x="5854293" y="2818890"/>
              <a:ext cx="260575" cy="294349"/>
            </a:xfrm>
            <a:custGeom>
              <a:avLst/>
              <a:gdLst/>
              <a:ahLst/>
              <a:cxnLst>
                <a:cxn ang="0">
                  <a:pos x="0" y="133"/>
                </a:cxn>
                <a:cxn ang="0">
                  <a:pos x="1" y="186"/>
                </a:cxn>
                <a:cxn ang="0">
                  <a:pos x="4" y="210"/>
                </a:cxn>
                <a:cxn ang="0">
                  <a:pos x="8" y="238"/>
                </a:cxn>
                <a:cxn ang="0">
                  <a:pos x="70" y="261"/>
                </a:cxn>
                <a:cxn ang="0">
                  <a:pos x="50" y="316"/>
                </a:cxn>
                <a:cxn ang="0">
                  <a:pos x="115" y="323"/>
                </a:cxn>
                <a:cxn ang="0">
                  <a:pos x="228" y="322"/>
                </a:cxn>
                <a:cxn ang="0">
                  <a:pos x="258" y="269"/>
                </a:cxn>
                <a:cxn ang="0">
                  <a:pos x="197" y="203"/>
                </a:cxn>
                <a:cxn ang="0">
                  <a:pos x="270" y="168"/>
                </a:cxn>
                <a:cxn ang="0">
                  <a:pos x="289" y="179"/>
                </a:cxn>
                <a:cxn ang="0">
                  <a:pos x="270" y="49"/>
                </a:cxn>
                <a:cxn ang="0">
                  <a:pos x="217" y="18"/>
                </a:cxn>
                <a:cxn ang="0">
                  <a:pos x="158" y="40"/>
                </a:cxn>
                <a:cxn ang="0">
                  <a:pos x="166" y="25"/>
                </a:cxn>
                <a:cxn ang="0">
                  <a:pos x="115" y="0"/>
                </a:cxn>
                <a:cxn ang="0">
                  <a:pos x="89" y="0"/>
                </a:cxn>
                <a:cxn ang="0">
                  <a:pos x="87" y="71"/>
                </a:cxn>
                <a:cxn ang="0">
                  <a:pos x="57" y="52"/>
                </a:cxn>
                <a:cxn ang="0">
                  <a:pos x="39" y="74"/>
                </a:cxn>
                <a:cxn ang="0">
                  <a:pos x="34" y="117"/>
                </a:cxn>
                <a:cxn ang="0">
                  <a:pos x="0" y="133"/>
                </a:cxn>
              </a:cxnLst>
              <a:rect l="0" t="0" r="r" b="b"/>
              <a:pathLst>
                <a:path w="289" h="323">
                  <a:moveTo>
                    <a:pt x="0" y="133"/>
                  </a:moveTo>
                  <a:lnTo>
                    <a:pt x="1" y="186"/>
                  </a:lnTo>
                  <a:lnTo>
                    <a:pt x="4" y="210"/>
                  </a:lnTo>
                  <a:lnTo>
                    <a:pt x="8" y="238"/>
                  </a:lnTo>
                  <a:lnTo>
                    <a:pt x="70" y="261"/>
                  </a:lnTo>
                  <a:lnTo>
                    <a:pt x="50" y="316"/>
                  </a:lnTo>
                  <a:lnTo>
                    <a:pt x="115" y="323"/>
                  </a:lnTo>
                  <a:lnTo>
                    <a:pt x="228" y="322"/>
                  </a:lnTo>
                  <a:lnTo>
                    <a:pt x="258" y="269"/>
                  </a:lnTo>
                  <a:lnTo>
                    <a:pt x="197" y="203"/>
                  </a:lnTo>
                  <a:lnTo>
                    <a:pt x="270" y="168"/>
                  </a:lnTo>
                  <a:lnTo>
                    <a:pt x="289" y="179"/>
                  </a:lnTo>
                  <a:lnTo>
                    <a:pt x="270" y="49"/>
                  </a:lnTo>
                  <a:lnTo>
                    <a:pt x="217" y="18"/>
                  </a:lnTo>
                  <a:lnTo>
                    <a:pt x="158" y="40"/>
                  </a:lnTo>
                  <a:lnTo>
                    <a:pt x="166" y="25"/>
                  </a:lnTo>
                  <a:lnTo>
                    <a:pt x="115" y="0"/>
                  </a:lnTo>
                  <a:lnTo>
                    <a:pt x="89" y="0"/>
                  </a:lnTo>
                  <a:lnTo>
                    <a:pt x="87" y="71"/>
                  </a:lnTo>
                  <a:lnTo>
                    <a:pt x="57" y="52"/>
                  </a:lnTo>
                  <a:lnTo>
                    <a:pt x="39" y="74"/>
                  </a:lnTo>
                  <a:lnTo>
                    <a:pt x="34" y="117"/>
                  </a:lnTo>
                  <a:lnTo>
                    <a:pt x="0" y="13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3" name="30462310.375412.2511.87511.8755">
              <a:extLst>
                <a:ext uri="{FF2B5EF4-FFF2-40B4-BE49-F238E27FC236}">
                  <a16:creationId xmlns:a16="http://schemas.microsoft.com/office/drawing/2014/main" id="{B6D9A4AE-1A7E-4829-B30B-FBA53168DD30}"/>
                </a:ext>
              </a:extLst>
            </p:cNvPr>
            <p:cNvSpPr>
              <a:spLocks noChangeAspect="1"/>
            </p:cNvSpPr>
            <p:nvPr/>
          </p:nvSpPr>
          <p:spPr bwMode="gray">
            <a:xfrm>
              <a:off x="6282243" y="3323489"/>
              <a:ext cx="190202" cy="193429"/>
            </a:xfrm>
            <a:custGeom>
              <a:avLst/>
              <a:gdLst/>
              <a:ahLst/>
              <a:cxnLst>
                <a:cxn ang="0">
                  <a:pos x="0" y="83"/>
                </a:cxn>
                <a:cxn ang="0">
                  <a:pos x="29" y="37"/>
                </a:cxn>
                <a:cxn ang="0">
                  <a:pos x="94" y="19"/>
                </a:cxn>
                <a:cxn ang="0">
                  <a:pos x="177" y="20"/>
                </a:cxn>
                <a:cxn ang="0">
                  <a:pos x="209" y="0"/>
                </a:cxn>
                <a:cxn ang="0">
                  <a:pos x="198" y="44"/>
                </a:cxn>
                <a:cxn ang="0">
                  <a:pos x="141" y="34"/>
                </a:cxn>
                <a:cxn ang="0">
                  <a:pos x="112" y="71"/>
                </a:cxn>
                <a:cxn ang="0">
                  <a:pos x="82" y="50"/>
                </a:cxn>
                <a:cxn ang="0">
                  <a:pos x="104" y="105"/>
                </a:cxn>
                <a:cxn ang="0">
                  <a:pos x="77" y="116"/>
                </a:cxn>
                <a:cxn ang="0">
                  <a:pos x="129" y="140"/>
                </a:cxn>
                <a:cxn ang="0">
                  <a:pos x="129" y="162"/>
                </a:cxn>
                <a:cxn ang="0">
                  <a:pos x="86" y="169"/>
                </a:cxn>
                <a:cxn ang="0">
                  <a:pos x="100" y="209"/>
                </a:cxn>
                <a:cxn ang="0">
                  <a:pos x="49" y="195"/>
                </a:cxn>
                <a:cxn ang="0">
                  <a:pos x="34" y="158"/>
                </a:cxn>
                <a:cxn ang="0">
                  <a:pos x="101" y="143"/>
                </a:cxn>
                <a:cxn ang="0">
                  <a:pos x="34" y="137"/>
                </a:cxn>
                <a:cxn ang="0">
                  <a:pos x="0" y="83"/>
                </a:cxn>
              </a:cxnLst>
              <a:rect l="0" t="0" r="r" b="b"/>
              <a:pathLst>
                <a:path w="209" h="209">
                  <a:moveTo>
                    <a:pt x="0" y="83"/>
                  </a:moveTo>
                  <a:lnTo>
                    <a:pt x="29" y="37"/>
                  </a:lnTo>
                  <a:lnTo>
                    <a:pt x="94" y="19"/>
                  </a:lnTo>
                  <a:lnTo>
                    <a:pt x="177" y="20"/>
                  </a:lnTo>
                  <a:lnTo>
                    <a:pt x="209" y="0"/>
                  </a:lnTo>
                  <a:lnTo>
                    <a:pt x="198" y="44"/>
                  </a:lnTo>
                  <a:lnTo>
                    <a:pt x="141" y="34"/>
                  </a:lnTo>
                  <a:lnTo>
                    <a:pt x="112" y="71"/>
                  </a:lnTo>
                  <a:lnTo>
                    <a:pt x="82" y="50"/>
                  </a:lnTo>
                  <a:lnTo>
                    <a:pt x="104" y="105"/>
                  </a:lnTo>
                  <a:lnTo>
                    <a:pt x="77" y="116"/>
                  </a:lnTo>
                  <a:lnTo>
                    <a:pt x="129" y="140"/>
                  </a:lnTo>
                  <a:lnTo>
                    <a:pt x="129" y="162"/>
                  </a:lnTo>
                  <a:lnTo>
                    <a:pt x="86" y="169"/>
                  </a:lnTo>
                  <a:lnTo>
                    <a:pt x="100" y="209"/>
                  </a:lnTo>
                  <a:lnTo>
                    <a:pt x="49" y="195"/>
                  </a:lnTo>
                  <a:lnTo>
                    <a:pt x="34" y="158"/>
                  </a:lnTo>
                  <a:lnTo>
                    <a:pt x="101" y="143"/>
                  </a:lnTo>
                  <a:lnTo>
                    <a:pt x="34" y="137"/>
                  </a:lnTo>
                  <a:lnTo>
                    <a:pt x="0" y="8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4" name="30463324.125418.6250.755.55">
              <a:extLst>
                <a:ext uri="{FF2B5EF4-FFF2-40B4-BE49-F238E27FC236}">
                  <a16:creationId xmlns:a16="http://schemas.microsoft.com/office/drawing/2014/main" id="{D3A0434C-950D-4824-B2A4-34DC372E8BB8}"/>
                </a:ext>
              </a:extLst>
            </p:cNvPr>
            <p:cNvSpPr>
              <a:spLocks noChangeAspect="1"/>
            </p:cNvSpPr>
            <p:nvPr/>
          </p:nvSpPr>
          <p:spPr bwMode="gray">
            <a:xfrm>
              <a:off x="6383048" y="3547195"/>
              <a:ext cx="89394" cy="11775"/>
            </a:xfrm>
            <a:custGeom>
              <a:avLst/>
              <a:gdLst/>
              <a:ahLst/>
              <a:cxnLst>
                <a:cxn ang="0">
                  <a:pos x="0" y="14"/>
                </a:cxn>
                <a:cxn ang="0">
                  <a:pos x="8" y="0"/>
                </a:cxn>
                <a:cxn ang="0">
                  <a:pos x="98" y="14"/>
                </a:cxn>
                <a:cxn ang="0">
                  <a:pos x="32" y="14"/>
                </a:cxn>
                <a:cxn ang="0">
                  <a:pos x="0" y="14"/>
                </a:cxn>
              </a:cxnLst>
              <a:rect l="0" t="0" r="r" b="b"/>
              <a:pathLst>
                <a:path w="98" h="14">
                  <a:moveTo>
                    <a:pt x="0" y="14"/>
                  </a:moveTo>
                  <a:lnTo>
                    <a:pt x="8" y="0"/>
                  </a:lnTo>
                  <a:lnTo>
                    <a:pt x="98" y="14"/>
                  </a:lnTo>
                  <a:lnTo>
                    <a:pt x="32" y="14"/>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5" name="30470314.625457.530.875365">
              <a:extLst>
                <a:ext uri="{FF2B5EF4-FFF2-40B4-BE49-F238E27FC236}">
                  <a16:creationId xmlns:a16="http://schemas.microsoft.com/office/drawing/2014/main" id="{14994601-B85F-45C9-9D5C-3AB4E1422FE8}"/>
                </a:ext>
              </a:extLst>
            </p:cNvPr>
            <p:cNvSpPr>
              <a:spLocks noChangeAspect="1"/>
            </p:cNvSpPr>
            <p:nvPr/>
          </p:nvSpPr>
          <p:spPr bwMode="gray">
            <a:xfrm>
              <a:off x="7006907" y="3395815"/>
              <a:ext cx="578209" cy="499553"/>
            </a:xfrm>
            <a:custGeom>
              <a:avLst/>
              <a:gdLst/>
              <a:ahLst/>
              <a:cxnLst>
                <a:cxn ang="0">
                  <a:pos x="0" y="18"/>
                </a:cxn>
                <a:cxn ang="0">
                  <a:pos x="17" y="0"/>
                </a:cxn>
                <a:cxn ang="0">
                  <a:pos x="66" y="41"/>
                </a:cxn>
                <a:cxn ang="0">
                  <a:pos x="127" y="8"/>
                </a:cxn>
                <a:cxn ang="0">
                  <a:pos x="132" y="40"/>
                </a:cxn>
                <a:cxn ang="0">
                  <a:pos x="160" y="51"/>
                </a:cxn>
                <a:cxn ang="0">
                  <a:pos x="167" y="87"/>
                </a:cxn>
                <a:cxn ang="0">
                  <a:pos x="255" y="125"/>
                </a:cxn>
                <a:cxn ang="0">
                  <a:pos x="336" y="114"/>
                </a:cxn>
                <a:cxn ang="0">
                  <a:pos x="329" y="94"/>
                </a:cxn>
                <a:cxn ang="0">
                  <a:pos x="433" y="58"/>
                </a:cxn>
                <a:cxn ang="0">
                  <a:pos x="569" y="120"/>
                </a:cxn>
                <a:cxn ang="0">
                  <a:pos x="574" y="154"/>
                </a:cxn>
                <a:cxn ang="0">
                  <a:pos x="550" y="218"/>
                </a:cxn>
                <a:cxn ang="0">
                  <a:pos x="554" y="306"/>
                </a:cxn>
                <a:cxn ang="0">
                  <a:pos x="589" y="332"/>
                </a:cxn>
                <a:cxn ang="0">
                  <a:pos x="561" y="377"/>
                </a:cxn>
                <a:cxn ang="0">
                  <a:pos x="640" y="476"/>
                </a:cxn>
                <a:cxn ang="0">
                  <a:pos x="587" y="546"/>
                </a:cxn>
                <a:cxn ang="0">
                  <a:pos x="444" y="523"/>
                </a:cxn>
                <a:cxn ang="0">
                  <a:pos x="413" y="478"/>
                </a:cxn>
                <a:cxn ang="0">
                  <a:pos x="315" y="493"/>
                </a:cxn>
                <a:cxn ang="0">
                  <a:pos x="244" y="450"/>
                </a:cxn>
                <a:cxn ang="0">
                  <a:pos x="196" y="366"/>
                </a:cxn>
                <a:cxn ang="0">
                  <a:pos x="159" y="352"/>
                </a:cxn>
                <a:cxn ang="0">
                  <a:pos x="149" y="370"/>
                </a:cxn>
                <a:cxn ang="0">
                  <a:pos x="105" y="285"/>
                </a:cxn>
                <a:cxn ang="0">
                  <a:pos x="43" y="234"/>
                </a:cxn>
                <a:cxn ang="0">
                  <a:pos x="72" y="154"/>
                </a:cxn>
                <a:cxn ang="0">
                  <a:pos x="46" y="145"/>
                </a:cxn>
                <a:cxn ang="0">
                  <a:pos x="22" y="102"/>
                </a:cxn>
                <a:cxn ang="0">
                  <a:pos x="0" y="18"/>
                </a:cxn>
              </a:cxnLst>
              <a:rect l="0" t="0" r="r" b="b"/>
              <a:pathLst>
                <a:path w="640" h="546">
                  <a:moveTo>
                    <a:pt x="0" y="18"/>
                  </a:moveTo>
                  <a:lnTo>
                    <a:pt x="17" y="0"/>
                  </a:lnTo>
                  <a:lnTo>
                    <a:pt x="66" y="41"/>
                  </a:lnTo>
                  <a:lnTo>
                    <a:pt x="127" y="8"/>
                  </a:lnTo>
                  <a:lnTo>
                    <a:pt x="132" y="40"/>
                  </a:lnTo>
                  <a:lnTo>
                    <a:pt x="160" y="51"/>
                  </a:lnTo>
                  <a:lnTo>
                    <a:pt x="167" y="87"/>
                  </a:lnTo>
                  <a:lnTo>
                    <a:pt x="255" y="125"/>
                  </a:lnTo>
                  <a:lnTo>
                    <a:pt x="336" y="114"/>
                  </a:lnTo>
                  <a:lnTo>
                    <a:pt x="329" y="94"/>
                  </a:lnTo>
                  <a:lnTo>
                    <a:pt x="433" y="58"/>
                  </a:lnTo>
                  <a:lnTo>
                    <a:pt x="569" y="120"/>
                  </a:lnTo>
                  <a:lnTo>
                    <a:pt x="574" y="154"/>
                  </a:lnTo>
                  <a:lnTo>
                    <a:pt x="550" y="218"/>
                  </a:lnTo>
                  <a:lnTo>
                    <a:pt x="554" y="306"/>
                  </a:lnTo>
                  <a:lnTo>
                    <a:pt x="589" y="332"/>
                  </a:lnTo>
                  <a:lnTo>
                    <a:pt x="561" y="377"/>
                  </a:lnTo>
                  <a:lnTo>
                    <a:pt x="640" y="476"/>
                  </a:lnTo>
                  <a:lnTo>
                    <a:pt x="587" y="546"/>
                  </a:lnTo>
                  <a:lnTo>
                    <a:pt x="444" y="523"/>
                  </a:lnTo>
                  <a:lnTo>
                    <a:pt x="413" y="478"/>
                  </a:lnTo>
                  <a:lnTo>
                    <a:pt x="315" y="493"/>
                  </a:lnTo>
                  <a:lnTo>
                    <a:pt x="244" y="450"/>
                  </a:lnTo>
                  <a:lnTo>
                    <a:pt x="196" y="366"/>
                  </a:lnTo>
                  <a:lnTo>
                    <a:pt x="159" y="352"/>
                  </a:lnTo>
                  <a:lnTo>
                    <a:pt x="149" y="370"/>
                  </a:lnTo>
                  <a:lnTo>
                    <a:pt x="105" y="285"/>
                  </a:lnTo>
                  <a:lnTo>
                    <a:pt x="43" y="234"/>
                  </a:lnTo>
                  <a:lnTo>
                    <a:pt x="72" y="154"/>
                  </a:lnTo>
                  <a:lnTo>
                    <a:pt x="46" y="145"/>
                  </a:lnTo>
                  <a:lnTo>
                    <a:pt x="22" y="102"/>
                  </a:lnTo>
                  <a:lnTo>
                    <a:pt x="0" y="1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6" name="30471320.375447.12517.12518.6255">
              <a:extLst>
                <a:ext uri="{FF2B5EF4-FFF2-40B4-BE49-F238E27FC236}">
                  <a16:creationId xmlns:a16="http://schemas.microsoft.com/office/drawing/2014/main" id="{88107102-4D4E-4226-843B-0AE885B7792C}"/>
                </a:ext>
              </a:extLst>
            </p:cNvPr>
            <p:cNvSpPr>
              <a:spLocks noChangeAspect="1"/>
            </p:cNvSpPr>
            <p:nvPr/>
          </p:nvSpPr>
          <p:spPr bwMode="gray">
            <a:xfrm>
              <a:off x="6841431" y="3488325"/>
              <a:ext cx="298617" cy="275847"/>
            </a:xfrm>
            <a:custGeom>
              <a:avLst/>
              <a:gdLst/>
              <a:ahLst/>
              <a:cxnLst>
                <a:cxn ang="0">
                  <a:pos x="0" y="147"/>
                </a:cxn>
                <a:cxn ang="0">
                  <a:pos x="16" y="190"/>
                </a:cxn>
                <a:cxn ang="0">
                  <a:pos x="166" y="257"/>
                </a:cxn>
                <a:cxn ang="0">
                  <a:pos x="167" y="282"/>
                </a:cxn>
                <a:cxn ang="0">
                  <a:pos x="203" y="298"/>
                </a:cxn>
                <a:cxn ang="0">
                  <a:pos x="264" y="303"/>
                </a:cxn>
                <a:cxn ang="0">
                  <a:pos x="313" y="271"/>
                </a:cxn>
                <a:cxn ang="0">
                  <a:pos x="331" y="268"/>
                </a:cxn>
                <a:cxn ang="0">
                  <a:pos x="287" y="183"/>
                </a:cxn>
                <a:cxn ang="0">
                  <a:pos x="225" y="132"/>
                </a:cxn>
                <a:cxn ang="0">
                  <a:pos x="254" y="52"/>
                </a:cxn>
                <a:cxn ang="0">
                  <a:pos x="228" y="43"/>
                </a:cxn>
                <a:cxn ang="0">
                  <a:pos x="204" y="0"/>
                </a:cxn>
                <a:cxn ang="0">
                  <a:pos x="130" y="3"/>
                </a:cxn>
                <a:cxn ang="0">
                  <a:pos x="93" y="30"/>
                </a:cxn>
                <a:cxn ang="0">
                  <a:pos x="81" y="103"/>
                </a:cxn>
                <a:cxn ang="0">
                  <a:pos x="0" y="147"/>
                </a:cxn>
              </a:cxnLst>
              <a:rect l="0" t="0" r="r" b="b"/>
              <a:pathLst>
                <a:path w="331" h="303">
                  <a:moveTo>
                    <a:pt x="0" y="147"/>
                  </a:moveTo>
                  <a:lnTo>
                    <a:pt x="16" y="190"/>
                  </a:lnTo>
                  <a:lnTo>
                    <a:pt x="166" y="257"/>
                  </a:lnTo>
                  <a:lnTo>
                    <a:pt x="167" y="282"/>
                  </a:lnTo>
                  <a:lnTo>
                    <a:pt x="203" y="298"/>
                  </a:lnTo>
                  <a:lnTo>
                    <a:pt x="264" y="303"/>
                  </a:lnTo>
                  <a:lnTo>
                    <a:pt x="313" y="271"/>
                  </a:lnTo>
                  <a:lnTo>
                    <a:pt x="331" y="268"/>
                  </a:lnTo>
                  <a:lnTo>
                    <a:pt x="287" y="183"/>
                  </a:lnTo>
                  <a:lnTo>
                    <a:pt x="225" y="132"/>
                  </a:lnTo>
                  <a:lnTo>
                    <a:pt x="254" y="52"/>
                  </a:lnTo>
                  <a:lnTo>
                    <a:pt x="228" y="43"/>
                  </a:lnTo>
                  <a:lnTo>
                    <a:pt x="204" y="0"/>
                  </a:lnTo>
                  <a:lnTo>
                    <a:pt x="130" y="3"/>
                  </a:lnTo>
                  <a:lnTo>
                    <a:pt x="93" y="30"/>
                  </a:lnTo>
                  <a:lnTo>
                    <a:pt x="81" y="103"/>
                  </a:lnTo>
                  <a:lnTo>
                    <a:pt x="0" y="14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7" name="30472298.12538720.875225">
              <a:extLst>
                <a:ext uri="{FF2B5EF4-FFF2-40B4-BE49-F238E27FC236}">
                  <a16:creationId xmlns:a16="http://schemas.microsoft.com/office/drawing/2014/main" id="{1DDD65DC-00E9-4A33-8351-4012E5D3FF97}"/>
                </a:ext>
              </a:extLst>
            </p:cNvPr>
            <p:cNvSpPr>
              <a:spLocks noChangeAspect="1"/>
            </p:cNvSpPr>
            <p:nvPr/>
          </p:nvSpPr>
          <p:spPr bwMode="gray">
            <a:xfrm>
              <a:off x="5877115" y="3128379"/>
              <a:ext cx="353773" cy="334717"/>
            </a:xfrm>
            <a:custGeom>
              <a:avLst/>
              <a:gdLst/>
              <a:ahLst/>
              <a:cxnLst>
                <a:cxn ang="0">
                  <a:pos x="0" y="92"/>
                </a:cxn>
                <a:cxn ang="0">
                  <a:pos x="10" y="49"/>
                </a:cxn>
                <a:cxn ang="0">
                  <a:pos x="57" y="29"/>
                </a:cxn>
                <a:cxn ang="0">
                  <a:pos x="77" y="48"/>
                </a:cxn>
                <a:cxn ang="0">
                  <a:pos x="124" y="9"/>
                </a:cxn>
                <a:cxn ang="0">
                  <a:pos x="176" y="0"/>
                </a:cxn>
                <a:cxn ang="0">
                  <a:pos x="233" y="26"/>
                </a:cxn>
                <a:cxn ang="0">
                  <a:pos x="233" y="66"/>
                </a:cxn>
                <a:cxn ang="0">
                  <a:pos x="187" y="73"/>
                </a:cxn>
                <a:cxn ang="0">
                  <a:pos x="191" y="122"/>
                </a:cxn>
                <a:cxn ang="0">
                  <a:pos x="265" y="205"/>
                </a:cxn>
                <a:cxn ang="0">
                  <a:pos x="312" y="210"/>
                </a:cxn>
                <a:cxn ang="0">
                  <a:pos x="308" y="228"/>
                </a:cxn>
                <a:cxn ang="0">
                  <a:pos x="392" y="282"/>
                </a:cxn>
                <a:cxn ang="0">
                  <a:pos x="334" y="273"/>
                </a:cxn>
                <a:cxn ang="0">
                  <a:pos x="347" y="326"/>
                </a:cxn>
                <a:cxn ang="0">
                  <a:pos x="312" y="367"/>
                </a:cxn>
                <a:cxn ang="0">
                  <a:pos x="297" y="283"/>
                </a:cxn>
                <a:cxn ang="0">
                  <a:pos x="150" y="191"/>
                </a:cxn>
                <a:cxn ang="0">
                  <a:pos x="116" y="130"/>
                </a:cxn>
                <a:cxn ang="0">
                  <a:pos x="69" y="110"/>
                </a:cxn>
                <a:cxn ang="0">
                  <a:pos x="26" y="136"/>
                </a:cxn>
                <a:cxn ang="0">
                  <a:pos x="0" y="92"/>
                </a:cxn>
              </a:cxnLst>
              <a:rect l="0" t="0" r="r" b="b"/>
              <a:pathLst>
                <a:path w="392" h="367">
                  <a:moveTo>
                    <a:pt x="0" y="92"/>
                  </a:moveTo>
                  <a:lnTo>
                    <a:pt x="10" y="49"/>
                  </a:lnTo>
                  <a:lnTo>
                    <a:pt x="57" y="29"/>
                  </a:lnTo>
                  <a:lnTo>
                    <a:pt x="77" y="48"/>
                  </a:lnTo>
                  <a:lnTo>
                    <a:pt x="124" y="9"/>
                  </a:lnTo>
                  <a:lnTo>
                    <a:pt x="176" y="0"/>
                  </a:lnTo>
                  <a:lnTo>
                    <a:pt x="233" y="26"/>
                  </a:lnTo>
                  <a:lnTo>
                    <a:pt x="233" y="66"/>
                  </a:lnTo>
                  <a:lnTo>
                    <a:pt x="187" y="73"/>
                  </a:lnTo>
                  <a:lnTo>
                    <a:pt x="191" y="122"/>
                  </a:lnTo>
                  <a:lnTo>
                    <a:pt x="265" y="205"/>
                  </a:lnTo>
                  <a:lnTo>
                    <a:pt x="312" y="210"/>
                  </a:lnTo>
                  <a:lnTo>
                    <a:pt x="308" y="228"/>
                  </a:lnTo>
                  <a:lnTo>
                    <a:pt x="392" y="282"/>
                  </a:lnTo>
                  <a:lnTo>
                    <a:pt x="334" y="273"/>
                  </a:lnTo>
                  <a:lnTo>
                    <a:pt x="347" y="326"/>
                  </a:lnTo>
                  <a:lnTo>
                    <a:pt x="312" y="367"/>
                  </a:lnTo>
                  <a:lnTo>
                    <a:pt x="297" y="283"/>
                  </a:lnTo>
                  <a:lnTo>
                    <a:pt x="150" y="191"/>
                  </a:lnTo>
                  <a:lnTo>
                    <a:pt x="116" y="130"/>
                  </a:lnTo>
                  <a:lnTo>
                    <a:pt x="69" y="110"/>
                  </a:lnTo>
                  <a:lnTo>
                    <a:pt x="26" y="136"/>
                  </a:lnTo>
                  <a:lnTo>
                    <a:pt x="0" y="9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8" name="30473311.625389.87552.755">
              <a:extLst>
                <a:ext uri="{FF2B5EF4-FFF2-40B4-BE49-F238E27FC236}">
                  <a16:creationId xmlns:a16="http://schemas.microsoft.com/office/drawing/2014/main" id="{D1B85E14-85D9-4FDB-B7B5-38AE7F8A9070}"/>
                </a:ext>
              </a:extLst>
            </p:cNvPr>
            <p:cNvSpPr>
              <a:spLocks noChangeAspect="1"/>
            </p:cNvSpPr>
            <p:nvPr/>
          </p:nvSpPr>
          <p:spPr bwMode="gray">
            <a:xfrm>
              <a:off x="5924665" y="3345355"/>
              <a:ext cx="43748" cy="82418"/>
            </a:xfrm>
            <a:custGeom>
              <a:avLst/>
              <a:gdLst/>
              <a:ahLst/>
              <a:cxnLst>
                <a:cxn ang="0">
                  <a:pos x="0" y="14"/>
                </a:cxn>
                <a:cxn ang="0">
                  <a:pos x="8" y="83"/>
                </a:cxn>
                <a:cxn ang="0">
                  <a:pos x="29" y="90"/>
                </a:cxn>
                <a:cxn ang="0">
                  <a:pos x="48" y="36"/>
                </a:cxn>
                <a:cxn ang="0">
                  <a:pos x="30" y="0"/>
                </a:cxn>
                <a:cxn ang="0">
                  <a:pos x="0" y="14"/>
                </a:cxn>
              </a:cxnLst>
              <a:rect l="0" t="0" r="r" b="b"/>
              <a:pathLst>
                <a:path w="48" h="90">
                  <a:moveTo>
                    <a:pt x="0" y="14"/>
                  </a:moveTo>
                  <a:lnTo>
                    <a:pt x="8" y="83"/>
                  </a:lnTo>
                  <a:lnTo>
                    <a:pt x="29" y="90"/>
                  </a:lnTo>
                  <a:lnTo>
                    <a:pt x="48" y="36"/>
                  </a:lnTo>
                  <a:lnTo>
                    <a:pt x="30" y="0"/>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99" name="30474318.253983.255.755">
              <a:extLst>
                <a:ext uri="{FF2B5EF4-FFF2-40B4-BE49-F238E27FC236}">
                  <a16:creationId xmlns:a16="http://schemas.microsoft.com/office/drawing/2014/main" id="{2E30A948-978E-4F03-A6DA-F1F1223B7E7E}"/>
                </a:ext>
              </a:extLst>
            </p:cNvPr>
            <p:cNvSpPr>
              <a:spLocks noChangeAspect="1"/>
            </p:cNvSpPr>
            <p:nvPr/>
          </p:nvSpPr>
          <p:spPr bwMode="gray">
            <a:xfrm>
              <a:off x="6054002" y="3451321"/>
              <a:ext cx="91298" cy="53825"/>
            </a:xfrm>
            <a:custGeom>
              <a:avLst/>
              <a:gdLst/>
              <a:ahLst/>
              <a:cxnLst>
                <a:cxn ang="0">
                  <a:pos x="0" y="14"/>
                </a:cxn>
                <a:cxn ang="0">
                  <a:pos x="87" y="60"/>
                </a:cxn>
                <a:cxn ang="0">
                  <a:pos x="103" y="0"/>
                </a:cxn>
                <a:cxn ang="0">
                  <a:pos x="0" y="14"/>
                </a:cxn>
              </a:cxnLst>
              <a:rect l="0" t="0" r="r" b="b"/>
              <a:pathLst>
                <a:path w="103" h="60">
                  <a:moveTo>
                    <a:pt x="0" y="14"/>
                  </a:moveTo>
                  <a:lnTo>
                    <a:pt x="87" y="60"/>
                  </a:lnTo>
                  <a:lnTo>
                    <a:pt x="103" y="0"/>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0" name="30475327.75618.755.1254.3755">
              <a:extLst>
                <a:ext uri="{FF2B5EF4-FFF2-40B4-BE49-F238E27FC236}">
                  <a16:creationId xmlns:a16="http://schemas.microsoft.com/office/drawing/2014/main" id="{72C5B521-25CE-4EAD-BF4E-129743A168C1}"/>
                </a:ext>
              </a:extLst>
            </p:cNvPr>
            <p:cNvSpPr>
              <a:spLocks noChangeAspect="1"/>
            </p:cNvSpPr>
            <p:nvPr/>
          </p:nvSpPr>
          <p:spPr bwMode="gray">
            <a:xfrm>
              <a:off x="9591734" y="3606065"/>
              <a:ext cx="70376" cy="84099"/>
            </a:xfrm>
            <a:custGeom>
              <a:avLst/>
              <a:gdLst/>
              <a:ahLst/>
              <a:cxnLst>
                <a:cxn ang="0">
                  <a:pos x="0" y="24"/>
                </a:cxn>
                <a:cxn ang="0">
                  <a:pos x="2" y="48"/>
                </a:cxn>
                <a:cxn ang="0">
                  <a:pos x="20" y="24"/>
                </a:cxn>
                <a:cxn ang="0">
                  <a:pos x="28" y="38"/>
                </a:cxn>
                <a:cxn ang="0">
                  <a:pos x="19" y="92"/>
                </a:cxn>
                <a:cxn ang="0">
                  <a:pos x="56" y="90"/>
                </a:cxn>
                <a:cxn ang="0">
                  <a:pos x="78" y="35"/>
                </a:cxn>
                <a:cxn ang="0">
                  <a:pos x="66" y="4"/>
                </a:cxn>
                <a:cxn ang="0">
                  <a:pos x="30" y="0"/>
                </a:cxn>
                <a:cxn ang="0">
                  <a:pos x="0" y="24"/>
                </a:cxn>
              </a:cxnLst>
              <a:rect l="0" t="0" r="r" b="b"/>
              <a:pathLst>
                <a:path w="78" h="92">
                  <a:moveTo>
                    <a:pt x="0" y="24"/>
                  </a:moveTo>
                  <a:lnTo>
                    <a:pt x="2" y="48"/>
                  </a:lnTo>
                  <a:lnTo>
                    <a:pt x="20" y="24"/>
                  </a:lnTo>
                  <a:lnTo>
                    <a:pt x="28" y="38"/>
                  </a:lnTo>
                  <a:lnTo>
                    <a:pt x="19" y="92"/>
                  </a:lnTo>
                  <a:lnTo>
                    <a:pt x="56" y="90"/>
                  </a:lnTo>
                  <a:lnTo>
                    <a:pt x="78" y="35"/>
                  </a:lnTo>
                  <a:lnTo>
                    <a:pt x="66" y="4"/>
                  </a:lnTo>
                  <a:lnTo>
                    <a:pt x="30" y="0"/>
                  </a:lnTo>
                  <a:lnTo>
                    <a:pt x="0" y="2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1" name="30476311.37562117.12521.1255">
              <a:extLst>
                <a:ext uri="{FF2B5EF4-FFF2-40B4-BE49-F238E27FC236}">
                  <a16:creationId xmlns:a16="http://schemas.microsoft.com/office/drawing/2014/main" id="{DEE4BE56-B4FF-408E-8FD3-7170384B6F11}"/>
                </a:ext>
              </a:extLst>
            </p:cNvPr>
            <p:cNvSpPr>
              <a:spLocks noChangeAspect="1"/>
            </p:cNvSpPr>
            <p:nvPr/>
          </p:nvSpPr>
          <p:spPr bwMode="gray">
            <a:xfrm>
              <a:off x="9627872" y="3341991"/>
              <a:ext cx="338557" cy="275847"/>
            </a:xfrm>
            <a:custGeom>
              <a:avLst/>
              <a:gdLst/>
              <a:ahLst/>
              <a:cxnLst>
                <a:cxn ang="0">
                  <a:pos x="0" y="285"/>
                </a:cxn>
                <a:cxn ang="0">
                  <a:pos x="68" y="229"/>
                </a:cxn>
                <a:cxn ang="0">
                  <a:pos x="163" y="229"/>
                </a:cxn>
                <a:cxn ang="0">
                  <a:pos x="201" y="160"/>
                </a:cxn>
                <a:cxn ang="0">
                  <a:pos x="218" y="155"/>
                </a:cxn>
                <a:cxn ang="0">
                  <a:pos x="219" y="181"/>
                </a:cxn>
                <a:cxn ang="0">
                  <a:pos x="262" y="155"/>
                </a:cxn>
                <a:cxn ang="0">
                  <a:pos x="299" y="102"/>
                </a:cxn>
                <a:cxn ang="0">
                  <a:pos x="315" y="16"/>
                </a:cxn>
                <a:cxn ang="0">
                  <a:pos x="344" y="20"/>
                </a:cxn>
                <a:cxn ang="0">
                  <a:pos x="334" y="0"/>
                </a:cxn>
                <a:cxn ang="0">
                  <a:pos x="354" y="2"/>
                </a:cxn>
                <a:cxn ang="0">
                  <a:pos x="377" y="73"/>
                </a:cxn>
                <a:cxn ang="0">
                  <a:pos x="344" y="124"/>
                </a:cxn>
                <a:cxn ang="0">
                  <a:pos x="344" y="171"/>
                </a:cxn>
                <a:cxn ang="0">
                  <a:pos x="321" y="240"/>
                </a:cxn>
                <a:cxn ang="0">
                  <a:pos x="304" y="249"/>
                </a:cxn>
                <a:cxn ang="0">
                  <a:pos x="303" y="223"/>
                </a:cxn>
                <a:cxn ang="0">
                  <a:pos x="248" y="262"/>
                </a:cxn>
                <a:cxn ang="0">
                  <a:pos x="201" y="245"/>
                </a:cxn>
                <a:cxn ang="0">
                  <a:pos x="204" y="277"/>
                </a:cxn>
                <a:cxn ang="0">
                  <a:pos x="164" y="303"/>
                </a:cxn>
                <a:cxn ang="0">
                  <a:pos x="153" y="259"/>
                </a:cxn>
                <a:cxn ang="0">
                  <a:pos x="0" y="285"/>
                </a:cxn>
              </a:cxnLst>
              <a:rect l="0" t="0" r="r" b="b"/>
              <a:pathLst>
                <a:path w="377" h="303">
                  <a:moveTo>
                    <a:pt x="0" y="285"/>
                  </a:moveTo>
                  <a:lnTo>
                    <a:pt x="68" y="229"/>
                  </a:lnTo>
                  <a:lnTo>
                    <a:pt x="163" y="229"/>
                  </a:lnTo>
                  <a:lnTo>
                    <a:pt x="201" y="160"/>
                  </a:lnTo>
                  <a:lnTo>
                    <a:pt x="218" y="155"/>
                  </a:lnTo>
                  <a:lnTo>
                    <a:pt x="219" y="181"/>
                  </a:lnTo>
                  <a:lnTo>
                    <a:pt x="262" y="155"/>
                  </a:lnTo>
                  <a:lnTo>
                    <a:pt x="299" y="102"/>
                  </a:lnTo>
                  <a:lnTo>
                    <a:pt x="315" y="16"/>
                  </a:lnTo>
                  <a:lnTo>
                    <a:pt x="344" y="20"/>
                  </a:lnTo>
                  <a:lnTo>
                    <a:pt x="334" y="0"/>
                  </a:lnTo>
                  <a:lnTo>
                    <a:pt x="354" y="2"/>
                  </a:lnTo>
                  <a:lnTo>
                    <a:pt x="377" y="73"/>
                  </a:lnTo>
                  <a:lnTo>
                    <a:pt x="344" y="124"/>
                  </a:lnTo>
                  <a:lnTo>
                    <a:pt x="344" y="171"/>
                  </a:lnTo>
                  <a:lnTo>
                    <a:pt x="321" y="240"/>
                  </a:lnTo>
                  <a:lnTo>
                    <a:pt x="304" y="249"/>
                  </a:lnTo>
                  <a:lnTo>
                    <a:pt x="303" y="223"/>
                  </a:lnTo>
                  <a:lnTo>
                    <a:pt x="248" y="262"/>
                  </a:lnTo>
                  <a:lnTo>
                    <a:pt x="201" y="245"/>
                  </a:lnTo>
                  <a:lnTo>
                    <a:pt x="204" y="277"/>
                  </a:lnTo>
                  <a:lnTo>
                    <a:pt x="164" y="303"/>
                  </a:lnTo>
                  <a:lnTo>
                    <a:pt x="153" y="259"/>
                  </a:lnTo>
                  <a:lnTo>
                    <a:pt x="0" y="28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2" name="30477327623.53.1254.3755">
              <a:extLst>
                <a:ext uri="{FF2B5EF4-FFF2-40B4-BE49-F238E27FC236}">
                  <a16:creationId xmlns:a16="http://schemas.microsoft.com/office/drawing/2014/main" id="{6FB9F6A4-267F-4853-94A2-C5F023920FCA}"/>
                </a:ext>
              </a:extLst>
            </p:cNvPr>
            <p:cNvSpPr>
              <a:spLocks noChangeAspect="1"/>
            </p:cNvSpPr>
            <p:nvPr/>
          </p:nvSpPr>
          <p:spPr bwMode="gray">
            <a:xfrm>
              <a:off x="9667816" y="3594290"/>
              <a:ext cx="70376" cy="50460"/>
            </a:xfrm>
            <a:custGeom>
              <a:avLst/>
              <a:gdLst/>
              <a:ahLst/>
              <a:cxnLst>
                <a:cxn ang="0">
                  <a:pos x="0" y="29"/>
                </a:cxn>
                <a:cxn ang="0">
                  <a:pos x="26" y="55"/>
                </a:cxn>
                <a:cxn ang="0">
                  <a:pos x="70" y="34"/>
                </a:cxn>
                <a:cxn ang="0">
                  <a:pos x="77" y="0"/>
                </a:cxn>
                <a:cxn ang="0">
                  <a:pos x="0" y="29"/>
                </a:cxn>
              </a:cxnLst>
              <a:rect l="0" t="0" r="r" b="b"/>
              <a:pathLst>
                <a:path w="77" h="55">
                  <a:moveTo>
                    <a:pt x="0" y="29"/>
                  </a:moveTo>
                  <a:lnTo>
                    <a:pt x="26" y="55"/>
                  </a:lnTo>
                  <a:lnTo>
                    <a:pt x="70" y="34"/>
                  </a:lnTo>
                  <a:lnTo>
                    <a:pt x="77" y="0"/>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3" name="30478302.256389.125115">
              <a:extLst>
                <a:ext uri="{FF2B5EF4-FFF2-40B4-BE49-F238E27FC236}">
                  <a16:creationId xmlns:a16="http://schemas.microsoft.com/office/drawing/2014/main" id="{A8B2D62C-F9B9-4B96-8741-3AE43F5ABACC}"/>
                </a:ext>
              </a:extLst>
            </p:cNvPr>
            <p:cNvSpPr>
              <a:spLocks noChangeAspect="1"/>
            </p:cNvSpPr>
            <p:nvPr/>
          </p:nvSpPr>
          <p:spPr bwMode="gray">
            <a:xfrm>
              <a:off x="9899858" y="3193976"/>
              <a:ext cx="176887" cy="148015"/>
            </a:xfrm>
            <a:custGeom>
              <a:avLst/>
              <a:gdLst/>
              <a:ahLst/>
              <a:cxnLst>
                <a:cxn ang="0">
                  <a:pos x="0" y="116"/>
                </a:cxn>
                <a:cxn ang="0">
                  <a:pos x="8" y="162"/>
                </a:cxn>
                <a:cxn ang="0">
                  <a:pos x="42" y="145"/>
                </a:cxn>
                <a:cxn ang="0">
                  <a:pos x="19" y="117"/>
                </a:cxn>
                <a:cxn ang="0">
                  <a:pos x="113" y="142"/>
                </a:cxn>
                <a:cxn ang="0">
                  <a:pos x="135" y="103"/>
                </a:cxn>
                <a:cxn ang="0">
                  <a:pos x="195" y="91"/>
                </a:cxn>
                <a:cxn ang="0">
                  <a:pos x="174" y="66"/>
                </a:cxn>
                <a:cxn ang="0">
                  <a:pos x="181" y="44"/>
                </a:cxn>
                <a:cxn ang="0">
                  <a:pos x="129" y="48"/>
                </a:cxn>
                <a:cxn ang="0">
                  <a:pos x="67" y="0"/>
                </a:cxn>
                <a:cxn ang="0">
                  <a:pos x="45" y="92"/>
                </a:cxn>
                <a:cxn ang="0">
                  <a:pos x="18" y="87"/>
                </a:cxn>
                <a:cxn ang="0">
                  <a:pos x="0" y="116"/>
                </a:cxn>
              </a:cxnLst>
              <a:rect l="0" t="0" r="r" b="b"/>
              <a:pathLst>
                <a:path w="195" h="162">
                  <a:moveTo>
                    <a:pt x="0" y="116"/>
                  </a:moveTo>
                  <a:lnTo>
                    <a:pt x="8" y="162"/>
                  </a:lnTo>
                  <a:lnTo>
                    <a:pt x="42" y="145"/>
                  </a:lnTo>
                  <a:lnTo>
                    <a:pt x="19" y="117"/>
                  </a:lnTo>
                  <a:lnTo>
                    <a:pt x="113" y="142"/>
                  </a:lnTo>
                  <a:lnTo>
                    <a:pt x="135" y="103"/>
                  </a:lnTo>
                  <a:lnTo>
                    <a:pt x="195" y="91"/>
                  </a:lnTo>
                  <a:lnTo>
                    <a:pt x="174" y="66"/>
                  </a:lnTo>
                  <a:lnTo>
                    <a:pt x="181" y="44"/>
                  </a:lnTo>
                  <a:lnTo>
                    <a:pt x="129" y="48"/>
                  </a:lnTo>
                  <a:lnTo>
                    <a:pt x="67" y="0"/>
                  </a:lnTo>
                  <a:lnTo>
                    <a:pt x="45" y="92"/>
                  </a:lnTo>
                  <a:lnTo>
                    <a:pt x="18" y="87"/>
                  </a:lnTo>
                  <a:lnTo>
                    <a:pt x="0" y="11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4" name="30479308.125608.511.375125">
              <a:extLst>
                <a:ext uri="{FF2B5EF4-FFF2-40B4-BE49-F238E27FC236}">
                  <a16:creationId xmlns:a16="http://schemas.microsoft.com/office/drawing/2014/main" id="{B7275407-24AB-42BA-B21A-8C7A306D485C}"/>
                </a:ext>
              </a:extLst>
            </p:cNvPr>
            <p:cNvSpPr>
              <a:spLocks noChangeAspect="1"/>
            </p:cNvSpPr>
            <p:nvPr/>
          </p:nvSpPr>
          <p:spPr bwMode="gray">
            <a:xfrm>
              <a:off x="9428159" y="3288166"/>
              <a:ext cx="192103" cy="185018"/>
            </a:xfrm>
            <a:custGeom>
              <a:avLst/>
              <a:gdLst/>
              <a:ahLst/>
              <a:cxnLst>
                <a:cxn ang="0">
                  <a:pos x="0" y="116"/>
                </a:cxn>
                <a:cxn ang="0">
                  <a:pos x="38" y="132"/>
                </a:cxn>
                <a:cxn ang="0">
                  <a:pos x="14" y="191"/>
                </a:cxn>
                <a:cxn ang="0">
                  <a:pos x="74" y="204"/>
                </a:cxn>
                <a:cxn ang="0">
                  <a:pos x="136" y="169"/>
                </a:cxn>
                <a:cxn ang="0">
                  <a:pos x="107" y="121"/>
                </a:cxn>
                <a:cxn ang="0">
                  <a:pos x="179" y="79"/>
                </a:cxn>
                <a:cxn ang="0">
                  <a:pos x="212" y="20"/>
                </a:cxn>
                <a:cxn ang="0">
                  <a:pos x="207" y="11"/>
                </a:cxn>
                <a:cxn ang="0">
                  <a:pos x="194" y="0"/>
                </a:cxn>
                <a:cxn ang="0">
                  <a:pos x="131" y="39"/>
                </a:cxn>
                <a:cxn ang="0">
                  <a:pos x="131" y="61"/>
                </a:cxn>
                <a:cxn ang="0">
                  <a:pos x="85" y="54"/>
                </a:cxn>
                <a:cxn ang="0">
                  <a:pos x="0" y="116"/>
                </a:cxn>
              </a:cxnLst>
              <a:rect l="0" t="0" r="r" b="b"/>
              <a:pathLst>
                <a:path w="212" h="204">
                  <a:moveTo>
                    <a:pt x="0" y="116"/>
                  </a:moveTo>
                  <a:lnTo>
                    <a:pt x="38" y="132"/>
                  </a:lnTo>
                  <a:lnTo>
                    <a:pt x="14" y="191"/>
                  </a:lnTo>
                  <a:lnTo>
                    <a:pt x="74" y="204"/>
                  </a:lnTo>
                  <a:lnTo>
                    <a:pt x="136" y="169"/>
                  </a:lnTo>
                  <a:lnTo>
                    <a:pt x="107" y="121"/>
                  </a:lnTo>
                  <a:lnTo>
                    <a:pt x="179" y="79"/>
                  </a:lnTo>
                  <a:lnTo>
                    <a:pt x="212" y="20"/>
                  </a:lnTo>
                  <a:lnTo>
                    <a:pt x="207" y="11"/>
                  </a:lnTo>
                  <a:lnTo>
                    <a:pt x="194" y="0"/>
                  </a:lnTo>
                  <a:lnTo>
                    <a:pt x="131" y="39"/>
                  </a:lnTo>
                  <a:lnTo>
                    <a:pt x="131" y="61"/>
                  </a:lnTo>
                  <a:lnTo>
                    <a:pt x="85" y="54"/>
                  </a:lnTo>
                  <a:lnTo>
                    <a:pt x="0" y="11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5" name="30480350.625563.2515.87513.55">
              <a:extLst>
                <a:ext uri="{FF2B5EF4-FFF2-40B4-BE49-F238E27FC236}">
                  <a16:creationId xmlns:a16="http://schemas.microsoft.com/office/drawing/2014/main" id="{AC7B3C36-3E6A-4ED8-8355-EAD131F1AECA}"/>
                </a:ext>
              </a:extLst>
            </p:cNvPr>
            <p:cNvSpPr>
              <a:spLocks noChangeAspect="1"/>
            </p:cNvSpPr>
            <p:nvPr/>
          </p:nvSpPr>
          <p:spPr bwMode="gray">
            <a:xfrm>
              <a:off x="8703496" y="3977783"/>
              <a:ext cx="214926" cy="255664"/>
            </a:xfrm>
            <a:custGeom>
              <a:avLst/>
              <a:gdLst/>
              <a:ahLst/>
              <a:cxnLst>
                <a:cxn ang="0">
                  <a:pos x="0" y="60"/>
                </a:cxn>
                <a:cxn ang="0">
                  <a:pos x="32" y="100"/>
                </a:cxn>
                <a:cxn ang="0">
                  <a:pos x="22" y="169"/>
                </a:cxn>
                <a:cxn ang="0">
                  <a:pos x="107" y="139"/>
                </a:cxn>
                <a:cxn ang="0">
                  <a:pos x="143" y="169"/>
                </a:cxn>
                <a:cxn ang="0">
                  <a:pos x="175" y="236"/>
                </a:cxn>
                <a:cxn ang="0">
                  <a:pos x="164" y="279"/>
                </a:cxn>
                <a:cxn ang="0">
                  <a:pos x="239" y="267"/>
                </a:cxn>
                <a:cxn ang="0">
                  <a:pos x="203" y="177"/>
                </a:cxn>
                <a:cxn ang="0">
                  <a:pos x="122" y="111"/>
                </a:cxn>
                <a:cxn ang="0">
                  <a:pos x="144" y="73"/>
                </a:cxn>
                <a:cxn ang="0">
                  <a:pos x="99" y="52"/>
                </a:cxn>
                <a:cxn ang="0">
                  <a:pos x="65" y="0"/>
                </a:cxn>
                <a:cxn ang="0">
                  <a:pos x="44" y="1"/>
                </a:cxn>
                <a:cxn ang="0">
                  <a:pos x="47" y="38"/>
                </a:cxn>
                <a:cxn ang="0">
                  <a:pos x="32" y="29"/>
                </a:cxn>
                <a:cxn ang="0">
                  <a:pos x="0" y="60"/>
                </a:cxn>
              </a:cxnLst>
              <a:rect l="0" t="0" r="r" b="b"/>
              <a:pathLst>
                <a:path w="239" h="279">
                  <a:moveTo>
                    <a:pt x="0" y="60"/>
                  </a:moveTo>
                  <a:lnTo>
                    <a:pt x="32" y="100"/>
                  </a:lnTo>
                  <a:lnTo>
                    <a:pt x="22" y="169"/>
                  </a:lnTo>
                  <a:lnTo>
                    <a:pt x="107" y="139"/>
                  </a:lnTo>
                  <a:lnTo>
                    <a:pt x="143" y="169"/>
                  </a:lnTo>
                  <a:lnTo>
                    <a:pt x="175" y="236"/>
                  </a:lnTo>
                  <a:lnTo>
                    <a:pt x="164" y="279"/>
                  </a:lnTo>
                  <a:lnTo>
                    <a:pt x="239" y="267"/>
                  </a:lnTo>
                  <a:lnTo>
                    <a:pt x="203" y="177"/>
                  </a:lnTo>
                  <a:lnTo>
                    <a:pt x="122" y="111"/>
                  </a:lnTo>
                  <a:lnTo>
                    <a:pt x="144" y="73"/>
                  </a:lnTo>
                  <a:lnTo>
                    <a:pt x="99" y="52"/>
                  </a:lnTo>
                  <a:lnTo>
                    <a:pt x="65" y="0"/>
                  </a:lnTo>
                  <a:lnTo>
                    <a:pt x="44" y="1"/>
                  </a:lnTo>
                  <a:lnTo>
                    <a:pt x="47" y="38"/>
                  </a:lnTo>
                  <a:lnTo>
                    <a:pt x="32" y="29"/>
                  </a:lnTo>
                  <a:lnTo>
                    <a:pt x="0" y="6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6" name="30481291385.1251.3750.8755">
              <a:extLst>
                <a:ext uri="{FF2B5EF4-FFF2-40B4-BE49-F238E27FC236}">
                  <a16:creationId xmlns:a16="http://schemas.microsoft.com/office/drawing/2014/main" id="{A6E11F11-FF41-4657-A8C2-CDCA1649C52D}"/>
                </a:ext>
              </a:extLst>
            </p:cNvPr>
            <p:cNvSpPr>
              <a:spLocks noChangeAspect="1"/>
            </p:cNvSpPr>
            <p:nvPr/>
          </p:nvSpPr>
          <p:spPr bwMode="gray">
            <a:xfrm>
              <a:off x="5848583" y="3012319"/>
              <a:ext cx="13316" cy="20183"/>
            </a:xfrm>
            <a:custGeom>
              <a:avLst/>
              <a:gdLst/>
              <a:ahLst/>
              <a:cxnLst>
                <a:cxn ang="0">
                  <a:pos x="0" y="22"/>
                </a:cxn>
                <a:cxn ang="0">
                  <a:pos x="13" y="0"/>
                </a:cxn>
                <a:cxn ang="0">
                  <a:pos x="17" y="28"/>
                </a:cxn>
                <a:cxn ang="0">
                  <a:pos x="0" y="22"/>
                </a:cxn>
              </a:cxnLst>
              <a:rect l="0" t="0" r="r" b="b"/>
              <a:pathLst>
                <a:path w="17" h="28">
                  <a:moveTo>
                    <a:pt x="0" y="22"/>
                  </a:moveTo>
                  <a:lnTo>
                    <a:pt x="13" y="0"/>
                  </a:lnTo>
                  <a:lnTo>
                    <a:pt x="17" y="28"/>
                  </a:lnTo>
                  <a:lnTo>
                    <a:pt x="0" y="2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7" name="30483285.875539.752559.6255">
              <a:extLst>
                <a:ext uri="{FF2B5EF4-FFF2-40B4-BE49-F238E27FC236}">
                  <a16:creationId xmlns:a16="http://schemas.microsoft.com/office/drawing/2014/main" id="{9B968769-B447-4EF2-92EC-AFF3036F31D2}"/>
                </a:ext>
              </a:extLst>
            </p:cNvPr>
            <p:cNvSpPr>
              <a:spLocks noChangeAspect="1"/>
            </p:cNvSpPr>
            <p:nvPr/>
          </p:nvSpPr>
          <p:spPr bwMode="gray">
            <a:xfrm>
              <a:off x="8326900" y="2928220"/>
              <a:ext cx="954809" cy="405360"/>
            </a:xfrm>
            <a:custGeom>
              <a:avLst/>
              <a:gdLst/>
              <a:ahLst/>
              <a:cxnLst>
                <a:cxn ang="0">
                  <a:pos x="0" y="139"/>
                </a:cxn>
                <a:cxn ang="0">
                  <a:pos x="34" y="184"/>
                </a:cxn>
                <a:cxn ang="0">
                  <a:pos x="81" y="201"/>
                </a:cxn>
                <a:cxn ang="0">
                  <a:pos x="100" y="296"/>
                </a:cxn>
                <a:cxn ang="0">
                  <a:pos x="247" y="333"/>
                </a:cxn>
                <a:cxn ang="0">
                  <a:pos x="309" y="397"/>
                </a:cxn>
                <a:cxn ang="0">
                  <a:pos x="430" y="393"/>
                </a:cxn>
                <a:cxn ang="0">
                  <a:pos x="567" y="444"/>
                </a:cxn>
                <a:cxn ang="0">
                  <a:pos x="750" y="397"/>
                </a:cxn>
                <a:cxn ang="0">
                  <a:pos x="806" y="360"/>
                </a:cxn>
                <a:cxn ang="0">
                  <a:pos x="806" y="309"/>
                </a:cxn>
                <a:cxn ang="0">
                  <a:pos x="857" y="315"/>
                </a:cxn>
                <a:cxn ang="0">
                  <a:pos x="968" y="241"/>
                </a:cxn>
                <a:cxn ang="0">
                  <a:pos x="1058" y="236"/>
                </a:cxn>
                <a:cxn ang="0">
                  <a:pos x="1015" y="180"/>
                </a:cxn>
                <a:cxn ang="0">
                  <a:pos x="930" y="195"/>
                </a:cxn>
                <a:cxn ang="0">
                  <a:pos x="929" y="132"/>
                </a:cxn>
                <a:cxn ang="0">
                  <a:pos x="951" y="98"/>
                </a:cxn>
                <a:cxn ang="0">
                  <a:pos x="890" y="88"/>
                </a:cxn>
                <a:cxn ang="0">
                  <a:pos x="732" y="126"/>
                </a:cxn>
                <a:cxn ang="0">
                  <a:pos x="593" y="70"/>
                </a:cxn>
                <a:cxn ang="0">
                  <a:pos x="504" y="78"/>
                </a:cxn>
                <a:cxn ang="0">
                  <a:pos x="471" y="32"/>
                </a:cxn>
                <a:cxn ang="0">
                  <a:pos x="383" y="0"/>
                </a:cxn>
                <a:cxn ang="0">
                  <a:pos x="336" y="33"/>
                </a:cxn>
                <a:cxn ang="0">
                  <a:pos x="334" y="96"/>
                </a:cxn>
                <a:cxn ang="0">
                  <a:pos x="133" y="69"/>
                </a:cxn>
                <a:cxn ang="0">
                  <a:pos x="0" y="139"/>
                </a:cxn>
              </a:cxnLst>
              <a:rect l="0" t="0" r="r" b="b"/>
              <a:pathLst>
                <a:path w="1058" h="444">
                  <a:moveTo>
                    <a:pt x="0" y="139"/>
                  </a:moveTo>
                  <a:lnTo>
                    <a:pt x="34" y="184"/>
                  </a:lnTo>
                  <a:lnTo>
                    <a:pt x="81" y="201"/>
                  </a:lnTo>
                  <a:lnTo>
                    <a:pt x="100" y="296"/>
                  </a:lnTo>
                  <a:lnTo>
                    <a:pt x="247" y="333"/>
                  </a:lnTo>
                  <a:lnTo>
                    <a:pt x="309" y="397"/>
                  </a:lnTo>
                  <a:lnTo>
                    <a:pt x="430" y="393"/>
                  </a:lnTo>
                  <a:lnTo>
                    <a:pt x="567" y="444"/>
                  </a:lnTo>
                  <a:lnTo>
                    <a:pt x="750" y="397"/>
                  </a:lnTo>
                  <a:lnTo>
                    <a:pt x="806" y="360"/>
                  </a:lnTo>
                  <a:lnTo>
                    <a:pt x="806" y="309"/>
                  </a:lnTo>
                  <a:lnTo>
                    <a:pt x="857" y="315"/>
                  </a:lnTo>
                  <a:lnTo>
                    <a:pt x="968" y="241"/>
                  </a:lnTo>
                  <a:lnTo>
                    <a:pt x="1058" y="236"/>
                  </a:lnTo>
                  <a:lnTo>
                    <a:pt x="1015" y="180"/>
                  </a:lnTo>
                  <a:lnTo>
                    <a:pt x="930" y="195"/>
                  </a:lnTo>
                  <a:lnTo>
                    <a:pt x="929" y="132"/>
                  </a:lnTo>
                  <a:lnTo>
                    <a:pt x="951" y="98"/>
                  </a:lnTo>
                  <a:lnTo>
                    <a:pt x="890" y="88"/>
                  </a:lnTo>
                  <a:lnTo>
                    <a:pt x="732" y="126"/>
                  </a:lnTo>
                  <a:lnTo>
                    <a:pt x="593" y="70"/>
                  </a:lnTo>
                  <a:lnTo>
                    <a:pt x="504" y="78"/>
                  </a:lnTo>
                  <a:lnTo>
                    <a:pt x="471" y="32"/>
                  </a:lnTo>
                  <a:lnTo>
                    <a:pt x="383" y="0"/>
                  </a:lnTo>
                  <a:lnTo>
                    <a:pt x="336" y="33"/>
                  </a:lnTo>
                  <a:lnTo>
                    <a:pt x="334" y="96"/>
                  </a:lnTo>
                  <a:lnTo>
                    <a:pt x="133" y="69"/>
                  </a:lnTo>
                  <a:lnTo>
                    <a:pt x="0" y="13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8" name="30484345.75472.37516.37514.3755">
              <a:extLst>
                <a:ext uri="{FF2B5EF4-FFF2-40B4-BE49-F238E27FC236}">
                  <a16:creationId xmlns:a16="http://schemas.microsoft.com/office/drawing/2014/main" id="{53B0C8AA-8C72-4342-9A8C-4FBD35B14901}"/>
                </a:ext>
              </a:extLst>
            </p:cNvPr>
            <p:cNvSpPr>
              <a:spLocks noChangeAspect="1"/>
            </p:cNvSpPr>
            <p:nvPr/>
          </p:nvSpPr>
          <p:spPr bwMode="gray">
            <a:xfrm>
              <a:off x="7246559" y="3897049"/>
              <a:ext cx="228241" cy="265756"/>
            </a:xfrm>
            <a:custGeom>
              <a:avLst/>
              <a:gdLst/>
              <a:ahLst/>
              <a:cxnLst>
                <a:cxn ang="0">
                  <a:pos x="0" y="204"/>
                </a:cxn>
                <a:cxn ang="0">
                  <a:pos x="35" y="288"/>
                </a:cxn>
                <a:cxn ang="0">
                  <a:pos x="95" y="275"/>
                </a:cxn>
                <a:cxn ang="0">
                  <a:pos x="191" y="203"/>
                </a:cxn>
                <a:cxn ang="0">
                  <a:pos x="190" y="169"/>
                </a:cxn>
                <a:cxn ang="0">
                  <a:pos x="252" y="105"/>
                </a:cxn>
                <a:cxn ang="0">
                  <a:pos x="256" y="85"/>
                </a:cxn>
                <a:cxn ang="0">
                  <a:pos x="222" y="48"/>
                </a:cxn>
                <a:cxn ang="0">
                  <a:pos x="143" y="0"/>
                </a:cxn>
                <a:cxn ang="0">
                  <a:pos x="123" y="1"/>
                </a:cxn>
                <a:cxn ang="0">
                  <a:pos x="134" y="27"/>
                </a:cxn>
                <a:cxn ang="0">
                  <a:pos x="106" y="77"/>
                </a:cxn>
                <a:cxn ang="0">
                  <a:pos x="123" y="101"/>
                </a:cxn>
                <a:cxn ang="0">
                  <a:pos x="98" y="170"/>
                </a:cxn>
                <a:cxn ang="0">
                  <a:pos x="0" y="204"/>
                </a:cxn>
              </a:cxnLst>
              <a:rect l="0" t="0" r="r" b="b"/>
              <a:pathLst>
                <a:path w="256" h="288">
                  <a:moveTo>
                    <a:pt x="0" y="204"/>
                  </a:moveTo>
                  <a:lnTo>
                    <a:pt x="35" y="288"/>
                  </a:lnTo>
                  <a:lnTo>
                    <a:pt x="95" y="275"/>
                  </a:lnTo>
                  <a:lnTo>
                    <a:pt x="191" y="203"/>
                  </a:lnTo>
                  <a:lnTo>
                    <a:pt x="190" y="169"/>
                  </a:lnTo>
                  <a:lnTo>
                    <a:pt x="252" y="105"/>
                  </a:lnTo>
                  <a:lnTo>
                    <a:pt x="256" y="85"/>
                  </a:lnTo>
                  <a:lnTo>
                    <a:pt x="222" y="48"/>
                  </a:lnTo>
                  <a:lnTo>
                    <a:pt x="143" y="0"/>
                  </a:lnTo>
                  <a:lnTo>
                    <a:pt x="123" y="1"/>
                  </a:lnTo>
                  <a:lnTo>
                    <a:pt x="134" y="27"/>
                  </a:lnTo>
                  <a:lnTo>
                    <a:pt x="106" y="77"/>
                  </a:lnTo>
                  <a:lnTo>
                    <a:pt x="123" y="101"/>
                  </a:lnTo>
                  <a:lnTo>
                    <a:pt x="98" y="170"/>
                  </a:lnTo>
                  <a:lnTo>
                    <a:pt x="0" y="20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09" name="30485335.25525.1257.62515.1255">
              <a:extLst>
                <a:ext uri="{FF2B5EF4-FFF2-40B4-BE49-F238E27FC236}">
                  <a16:creationId xmlns:a16="http://schemas.microsoft.com/office/drawing/2014/main" id="{61242578-2332-4A5C-B3D2-EE34A88DEE76}"/>
                </a:ext>
              </a:extLst>
            </p:cNvPr>
            <p:cNvSpPr>
              <a:spLocks noChangeAspect="1"/>
            </p:cNvSpPr>
            <p:nvPr/>
          </p:nvSpPr>
          <p:spPr bwMode="gray">
            <a:xfrm>
              <a:off x="8092953" y="3728849"/>
              <a:ext cx="239653" cy="124467"/>
            </a:xfrm>
            <a:custGeom>
              <a:avLst/>
              <a:gdLst/>
              <a:ahLst/>
              <a:cxnLst>
                <a:cxn ang="0">
                  <a:pos x="0" y="54"/>
                </a:cxn>
                <a:cxn ang="0">
                  <a:pos x="33" y="0"/>
                </a:cxn>
                <a:cxn ang="0">
                  <a:pos x="139" y="35"/>
                </a:cxn>
                <a:cxn ang="0">
                  <a:pos x="195" y="87"/>
                </a:cxn>
                <a:cxn ang="0">
                  <a:pos x="268" y="87"/>
                </a:cxn>
                <a:cxn ang="0">
                  <a:pos x="264" y="138"/>
                </a:cxn>
                <a:cxn ang="0">
                  <a:pos x="90" y="105"/>
                </a:cxn>
                <a:cxn ang="0">
                  <a:pos x="0" y="54"/>
                </a:cxn>
              </a:cxnLst>
              <a:rect l="0" t="0" r="r" b="b"/>
              <a:pathLst>
                <a:path w="268" h="138">
                  <a:moveTo>
                    <a:pt x="0" y="54"/>
                  </a:moveTo>
                  <a:lnTo>
                    <a:pt x="33" y="0"/>
                  </a:lnTo>
                  <a:lnTo>
                    <a:pt x="139" y="35"/>
                  </a:lnTo>
                  <a:lnTo>
                    <a:pt x="195" y="87"/>
                  </a:lnTo>
                  <a:lnTo>
                    <a:pt x="268" y="87"/>
                  </a:lnTo>
                  <a:lnTo>
                    <a:pt x="264" y="138"/>
                  </a:lnTo>
                  <a:lnTo>
                    <a:pt x="90" y="105"/>
                  </a:lnTo>
                  <a:lnTo>
                    <a:pt x="0" y="5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0" name="30486283.253816.256.8755">
              <a:extLst>
                <a:ext uri="{FF2B5EF4-FFF2-40B4-BE49-F238E27FC236}">
                  <a16:creationId xmlns:a16="http://schemas.microsoft.com/office/drawing/2014/main" id="{B359E22D-6342-44F0-8F17-0EA9136F1C01}"/>
                </a:ext>
              </a:extLst>
            </p:cNvPr>
            <p:cNvSpPr>
              <a:spLocks noChangeAspect="1"/>
            </p:cNvSpPr>
            <p:nvPr/>
          </p:nvSpPr>
          <p:spPr bwMode="gray">
            <a:xfrm>
              <a:off x="5782016" y="2887851"/>
              <a:ext cx="110316" cy="100920"/>
            </a:xfrm>
            <a:custGeom>
              <a:avLst/>
              <a:gdLst/>
              <a:ahLst/>
              <a:cxnLst>
                <a:cxn ang="0">
                  <a:pos x="0" y="84"/>
                </a:cxn>
                <a:cxn ang="0">
                  <a:pos x="47" y="70"/>
                </a:cxn>
                <a:cxn ang="0">
                  <a:pos x="22" y="57"/>
                </a:cxn>
                <a:cxn ang="0">
                  <a:pos x="45" y="18"/>
                </a:cxn>
                <a:cxn ang="0">
                  <a:pos x="63" y="43"/>
                </a:cxn>
                <a:cxn ang="0">
                  <a:pos x="64" y="0"/>
                </a:cxn>
                <a:cxn ang="0">
                  <a:pos x="119" y="0"/>
                </a:cxn>
                <a:cxn ang="0">
                  <a:pos x="114" y="43"/>
                </a:cxn>
                <a:cxn ang="0">
                  <a:pos x="80" y="59"/>
                </a:cxn>
                <a:cxn ang="0">
                  <a:pos x="81" y="112"/>
                </a:cxn>
                <a:cxn ang="0">
                  <a:pos x="48" y="80"/>
                </a:cxn>
                <a:cxn ang="0">
                  <a:pos x="0" y="84"/>
                </a:cxn>
              </a:cxnLst>
              <a:rect l="0" t="0" r="r" b="b"/>
              <a:pathLst>
                <a:path w="119" h="112">
                  <a:moveTo>
                    <a:pt x="0" y="84"/>
                  </a:moveTo>
                  <a:lnTo>
                    <a:pt x="47" y="70"/>
                  </a:lnTo>
                  <a:lnTo>
                    <a:pt x="22" y="57"/>
                  </a:lnTo>
                  <a:lnTo>
                    <a:pt x="45" y="18"/>
                  </a:lnTo>
                  <a:lnTo>
                    <a:pt x="63" y="43"/>
                  </a:lnTo>
                  <a:lnTo>
                    <a:pt x="64" y="0"/>
                  </a:lnTo>
                  <a:lnTo>
                    <a:pt x="119" y="0"/>
                  </a:lnTo>
                  <a:lnTo>
                    <a:pt x="114" y="43"/>
                  </a:lnTo>
                  <a:lnTo>
                    <a:pt x="80" y="59"/>
                  </a:lnTo>
                  <a:lnTo>
                    <a:pt x="81" y="112"/>
                  </a:lnTo>
                  <a:lnTo>
                    <a:pt x="48" y="80"/>
                  </a:lnTo>
                  <a:lnTo>
                    <a:pt x="0" y="8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1" name="3048747468813.62514.55">
              <a:extLst>
                <a:ext uri="{FF2B5EF4-FFF2-40B4-BE49-F238E27FC236}">
                  <a16:creationId xmlns:a16="http://schemas.microsoft.com/office/drawing/2014/main" id="{D6CB2F3A-33AF-415D-919B-D19AC56F6974}"/>
                </a:ext>
              </a:extLst>
            </p:cNvPr>
            <p:cNvSpPr>
              <a:spLocks noChangeAspect="1"/>
            </p:cNvSpPr>
            <p:nvPr/>
          </p:nvSpPr>
          <p:spPr bwMode="gray">
            <a:xfrm>
              <a:off x="10702504" y="5975990"/>
              <a:ext cx="232046" cy="220341"/>
            </a:xfrm>
            <a:custGeom>
              <a:avLst/>
              <a:gdLst/>
              <a:ahLst/>
              <a:cxnLst>
                <a:cxn ang="0">
                  <a:pos x="0" y="212"/>
                </a:cxn>
                <a:cxn ang="0">
                  <a:pos x="54" y="138"/>
                </a:cxn>
                <a:cxn ang="0">
                  <a:pos x="147" y="83"/>
                </a:cxn>
                <a:cxn ang="0">
                  <a:pos x="194" y="0"/>
                </a:cxn>
                <a:cxn ang="0">
                  <a:pos x="223" y="25"/>
                </a:cxn>
                <a:cxn ang="0">
                  <a:pos x="254" y="14"/>
                </a:cxn>
                <a:cxn ang="0">
                  <a:pos x="257" y="43"/>
                </a:cxn>
                <a:cxn ang="0">
                  <a:pos x="209" y="101"/>
                </a:cxn>
                <a:cxn ang="0">
                  <a:pos x="220" y="127"/>
                </a:cxn>
                <a:cxn ang="0">
                  <a:pos x="165" y="137"/>
                </a:cxn>
                <a:cxn ang="0">
                  <a:pos x="139" y="218"/>
                </a:cxn>
                <a:cxn ang="0">
                  <a:pos x="83" y="243"/>
                </a:cxn>
                <a:cxn ang="0">
                  <a:pos x="0" y="212"/>
                </a:cxn>
              </a:cxnLst>
              <a:rect l="0" t="0" r="r" b="b"/>
              <a:pathLst>
                <a:path w="257" h="243">
                  <a:moveTo>
                    <a:pt x="0" y="212"/>
                  </a:moveTo>
                  <a:lnTo>
                    <a:pt x="54" y="138"/>
                  </a:lnTo>
                  <a:lnTo>
                    <a:pt x="147" y="83"/>
                  </a:lnTo>
                  <a:lnTo>
                    <a:pt x="194" y="0"/>
                  </a:lnTo>
                  <a:lnTo>
                    <a:pt x="223" y="25"/>
                  </a:lnTo>
                  <a:lnTo>
                    <a:pt x="254" y="14"/>
                  </a:lnTo>
                  <a:lnTo>
                    <a:pt x="257" y="43"/>
                  </a:lnTo>
                  <a:lnTo>
                    <a:pt x="209" y="101"/>
                  </a:lnTo>
                  <a:lnTo>
                    <a:pt x="220" y="127"/>
                  </a:lnTo>
                  <a:lnTo>
                    <a:pt x="165" y="137"/>
                  </a:lnTo>
                  <a:lnTo>
                    <a:pt x="139" y="218"/>
                  </a:lnTo>
                  <a:lnTo>
                    <a:pt x="83" y="243"/>
                  </a:lnTo>
                  <a:lnTo>
                    <a:pt x="0" y="21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2" name="30488460.625699.515115">
              <a:extLst>
                <a:ext uri="{FF2B5EF4-FFF2-40B4-BE49-F238E27FC236}">
                  <a16:creationId xmlns:a16="http://schemas.microsoft.com/office/drawing/2014/main" id="{8FAF23DB-BF8D-48D4-9CDC-FFCD57EC2AFD}"/>
                </a:ext>
              </a:extLst>
            </p:cNvPr>
            <p:cNvSpPr>
              <a:spLocks noChangeAspect="1"/>
            </p:cNvSpPr>
            <p:nvPr/>
          </p:nvSpPr>
          <p:spPr bwMode="gray">
            <a:xfrm>
              <a:off x="10887001" y="5759013"/>
              <a:ext cx="176887" cy="243889"/>
            </a:xfrm>
            <a:custGeom>
              <a:avLst/>
              <a:gdLst/>
              <a:ahLst/>
              <a:cxnLst>
                <a:cxn ang="0">
                  <a:pos x="0" y="0"/>
                </a:cxn>
                <a:cxn ang="0">
                  <a:pos x="53" y="30"/>
                </a:cxn>
                <a:cxn ang="0">
                  <a:pos x="67" y="89"/>
                </a:cxn>
                <a:cxn ang="0">
                  <a:pos x="90" y="105"/>
                </a:cxn>
                <a:cxn ang="0">
                  <a:pos x="104" y="81"/>
                </a:cxn>
                <a:cxn ang="0">
                  <a:pos x="115" y="121"/>
                </a:cxn>
                <a:cxn ang="0">
                  <a:pos x="193" y="121"/>
                </a:cxn>
                <a:cxn ang="0">
                  <a:pos x="177" y="180"/>
                </a:cxn>
                <a:cxn ang="0">
                  <a:pos x="138" y="188"/>
                </a:cxn>
                <a:cxn ang="0">
                  <a:pos x="105" y="265"/>
                </a:cxn>
                <a:cxn ang="0">
                  <a:pos x="68" y="266"/>
                </a:cxn>
                <a:cxn ang="0">
                  <a:pos x="85" y="239"/>
                </a:cxn>
                <a:cxn ang="0">
                  <a:pos x="37" y="184"/>
                </a:cxn>
                <a:cxn ang="0">
                  <a:pos x="75" y="136"/>
                </a:cxn>
                <a:cxn ang="0">
                  <a:pos x="68" y="96"/>
                </a:cxn>
                <a:cxn ang="0">
                  <a:pos x="0" y="0"/>
                </a:cxn>
              </a:cxnLst>
              <a:rect l="0" t="0" r="r" b="b"/>
              <a:pathLst>
                <a:path w="193" h="266">
                  <a:moveTo>
                    <a:pt x="0" y="0"/>
                  </a:moveTo>
                  <a:lnTo>
                    <a:pt x="53" y="30"/>
                  </a:lnTo>
                  <a:lnTo>
                    <a:pt x="67" y="89"/>
                  </a:lnTo>
                  <a:lnTo>
                    <a:pt x="90" y="105"/>
                  </a:lnTo>
                  <a:lnTo>
                    <a:pt x="104" y="81"/>
                  </a:lnTo>
                  <a:lnTo>
                    <a:pt x="115" y="121"/>
                  </a:lnTo>
                  <a:lnTo>
                    <a:pt x="193" y="121"/>
                  </a:lnTo>
                  <a:lnTo>
                    <a:pt x="177" y="180"/>
                  </a:lnTo>
                  <a:lnTo>
                    <a:pt x="138" y="188"/>
                  </a:lnTo>
                  <a:lnTo>
                    <a:pt x="105" y="265"/>
                  </a:lnTo>
                  <a:lnTo>
                    <a:pt x="68" y="266"/>
                  </a:lnTo>
                  <a:lnTo>
                    <a:pt x="85" y="239"/>
                  </a:lnTo>
                  <a:lnTo>
                    <a:pt x="37" y="184"/>
                  </a:lnTo>
                  <a:lnTo>
                    <a:pt x="75" y="136"/>
                  </a:lnTo>
                  <a:lnTo>
                    <a:pt x="68" y="96"/>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3" name="30490231.125383.87539.12548.755">
              <a:extLst>
                <a:ext uri="{FF2B5EF4-FFF2-40B4-BE49-F238E27FC236}">
                  <a16:creationId xmlns:a16="http://schemas.microsoft.com/office/drawing/2014/main" id="{BCD0D778-E2BA-4567-9505-187331BA7B15}"/>
                </a:ext>
              </a:extLst>
            </p:cNvPr>
            <p:cNvSpPr>
              <a:spLocks noChangeAspect="1"/>
            </p:cNvSpPr>
            <p:nvPr/>
          </p:nvSpPr>
          <p:spPr bwMode="gray">
            <a:xfrm>
              <a:off x="5825761" y="2043493"/>
              <a:ext cx="781724" cy="632428"/>
            </a:xfrm>
            <a:custGeom>
              <a:avLst/>
              <a:gdLst/>
              <a:ahLst/>
              <a:cxnLst>
                <a:cxn ang="0">
                  <a:pos x="3" y="548"/>
                </a:cxn>
                <a:cxn ang="0">
                  <a:pos x="84" y="539"/>
                </a:cxn>
                <a:cxn ang="0">
                  <a:pos x="22" y="571"/>
                </a:cxn>
                <a:cxn ang="0">
                  <a:pos x="69" y="577"/>
                </a:cxn>
                <a:cxn ang="0">
                  <a:pos x="43" y="629"/>
                </a:cxn>
                <a:cxn ang="0">
                  <a:pos x="105" y="693"/>
                </a:cxn>
                <a:cxn ang="0">
                  <a:pos x="184" y="610"/>
                </a:cxn>
                <a:cxn ang="0">
                  <a:pos x="244" y="600"/>
                </a:cxn>
                <a:cxn ang="0">
                  <a:pos x="255" y="537"/>
                </a:cxn>
                <a:cxn ang="0">
                  <a:pos x="239" y="417"/>
                </a:cxn>
                <a:cxn ang="0">
                  <a:pos x="289" y="363"/>
                </a:cxn>
                <a:cxn ang="0">
                  <a:pos x="374" y="233"/>
                </a:cxn>
                <a:cxn ang="0">
                  <a:pos x="428" y="179"/>
                </a:cxn>
                <a:cxn ang="0">
                  <a:pos x="502" y="157"/>
                </a:cxn>
                <a:cxn ang="0">
                  <a:pos x="518" y="120"/>
                </a:cxn>
                <a:cxn ang="0">
                  <a:pos x="580" y="136"/>
                </a:cxn>
                <a:cxn ang="0">
                  <a:pos x="690" y="121"/>
                </a:cxn>
                <a:cxn ang="0">
                  <a:pos x="767" y="63"/>
                </a:cxn>
                <a:cxn ang="0">
                  <a:pos x="799" y="120"/>
                </a:cxn>
                <a:cxn ang="0">
                  <a:pos x="819" y="83"/>
                </a:cxn>
                <a:cxn ang="0">
                  <a:pos x="788" y="59"/>
                </a:cxn>
                <a:cxn ang="0">
                  <a:pos x="803" y="13"/>
                </a:cxn>
                <a:cxn ang="0">
                  <a:pos x="784" y="4"/>
                </a:cxn>
                <a:cxn ang="0">
                  <a:pos x="731" y="39"/>
                </a:cxn>
                <a:cxn ang="0">
                  <a:pos x="720" y="8"/>
                </a:cxn>
                <a:cxn ang="0">
                  <a:pos x="694" y="14"/>
                </a:cxn>
                <a:cxn ang="0">
                  <a:pos x="606" y="66"/>
                </a:cxn>
                <a:cxn ang="0">
                  <a:pos x="565" y="81"/>
                </a:cxn>
                <a:cxn ang="0">
                  <a:pos x="503" y="105"/>
                </a:cxn>
                <a:cxn ang="0">
                  <a:pos x="487" y="99"/>
                </a:cxn>
                <a:cxn ang="0">
                  <a:pos x="481" y="109"/>
                </a:cxn>
                <a:cxn ang="0">
                  <a:pos x="424" y="138"/>
                </a:cxn>
                <a:cxn ang="0">
                  <a:pos x="421" y="156"/>
                </a:cxn>
                <a:cxn ang="0">
                  <a:pos x="340" y="205"/>
                </a:cxn>
                <a:cxn ang="0">
                  <a:pos x="277" y="253"/>
                </a:cxn>
                <a:cxn ang="0">
                  <a:pos x="154" y="405"/>
                </a:cxn>
                <a:cxn ang="0">
                  <a:pos x="211" y="410"/>
                </a:cxn>
                <a:cxn ang="0">
                  <a:pos x="69" y="458"/>
                </a:cxn>
                <a:cxn ang="0">
                  <a:pos x="46" y="473"/>
                </a:cxn>
                <a:cxn ang="0">
                  <a:pos x="4" y="495"/>
                </a:cxn>
                <a:cxn ang="0">
                  <a:pos x="0" y="519"/>
                </a:cxn>
              </a:cxnLst>
              <a:rect l="0" t="0" r="r" b="b"/>
              <a:pathLst>
                <a:path w="863" h="693">
                  <a:moveTo>
                    <a:pt x="0" y="519"/>
                  </a:moveTo>
                  <a:lnTo>
                    <a:pt x="3" y="548"/>
                  </a:lnTo>
                  <a:lnTo>
                    <a:pt x="81" y="528"/>
                  </a:lnTo>
                  <a:lnTo>
                    <a:pt x="84" y="539"/>
                  </a:lnTo>
                  <a:lnTo>
                    <a:pt x="2" y="560"/>
                  </a:lnTo>
                  <a:lnTo>
                    <a:pt x="22" y="571"/>
                  </a:lnTo>
                  <a:lnTo>
                    <a:pt x="14" y="608"/>
                  </a:lnTo>
                  <a:lnTo>
                    <a:pt x="69" y="577"/>
                  </a:lnTo>
                  <a:lnTo>
                    <a:pt x="9" y="629"/>
                  </a:lnTo>
                  <a:lnTo>
                    <a:pt x="43" y="629"/>
                  </a:lnTo>
                  <a:lnTo>
                    <a:pt x="22" y="674"/>
                  </a:lnTo>
                  <a:lnTo>
                    <a:pt x="105" y="693"/>
                  </a:lnTo>
                  <a:lnTo>
                    <a:pt x="171" y="649"/>
                  </a:lnTo>
                  <a:lnTo>
                    <a:pt x="184" y="610"/>
                  </a:lnTo>
                  <a:lnTo>
                    <a:pt x="205" y="649"/>
                  </a:lnTo>
                  <a:lnTo>
                    <a:pt x="244" y="600"/>
                  </a:lnTo>
                  <a:lnTo>
                    <a:pt x="237" y="556"/>
                  </a:lnTo>
                  <a:lnTo>
                    <a:pt x="255" y="537"/>
                  </a:lnTo>
                  <a:lnTo>
                    <a:pt x="237" y="516"/>
                  </a:lnTo>
                  <a:lnTo>
                    <a:pt x="239" y="417"/>
                  </a:lnTo>
                  <a:lnTo>
                    <a:pt x="301" y="394"/>
                  </a:lnTo>
                  <a:lnTo>
                    <a:pt x="289" y="363"/>
                  </a:lnTo>
                  <a:lnTo>
                    <a:pt x="316" y="288"/>
                  </a:lnTo>
                  <a:lnTo>
                    <a:pt x="374" y="233"/>
                  </a:lnTo>
                  <a:lnTo>
                    <a:pt x="386" y="187"/>
                  </a:lnTo>
                  <a:lnTo>
                    <a:pt x="428" y="179"/>
                  </a:lnTo>
                  <a:lnTo>
                    <a:pt x="440" y="150"/>
                  </a:lnTo>
                  <a:lnTo>
                    <a:pt x="502" y="157"/>
                  </a:lnTo>
                  <a:lnTo>
                    <a:pt x="503" y="120"/>
                  </a:lnTo>
                  <a:lnTo>
                    <a:pt x="518" y="120"/>
                  </a:lnTo>
                  <a:lnTo>
                    <a:pt x="542" y="103"/>
                  </a:lnTo>
                  <a:lnTo>
                    <a:pt x="580" y="136"/>
                  </a:lnTo>
                  <a:lnTo>
                    <a:pt x="650" y="142"/>
                  </a:lnTo>
                  <a:lnTo>
                    <a:pt x="690" y="121"/>
                  </a:lnTo>
                  <a:lnTo>
                    <a:pt x="701" y="76"/>
                  </a:lnTo>
                  <a:lnTo>
                    <a:pt x="767" y="63"/>
                  </a:lnTo>
                  <a:lnTo>
                    <a:pt x="803" y="81"/>
                  </a:lnTo>
                  <a:lnTo>
                    <a:pt x="799" y="120"/>
                  </a:lnTo>
                  <a:lnTo>
                    <a:pt x="861" y="76"/>
                  </a:lnTo>
                  <a:lnTo>
                    <a:pt x="819" y="83"/>
                  </a:lnTo>
                  <a:lnTo>
                    <a:pt x="830" y="72"/>
                  </a:lnTo>
                  <a:lnTo>
                    <a:pt x="788" y="59"/>
                  </a:lnTo>
                  <a:lnTo>
                    <a:pt x="863" y="39"/>
                  </a:lnTo>
                  <a:lnTo>
                    <a:pt x="803" y="13"/>
                  </a:lnTo>
                  <a:lnTo>
                    <a:pt x="763" y="39"/>
                  </a:lnTo>
                  <a:lnTo>
                    <a:pt x="784" y="4"/>
                  </a:lnTo>
                  <a:lnTo>
                    <a:pt x="752" y="0"/>
                  </a:lnTo>
                  <a:lnTo>
                    <a:pt x="731" y="39"/>
                  </a:lnTo>
                  <a:lnTo>
                    <a:pt x="720" y="41"/>
                  </a:lnTo>
                  <a:lnTo>
                    <a:pt x="720" y="8"/>
                  </a:lnTo>
                  <a:lnTo>
                    <a:pt x="665" y="63"/>
                  </a:lnTo>
                  <a:lnTo>
                    <a:pt x="694" y="14"/>
                  </a:lnTo>
                  <a:lnTo>
                    <a:pt x="665" y="6"/>
                  </a:lnTo>
                  <a:lnTo>
                    <a:pt x="606" y="66"/>
                  </a:lnTo>
                  <a:lnTo>
                    <a:pt x="550" y="47"/>
                  </a:lnTo>
                  <a:lnTo>
                    <a:pt x="565" y="81"/>
                  </a:lnTo>
                  <a:lnTo>
                    <a:pt x="542" y="63"/>
                  </a:lnTo>
                  <a:lnTo>
                    <a:pt x="503" y="105"/>
                  </a:lnTo>
                  <a:lnTo>
                    <a:pt x="507" y="70"/>
                  </a:lnTo>
                  <a:lnTo>
                    <a:pt x="487" y="99"/>
                  </a:lnTo>
                  <a:lnTo>
                    <a:pt x="469" y="79"/>
                  </a:lnTo>
                  <a:lnTo>
                    <a:pt x="481" y="109"/>
                  </a:lnTo>
                  <a:lnTo>
                    <a:pt x="436" y="96"/>
                  </a:lnTo>
                  <a:lnTo>
                    <a:pt x="424" y="138"/>
                  </a:lnTo>
                  <a:lnTo>
                    <a:pt x="382" y="153"/>
                  </a:lnTo>
                  <a:lnTo>
                    <a:pt x="421" y="156"/>
                  </a:lnTo>
                  <a:lnTo>
                    <a:pt x="352" y="176"/>
                  </a:lnTo>
                  <a:lnTo>
                    <a:pt x="340" y="205"/>
                  </a:lnTo>
                  <a:lnTo>
                    <a:pt x="360" y="205"/>
                  </a:lnTo>
                  <a:lnTo>
                    <a:pt x="277" y="253"/>
                  </a:lnTo>
                  <a:lnTo>
                    <a:pt x="245" y="336"/>
                  </a:lnTo>
                  <a:lnTo>
                    <a:pt x="154" y="405"/>
                  </a:lnTo>
                  <a:lnTo>
                    <a:pt x="171" y="422"/>
                  </a:lnTo>
                  <a:lnTo>
                    <a:pt x="211" y="410"/>
                  </a:lnTo>
                  <a:lnTo>
                    <a:pt x="118" y="431"/>
                  </a:lnTo>
                  <a:lnTo>
                    <a:pt x="69" y="458"/>
                  </a:lnTo>
                  <a:lnTo>
                    <a:pt x="81" y="473"/>
                  </a:lnTo>
                  <a:lnTo>
                    <a:pt x="46" y="473"/>
                  </a:lnTo>
                  <a:lnTo>
                    <a:pt x="48" y="495"/>
                  </a:lnTo>
                  <a:lnTo>
                    <a:pt x="4" y="495"/>
                  </a:lnTo>
                  <a:lnTo>
                    <a:pt x="46" y="506"/>
                  </a:lnTo>
                  <a:lnTo>
                    <a:pt x="0" y="51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4" name="30492398.25640.2514.62518.6255">
              <a:extLst>
                <a:ext uri="{FF2B5EF4-FFF2-40B4-BE49-F238E27FC236}">
                  <a16:creationId xmlns:a16="http://schemas.microsoft.com/office/drawing/2014/main" id="{1EBAD236-1A00-4830-B45E-8F1103EDDBC1}"/>
                </a:ext>
              </a:extLst>
            </p:cNvPr>
            <p:cNvSpPr>
              <a:spLocks noChangeAspect="1"/>
            </p:cNvSpPr>
            <p:nvPr/>
          </p:nvSpPr>
          <p:spPr bwMode="gray">
            <a:xfrm>
              <a:off x="9937897" y="4748138"/>
              <a:ext cx="296713" cy="237163"/>
            </a:xfrm>
            <a:custGeom>
              <a:avLst/>
              <a:gdLst/>
              <a:ahLst/>
              <a:cxnLst>
                <a:cxn ang="0">
                  <a:pos x="0" y="0"/>
                </a:cxn>
                <a:cxn ang="0">
                  <a:pos x="5" y="216"/>
                </a:cxn>
                <a:cxn ang="0">
                  <a:pos x="59" y="223"/>
                </a:cxn>
                <a:cxn ang="0">
                  <a:pos x="112" y="164"/>
                </a:cxn>
                <a:cxn ang="0">
                  <a:pos x="171" y="190"/>
                </a:cxn>
                <a:cxn ang="0">
                  <a:pos x="226" y="248"/>
                </a:cxn>
                <a:cxn ang="0">
                  <a:pos x="331" y="259"/>
                </a:cxn>
                <a:cxn ang="0">
                  <a:pos x="211" y="162"/>
                </a:cxn>
                <a:cxn ang="0">
                  <a:pos x="220" y="116"/>
                </a:cxn>
                <a:cxn ang="0">
                  <a:pos x="163" y="99"/>
                </a:cxn>
                <a:cxn ang="0">
                  <a:pos x="111" y="40"/>
                </a:cxn>
                <a:cxn ang="0">
                  <a:pos x="0" y="0"/>
                </a:cxn>
              </a:cxnLst>
              <a:rect l="0" t="0" r="r" b="b"/>
              <a:pathLst>
                <a:path w="331" h="259">
                  <a:moveTo>
                    <a:pt x="0" y="0"/>
                  </a:moveTo>
                  <a:lnTo>
                    <a:pt x="5" y="216"/>
                  </a:lnTo>
                  <a:lnTo>
                    <a:pt x="59" y="223"/>
                  </a:lnTo>
                  <a:lnTo>
                    <a:pt x="112" y="164"/>
                  </a:lnTo>
                  <a:lnTo>
                    <a:pt x="171" y="190"/>
                  </a:lnTo>
                  <a:lnTo>
                    <a:pt x="226" y="248"/>
                  </a:lnTo>
                  <a:lnTo>
                    <a:pt x="331" y="259"/>
                  </a:lnTo>
                  <a:lnTo>
                    <a:pt x="211" y="162"/>
                  </a:lnTo>
                  <a:lnTo>
                    <a:pt x="220" y="116"/>
                  </a:lnTo>
                  <a:lnTo>
                    <a:pt x="163" y="99"/>
                  </a:lnTo>
                  <a:lnTo>
                    <a:pt x="111" y="4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5" name="30493401.375653.8753.757.755">
              <a:extLst>
                <a:ext uri="{FF2B5EF4-FFF2-40B4-BE49-F238E27FC236}">
                  <a16:creationId xmlns:a16="http://schemas.microsoft.com/office/drawing/2014/main" id="{F7DACC3F-C05C-465C-AA2E-DDB08D3FBEB6}"/>
                </a:ext>
              </a:extLst>
            </p:cNvPr>
            <p:cNvSpPr>
              <a:spLocks noChangeAspect="1"/>
            </p:cNvSpPr>
            <p:nvPr/>
          </p:nvSpPr>
          <p:spPr bwMode="gray">
            <a:xfrm>
              <a:off x="10156632" y="4798598"/>
              <a:ext cx="123631" cy="62235"/>
            </a:xfrm>
            <a:custGeom>
              <a:avLst/>
              <a:gdLst/>
              <a:ahLst/>
              <a:cxnLst>
                <a:cxn ang="0">
                  <a:pos x="0" y="44"/>
                </a:cxn>
                <a:cxn ang="0">
                  <a:pos x="81" y="67"/>
                </a:cxn>
                <a:cxn ang="0">
                  <a:pos x="137" y="21"/>
                </a:cxn>
                <a:cxn ang="0">
                  <a:pos x="115" y="0"/>
                </a:cxn>
                <a:cxn ang="0">
                  <a:pos x="97" y="26"/>
                </a:cxn>
                <a:cxn ang="0">
                  <a:pos x="0" y="44"/>
                </a:cxn>
              </a:cxnLst>
              <a:rect l="0" t="0" r="r" b="b"/>
              <a:pathLst>
                <a:path w="137" h="67">
                  <a:moveTo>
                    <a:pt x="0" y="44"/>
                  </a:moveTo>
                  <a:lnTo>
                    <a:pt x="81" y="67"/>
                  </a:lnTo>
                  <a:lnTo>
                    <a:pt x="137" y="21"/>
                  </a:lnTo>
                  <a:lnTo>
                    <a:pt x="115" y="0"/>
                  </a:lnTo>
                  <a:lnTo>
                    <a:pt x="97" y="26"/>
                  </a:lnTo>
                  <a:lnTo>
                    <a:pt x="0" y="4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6" name="30494398.5658.6253.754.1255">
              <a:extLst>
                <a:ext uri="{FF2B5EF4-FFF2-40B4-BE49-F238E27FC236}">
                  <a16:creationId xmlns:a16="http://schemas.microsoft.com/office/drawing/2014/main" id="{38AAF279-EE1D-4B05-94A1-3B2BF2FC054D}"/>
                </a:ext>
              </a:extLst>
            </p:cNvPr>
            <p:cNvSpPr>
              <a:spLocks noChangeAspect="1"/>
            </p:cNvSpPr>
            <p:nvPr/>
          </p:nvSpPr>
          <p:spPr bwMode="gray">
            <a:xfrm>
              <a:off x="10232709" y="4753183"/>
              <a:ext cx="64667" cy="60551"/>
            </a:xfrm>
            <a:custGeom>
              <a:avLst/>
              <a:gdLst/>
              <a:ahLst/>
              <a:cxnLst>
                <a:cxn ang="0">
                  <a:pos x="0" y="0"/>
                </a:cxn>
                <a:cxn ang="0">
                  <a:pos x="55" y="30"/>
                </a:cxn>
                <a:cxn ang="0">
                  <a:pos x="73" y="66"/>
                </a:cxn>
                <a:cxn ang="0">
                  <a:pos x="72" y="40"/>
                </a:cxn>
                <a:cxn ang="0">
                  <a:pos x="0" y="0"/>
                </a:cxn>
              </a:cxnLst>
              <a:rect l="0" t="0" r="r" b="b"/>
              <a:pathLst>
                <a:path w="73" h="66">
                  <a:moveTo>
                    <a:pt x="0" y="0"/>
                  </a:moveTo>
                  <a:lnTo>
                    <a:pt x="55" y="30"/>
                  </a:lnTo>
                  <a:lnTo>
                    <a:pt x="73" y="66"/>
                  </a:lnTo>
                  <a:lnTo>
                    <a:pt x="72" y="4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7" name="30497310.37535710.565">
              <a:extLst>
                <a:ext uri="{FF2B5EF4-FFF2-40B4-BE49-F238E27FC236}">
                  <a16:creationId xmlns:a16="http://schemas.microsoft.com/office/drawing/2014/main" id="{493D9783-EACD-4E8D-B781-FA174AA3F4B6}"/>
                </a:ext>
              </a:extLst>
            </p:cNvPr>
            <p:cNvSpPr>
              <a:spLocks noChangeAspect="1"/>
            </p:cNvSpPr>
            <p:nvPr/>
          </p:nvSpPr>
          <p:spPr bwMode="gray">
            <a:xfrm>
              <a:off x="5395906" y="3323489"/>
              <a:ext cx="98904" cy="173246"/>
            </a:xfrm>
            <a:custGeom>
              <a:avLst/>
              <a:gdLst/>
              <a:ahLst/>
              <a:cxnLst>
                <a:cxn ang="0">
                  <a:pos x="0" y="121"/>
                </a:cxn>
                <a:cxn ang="0">
                  <a:pos x="18" y="0"/>
                </a:cxn>
                <a:cxn ang="0">
                  <a:pos x="104" y="8"/>
                </a:cxn>
                <a:cxn ang="0">
                  <a:pos x="66" y="85"/>
                </a:cxn>
                <a:cxn ang="0">
                  <a:pos x="66" y="180"/>
                </a:cxn>
                <a:cxn ang="0">
                  <a:pos x="15" y="185"/>
                </a:cxn>
                <a:cxn ang="0">
                  <a:pos x="22" y="127"/>
                </a:cxn>
                <a:cxn ang="0">
                  <a:pos x="0" y="121"/>
                </a:cxn>
              </a:cxnLst>
              <a:rect l="0" t="0" r="r" b="b"/>
              <a:pathLst>
                <a:path w="104" h="185">
                  <a:moveTo>
                    <a:pt x="0" y="121"/>
                  </a:moveTo>
                  <a:lnTo>
                    <a:pt x="18" y="0"/>
                  </a:lnTo>
                  <a:lnTo>
                    <a:pt x="104" y="8"/>
                  </a:lnTo>
                  <a:lnTo>
                    <a:pt x="66" y="85"/>
                  </a:lnTo>
                  <a:lnTo>
                    <a:pt x="66" y="180"/>
                  </a:lnTo>
                  <a:lnTo>
                    <a:pt x="15" y="185"/>
                  </a:lnTo>
                  <a:lnTo>
                    <a:pt x="22" y="127"/>
                  </a:lnTo>
                  <a:lnTo>
                    <a:pt x="0" y="12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8" name="30498331.125439.62532.87539.6255">
              <a:extLst>
                <a:ext uri="{FF2B5EF4-FFF2-40B4-BE49-F238E27FC236}">
                  <a16:creationId xmlns:a16="http://schemas.microsoft.com/office/drawing/2014/main" id="{6069AA5C-A204-4EF6-94D2-60CA9D82CF26}"/>
                </a:ext>
              </a:extLst>
            </p:cNvPr>
            <p:cNvSpPr>
              <a:spLocks noChangeAspect="1"/>
            </p:cNvSpPr>
            <p:nvPr/>
          </p:nvSpPr>
          <p:spPr bwMode="gray">
            <a:xfrm>
              <a:off x="6721605" y="3663252"/>
              <a:ext cx="633369" cy="531511"/>
            </a:xfrm>
            <a:custGeom>
              <a:avLst/>
              <a:gdLst/>
              <a:ahLst/>
              <a:cxnLst>
                <a:cxn ang="0">
                  <a:pos x="0" y="153"/>
                </a:cxn>
                <a:cxn ang="0">
                  <a:pos x="10" y="102"/>
                </a:cxn>
                <a:cxn ang="0">
                  <a:pos x="47" y="113"/>
                </a:cxn>
                <a:cxn ang="0">
                  <a:pos x="92" y="81"/>
                </a:cxn>
                <a:cxn ang="0">
                  <a:pos x="112" y="59"/>
                </a:cxn>
                <a:cxn ang="0">
                  <a:pos x="75" y="25"/>
                </a:cxn>
                <a:cxn ang="0">
                  <a:pos x="150" y="0"/>
                </a:cxn>
                <a:cxn ang="0">
                  <a:pos x="300" y="67"/>
                </a:cxn>
                <a:cxn ang="0">
                  <a:pos x="301" y="92"/>
                </a:cxn>
                <a:cxn ang="0">
                  <a:pos x="337" y="108"/>
                </a:cxn>
                <a:cxn ang="0">
                  <a:pos x="369" y="125"/>
                </a:cxn>
                <a:cxn ang="0">
                  <a:pos x="398" y="113"/>
                </a:cxn>
                <a:cxn ang="0">
                  <a:pos x="458" y="132"/>
                </a:cxn>
                <a:cxn ang="0">
                  <a:pos x="539" y="265"/>
                </a:cxn>
                <a:cxn ang="0">
                  <a:pos x="549" y="275"/>
                </a:cxn>
                <a:cxn ang="0">
                  <a:pos x="580" y="327"/>
                </a:cxn>
                <a:cxn ang="0">
                  <a:pos x="686" y="340"/>
                </a:cxn>
                <a:cxn ang="0">
                  <a:pos x="703" y="364"/>
                </a:cxn>
                <a:cxn ang="0">
                  <a:pos x="678" y="433"/>
                </a:cxn>
                <a:cxn ang="0">
                  <a:pos x="580" y="467"/>
                </a:cxn>
                <a:cxn ang="0">
                  <a:pos x="473" y="491"/>
                </a:cxn>
                <a:cxn ang="0">
                  <a:pos x="388" y="584"/>
                </a:cxn>
                <a:cxn ang="0">
                  <a:pos x="388" y="549"/>
                </a:cxn>
                <a:cxn ang="0">
                  <a:pos x="327" y="525"/>
                </a:cxn>
                <a:cxn ang="0">
                  <a:pos x="267" y="557"/>
                </a:cxn>
                <a:cxn ang="0">
                  <a:pos x="207" y="451"/>
                </a:cxn>
                <a:cxn ang="0">
                  <a:pos x="157" y="410"/>
                </a:cxn>
                <a:cxn ang="0">
                  <a:pos x="125" y="300"/>
                </a:cxn>
                <a:cxn ang="0">
                  <a:pos x="0" y="153"/>
                </a:cxn>
              </a:cxnLst>
              <a:rect l="0" t="0" r="r" b="b"/>
              <a:pathLst>
                <a:path w="703" h="584">
                  <a:moveTo>
                    <a:pt x="0" y="153"/>
                  </a:moveTo>
                  <a:lnTo>
                    <a:pt x="10" y="102"/>
                  </a:lnTo>
                  <a:lnTo>
                    <a:pt x="47" y="113"/>
                  </a:lnTo>
                  <a:lnTo>
                    <a:pt x="92" y="81"/>
                  </a:lnTo>
                  <a:lnTo>
                    <a:pt x="112" y="59"/>
                  </a:lnTo>
                  <a:lnTo>
                    <a:pt x="75" y="25"/>
                  </a:lnTo>
                  <a:lnTo>
                    <a:pt x="150" y="0"/>
                  </a:lnTo>
                  <a:lnTo>
                    <a:pt x="300" y="67"/>
                  </a:lnTo>
                  <a:lnTo>
                    <a:pt x="301" y="92"/>
                  </a:lnTo>
                  <a:lnTo>
                    <a:pt x="337" y="108"/>
                  </a:lnTo>
                  <a:lnTo>
                    <a:pt x="369" y="125"/>
                  </a:lnTo>
                  <a:lnTo>
                    <a:pt x="398" y="113"/>
                  </a:lnTo>
                  <a:lnTo>
                    <a:pt x="458" y="132"/>
                  </a:lnTo>
                  <a:lnTo>
                    <a:pt x="539" y="265"/>
                  </a:lnTo>
                  <a:lnTo>
                    <a:pt x="549" y="275"/>
                  </a:lnTo>
                  <a:lnTo>
                    <a:pt x="580" y="327"/>
                  </a:lnTo>
                  <a:lnTo>
                    <a:pt x="686" y="340"/>
                  </a:lnTo>
                  <a:lnTo>
                    <a:pt x="703" y="364"/>
                  </a:lnTo>
                  <a:lnTo>
                    <a:pt x="678" y="433"/>
                  </a:lnTo>
                  <a:lnTo>
                    <a:pt x="580" y="467"/>
                  </a:lnTo>
                  <a:lnTo>
                    <a:pt x="473" y="491"/>
                  </a:lnTo>
                  <a:lnTo>
                    <a:pt x="388" y="584"/>
                  </a:lnTo>
                  <a:lnTo>
                    <a:pt x="388" y="549"/>
                  </a:lnTo>
                  <a:lnTo>
                    <a:pt x="327" y="525"/>
                  </a:lnTo>
                  <a:lnTo>
                    <a:pt x="267" y="557"/>
                  </a:lnTo>
                  <a:lnTo>
                    <a:pt x="207" y="451"/>
                  </a:lnTo>
                  <a:lnTo>
                    <a:pt x="157" y="410"/>
                  </a:lnTo>
                  <a:lnTo>
                    <a:pt x="125" y="300"/>
                  </a:lnTo>
                  <a:lnTo>
                    <a:pt x="0" y="15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19" name="30499206.625411.25103.25321.6255">
              <a:extLst>
                <a:ext uri="{FF2B5EF4-FFF2-40B4-BE49-F238E27FC236}">
                  <a16:creationId xmlns:a16="http://schemas.microsoft.com/office/drawing/2014/main" id="{530681FC-2750-4DDE-8FA3-BF5F0D3130B2}"/>
                </a:ext>
              </a:extLst>
            </p:cNvPr>
            <p:cNvSpPr>
              <a:spLocks noChangeAspect="1"/>
            </p:cNvSpPr>
            <p:nvPr/>
          </p:nvSpPr>
          <p:spPr bwMode="gray">
            <a:xfrm>
              <a:off x="6267027" y="1644859"/>
              <a:ext cx="5154439" cy="1673584"/>
            </a:xfrm>
            <a:custGeom>
              <a:avLst/>
              <a:gdLst/>
              <a:ahLst/>
              <a:cxnLst>
                <a:cxn ang="0">
                  <a:pos x="93" y="1148"/>
                </a:cxn>
                <a:cxn ang="0">
                  <a:pos x="301" y="1001"/>
                </a:cxn>
                <a:cxn ang="0">
                  <a:pos x="298" y="591"/>
                </a:cxn>
                <a:cxn ang="0">
                  <a:pos x="541" y="545"/>
                </a:cxn>
                <a:cxn ang="0">
                  <a:pos x="598" y="844"/>
                </a:cxn>
                <a:cxn ang="0">
                  <a:pos x="672" y="747"/>
                </a:cxn>
                <a:cxn ang="0">
                  <a:pos x="846" y="645"/>
                </a:cxn>
                <a:cxn ang="0">
                  <a:pos x="1311" y="554"/>
                </a:cxn>
                <a:cxn ang="0">
                  <a:pos x="1652" y="567"/>
                </a:cxn>
                <a:cxn ang="0">
                  <a:pos x="1660" y="318"/>
                </a:cxn>
                <a:cxn ang="0">
                  <a:pos x="1784" y="629"/>
                </a:cxn>
                <a:cxn ang="0">
                  <a:pos x="1858" y="567"/>
                </a:cxn>
                <a:cxn ang="0">
                  <a:pos x="1938" y="567"/>
                </a:cxn>
                <a:cxn ang="0">
                  <a:pos x="1854" y="411"/>
                </a:cxn>
                <a:cxn ang="0">
                  <a:pos x="2123" y="399"/>
                </a:cxn>
                <a:cxn ang="0">
                  <a:pos x="2237" y="257"/>
                </a:cxn>
                <a:cxn ang="0">
                  <a:pos x="2542" y="107"/>
                </a:cxn>
                <a:cxn ang="0">
                  <a:pos x="2724" y="47"/>
                </a:cxn>
                <a:cxn ang="0">
                  <a:pos x="3143" y="124"/>
                </a:cxn>
                <a:cxn ang="0">
                  <a:pos x="2895" y="301"/>
                </a:cxn>
                <a:cxn ang="0">
                  <a:pos x="3172" y="304"/>
                </a:cxn>
                <a:cxn ang="0">
                  <a:pos x="3460" y="264"/>
                </a:cxn>
                <a:cxn ang="0">
                  <a:pos x="3868" y="399"/>
                </a:cxn>
                <a:cxn ang="0">
                  <a:pos x="4318" y="397"/>
                </a:cxn>
                <a:cxn ang="0">
                  <a:pos x="4766" y="514"/>
                </a:cxn>
                <a:cxn ang="0">
                  <a:pos x="5041" y="496"/>
                </a:cxn>
                <a:cxn ang="0">
                  <a:pos x="5579" y="678"/>
                </a:cxn>
                <a:cxn ang="0">
                  <a:pos x="5552" y="810"/>
                </a:cxn>
                <a:cxn ang="0">
                  <a:pos x="5376" y="708"/>
                </a:cxn>
                <a:cxn ang="0">
                  <a:pos x="5321" y="917"/>
                </a:cxn>
                <a:cxn ang="0">
                  <a:pos x="4890" y="1011"/>
                </a:cxn>
                <a:cxn ang="0">
                  <a:pos x="4762" y="1214"/>
                </a:cxn>
                <a:cxn ang="0">
                  <a:pos x="4582" y="1462"/>
                </a:cxn>
                <a:cxn ang="0">
                  <a:pos x="4826" y="926"/>
                </a:cxn>
                <a:cxn ang="0">
                  <a:pos x="4492" y="1044"/>
                </a:cxn>
                <a:cxn ang="0">
                  <a:pos x="4106" y="1078"/>
                </a:cxn>
                <a:cxn ang="0">
                  <a:pos x="3965" y="1344"/>
                </a:cxn>
                <a:cxn ang="0">
                  <a:pos x="4035" y="1469"/>
                </a:cxn>
                <a:cxn ang="0">
                  <a:pos x="3727" y="1776"/>
                </a:cxn>
                <a:cxn ang="0">
                  <a:pos x="3540" y="1370"/>
                </a:cxn>
                <a:cxn ang="0">
                  <a:pos x="3166" y="1491"/>
                </a:cxn>
                <a:cxn ang="0">
                  <a:pos x="2610" y="1499"/>
                </a:cxn>
                <a:cxn ang="0">
                  <a:pos x="2013" y="1498"/>
                </a:cxn>
                <a:cxn ang="0">
                  <a:pos x="1747" y="1363"/>
                </a:cxn>
                <a:cxn ang="0">
                  <a:pos x="1418" y="1265"/>
                </a:cxn>
                <a:cxn ang="0">
                  <a:pos x="1193" y="1308"/>
                </a:cxn>
                <a:cxn ang="0">
                  <a:pos x="1245" y="1463"/>
                </a:cxn>
                <a:cxn ang="0">
                  <a:pos x="1090" y="1448"/>
                </a:cxn>
                <a:cxn ang="0">
                  <a:pos x="894" y="1483"/>
                </a:cxn>
                <a:cxn ang="0">
                  <a:pos x="888" y="1575"/>
                </a:cxn>
                <a:cxn ang="0">
                  <a:pos x="930" y="1652"/>
                </a:cxn>
                <a:cxn ang="0">
                  <a:pos x="870" y="1795"/>
                </a:cxn>
                <a:cxn ang="0">
                  <a:pos x="643" y="1739"/>
                </a:cxn>
                <a:cxn ang="0">
                  <a:pos x="653" y="1525"/>
                </a:cxn>
                <a:cxn ang="0">
                  <a:pos x="442" y="1397"/>
                </a:cxn>
                <a:cxn ang="0">
                  <a:pos x="383" y="1362"/>
                </a:cxn>
                <a:cxn ang="0">
                  <a:pos x="231" y="1252"/>
                </a:cxn>
                <a:cxn ang="0">
                  <a:pos x="139" y="1341"/>
                </a:cxn>
              </a:cxnLst>
              <a:rect l="0" t="0" r="r" b="b"/>
              <a:pathLst>
                <a:path w="5699" h="1829">
                  <a:moveTo>
                    <a:pt x="0" y="1300"/>
                  </a:moveTo>
                  <a:lnTo>
                    <a:pt x="47" y="1257"/>
                  </a:lnTo>
                  <a:lnTo>
                    <a:pt x="31" y="1275"/>
                  </a:lnTo>
                  <a:lnTo>
                    <a:pt x="52" y="1280"/>
                  </a:lnTo>
                  <a:lnTo>
                    <a:pt x="47" y="1194"/>
                  </a:lnTo>
                  <a:lnTo>
                    <a:pt x="66" y="1154"/>
                  </a:lnTo>
                  <a:lnTo>
                    <a:pt x="93" y="1148"/>
                  </a:lnTo>
                  <a:lnTo>
                    <a:pt x="148" y="1186"/>
                  </a:lnTo>
                  <a:lnTo>
                    <a:pt x="161" y="1114"/>
                  </a:lnTo>
                  <a:lnTo>
                    <a:pt x="137" y="1115"/>
                  </a:lnTo>
                  <a:lnTo>
                    <a:pt x="128" y="1074"/>
                  </a:lnTo>
                  <a:lnTo>
                    <a:pt x="353" y="1037"/>
                  </a:lnTo>
                  <a:lnTo>
                    <a:pt x="298" y="1022"/>
                  </a:lnTo>
                  <a:lnTo>
                    <a:pt x="301" y="1001"/>
                  </a:lnTo>
                  <a:lnTo>
                    <a:pt x="266" y="1008"/>
                  </a:lnTo>
                  <a:lnTo>
                    <a:pt x="394" y="901"/>
                  </a:lnTo>
                  <a:lnTo>
                    <a:pt x="338" y="787"/>
                  </a:lnTo>
                  <a:lnTo>
                    <a:pt x="352" y="733"/>
                  </a:lnTo>
                  <a:lnTo>
                    <a:pt x="317" y="673"/>
                  </a:lnTo>
                  <a:lnTo>
                    <a:pt x="345" y="638"/>
                  </a:lnTo>
                  <a:lnTo>
                    <a:pt x="298" y="591"/>
                  </a:lnTo>
                  <a:lnTo>
                    <a:pt x="312" y="553"/>
                  </a:lnTo>
                  <a:lnTo>
                    <a:pt x="374" y="509"/>
                  </a:lnTo>
                  <a:lnTo>
                    <a:pt x="408" y="503"/>
                  </a:lnTo>
                  <a:lnTo>
                    <a:pt x="451" y="513"/>
                  </a:lnTo>
                  <a:lnTo>
                    <a:pt x="413" y="523"/>
                  </a:lnTo>
                  <a:lnTo>
                    <a:pt x="442" y="539"/>
                  </a:lnTo>
                  <a:lnTo>
                    <a:pt x="541" y="545"/>
                  </a:lnTo>
                  <a:lnTo>
                    <a:pt x="716" y="637"/>
                  </a:lnTo>
                  <a:lnTo>
                    <a:pt x="720" y="681"/>
                  </a:lnTo>
                  <a:lnTo>
                    <a:pt x="644" y="721"/>
                  </a:lnTo>
                  <a:lnTo>
                    <a:pt x="409" y="666"/>
                  </a:lnTo>
                  <a:lnTo>
                    <a:pt x="506" y="732"/>
                  </a:lnTo>
                  <a:lnTo>
                    <a:pt x="503" y="807"/>
                  </a:lnTo>
                  <a:lnTo>
                    <a:pt x="598" y="844"/>
                  </a:lnTo>
                  <a:lnTo>
                    <a:pt x="622" y="838"/>
                  </a:lnTo>
                  <a:lnTo>
                    <a:pt x="610" y="807"/>
                  </a:lnTo>
                  <a:lnTo>
                    <a:pt x="566" y="795"/>
                  </a:lnTo>
                  <a:lnTo>
                    <a:pt x="577" y="769"/>
                  </a:lnTo>
                  <a:lnTo>
                    <a:pt x="620" y="798"/>
                  </a:lnTo>
                  <a:lnTo>
                    <a:pt x="712" y="807"/>
                  </a:lnTo>
                  <a:lnTo>
                    <a:pt x="672" y="747"/>
                  </a:lnTo>
                  <a:lnTo>
                    <a:pt x="757" y="696"/>
                  </a:lnTo>
                  <a:lnTo>
                    <a:pt x="819" y="732"/>
                  </a:lnTo>
                  <a:lnTo>
                    <a:pt x="817" y="595"/>
                  </a:lnTo>
                  <a:lnTo>
                    <a:pt x="791" y="575"/>
                  </a:lnTo>
                  <a:lnTo>
                    <a:pt x="894" y="605"/>
                  </a:lnTo>
                  <a:lnTo>
                    <a:pt x="901" y="622"/>
                  </a:lnTo>
                  <a:lnTo>
                    <a:pt x="846" y="645"/>
                  </a:lnTo>
                  <a:lnTo>
                    <a:pt x="901" y="689"/>
                  </a:lnTo>
                  <a:lnTo>
                    <a:pt x="948" y="638"/>
                  </a:lnTo>
                  <a:lnTo>
                    <a:pt x="1140" y="558"/>
                  </a:lnTo>
                  <a:lnTo>
                    <a:pt x="1169" y="554"/>
                  </a:lnTo>
                  <a:lnTo>
                    <a:pt x="1140" y="568"/>
                  </a:lnTo>
                  <a:lnTo>
                    <a:pt x="1172" y="607"/>
                  </a:lnTo>
                  <a:lnTo>
                    <a:pt x="1311" y="554"/>
                  </a:lnTo>
                  <a:lnTo>
                    <a:pt x="1342" y="593"/>
                  </a:lnTo>
                  <a:lnTo>
                    <a:pt x="1375" y="564"/>
                  </a:lnTo>
                  <a:lnTo>
                    <a:pt x="1359" y="520"/>
                  </a:lnTo>
                  <a:lnTo>
                    <a:pt x="1378" y="506"/>
                  </a:lnTo>
                  <a:lnTo>
                    <a:pt x="1484" y="527"/>
                  </a:lnTo>
                  <a:lnTo>
                    <a:pt x="1624" y="604"/>
                  </a:lnTo>
                  <a:lnTo>
                    <a:pt x="1652" y="567"/>
                  </a:lnTo>
                  <a:lnTo>
                    <a:pt x="1621" y="528"/>
                  </a:lnTo>
                  <a:lnTo>
                    <a:pt x="1579" y="517"/>
                  </a:lnTo>
                  <a:lnTo>
                    <a:pt x="1595" y="457"/>
                  </a:lnTo>
                  <a:lnTo>
                    <a:pt x="1566" y="448"/>
                  </a:lnTo>
                  <a:lnTo>
                    <a:pt x="1576" y="421"/>
                  </a:lnTo>
                  <a:lnTo>
                    <a:pt x="1627" y="391"/>
                  </a:lnTo>
                  <a:lnTo>
                    <a:pt x="1660" y="318"/>
                  </a:lnTo>
                  <a:lnTo>
                    <a:pt x="1733" y="319"/>
                  </a:lnTo>
                  <a:lnTo>
                    <a:pt x="1767" y="330"/>
                  </a:lnTo>
                  <a:lnTo>
                    <a:pt x="1741" y="407"/>
                  </a:lnTo>
                  <a:lnTo>
                    <a:pt x="1771" y="446"/>
                  </a:lnTo>
                  <a:lnTo>
                    <a:pt x="1762" y="553"/>
                  </a:lnTo>
                  <a:lnTo>
                    <a:pt x="1797" y="590"/>
                  </a:lnTo>
                  <a:lnTo>
                    <a:pt x="1784" y="629"/>
                  </a:lnTo>
                  <a:lnTo>
                    <a:pt x="1729" y="659"/>
                  </a:lnTo>
                  <a:lnTo>
                    <a:pt x="1747" y="673"/>
                  </a:lnTo>
                  <a:lnTo>
                    <a:pt x="1674" y="688"/>
                  </a:lnTo>
                  <a:lnTo>
                    <a:pt x="1751" y="714"/>
                  </a:lnTo>
                  <a:lnTo>
                    <a:pt x="1837" y="629"/>
                  </a:lnTo>
                  <a:lnTo>
                    <a:pt x="1828" y="575"/>
                  </a:lnTo>
                  <a:lnTo>
                    <a:pt x="1858" y="567"/>
                  </a:lnTo>
                  <a:lnTo>
                    <a:pt x="1903" y="557"/>
                  </a:lnTo>
                  <a:lnTo>
                    <a:pt x="1925" y="587"/>
                  </a:lnTo>
                  <a:lnTo>
                    <a:pt x="1922" y="627"/>
                  </a:lnTo>
                  <a:lnTo>
                    <a:pt x="1979" y="640"/>
                  </a:lnTo>
                  <a:lnTo>
                    <a:pt x="1935" y="626"/>
                  </a:lnTo>
                  <a:lnTo>
                    <a:pt x="1954" y="602"/>
                  </a:lnTo>
                  <a:lnTo>
                    <a:pt x="1938" y="567"/>
                  </a:lnTo>
                  <a:lnTo>
                    <a:pt x="1807" y="543"/>
                  </a:lnTo>
                  <a:lnTo>
                    <a:pt x="1828" y="459"/>
                  </a:lnTo>
                  <a:lnTo>
                    <a:pt x="1782" y="407"/>
                  </a:lnTo>
                  <a:lnTo>
                    <a:pt x="1847" y="359"/>
                  </a:lnTo>
                  <a:lnTo>
                    <a:pt x="1839" y="325"/>
                  </a:lnTo>
                  <a:lnTo>
                    <a:pt x="1869" y="344"/>
                  </a:lnTo>
                  <a:lnTo>
                    <a:pt x="1854" y="411"/>
                  </a:lnTo>
                  <a:lnTo>
                    <a:pt x="1874" y="421"/>
                  </a:lnTo>
                  <a:lnTo>
                    <a:pt x="1962" y="441"/>
                  </a:lnTo>
                  <a:lnTo>
                    <a:pt x="1883" y="385"/>
                  </a:lnTo>
                  <a:lnTo>
                    <a:pt x="1943" y="388"/>
                  </a:lnTo>
                  <a:lnTo>
                    <a:pt x="1929" y="366"/>
                  </a:lnTo>
                  <a:lnTo>
                    <a:pt x="1962" y="355"/>
                  </a:lnTo>
                  <a:lnTo>
                    <a:pt x="2123" y="399"/>
                  </a:lnTo>
                  <a:lnTo>
                    <a:pt x="2093" y="428"/>
                  </a:lnTo>
                  <a:lnTo>
                    <a:pt x="2089" y="472"/>
                  </a:lnTo>
                  <a:lnTo>
                    <a:pt x="2122" y="496"/>
                  </a:lnTo>
                  <a:lnTo>
                    <a:pt x="2138" y="399"/>
                  </a:lnTo>
                  <a:lnTo>
                    <a:pt x="2050" y="349"/>
                  </a:lnTo>
                  <a:lnTo>
                    <a:pt x="2032" y="282"/>
                  </a:lnTo>
                  <a:lnTo>
                    <a:pt x="2237" y="257"/>
                  </a:lnTo>
                  <a:lnTo>
                    <a:pt x="2211" y="195"/>
                  </a:lnTo>
                  <a:lnTo>
                    <a:pt x="2237" y="209"/>
                  </a:lnTo>
                  <a:lnTo>
                    <a:pt x="2271" y="184"/>
                  </a:lnTo>
                  <a:lnTo>
                    <a:pt x="2247" y="177"/>
                  </a:lnTo>
                  <a:lnTo>
                    <a:pt x="2461" y="126"/>
                  </a:lnTo>
                  <a:lnTo>
                    <a:pt x="2443" y="113"/>
                  </a:lnTo>
                  <a:lnTo>
                    <a:pt x="2542" y="107"/>
                  </a:lnTo>
                  <a:lnTo>
                    <a:pt x="2541" y="124"/>
                  </a:lnTo>
                  <a:lnTo>
                    <a:pt x="2566" y="124"/>
                  </a:lnTo>
                  <a:lnTo>
                    <a:pt x="2637" y="102"/>
                  </a:lnTo>
                  <a:lnTo>
                    <a:pt x="2671" y="114"/>
                  </a:lnTo>
                  <a:lnTo>
                    <a:pt x="2640" y="87"/>
                  </a:lnTo>
                  <a:lnTo>
                    <a:pt x="2721" y="81"/>
                  </a:lnTo>
                  <a:lnTo>
                    <a:pt x="2724" y="47"/>
                  </a:lnTo>
                  <a:lnTo>
                    <a:pt x="2820" y="0"/>
                  </a:lnTo>
                  <a:lnTo>
                    <a:pt x="2886" y="27"/>
                  </a:lnTo>
                  <a:lnTo>
                    <a:pt x="2829" y="52"/>
                  </a:lnTo>
                  <a:lnTo>
                    <a:pt x="2926" y="51"/>
                  </a:lnTo>
                  <a:lnTo>
                    <a:pt x="2887" y="87"/>
                  </a:lnTo>
                  <a:lnTo>
                    <a:pt x="3052" y="69"/>
                  </a:lnTo>
                  <a:lnTo>
                    <a:pt x="3143" y="124"/>
                  </a:lnTo>
                  <a:lnTo>
                    <a:pt x="3129" y="144"/>
                  </a:lnTo>
                  <a:lnTo>
                    <a:pt x="3099" y="132"/>
                  </a:lnTo>
                  <a:lnTo>
                    <a:pt x="3140" y="150"/>
                  </a:lnTo>
                  <a:lnTo>
                    <a:pt x="3119" y="183"/>
                  </a:lnTo>
                  <a:lnTo>
                    <a:pt x="2820" y="342"/>
                  </a:lnTo>
                  <a:lnTo>
                    <a:pt x="2915" y="322"/>
                  </a:lnTo>
                  <a:lnTo>
                    <a:pt x="2895" y="301"/>
                  </a:lnTo>
                  <a:lnTo>
                    <a:pt x="3047" y="271"/>
                  </a:lnTo>
                  <a:lnTo>
                    <a:pt x="3005" y="276"/>
                  </a:lnTo>
                  <a:lnTo>
                    <a:pt x="3015" y="249"/>
                  </a:lnTo>
                  <a:lnTo>
                    <a:pt x="3099" y="271"/>
                  </a:lnTo>
                  <a:lnTo>
                    <a:pt x="3111" y="249"/>
                  </a:lnTo>
                  <a:lnTo>
                    <a:pt x="3130" y="301"/>
                  </a:lnTo>
                  <a:lnTo>
                    <a:pt x="3172" y="304"/>
                  </a:lnTo>
                  <a:lnTo>
                    <a:pt x="3133" y="283"/>
                  </a:lnTo>
                  <a:lnTo>
                    <a:pt x="3213" y="270"/>
                  </a:lnTo>
                  <a:lnTo>
                    <a:pt x="3309" y="282"/>
                  </a:lnTo>
                  <a:lnTo>
                    <a:pt x="3301" y="301"/>
                  </a:lnTo>
                  <a:lnTo>
                    <a:pt x="3385" y="318"/>
                  </a:lnTo>
                  <a:lnTo>
                    <a:pt x="3458" y="314"/>
                  </a:lnTo>
                  <a:lnTo>
                    <a:pt x="3460" y="264"/>
                  </a:lnTo>
                  <a:lnTo>
                    <a:pt x="3482" y="259"/>
                  </a:lnTo>
                  <a:lnTo>
                    <a:pt x="3668" y="314"/>
                  </a:lnTo>
                  <a:lnTo>
                    <a:pt x="3642" y="399"/>
                  </a:lnTo>
                  <a:lnTo>
                    <a:pt x="3728" y="457"/>
                  </a:lnTo>
                  <a:lnTo>
                    <a:pt x="3775" y="377"/>
                  </a:lnTo>
                  <a:lnTo>
                    <a:pt x="3807" y="411"/>
                  </a:lnTo>
                  <a:lnTo>
                    <a:pt x="3868" y="399"/>
                  </a:lnTo>
                  <a:lnTo>
                    <a:pt x="3951" y="428"/>
                  </a:lnTo>
                  <a:lnTo>
                    <a:pt x="4018" y="410"/>
                  </a:lnTo>
                  <a:lnTo>
                    <a:pt x="4011" y="377"/>
                  </a:lnTo>
                  <a:lnTo>
                    <a:pt x="4057" y="323"/>
                  </a:lnTo>
                  <a:lnTo>
                    <a:pt x="4334" y="362"/>
                  </a:lnTo>
                  <a:lnTo>
                    <a:pt x="4352" y="386"/>
                  </a:lnTo>
                  <a:lnTo>
                    <a:pt x="4318" y="397"/>
                  </a:lnTo>
                  <a:lnTo>
                    <a:pt x="4407" y="410"/>
                  </a:lnTo>
                  <a:lnTo>
                    <a:pt x="4440" y="448"/>
                  </a:lnTo>
                  <a:lnTo>
                    <a:pt x="4649" y="441"/>
                  </a:lnTo>
                  <a:lnTo>
                    <a:pt x="4687" y="472"/>
                  </a:lnTo>
                  <a:lnTo>
                    <a:pt x="4674" y="509"/>
                  </a:lnTo>
                  <a:lnTo>
                    <a:pt x="4734" y="535"/>
                  </a:lnTo>
                  <a:lnTo>
                    <a:pt x="4766" y="514"/>
                  </a:lnTo>
                  <a:lnTo>
                    <a:pt x="4914" y="529"/>
                  </a:lnTo>
                  <a:lnTo>
                    <a:pt x="4944" y="509"/>
                  </a:lnTo>
                  <a:lnTo>
                    <a:pt x="4962" y="542"/>
                  </a:lnTo>
                  <a:lnTo>
                    <a:pt x="5024" y="569"/>
                  </a:lnTo>
                  <a:lnTo>
                    <a:pt x="5053" y="550"/>
                  </a:lnTo>
                  <a:lnTo>
                    <a:pt x="5023" y="520"/>
                  </a:lnTo>
                  <a:lnTo>
                    <a:pt x="5041" y="496"/>
                  </a:lnTo>
                  <a:lnTo>
                    <a:pt x="5300" y="534"/>
                  </a:lnTo>
                  <a:lnTo>
                    <a:pt x="5472" y="630"/>
                  </a:lnTo>
                  <a:lnTo>
                    <a:pt x="5508" y="630"/>
                  </a:lnTo>
                  <a:lnTo>
                    <a:pt x="5552" y="708"/>
                  </a:lnTo>
                  <a:lnTo>
                    <a:pt x="5534" y="666"/>
                  </a:lnTo>
                  <a:lnTo>
                    <a:pt x="5562" y="662"/>
                  </a:lnTo>
                  <a:lnTo>
                    <a:pt x="5579" y="678"/>
                  </a:lnTo>
                  <a:lnTo>
                    <a:pt x="5629" y="673"/>
                  </a:lnTo>
                  <a:lnTo>
                    <a:pt x="5699" y="718"/>
                  </a:lnTo>
                  <a:lnTo>
                    <a:pt x="5599" y="767"/>
                  </a:lnTo>
                  <a:lnTo>
                    <a:pt x="5619" y="781"/>
                  </a:lnTo>
                  <a:lnTo>
                    <a:pt x="5584" y="791"/>
                  </a:lnTo>
                  <a:lnTo>
                    <a:pt x="5612" y="809"/>
                  </a:lnTo>
                  <a:lnTo>
                    <a:pt x="5552" y="810"/>
                  </a:lnTo>
                  <a:lnTo>
                    <a:pt x="5533" y="781"/>
                  </a:lnTo>
                  <a:lnTo>
                    <a:pt x="5509" y="792"/>
                  </a:lnTo>
                  <a:lnTo>
                    <a:pt x="5471" y="747"/>
                  </a:lnTo>
                  <a:lnTo>
                    <a:pt x="5403" y="748"/>
                  </a:lnTo>
                  <a:lnTo>
                    <a:pt x="5386" y="721"/>
                  </a:lnTo>
                  <a:lnTo>
                    <a:pt x="5402" y="708"/>
                  </a:lnTo>
                  <a:lnTo>
                    <a:pt x="5376" y="708"/>
                  </a:lnTo>
                  <a:lnTo>
                    <a:pt x="5354" y="718"/>
                  </a:lnTo>
                  <a:lnTo>
                    <a:pt x="5379" y="750"/>
                  </a:lnTo>
                  <a:lnTo>
                    <a:pt x="5364" y="769"/>
                  </a:lnTo>
                  <a:lnTo>
                    <a:pt x="5306" y="800"/>
                  </a:lnTo>
                  <a:lnTo>
                    <a:pt x="5267" y="794"/>
                  </a:lnTo>
                  <a:lnTo>
                    <a:pt x="5332" y="883"/>
                  </a:lnTo>
                  <a:lnTo>
                    <a:pt x="5321" y="917"/>
                  </a:lnTo>
                  <a:lnTo>
                    <a:pt x="5255" y="893"/>
                  </a:lnTo>
                  <a:lnTo>
                    <a:pt x="5258" y="906"/>
                  </a:lnTo>
                  <a:lnTo>
                    <a:pt x="5137" y="950"/>
                  </a:lnTo>
                  <a:lnTo>
                    <a:pt x="5030" y="1041"/>
                  </a:lnTo>
                  <a:lnTo>
                    <a:pt x="4957" y="1007"/>
                  </a:lnTo>
                  <a:lnTo>
                    <a:pt x="4890" y="1044"/>
                  </a:lnTo>
                  <a:lnTo>
                    <a:pt x="4890" y="1011"/>
                  </a:lnTo>
                  <a:lnTo>
                    <a:pt x="4851" y="1045"/>
                  </a:lnTo>
                  <a:lnTo>
                    <a:pt x="4804" y="1043"/>
                  </a:lnTo>
                  <a:lnTo>
                    <a:pt x="4753" y="1131"/>
                  </a:lnTo>
                  <a:lnTo>
                    <a:pt x="4793" y="1148"/>
                  </a:lnTo>
                  <a:lnTo>
                    <a:pt x="4777" y="1177"/>
                  </a:lnTo>
                  <a:lnTo>
                    <a:pt x="4796" y="1223"/>
                  </a:lnTo>
                  <a:lnTo>
                    <a:pt x="4762" y="1214"/>
                  </a:lnTo>
                  <a:lnTo>
                    <a:pt x="4741" y="1254"/>
                  </a:lnTo>
                  <a:lnTo>
                    <a:pt x="4755" y="1290"/>
                  </a:lnTo>
                  <a:lnTo>
                    <a:pt x="4682" y="1320"/>
                  </a:lnTo>
                  <a:lnTo>
                    <a:pt x="4687" y="1360"/>
                  </a:lnTo>
                  <a:lnTo>
                    <a:pt x="4639" y="1371"/>
                  </a:lnTo>
                  <a:lnTo>
                    <a:pt x="4626" y="1415"/>
                  </a:lnTo>
                  <a:lnTo>
                    <a:pt x="4582" y="1462"/>
                  </a:lnTo>
                  <a:lnTo>
                    <a:pt x="4545" y="1290"/>
                  </a:lnTo>
                  <a:lnTo>
                    <a:pt x="4549" y="1198"/>
                  </a:lnTo>
                  <a:lnTo>
                    <a:pt x="4582" y="1143"/>
                  </a:lnTo>
                  <a:lnTo>
                    <a:pt x="4633" y="1132"/>
                  </a:lnTo>
                  <a:lnTo>
                    <a:pt x="4751" y="1016"/>
                  </a:lnTo>
                  <a:lnTo>
                    <a:pt x="4807" y="993"/>
                  </a:lnTo>
                  <a:lnTo>
                    <a:pt x="4826" y="926"/>
                  </a:lnTo>
                  <a:lnTo>
                    <a:pt x="4851" y="908"/>
                  </a:lnTo>
                  <a:lnTo>
                    <a:pt x="4806" y="906"/>
                  </a:lnTo>
                  <a:lnTo>
                    <a:pt x="4792" y="961"/>
                  </a:lnTo>
                  <a:lnTo>
                    <a:pt x="4692" y="1008"/>
                  </a:lnTo>
                  <a:lnTo>
                    <a:pt x="4701" y="938"/>
                  </a:lnTo>
                  <a:lnTo>
                    <a:pt x="4594" y="953"/>
                  </a:lnTo>
                  <a:lnTo>
                    <a:pt x="4492" y="1044"/>
                  </a:lnTo>
                  <a:lnTo>
                    <a:pt x="4512" y="1081"/>
                  </a:lnTo>
                  <a:lnTo>
                    <a:pt x="4403" y="1093"/>
                  </a:lnTo>
                  <a:lnTo>
                    <a:pt x="4389" y="1082"/>
                  </a:lnTo>
                  <a:lnTo>
                    <a:pt x="4426" y="1077"/>
                  </a:lnTo>
                  <a:lnTo>
                    <a:pt x="4336" y="1054"/>
                  </a:lnTo>
                  <a:lnTo>
                    <a:pt x="4311" y="1077"/>
                  </a:lnTo>
                  <a:lnTo>
                    <a:pt x="4106" y="1078"/>
                  </a:lnTo>
                  <a:lnTo>
                    <a:pt x="3862" y="1287"/>
                  </a:lnTo>
                  <a:lnTo>
                    <a:pt x="3911" y="1296"/>
                  </a:lnTo>
                  <a:lnTo>
                    <a:pt x="3911" y="1333"/>
                  </a:lnTo>
                  <a:lnTo>
                    <a:pt x="3940" y="1309"/>
                  </a:lnTo>
                  <a:lnTo>
                    <a:pt x="3932" y="1341"/>
                  </a:lnTo>
                  <a:lnTo>
                    <a:pt x="3969" y="1323"/>
                  </a:lnTo>
                  <a:lnTo>
                    <a:pt x="3965" y="1344"/>
                  </a:lnTo>
                  <a:lnTo>
                    <a:pt x="3976" y="1309"/>
                  </a:lnTo>
                  <a:lnTo>
                    <a:pt x="4011" y="1311"/>
                  </a:lnTo>
                  <a:lnTo>
                    <a:pt x="4064" y="1355"/>
                  </a:lnTo>
                  <a:lnTo>
                    <a:pt x="4017" y="1359"/>
                  </a:lnTo>
                  <a:lnTo>
                    <a:pt x="4058" y="1373"/>
                  </a:lnTo>
                  <a:lnTo>
                    <a:pt x="4068" y="1403"/>
                  </a:lnTo>
                  <a:lnTo>
                    <a:pt x="4035" y="1469"/>
                  </a:lnTo>
                  <a:lnTo>
                    <a:pt x="4028" y="1568"/>
                  </a:lnTo>
                  <a:lnTo>
                    <a:pt x="3856" y="1776"/>
                  </a:lnTo>
                  <a:lnTo>
                    <a:pt x="3796" y="1803"/>
                  </a:lnTo>
                  <a:lnTo>
                    <a:pt x="3749" y="1776"/>
                  </a:lnTo>
                  <a:lnTo>
                    <a:pt x="3708" y="1816"/>
                  </a:lnTo>
                  <a:lnTo>
                    <a:pt x="3703" y="1807"/>
                  </a:lnTo>
                  <a:lnTo>
                    <a:pt x="3727" y="1776"/>
                  </a:lnTo>
                  <a:lnTo>
                    <a:pt x="3717" y="1723"/>
                  </a:lnTo>
                  <a:lnTo>
                    <a:pt x="3790" y="1703"/>
                  </a:lnTo>
                  <a:lnTo>
                    <a:pt x="3848" y="1564"/>
                  </a:lnTo>
                  <a:lnTo>
                    <a:pt x="3723" y="1597"/>
                  </a:lnTo>
                  <a:lnTo>
                    <a:pt x="3703" y="1545"/>
                  </a:lnTo>
                  <a:lnTo>
                    <a:pt x="3602" y="1513"/>
                  </a:lnTo>
                  <a:lnTo>
                    <a:pt x="3540" y="1370"/>
                  </a:lnTo>
                  <a:lnTo>
                    <a:pt x="3473" y="1344"/>
                  </a:lnTo>
                  <a:lnTo>
                    <a:pt x="3352" y="1382"/>
                  </a:lnTo>
                  <a:lnTo>
                    <a:pt x="3375" y="1413"/>
                  </a:lnTo>
                  <a:lnTo>
                    <a:pt x="3326" y="1498"/>
                  </a:lnTo>
                  <a:lnTo>
                    <a:pt x="3277" y="1520"/>
                  </a:lnTo>
                  <a:lnTo>
                    <a:pt x="3227" y="1501"/>
                  </a:lnTo>
                  <a:lnTo>
                    <a:pt x="3166" y="1491"/>
                  </a:lnTo>
                  <a:lnTo>
                    <a:pt x="3008" y="1529"/>
                  </a:lnTo>
                  <a:lnTo>
                    <a:pt x="2869" y="1473"/>
                  </a:lnTo>
                  <a:lnTo>
                    <a:pt x="2780" y="1481"/>
                  </a:lnTo>
                  <a:lnTo>
                    <a:pt x="2747" y="1435"/>
                  </a:lnTo>
                  <a:lnTo>
                    <a:pt x="2659" y="1403"/>
                  </a:lnTo>
                  <a:lnTo>
                    <a:pt x="2612" y="1436"/>
                  </a:lnTo>
                  <a:lnTo>
                    <a:pt x="2610" y="1499"/>
                  </a:lnTo>
                  <a:lnTo>
                    <a:pt x="2409" y="1472"/>
                  </a:lnTo>
                  <a:lnTo>
                    <a:pt x="2303" y="1529"/>
                  </a:lnTo>
                  <a:lnTo>
                    <a:pt x="2247" y="1553"/>
                  </a:lnTo>
                  <a:lnTo>
                    <a:pt x="2175" y="1507"/>
                  </a:lnTo>
                  <a:lnTo>
                    <a:pt x="2130" y="1532"/>
                  </a:lnTo>
                  <a:lnTo>
                    <a:pt x="2045" y="1501"/>
                  </a:lnTo>
                  <a:lnTo>
                    <a:pt x="2013" y="1498"/>
                  </a:lnTo>
                  <a:lnTo>
                    <a:pt x="1988" y="1448"/>
                  </a:lnTo>
                  <a:lnTo>
                    <a:pt x="1943" y="1448"/>
                  </a:lnTo>
                  <a:lnTo>
                    <a:pt x="1924" y="1457"/>
                  </a:lnTo>
                  <a:lnTo>
                    <a:pt x="1888" y="1419"/>
                  </a:lnTo>
                  <a:lnTo>
                    <a:pt x="1863" y="1429"/>
                  </a:lnTo>
                  <a:lnTo>
                    <a:pt x="1840" y="1441"/>
                  </a:lnTo>
                  <a:lnTo>
                    <a:pt x="1747" y="1363"/>
                  </a:lnTo>
                  <a:lnTo>
                    <a:pt x="1719" y="1356"/>
                  </a:lnTo>
                  <a:lnTo>
                    <a:pt x="1656" y="1297"/>
                  </a:lnTo>
                  <a:lnTo>
                    <a:pt x="1597" y="1333"/>
                  </a:lnTo>
                  <a:lnTo>
                    <a:pt x="1586" y="1308"/>
                  </a:lnTo>
                  <a:lnTo>
                    <a:pt x="1498" y="1305"/>
                  </a:lnTo>
                  <a:lnTo>
                    <a:pt x="1465" y="1261"/>
                  </a:lnTo>
                  <a:lnTo>
                    <a:pt x="1418" y="1265"/>
                  </a:lnTo>
                  <a:lnTo>
                    <a:pt x="1402" y="1283"/>
                  </a:lnTo>
                  <a:lnTo>
                    <a:pt x="1342" y="1294"/>
                  </a:lnTo>
                  <a:lnTo>
                    <a:pt x="1326" y="1283"/>
                  </a:lnTo>
                  <a:lnTo>
                    <a:pt x="1304" y="1316"/>
                  </a:lnTo>
                  <a:lnTo>
                    <a:pt x="1286" y="1308"/>
                  </a:lnTo>
                  <a:lnTo>
                    <a:pt x="1216" y="1318"/>
                  </a:lnTo>
                  <a:lnTo>
                    <a:pt x="1193" y="1308"/>
                  </a:lnTo>
                  <a:lnTo>
                    <a:pt x="1184" y="1318"/>
                  </a:lnTo>
                  <a:lnTo>
                    <a:pt x="1220" y="1356"/>
                  </a:lnTo>
                  <a:lnTo>
                    <a:pt x="1195" y="1378"/>
                  </a:lnTo>
                  <a:lnTo>
                    <a:pt x="1198" y="1410"/>
                  </a:lnTo>
                  <a:lnTo>
                    <a:pt x="1238" y="1411"/>
                  </a:lnTo>
                  <a:lnTo>
                    <a:pt x="1255" y="1441"/>
                  </a:lnTo>
                  <a:lnTo>
                    <a:pt x="1245" y="1463"/>
                  </a:lnTo>
                  <a:lnTo>
                    <a:pt x="1216" y="1448"/>
                  </a:lnTo>
                  <a:lnTo>
                    <a:pt x="1193" y="1462"/>
                  </a:lnTo>
                  <a:lnTo>
                    <a:pt x="1171" y="1450"/>
                  </a:lnTo>
                  <a:lnTo>
                    <a:pt x="1160" y="1429"/>
                  </a:lnTo>
                  <a:lnTo>
                    <a:pt x="1132" y="1441"/>
                  </a:lnTo>
                  <a:lnTo>
                    <a:pt x="1112" y="1430"/>
                  </a:lnTo>
                  <a:lnTo>
                    <a:pt x="1090" y="1448"/>
                  </a:lnTo>
                  <a:lnTo>
                    <a:pt x="1058" y="1452"/>
                  </a:lnTo>
                  <a:lnTo>
                    <a:pt x="1040" y="1429"/>
                  </a:lnTo>
                  <a:lnTo>
                    <a:pt x="932" y="1422"/>
                  </a:lnTo>
                  <a:lnTo>
                    <a:pt x="919" y="1435"/>
                  </a:lnTo>
                  <a:lnTo>
                    <a:pt x="908" y="1433"/>
                  </a:lnTo>
                  <a:lnTo>
                    <a:pt x="893" y="1458"/>
                  </a:lnTo>
                  <a:lnTo>
                    <a:pt x="894" y="1483"/>
                  </a:lnTo>
                  <a:lnTo>
                    <a:pt x="882" y="1484"/>
                  </a:lnTo>
                  <a:lnTo>
                    <a:pt x="872" y="1463"/>
                  </a:lnTo>
                  <a:lnTo>
                    <a:pt x="857" y="1466"/>
                  </a:lnTo>
                  <a:lnTo>
                    <a:pt x="853" y="1536"/>
                  </a:lnTo>
                  <a:lnTo>
                    <a:pt x="870" y="1558"/>
                  </a:lnTo>
                  <a:lnTo>
                    <a:pt x="870" y="1578"/>
                  </a:lnTo>
                  <a:lnTo>
                    <a:pt x="888" y="1575"/>
                  </a:lnTo>
                  <a:lnTo>
                    <a:pt x="908" y="1565"/>
                  </a:lnTo>
                  <a:lnTo>
                    <a:pt x="929" y="1597"/>
                  </a:lnTo>
                  <a:lnTo>
                    <a:pt x="944" y="1617"/>
                  </a:lnTo>
                  <a:lnTo>
                    <a:pt x="959" y="1644"/>
                  </a:lnTo>
                  <a:lnTo>
                    <a:pt x="982" y="1651"/>
                  </a:lnTo>
                  <a:lnTo>
                    <a:pt x="952" y="1671"/>
                  </a:lnTo>
                  <a:lnTo>
                    <a:pt x="930" y="1652"/>
                  </a:lnTo>
                  <a:lnTo>
                    <a:pt x="907" y="1732"/>
                  </a:lnTo>
                  <a:lnTo>
                    <a:pt x="934" y="1752"/>
                  </a:lnTo>
                  <a:lnTo>
                    <a:pt x="958" y="1829"/>
                  </a:lnTo>
                  <a:lnTo>
                    <a:pt x="936" y="1816"/>
                  </a:lnTo>
                  <a:lnTo>
                    <a:pt x="914" y="1807"/>
                  </a:lnTo>
                  <a:lnTo>
                    <a:pt x="888" y="1803"/>
                  </a:lnTo>
                  <a:lnTo>
                    <a:pt x="870" y="1795"/>
                  </a:lnTo>
                  <a:lnTo>
                    <a:pt x="852" y="1792"/>
                  </a:lnTo>
                  <a:lnTo>
                    <a:pt x="837" y="1765"/>
                  </a:lnTo>
                  <a:lnTo>
                    <a:pt x="802" y="1781"/>
                  </a:lnTo>
                  <a:lnTo>
                    <a:pt x="771" y="1780"/>
                  </a:lnTo>
                  <a:lnTo>
                    <a:pt x="750" y="1756"/>
                  </a:lnTo>
                  <a:lnTo>
                    <a:pt x="697" y="1734"/>
                  </a:lnTo>
                  <a:lnTo>
                    <a:pt x="643" y="1739"/>
                  </a:lnTo>
                  <a:lnTo>
                    <a:pt x="587" y="1700"/>
                  </a:lnTo>
                  <a:lnTo>
                    <a:pt x="631" y="1664"/>
                  </a:lnTo>
                  <a:lnTo>
                    <a:pt x="636" y="1634"/>
                  </a:lnTo>
                  <a:lnTo>
                    <a:pt x="635" y="1604"/>
                  </a:lnTo>
                  <a:lnTo>
                    <a:pt x="639" y="1580"/>
                  </a:lnTo>
                  <a:lnTo>
                    <a:pt x="668" y="1572"/>
                  </a:lnTo>
                  <a:lnTo>
                    <a:pt x="653" y="1525"/>
                  </a:lnTo>
                  <a:lnTo>
                    <a:pt x="618" y="1513"/>
                  </a:lnTo>
                  <a:lnTo>
                    <a:pt x="602" y="1505"/>
                  </a:lnTo>
                  <a:lnTo>
                    <a:pt x="578" y="1512"/>
                  </a:lnTo>
                  <a:lnTo>
                    <a:pt x="529" y="1499"/>
                  </a:lnTo>
                  <a:lnTo>
                    <a:pt x="489" y="1454"/>
                  </a:lnTo>
                  <a:lnTo>
                    <a:pt x="457" y="1440"/>
                  </a:lnTo>
                  <a:lnTo>
                    <a:pt x="442" y="1397"/>
                  </a:lnTo>
                  <a:lnTo>
                    <a:pt x="413" y="1393"/>
                  </a:lnTo>
                  <a:lnTo>
                    <a:pt x="387" y="1407"/>
                  </a:lnTo>
                  <a:lnTo>
                    <a:pt x="369" y="1415"/>
                  </a:lnTo>
                  <a:lnTo>
                    <a:pt x="361" y="1396"/>
                  </a:lnTo>
                  <a:lnTo>
                    <a:pt x="347" y="1377"/>
                  </a:lnTo>
                  <a:lnTo>
                    <a:pt x="386" y="1374"/>
                  </a:lnTo>
                  <a:lnTo>
                    <a:pt x="383" y="1362"/>
                  </a:lnTo>
                  <a:lnTo>
                    <a:pt x="374" y="1352"/>
                  </a:lnTo>
                  <a:lnTo>
                    <a:pt x="361" y="1342"/>
                  </a:lnTo>
                  <a:lnTo>
                    <a:pt x="341" y="1294"/>
                  </a:lnTo>
                  <a:lnTo>
                    <a:pt x="312" y="1268"/>
                  </a:lnTo>
                  <a:lnTo>
                    <a:pt x="282" y="1267"/>
                  </a:lnTo>
                  <a:lnTo>
                    <a:pt x="253" y="1267"/>
                  </a:lnTo>
                  <a:lnTo>
                    <a:pt x="231" y="1252"/>
                  </a:lnTo>
                  <a:lnTo>
                    <a:pt x="211" y="1249"/>
                  </a:lnTo>
                  <a:lnTo>
                    <a:pt x="194" y="1249"/>
                  </a:lnTo>
                  <a:lnTo>
                    <a:pt x="183" y="1261"/>
                  </a:lnTo>
                  <a:lnTo>
                    <a:pt x="162" y="1282"/>
                  </a:lnTo>
                  <a:lnTo>
                    <a:pt x="159" y="1303"/>
                  </a:lnTo>
                  <a:lnTo>
                    <a:pt x="150" y="1308"/>
                  </a:lnTo>
                  <a:lnTo>
                    <a:pt x="139" y="1341"/>
                  </a:lnTo>
                  <a:lnTo>
                    <a:pt x="130" y="1331"/>
                  </a:lnTo>
                  <a:lnTo>
                    <a:pt x="126" y="1319"/>
                  </a:lnTo>
                  <a:lnTo>
                    <a:pt x="0" y="130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0" name="30500193.25462.12549.3755">
              <a:extLst>
                <a:ext uri="{FF2B5EF4-FFF2-40B4-BE49-F238E27FC236}">
                  <a16:creationId xmlns:a16="http://schemas.microsoft.com/office/drawing/2014/main" id="{AD5105E3-35CE-4B1F-9A1B-FAEF80BDD0E9}"/>
                </a:ext>
              </a:extLst>
            </p:cNvPr>
            <p:cNvSpPr>
              <a:spLocks noChangeAspect="1"/>
            </p:cNvSpPr>
            <p:nvPr/>
          </p:nvSpPr>
          <p:spPr bwMode="gray">
            <a:xfrm>
              <a:off x="7082988" y="1427883"/>
              <a:ext cx="148358" cy="65597"/>
            </a:xfrm>
            <a:custGeom>
              <a:avLst/>
              <a:gdLst/>
              <a:ahLst/>
              <a:cxnLst>
                <a:cxn ang="0">
                  <a:pos x="0" y="51"/>
                </a:cxn>
                <a:cxn ang="0">
                  <a:pos x="34" y="34"/>
                </a:cxn>
                <a:cxn ang="0">
                  <a:pos x="8" y="21"/>
                </a:cxn>
                <a:cxn ang="0">
                  <a:pos x="128" y="0"/>
                </a:cxn>
                <a:cxn ang="0">
                  <a:pos x="148" y="1"/>
                </a:cxn>
                <a:cxn ang="0">
                  <a:pos x="125" y="19"/>
                </a:cxn>
                <a:cxn ang="0">
                  <a:pos x="166" y="18"/>
                </a:cxn>
                <a:cxn ang="0">
                  <a:pos x="59" y="59"/>
                </a:cxn>
                <a:cxn ang="0">
                  <a:pos x="34" y="71"/>
                </a:cxn>
                <a:cxn ang="0">
                  <a:pos x="40" y="54"/>
                </a:cxn>
                <a:cxn ang="0">
                  <a:pos x="0" y="51"/>
                </a:cxn>
              </a:cxnLst>
              <a:rect l="0" t="0" r="r" b="b"/>
              <a:pathLst>
                <a:path w="166" h="71">
                  <a:moveTo>
                    <a:pt x="0" y="51"/>
                  </a:moveTo>
                  <a:lnTo>
                    <a:pt x="34" y="34"/>
                  </a:lnTo>
                  <a:lnTo>
                    <a:pt x="8" y="21"/>
                  </a:lnTo>
                  <a:lnTo>
                    <a:pt x="128" y="0"/>
                  </a:lnTo>
                  <a:lnTo>
                    <a:pt x="148" y="1"/>
                  </a:lnTo>
                  <a:lnTo>
                    <a:pt x="125" y="19"/>
                  </a:lnTo>
                  <a:lnTo>
                    <a:pt x="166" y="18"/>
                  </a:lnTo>
                  <a:lnTo>
                    <a:pt x="59" y="59"/>
                  </a:lnTo>
                  <a:lnTo>
                    <a:pt x="34" y="71"/>
                  </a:lnTo>
                  <a:lnTo>
                    <a:pt x="40" y="54"/>
                  </a:lnTo>
                  <a:lnTo>
                    <a:pt x="0" y="5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1" name="30501236.5465.1252.253.755">
              <a:extLst>
                <a:ext uri="{FF2B5EF4-FFF2-40B4-BE49-F238E27FC236}">
                  <a16:creationId xmlns:a16="http://schemas.microsoft.com/office/drawing/2014/main" id="{6C3FA62A-E7E9-4881-97CE-E3B23C6BE03A}"/>
                </a:ext>
              </a:extLst>
            </p:cNvPr>
            <p:cNvSpPr>
              <a:spLocks noChangeAspect="1"/>
            </p:cNvSpPr>
            <p:nvPr/>
          </p:nvSpPr>
          <p:spPr bwMode="gray">
            <a:xfrm>
              <a:off x="7130538" y="2129276"/>
              <a:ext cx="58961" cy="35323"/>
            </a:xfrm>
            <a:custGeom>
              <a:avLst/>
              <a:gdLst/>
              <a:ahLst/>
              <a:cxnLst>
                <a:cxn ang="0">
                  <a:pos x="0" y="38"/>
                </a:cxn>
                <a:cxn ang="0">
                  <a:pos x="19" y="0"/>
                </a:cxn>
                <a:cxn ang="0">
                  <a:pos x="66" y="21"/>
                </a:cxn>
                <a:cxn ang="0">
                  <a:pos x="0" y="38"/>
                </a:cxn>
              </a:cxnLst>
              <a:rect l="0" t="0" r="r" b="b"/>
              <a:pathLst>
                <a:path w="66" h="38">
                  <a:moveTo>
                    <a:pt x="0" y="38"/>
                  </a:moveTo>
                  <a:lnTo>
                    <a:pt x="19" y="0"/>
                  </a:lnTo>
                  <a:lnTo>
                    <a:pt x="66" y="21"/>
                  </a:lnTo>
                  <a:lnTo>
                    <a:pt x="0" y="3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2" name="30502223.625471.58.7511.55">
              <a:extLst>
                <a:ext uri="{FF2B5EF4-FFF2-40B4-BE49-F238E27FC236}">
                  <a16:creationId xmlns:a16="http://schemas.microsoft.com/office/drawing/2014/main" id="{D30E2108-455F-44E7-B25A-DBB18706FDBC}"/>
                </a:ext>
              </a:extLst>
            </p:cNvPr>
            <p:cNvSpPr>
              <a:spLocks noChangeAspect="1"/>
            </p:cNvSpPr>
            <p:nvPr/>
          </p:nvSpPr>
          <p:spPr bwMode="gray">
            <a:xfrm>
              <a:off x="7231343" y="1920706"/>
              <a:ext cx="184493" cy="142969"/>
            </a:xfrm>
            <a:custGeom>
              <a:avLst/>
              <a:gdLst/>
              <a:ahLst/>
              <a:cxnLst>
                <a:cxn ang="0">
                  <a:pos x="0" y="76"/>
                </a:cxn>
                <a:cxn ang="0">
                  <a:pos x="16" y="109"/>
                </a:cxn>
                <a:cxn ang="0">
                  <a:pos x="38" y="98"/>
                </a:cxn>
                <a:cxn ang="0">
                  <a:pos x="63" y="120"/>
                </a:cxn>
                <a:cxn ang="0">
                  <a:pos x="82" y="109"/>
                </a:cxn>
                <a:cxn ang="0">
                  <a:pos x="75" y="147"/>
                </a:cxn>
                <a:cxn ang="0">
                  <a:pos x="203" y="154"/>
                </a:cxn>
                <a:cxn ang="0">
                  <a:pos x="154" y="127"/>
                </a:cxn>
                <a:cxn ang="0">
                  <a:pos x="129" y="79"/>
                </a:cxn>
                <a:cxn ang="0">
                  <a:pos x="132" y="29"/>
                </a:cxn>
                <a:cxn ang="0">
                  <a:pos x="163" y="0"/>
                </a:cxn>
                <a:cxn ang="0">
                  <a:pos x="52" y="10"/>
                </a:cxn>
                <a:cxn ang="0">
                  <a:pos x="26" y="76"/>
                </a:cxn>
                <a:cxn ang="0">
                  <a:pos x="0" y="76"/>
                </a:cxn>
              </a:cxnLst>
              <a:rect l="0" t="0" r="r" b="b"/>
              <a:pathLst>
                <a:path w="203" h="154">
                  <a:moveTo>
                    <a:pt x="0" y="76"/>
                  </a:moveTo>
                  <a:lnTo>
                    <a:pt x="16" y="109"/>
                  </a:lnTo>
                  <a:lnTo>
                    <a:pt x="38" y="98"/>
                  </a:lnTo>
                  <a:lnTo>
                    <a:pt x="63" y="120"/>
                  </a:lnTo>
                  <a:lnTo>
                    <a:pt x="82" y="109"/>
                  </a:lnTo>
                  <a:lnTo>
                    <a:pt x="75" y="147"/>
                  </a:lnTo>
                  <a:lnTo>
                    <a:pt x="203" y="154"/>
                  </a:lnTo>
                  <a:lnTo>
                    <a:pt x="154" y="127"/>
                  </a:lnTo>
                  <a:lnTo>
                    <a:pt x="129" y="79"/>
                  </a:lnTo>
                  <a:lnTo>
                    <a:pt x="132" y="29"/>
                  </a:lnTo>
                  <a:lnTo>
                    <a:pt x="163" y="0"/>
                  </a:lnTo>
                  <a:lnTo>
                    <a:pt x="52" y="10"/>
                  </a:lnTo>
                  <a:lnTo>
                    <a:pt x="26" y="76"/>
                  </a:lnTo>
                  <a:lnTo>
                    <a:pt x="0" y="7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3" name="30503209.625475.51428.8755">
              <a:extLst>
                <a:ext uri="{FF2B5EF4-FFF2-40B4-BE49-F238E27FC236}">
                  <a16:creationId xmlns:a16="http://schemas.microsoft.com/office/drawing/2014/main" id="{175955F3-D320-4D3E-A055-AE82CA727E4C}"/>
                </a:ext>
              </a:extLst>
            </p:cNvPr>
            <p:cNvSpPr>
              <a:spLocks noChangeAspect="1"/>
            </p:cNvSpPr>
            <p:nvPr/>
          </p:nvSpPr>
          <p:spPr bwMode="gray">
            <a:xfrm>
              <a:off x="7294109" y="1695319"/>
              <a:ext cx="465993" cy="225387"/>
            </a:xfrm>
            <a:custGeom>
              <a:avLst/>
              <a:gdLst/>
              <a:ahLst/>
              <a:cxnLst>
                <a:cxn ang="0">
                  <a:pos x="0" y="213"/>
                </a:cxn>
                <a:cxn ang="0">
                  <a:pos x="48" y="220"/>
                </a:cxn>
                <a:cxn ang="0">
                  <a:pos x="17" y="242"/>
                </a:cxn>
                <a:cxn ang="0">
                  <a:pos x="102" y="249"/>
                </a:cxn>
                <a:cxn ang="0">
                  <a:pos x="105" y="220"/>
                </a:cxn>
                <a:cxn ang="0">
                  <a:pos x="128" y="225"/>
                </a:cxn>
                <a:cxn ang="0">
                  <a:pos x="103" y="209"/>
                </a:cxn>
                <a:cxn ang="0">
                  <a:pos x="138" y="214"/>
                </a:cxn>
                <a:cxn ang="0">
                  <a:pos x="130" y="183"/>
                </a:cxn>
                <a:cxn ang="0">
                  <a:pos x="147" y="202"/>
                </a:cxn>
                <a:cxn ang="0">
                  <a:pos x="171" y="184"/>
                </a:cxn>
                <a:cxn ang="0">
                  <a:pos x="156" y="163"/>
                </a:cxn>
                <a:cxn ang="0">
                  <a:pos x="208" y="166"/>
                </a:cxn>
                <a:cxn ang="0">
                  <a:pos x="194" y="154"/>
                </a:cxn>
                <a:cxn ang="0">
                  <a:pos x="217" y="157"/>
                </a:cxn>
                <a:cxn ang="0">
                  <a:pos x="231" y="132"/>
                </a:cxn>
                <a:cxn ang="0">
                  <a:pos x="487" y="52"/>
                </a:cxn>
                <a:cxn ang="0">
                  <a:pos x="513" y="22"/>
                </a:cxn>
                <a:cxn ang="0">
                  <a:pos x="463" y="0"/>
                </a:cxn>
                <a:cxn ang="0">
                  <a:pos x="356" y="49"/>
                </a:cxn>
                <a:cxn ang="0">
                  <a:pos x="245" y="49"/>
                </a:cxn>
                <a:cxn ang="0">
                  <a:pos x="127" y="117"/>
                </a:cxn>
                <a:cxn ang="0">
                  <a:pos x="62" y="125"/>
                </a:cxn>
                <a:cxn ang="0">
                  <a:pos x="65" y="154"/>
                </a:cxn>
                <a:cxn ang="0">
                  <a:pos x="101" y="157"/>
                </a:cxn>
                <a:cxn ang="0">
                  <a:pos x="61" y="158"/>
                </a:cxn>
                <a:cxn ang="0">
                  <a:pos x="79" y="170"/>
                </a:cxn>
                <a:cxn ang="0">
                  <a:pos x="48" y="184"/>
                </a:cxn>
                <a:cxn ang="0">
                  <a:pos x="83" y="198"/>
                </a:cxn>
                <a:cxn ang="0">
                  <a:pos x="0" y="213"/>
                </a:cxn>
              </a:cxnLst>
              <a:rect l="0" t="0" r="r" b="b"/>
              <a:pathLst>
                <a:path w="513" h="249">
                  <a:moveTo>
                    <a:pt x="0" y="213"/>
                  </a:moveTo>
                  <a:lnTo>
                    <a:pt x="48" y="220"/>
                  </a:lnTo>
                  <a:lnTo>
                    <a:pt x="17" y="242"/>
                  </a:lnTo>
                  <a:lnTo>
                    <a:pt x="102" y="249"/>
                  </a:lnTo>
                  <a:lnTo>
                    <a:pt x="105" y="220"/>
                  </a:lnTo>
                  <a:lnTo>
                    <a:pt x="128" y="225"/>
                  </a:lnTo>
                  <a:lnTo>
                    <a:pt x="103" y="209"/>
                  </a:lnTo>
                  <a:lnTo>
                    <a:pt x="138" y="214"/>
                  </a:lnTo>
                  <a:lnTo>
                    <a:pt x="130" y="183"/>
                  </a:lnTo>
                  <a:lnTo>
                    <a:pt x="147" y="202"/>
                  </a:lnTo>
                  <a:lnTo>
                    <a:pt x="171" y="184"/>
                  </a:lnTo>
                  <a:lnTo>
                    <a:pt x="156" y="163"/>
                  </a:lnTo>
                  <a:lnTo>
                    <a:pt x="208" y="166"/>
                  </a:lnTo>
                  <a:lnTo>
                    <a:pt x="194" y="154"/>
                  </a:lnTo>
                  <a:lnTo>
                    <a:pt x="217" y="157"/>
                  </a:lnTo>
                  <a:lnTo>
                    <a:pt x="231" y="132"/>
                  </a:lnTo>
                  <a:lnTo>
                    <a:pt x="487" y="52"/>
                  </a:lnTo>
                  <a:lnTo>
                    <a:pt x="513" y="22"/>
                  </a:lnTo>
                  <a:lnTo>
                    <a:pt x="463" y="0"/>
                  </a:lnTo>
                  <a:lnTo>
                    <a:pt x="356" y="49"/>
                  </a:lnTo>
                  <a:lnTo>
                    <a:pt x="245" y="49"/>
                  </a:lnTo>
                  <a:lnTo>
                    <a:pt x="127" y="117"/>
                  </a:lnTo>
                  <a:lnTo>
                    <a:pt x="62" y="125"/>
                  </a:lnTo>
                  <a:lnTo>
                    <a:pt x="65" y="154"/>
                  </a:lnTo>
                  <a:lnTo>
                    <a:pt x="101" y="157"/>
                  </a:lnTo>
                  <a:lnTo>
                    <a:pt x="61" y="158"/>
                  </a:lnTo>
                  <a:lnTo>
                    <a:pt x="79" y="170"/>
                  </a:lnTo>
                  <a:lnTo>
                    <a:pt x="48" y="184"/>
                  </a:lnTo>
                  <a:lnTo>
                    <a:pt x="83" y="198"/>
                  </a:lnTo>
                  <a:lnTo>
                    <a:pt x="0" y="213"/>
                  </a:lnTo>
                  <a:close/>
                </a:path>
              </a:pathLst>
            </a:custGeom>
            <a:grpFill/>
            <a:ln w="1270">
              <a:solidFill>
                <a:schemeClr val="bg1">
                  <a:lumMod val="75000"/>
                </a:schemeClr>
              </a:solidFill>
              <a:prstDash val="solid"/>
              <a:round/>
              <a:headEnd/>
              <a:tailEnd/>
            </a:ln>
          </p:spPr>
          <p:txBody>
            <a:bodyPr/>
            <a:lstStyle/>
            <a:p>
              <a:endParaRPr lang="en-US">
                <a:latin typeface="+mn-lt"/>
              </a:endParaRPr>
            </a:p>
          </p:txBody>
        </p:sp>
        <p:sp>
          <p:nvSpPr>
            <p:cNvPr id="124" name="30504191.125492.1252.8755.55">
              <a:extLst>
                <a:ext uri="{FF2B5EF4-FFF2-40B4-BE49-F238E27FC236}">
                  <a16:creationId xmlns:a16="http://schemas.microsoft.com/office/drawing/2014/main" id="{D0A3346F-1414-4B9D-809F-257F43C32897}"/>
                </a:ext>
              </a:extLst>
            </p:cNvPr>
            <p:cNvSpPr>
              <a:spLocks noChangeAspect="1"/>
            </p:cNvSpPr>
            <p:nvPr/>
          </p:nvSpPr>
          <p:spPr bwMode="gray">
            <a:xfrm>
              <a:off x="7564194" y="1394244"/>
              <a:ext cx="85592" cy="45414"/>
            </a:xfrm>
            <a:custGeom>
              <a:avLst/>
              <a:gdLst/>
              <a:ahLst/>
              <a:cxnLst>
                <a:cxn ang="0">
                  <a:pos x="0" y="36"/>
                </a:cxn>
                <a:cxn ang="0">
                  <a:pos x="31" y="51"/>
                </a:cxn>
                <a:cxn ang="0">
                  <a:pos x="99" y="33"/>
                </a:cxn>
                <a:cxn ang="0">
                  <a:pos x="58" y="0"/>
                </a:cxn>
                <a:cxn ang="0">
                  <a:pos x="0" y="36"/>
                </a:cxn>
              </a:cxnLst>
              <a:rect l="0" t="0" r="r" b="b"/>
              <a:pathLst>
                <a:path w="99" h="51">
                  <a:moveTo>
                    <a:pt x="0" y="36"/>
                  </a:moveTo>
                  <a:lnTo>
                    <a:pt x="31" y="51"/>
                  </a:lnTo>
                  <a:lnTo>
                    <a:pt x="99" y="33"/>
                  </a:lnTo>
                  <a:lnTo>
                    <a:pt x="58" y="0"/>
                  </a:lnTo>
                  <a:lnTo>
                    <a:pt x="0" y="3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5" name="30505196.75545.751.8755.1255">
              <a:extLst>
                <a:ext uri="{FF2B5EF4-FFF2-40B4-BE49-F238E27FC236}">
                  <a16:creationId xmlns:a16="http://schemas.microsoft.com/office/drawing/2014/main" id="{B53B51B0-FFC6-4189-942E-B88ACCFFE3C2}"/>
                </a:ext>
              </a:extLst>
            </p:cNvPr>
            <p:cNvSpPr>
              <a:spLocks noChangeAspect="1"/>
            </p:cNvSpPr>
            <p:nvPr/>
          </p:nvSpPr>
          <p:spPr bwMode="gray">
            <a:xfrm>
              <a:off x="8421999" y="1483388"/>
              <a:ext cx="81787" cy="33639"/>
            </a:xfrm>
            <a:custGeom>
              <a:avLst/>
              <a:gdLst/>
              <a:ahLst/>
              <a:cxnLst>
                <a:cxn ang="0">
                  <a:pos x="0" y="0"/>
                </a:cxn>
                <a:cxn ang="0">
                  <a:pos x="40" y="26"/>
                </a:cxn>
                <a:cxn ang="0">
                  <a:pos x="26" y="33"/>
                </a:cxn>
                <a:cxn ang="0">
                  <a:pos x="62" y="31"/>
                </a:cxn>
                <a:cxn ang="0">
                  <a:pos x="89" y="15"/>
                </a:cxn>
                <a:cxn ang="0">
                  <a:pos x="0" y="0"/>
                </a:cxn>
              </a:cxnLst>
              <a:rect l="0" t="0" r="r" b="b"/>
              <a:pathLst>
                <a:path w="89" h="33">
                  <a:moveTo>
                    <a:pt x="0" y="0"/>
                  </a:moveTo>
                  <a:lnTo>
                    <a:pt x="40" y="26"/>
                  </a:lnTo>
                  <a:lnTo>
                    <a:pt x="26" y="33"/>
                  </a:lnTo>
                  <a:lnTo>
                    <a:pt x="62" y="31"/>
                  </a:lnTo>
                  <a:lnTo>
                    <a:pt x="89" y="15"/>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6" name="30506191.75546.6255.2511.8755">
              <a:extLst>
                <a:ext uri="{FF2B5EF4-FFF2-40B4-BE49-F238E27FC236}">
                  <a16:creationId xmlns:a16="http://schemas.microsoft.com/office/drawing/2014/main" id="{4FF43C4D-43EC-469F-99D3-36C8C4A07D61}"/>
                </a:ext>
              </a:extLst>
            </p:cNvPr>
            <p:cNvSpPr>
              <a:spLocks noChangeAspect="1"/>
            </p:cNvSpPr>
            <p:nvPr/>
          </p:nvSpPr>
          <p:spPr bwMode="gray">
            <a:xfrm>
              <a:off x="8437216" y="1404335"/>
              <a:ext cx="190202" cy="85783"/>
            </a:xfrm>
            <a:custGeom>
              <a:avLst/>
              <a:gdLst/>
              <a:ahLst/>
              <a:cxnLst>
                <a:cxn ang="0">
                  <a:pos x="0" y="75"/>
                </a:cxn>
                <a:cxn ang="0">
                  <a:pos x="56" y="25"/>
                </a:cxn>
                <a:cxn ang="0">
                  <a:pos x="136" y="0"/>
                </a:cxn>
                <a:cxn ang="0">
                  <a:pos x="212" y="44"/>
                </a:cxn>
                <a:cxn ang="0">
                  <a:pos x="187" y="52"/>
                </a:cxn>
                <a:cxn ang="0">
                  <a:pos x="194" y="73"/>
                </a:cxn>
                <a:cxn ang="0">
                  <a:pos x="84" y="92"/>
                </a:cxn>
                <a:cxn ang="0">
                  <a:pos x="0" y="75"/>
                </a:cxn>
              </a:cxnLst>
              <a:rect l="0" t="0" r="r" b="b"/>
              <a:pathLst>
                <a:path w="212" h="92">
                  <a:moveTo>
                    <a:pt x="0" y="75"/>
                  </a:moveTo>
                  <a:lnTo>
                    <a:pt x="56" y="25"/>
                  </a:lnTo>
                  <a:lnTo>
                    <a:pt x="136" y="0"/>
                  </a:lnTo>
                  <a:lnTo>
                    <a:pt x="212" y="44"/>
                  </a:lnTo>
                  <a:lnTo>
                    <a:pt x="187" y="52"/>
                  </a:lnTo>
                  <a:lnTo>
                    <a:pt x="194" y="73"/>
                  </a:lnTo>
                  <a:lnTo>
                    <a:pt x="84" y="92"/>
                  </a:lnTo>
                  <a:lnTo>
                    <a:pt x="0" y="7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7" name="30507196.25549.256.12513.55">
              <a:extLst>
                <a:ext uri="{FF2B5EF4-FFF2-40B4-BE49-F238E27FC236}">
                  <a16:creationId xmlns:a16="http://schemas.microsoft.com/office/drawing/2014/main" id="{AEEE31B9-B67B-4042-8764-F99FC14B7A1B}"/>
                </a:ext>
              </a:extLst>
            </p:cNvPr>
            <p:cNvSpPr>
              <a:spLocks noChangeAspect="1"/>
            </p:cNvSpPr>
            <p:nvPr/>
          </p:nvSpPr>
          <p:spPr bwMode="gray">
            <a:xfrm>
              <a:off x="8479060" y="1478343"/>
              <a:ext cx="214926" cy="97555"/>
            </a:xfrm>
            <a:custGeom>
              <a:avLst/>
              <a:gdLst/>
              <a:ahLst/>
              <a:cxnLst>
                <a:cxn ang="0">
                  <a:pos x="0" y="46"/>
                </a:cxn>
                <a:cxn ang="0">
                  <a:pos x="44" y="52"/>
                </a:cxn>
                <a:cxn ang="0">
                  <a:pos x="74" y="89"/>
                </a:cxn>
                <a:cxn ang="0">
                  <a:pos x="98" y="78"/>
                </a:cxn>
                <a:cxn ang="0">
                  <a:pos x="197" y="107"/>
                </a:cxn>
                <a:cxn ang="0">
                  <a:pos x="230" y="95"/>
                </a:cxn>
                <a:cxn ang="0">
                  <a:pos x="205" y="67"/>
                </a:cxn>
                <a:cxn ang="0">
                  <a:pos x="224" y="74"/>
                </a:cxn>
                <a:cxn ang="0">
                  <a:pos x="239" y="31"/>
                </a:cxn>
                <a:cxn ang="0">
                  <a:pos x="187" y="9"/>
                </a:cxn>
                <a:cxn ang="0">
                  <a:pos x="136" y="39"/>
                </a:cxn>
                <a:cxn ang="0">
                  <a:pos x="178" y="23"/>
                </a:cxn>
                <a:cxn ang="0">
                  <a:pos x="153" y="0"/>
                </a:cxn>
                <a:cxn ang="0">
                  <a:pos x="70" y="8"/>
                </a:cxn>
                <a:cxn ang="0">
                  <a:pos x="0" y="46"/>
                </a:cxn>
              </a:cxnLst>
              <a:rect l="0" t="0" r="r" b="b"/>
              <a:pathLst>
                <a:path w="239" h="107">
                  <a:moveTo>
                    <a:pt x="0" y="46"/>
                  </a:moveTo>
                  <a:lnTo>
                    <a:pt x="44" y="52"/>
                  </a:lnTo>
                  <a:lnTo>
                    <a:pt x="74" y="89"/>
                  </a:lnTo>
                  <a:lnTo>
                    <a:pt x="98" y="78"/>
                  </a:lnTo>
                  <a:lnTo>
                    <a:pt x="197" y="107"/>
                  </a:lnTo>
                  <a:lnTo>
                    <a:pt x="230" y="95"/>
                  </a:lnTo>
                  <a:lnTo>
                    <a:pt x="205" y="67"/>
                  </a:lnTo>
                  <a:lnTo>
                    <a:pt x="224" y="74"/>
                  </a:lnTo>
                  <a:lnTo>
                    <a:pt x="239" y="31"/>
                  </a:lnTo>
                  <a:lnTo>
                    <a:pt x="187" y="9"/>
                  </a:lnTo>
                  <a:lnTo>
                    <a:pt x="136" y="39"/>
                  </a:lnTo>
                  <a:lnTo>
                    <a:pt x="178" y="23"/>
                  </a:lnTo>
                  <a:lnTo>
                    <a:pt x="153" y="0"/>
                  </a:lnTo>
                  <a:lnTo>
                    <a:pt x="70" y="8"/>
                  </a:lnTo>
                  <a:lnTo>
                    <a:pt x="0" y="4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8" name="30508199.375561.756.2511.255">
              <a:extLst>
                <a:ext uri="{FF2B5EF4-FFF2-40B4-BE49-F238E27FC236}">
                  <a16:creationId xmlns:a16="http://schemas.microsoft.com/office/drawing/2014/main" id="{2F192BA5-224E-4B5C-84D3-AFBA3EC324D2}"/>
                </a:ext>
              </a:extLst>
            </p:cNvPr>
            <p:cNvSpPr>
              <a:spLocks noChangeAspect="1"/>
            </p:cNvSpPr>
            <p:nvPr/>
          </p:nvSpPr>
          <p:spPr bwMode="gray">
            <a:xfrm>
              <a:off x="8678769" y="1528803"/>
              <a:ext cx="178787" cy="100920"/>
            </a:xfrm>
            <a:custGeom>
              <a:avLst/>
              <a:gdLst/>
              <a:ahLst/>
              <a:cxnLst>
                <a:cxn ang="0">
                  <a:pos x="0" y="92"/>
                </a:cxn>
                <a:cxn ang="0">
                  <a:pos x="15" y="109"/>
                </a:cxn>
                <a:cxn ang="0">
                  <a:pos x="183" y="87"/>
                </a:cxn>
                <a:cxn ang="0">
                  <a:pos x="199" y="51"/>
                </a:cxn>
                <a:cxn ang="0">
                  <a:pos x="152" y="22"/>
                </a:cxn>
                <a:cxn ang="0">
                  <a:pos x="113" y="33"/>
                </a:cxn>
                <a:cxn ang="0">
                  <a:pos x="119" y="10"/>
                </a:cxn>
                <a:cxn ang="0">
                  <a:pos x="96" y="0"/>
                </a:cxn>
                <a:cxn ang="0">
                  <a:pos x="19" y="81"/>
                </a:cxn>
                <a:cxn ang="0">
                  <a:pos x="0" y="92"/>
                </a:cxn>
              </a:cxnLst>
              <a:rect l="0" t="0" r="r" b="b"/>
              <a:pathLst>
                <a:path w="199" h="109">
                  <a:moveTo>
                    <a:pt x="0" y="92"/>
                  </a:moveTo>
                  <a:lnTo>
                    <a:pt x="15" y="109"/>
                  </a:lnTo>
                  <a:lnTo>
                    <a:pt x="183" y="87"/>
                  </a:lnTo>
                  <a:lnTo>
                    <a:pt x="199" y="51"/>
                  </a:lnTo>
                  <a:lnTo>
                    <a:pt x="152" y="22"/>
                  </a:lnTo>
                  <a:lnTo>
                    <a:pt x="113" y="33"/>
                  </a:lnTo>
                  <a:lnTo>
                    <a:pt x="119" y="10"/>
                  </a:lnTo>
                  <a:lnTo>
                    <a:pt x="96" y="0"/>
                  </a:lnTo>
                  <a:lnTo>
                    <a:pt x="19" y="81"/>
                  </a:lnTo>
                  <a:lnTo>
                    <a:pt x="0" y="9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29" name="30509212.5631.755.87512.6255">
              <a:extLst>
                <a:ext uri="{FF2B5EF4-FFF2-40B4-BE49-F238E27FC236}">
                  <a16:creationId xmlns:a16="http://schemas.microsoft.com/office/drawing/2014/main" id="{238E1C1A-2562-4C4B-AEAD-F48E703BA1A5}"/>
                </a:ext>
              </a:extLst>
            </p:cNvPr>
            <p:cNvSpPr>
              <a:spLocks noChangeAspect="1"/>
            </p:cNvSpPr>
            <p:nvPr/>
          </p:nvSpPr>
          <p:spPr bwMode="gray">
            <a:xfrm>
              <a:off x="9800954" y="1739053"/>
              <a:ext cx="203514" cy="95874"/>
            </a:xfrm>
            <a:custGeom>
              <a:avLst/>
              <a:gdLst/>
              <a:ahLst/>
              <a:cxnLst>
                <a:cxn ang="0">
                  <a:pos x="0" y="56"/>
                </a:cxn>
                <a:cxn ang="0">
                  <a:pos x="45" y="4"/>
                </a:cxn>
                <a:cxn ang="0">
                  <a:pos x="77" y="0"/>
                </a:cxn>
                <a:cxn ang="0">
                  <a:pos x="128" y="40"/>
                </a:cxn>
                <a:cxn ang="0">
                  <a:pos x="136" y="11"/>
                </a:cxn>
                <a:cxn ang="0">
                  <a:pos x="192" y="34"/>
                </a:cxn>
                <a:cxn ang="0">
                  <a:pos x="187" y="72"/>
                </a:cxn>
                <a:cxn ang="0">
                  <a:pos x="223" y="85"/>
                </a:cxn>
                <a:cxn ang="0">
                  <a:pos x="106" y="92"/>
                </a:cxn>
                <a:cxn ang="0">
                  <a:pos x="99" y="76"/>
                </a:cxn>
                <a:cxn ang="0">
                  <a:pos x="80" y="103"/>
                </a:cxn>
                <a:cxn ang="0">
                  <a:pos x="0" y="56"/>
                </a:cxn>
              </a:cxnLst>
              <a:rect l="0" t="0" r="r" b="b"/>
              <a:pathLst>
                <a:path w="223" h="103">
                  <a:moveTo>
                    <a:pt x="0" y="56"/>
                  </a:moveTo>
                  <a:lnTo>
                    <a:pt x="45" y="4"/>
                  </a:lnTo>
                  <a:lnTo>
                    <a:pt x="77" y="0"/>
                  </a:lnTo>
                  <a:lnTo>
                    <a:pt x="128" y="40"/>
                  </a:lnTo>
                  <a:lnTo>
                    <a:pt x="136" y="11"/>
                  </a:lnTo>
                  <a:lnTo>
                    <a:pt x="192" y="34"/>
                  </a:lnTo>
                  <a:lnTo>
                    <a:pt x="187" y="72"/>
                  </a:lnTo>
                  <a:lnTo>
                    <a:pt x="223" y="85"/>
                  </a:lnTo>
                  <a:lnTo>
                    <a:pt x="106" y="92"/>
                  </a:lnTo>
                  <a:lnTo>
                    <a:pt x="99" y="76"/>
                  </a:lnTo>
                  <a:lnTo>
                    <a:pt x="80" y="103"/>
                  </a:lnTo>
                  <a:lnTo>
                    <a:pt x="0" y="5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0" name="30510212.75640.62547.6255">
              <a:extLst>
                <a:ext uri="{FF2B5EF4-FFF2-40B4-BE49-F238E27FC236}">
                  <a16:creationId xmlns:a16="http://schemas.microsoft.com/office/drawing/2014/main" id="{F1DB5BC5-DF19-493D-AA38-0F8BB9D04B31}"/>
                </a:ext>
              </a:extLst>
            </p:cNvPr>
            <p:cNvSpPr>
              <a:spLocks noChangeAspect="1"/>
            </p:cNvSpPr>
            <p:nvPr/>
          </p:nvSpPr>
          <p:spPr bwMode="gray">
            <a:xfrm>
              <a:off x="9943607" y="1745779"/>
              <a:ext cx="119826" cy="62232"/>
            </a:xfrm>
            <a:custGeom>
              <a:avLst/>
              <a:gdLst/>
              <a:ahLst/>
              <a:cxnLst>
                <a:cxn ang="0">
                  <a:pos x="0" y="0"/>
                </a:cxn>
                <a:cxn ang="0">
                  <a:pos x="46" y="26"/>
                </a:cxn>
                <a:cxn ang="0">
                  <a:pos x="33" y="50"/>
                </a:cxn>
                <a:cxn ang="0">
                  <a:pos x="57" y="70"/>
                </a:cxn>
                <a:cxn ang="0">
                  <a:pos x="98" y="70"/>
                </a:cxn>
                <a:cxn ang="0">
                  <a:pos x="138" y="44"/>
                </a:cxn>
                <a:cxn ang="0">
                  <a:pos x="0" y="0"/>
                </a:cxn>
              </a:cxnLst>
              <a:rect l="0" t="0" r="r" b="b"/>
              <a:pathLst>
                <a:path w="138" h="70">
                  <a:moveTo>
                    <a:pt x="0" y="0"/>
                  </a:moveTo>
                  <a:lnTo>
                    <a:pt x="46" y="26"/>
                  </a:lnTo>
                  <a:lnTo>
                    <a:pt x="33" y="50"/>
                  </a:lnTo>
                  <a:lnTo>
                    <a:pt x="57" y="70"/>
                  </a:lnTo>
                  <a:lnTo>
                    <a:pt x="98" y="70"/>
                  </a:lnTo>
                  <a:lnTo>
                    <a:pt x="138" y="44"/>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1" name="30511280.5641.2520.3755.8755">
              <a:extLst>
                <a:ext uri="{FF2B5EF4-FFF2-40B4-BE49-F238E27FC236}">
                  <a16:creationId xmlns:a16="http://schemas.microsoft.com/office/drawing/2014/main" id="{9D78666C-A0B3-4CCB-B146-E19DAA39FA4B}"/>
                </a:ext>
              </a:extLst>
            </p:cNvPr>
            <p:cNvSpPr>
              <a:spLocks noChangeAspect="1"/>
            </p:cNvSpPr>
            <p:nvPr/>
          </p:nvSpPr>
          <p:spPr bwMode="gray">
            <a:xfrm>
              <a:off x="9953113" y="2842441"/>
              <a:ext cx="95099" cy="329672"/>
            </a:xfrm>
            <a:custGeom>
              <a:avLst/>
              <a:gdLst/>
              <a:ahLst/>
              <a:cxnLst>
                <a:cxn ang="0">
                  <a:pos x="0" y="92"/>
                </a:cxn>
                <a:cxn ang="0">
                  <a:pos x="18" y="137"/>
                </a:cxn>
                <a:cxn ang="0">
                  <a:pos x="18" y="363"/>
                </a:cxn>
                <a:cxn ang="0">
                  <a:pos x="36" y="335"/>
                </a:cxn>
                <a:cxn ang="0">
                  <a:pos x="62" y="353"/>
                </a:cxn>
                <a:cxn ang="0">
                  <a:pos x="32" y="291"/>
                </a:cxn>
                <a:cxn ang="0">
                  <a:pos x="48" y="228"/>
                </a:cxn>
                <a:cxn ang="0">
                  <a:pos x="103" y="247"/>
                </a:cxn>
                <a:cxn ang="0">
                  <a:pos x="51" y="128"/>
                </a:cxn>
                <a:cxn ang="0">
                  <a:pos x="36" y="0"/>
                </a:cxn>
                <a:cxn ang="0">
                  <a:pos x="0" y="92"/>
                </a:cxn>
              </a:cxnLst>
              <a:rect l="0" t="0" r="r" b="b"/>
              <a:pathLst>
                <a:path w="103" h="363">
                  <a:moveTo>
                    <a:pt x="0" y="92"/>
                  </a:moveTo>
                  <a:lnTo>
                    <a:pt x="18" y="137"/>
                  </a:lnTo>
                  <a:lnTo>
                    <a:pt x="18" y="363"/>
                  </a:lnTo>
                  <a:lnTo>
                    <a:pt x="36" y="335"/>
                  </a:lnTo>
                  <a:lnTo>
                    <a:pt x="62" y="353"/>
                  </a:lnTo>
                  <a:lnTo>
                    <a:pt x="32" y="291"/>
                  </a:lnTo>
                  <a:lnTo>
                    <a:pt x="48" y="228"/>
                  </a:lnTo>
                  <a:lnTo>
                    <a:pt x="103" y="247"/>
                  </a:lnTo>
                  <a:lnTo>
                    <a:pt x="51" y="128"/>
                  </a:lnTo>
                  <a:lnTo>
                    <a:pt x="36" y="0"/>
                  </a:lnTo>
                  <a:lnTo>
                    <a:pt x="0" y="9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2" name="30512215649.8752.8758.755">
              <a:extLst>
                <a:ext uri="{FF2B5EF4-FFF2-40B4-BE49-F238E27FC236}">
                  <a16:creationId xmlns:a16="http://schemas.microsoft.com/office/drawing/2014/main" id="{30CF4A95-7762-4088-9E43-43261B87D325}"/>
                </a:ext>
              </a:extLst>
            </p:cNvPr>
            <p:cNvSpPr>
              <a:spLocks noChangeAspect="1"/>
            </p:cNvSpPr>
            <p:nvPr/>
          </p:nvSpPr>
          <p:spPr bwMode="gray">
            <a:xfrm>
              <a:off x="10091961" y="1781102"/>
              <a:ext cx="140748" cy="47095"/>
            </a:xfrm>
            <a:custGeom>
              <a:avLst/>
              <a:gdLst/>
              <a:ahLst/>
              <a:cxnLst>
                <a:cxn ang="0">
                  <a:pos x="0" y="0"/>
                </a:cxn>
                <a:cxn ang="0">
                  <a:pos x="28" y="36"/>
                </a:cxn>
                <a:cxn ang="0">
                  <a:pos x="99" y="52"/>
                </a:cxn>
                <a:cxn ang="0">
                  <a:pos x="155" y="41"/>
                </a:cxn>
                <a:cxn ang="0">
                  <a:pos x="0" y="0"/>
                </a:cxn>
              </a:cxnLst>
              <a:rect l="0" t="0" r="r" b="b"/>
              <a:pathLst>
                <a:path w="155" h="52">
                  <a:moveTo>
                    <a:pt x="0" y="0"/>
                  </a:moveTo>
                  <a:lnTo>
                    <a:pt x="28" y="36"/>
                  </a:lnTo>
                  <a:lnTo>
                    <a:pt x="99" y="52"/>
                  </a:lnTo>
                  <a:lnTo>
                    <a:pt x="155" y="4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3" name="30513306.25357.2516.7523.255">
              <a:extLst>
                <a:ext uri="{FF2B5EF4-FFF2-40B4-BE49-F238E27FC236}">
                  <a16:creationId xmlns:a16="http://schemas.microsoft.com/office/drawing/2014/main" id="{B4354A12-B8BC-459A-B3DF-B12F68539F8C}"/>
                </a:ext>
              </a:extLst>
            </p:cNvPr>
            <p:cNvSpPr>
              <a:spLocks noChangeAspect="1"/>
            </p:cNvSpPr>
            <p:nvPr/>
          </p:nvSpPr>
          <p:spPr bwMode="gray">
            <a:xfrm>
              <a:off x="5399711" y="3257892"/>
              <a:ext cx="372795" cy="270801"/>
            </a:xfrm>
            <a:custGeom>
              <a:avLst/>
              <a:gdLst/>
              <a:ahLst/>
              <a:cxnLst>
                <a:cxn ang="0">
                  <a:pos x="0" y="24"/>
                </a:cxn>
                <a:cxn ang="0">
                  <a:pos x="14" y="73"/>
                </a:cxn>
                <a:cxn ang="0">
                  <a:pos x="100" y="81"/>
                </a:cxn>
                <a:cxn ang="0">
                  <a:pos x="62" y="158"/>
                </a:cxn>
                <a:cxn ang="0">
                  <a:pos x="62" y="253"/>
                </a:cxn>
                <a:cxn ang="0">
                  <a:pos x="124" y="295"/>
                </a:cxn>
                <a:cxn ang="0">
                  <a:pos x="243" y="268"/>
                </a:cxn>
                <a:cxn ang="0">
                  <a:pos x="310" y="196"/>
                </a:cxn>
                <a:cxn ang="0">
                  <a:pos x="297" y="167"/>
                </a:cxn>
                <a:cxn ang="0">
                  <a:pos x="332" y="115"/>
                </a:cxn>
                <a:cxn ang="0">
                  <a:pos x="409" y="74"/>
                </a:cxn>
                <a:cxn ang="0">
                  <a:pos x="411" y="51"/>
                </a:cxn>
                <a:cxn ang="0">
                  <a:pos x="361" y="45"/>
                </a:cxn>
                <a:cxn ang="0">
                  <a:pos x="350" y="41"/>
                </a:cxn>
                <a:cxn ang="0">
                  <a:pos x="246" y="11"/>
                </a:cxn>
                <a:cxn ang="0">
                  <a:pos x="36" y="0"/>
                </a:cxn>
                <a:cxn ang="0">
                  <a:pos x="0" y="24"/>
                </a:cxn>
              </a:cxnLst>
              <a:rect l="0" t="0" r="r" b="b"/>
              <a:pathLst>
                <a:path w="411" h="295">
                  <a:moveTo>
                    <a:pt x="0" y="24"/>
                  </a:moveTo>
                  <a:lnTo>
                    <a:pt x="14" y="73"/>
                  </a:lnTo>
                  <a:lnTo>
                    <a:pt x="100" y="81"/>
                  </a:lnTo>
                  <a:lnTo>
                    <a:pt x="62" y="158"/>
                  </a:lnTo>
                  <a:lnTo>
                    <a:pt x="62" y="253"/>
                  </a:lnTo>
                  <a:lnTo>
                    <a:pt x="124" y="295"/>
                  </a:lnTo>
                  <a:lnTo>
                    <a:pt x="243" y="268"/>
                  </a:lnTo>
                  <a:lnTo>
                    <a:pt x="310" y="196"/>
                  </a:lnTo>
                  <a:lnTo>
                    <a:pt x="297" y="167"/>
                  </a:lnTo>
                  <a:lnTo>
                    <a:pt x="332" y="115"/>
                  </a:lnTo>
                  <a:lnTo>
                    <a:pt x="409" y="74"/>
                  </a:lnTo>
                  <a:lnTo>
                    <a:pt x="411" y="51"/>
                  </a:lnTo>
                  <a:lnTo>
                    <a:pt x="361" y="45"/>
                  </a:lnTo>
                  <a:lnTo>
                    <a:pt x="350" y="41"/>
                  </a:lnTo>
                  <a:lnTo>
                    <a:pt x="246" y="11"/>
                  </a:lnTo>
                  <a:lnTo>
                    <a:pt x="36" y="0"/>
                  </a:lnTo>
                  <a:lnTo>
                    <a:pt x="0" y="2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4" name="30515196.75394.7514.12519.8755">
              <a:extLst>
                <a:ext uri="{FF2B5EF4-FFF2-40B4-BE49-F238E27FC236}">
                  <a16:creationId xmlns:a16="http://schemas.microsoft.com/office/drawing/2014/main" id="{7B460C96-2AB1-45D5-889D-FE3B1206D347}"/>
                </a:ext>
              </a:extLst>
            </p:cNvPr>
            <p:cNvSpPr>
              <a:spLocks noChangeAspect="1"/>
            </p:cNvSpPr>
            <p:nvPr/>
          </p:nvSpPr>
          <p:spPr bwMode="gray">
            <a:xfrm>
              <a:off x="6000747" y="1483388"/>
              <a:ext cx="319535" cy="230433"/>
            </a:xfrm>
            <a:custGeom>
              <a:avLst/>
              <a:gdLst/>
              <a:ahLst/>
              <a:cxnLst>
                <a:cxn ang="0">
                  <a:pos x="0" y="31"/>
                </a:cxn>
                <a:cxn ang="0">
                  <a:pos x="3" y="62"/>
                </a:cxn>
                <a:cxn ang="0">
                  <a:pos x="39" y="62"/>
                </a:cxn>
                <a:cxn ang="0">
                  <a:pos x="28" y="77"/>
                </a:cxn>
                <a:cxn ang="0">
                  <a:pos x="54" y="87"/>
                </a:cxn>
                <a:cxn ang="0">
                  <a:pos x="20" y="85"/>
                </a:cxn>
                <a:cxn ang="0">
                  <a:pos x="83" y="111"/>
                </a:cxn>
                <a:cxn ang="0">
                  <a:pos x="55" y="121"/>
                </a:cxn>
                <a:cxn ang="0">
                  <a:pos x="75" y="140"/>
                </a:cxn>
                <a:cxn ang="0">
                  <a:pos x="129" y="129"/>
                </a:cxn>
                <a:cxn ang="0">
                  <a:pos x="128" y="103"/>
                </a:cxn>
                <a:cxn ang="0">
                  <a:pos x="157" y="93"/>
                </a:cxn>
                <a:cxn ang="0">
                  <a:pos x="161" y="122"/>
                </a:cxn>
                <a:cxn ang="0">
                  <a:pos x="195" y="103"/>
                </a:cxn>
                <a:cxn ang="0">
                  <a:pos x="189" y="122"/>
                </a:cxn>
                <a:cxn ang="0">
                  <a:pos x="220" y="124"/>
                </a:cxn>
                <a:cxn ang="0">
                  <a:pos x="98" y="153"/>
                </a:cxn>
                <a:cxn ang="0">
                  <a:pos x="103" y="175"/>
                </a:cxn>
                <a:cxn ang="0">
                  <a:pos x="204" y="158"/>
                </a:cxn>
                <a:cxn ang="0">
                  <a:pos x="135" y="179"/>
                </a:cxn>
                <a:cxn ang="0">
                  <a:pos x="175" y="191"/>
                </a:cxn>
                <a:cxn ang="0">
                  <a:pos x="106" y="201"/>
                </a:cxn>
                <a:cxn ang="0">
                  <a:pos x="209" y="252"/>
                </a:cxn>
                <a:cxn ang="0">
                  <a:pos x="275" y="122"/>
                </a:cxn>
                <a:cxn ang="0">
                  <a:pos x="354" y="92"/>
                </a:cxn>
                <a:cxn ang="0">
                  <a:pos x="267" y="70"/>
                </a:cxn>
                <a:cxn ang="0">
                  <a:pos x="255" y="37"/>
                </a:cxn>
                <a:cxn ang="0">
                  <a:pos x="230" y="56"/>
                </a:cxn>
                <a:cxn ang="0">
                  <a:pos x="241" y="26"/>
                </a:cxn>
                <a:cxn ang="0">
                  <a:pos x="182" y="0"/>
                </a:cxn>
                <a:cxn ang="0">
                  <a:pos x="162" y="26"/>
                </a:cxn>
                <a:cxn ang="0">
                  <a:pos x="190" y="87"/>
                </a:cxn>
                <a:cxn ang="0">
                  <a:pos x="124" y="25"/>
                </a:cxn>
                <a:cxn ang="0">
                  <a:pos x="103" y="37"/>
                </a:cxn>
                <a:cxn ang="0">
                  <a:pos x="117" y="69"/>
                </a:cxn>
                <a:cxn ang="0">
                  <a:pos x="53" y="40"/>
                </a:cxn>
                <a:cxn ang="0">
                  <a:pos x="98" y="22"/>
                </a:cxn>
                <a:cxn ang="0">
                  <a:pos x="0" y="31"/>
                </a:cxn>
              </a:cxnLst>
              <a:rect l="0" t="0" r="r" b="b"/>
              <a:pathLst>
                <a:path w="354" h="252">
                  <a:moveTo>
                    <a:pt x="0" y="31"/>
                  </a:moveTo>
                  <a:lnTo>
                    <a:pt x="3" y="62"/>
                  </a:lnTo>
                  <a:lnTo>
                    <a:pt x="39" y="62"/>
                  </a:lnTo>
                  <a:lnTo>
                    <a:pt x="28" y="77"/>
                  </a:lnTo>
                  <a:lnTo>
                    <a:pt x="54" y="87"/>
                  </a:lnTo>
                  <a:lnTo>
                    <a:pt x="20" y="85"/>
                  </a:lnTo>
                  <a:lnTo>
                    <a:pt x="83" y="111"/>
                  </a:lnTo>
                  <a:lnTo>
                    <a:pt x="55" y="121"/>
                  </a:lnTo>
                  <a:lnTo>
                    <a:pt x="75" y="140"/>
                  </a:lnTo>
                  <a:lnTo>
                    <a:pt x="129" y="129"/>
                  </a:lnTo>
                  <a:lnTo>
                    <a:pt x="128" y="103"/>
                  </a:lnTo>
                  <a:lnTo>
                    <a:pt x="157" y="93"/>
                  </a:lnTo>
                  <a:lnTo>
                    <a:pt x="161" y="122"/>
                  </a:lnTo>
                  <a:lnTo>
                    <a:pt x="195" y="103"/>
                  </a:lnTo>
                  <a:lnTo>
                    <a:pt x="189" y="122"/>
                  </a:lnTo>
                  <a:lnTo>
                    <a:pt x="220" y="124"/>
                  </a:lnTo>
                  <a:lnTo>
                    <a:pt x="98" y="153"/>
                  </a:lnTo>
                  <a:lnTo>
                    <a:pt x="103" y="175"/>
                  </a:lnTo>
                  <a:lnTo>
                    <a:pt x="204" y="158"/>
                  </a:lnTo>
                  <a:lnTo>
                    <a:pt x="135" y="179"/>
                  </a:lnTo>
                  <a:lnTo>
                    <a:pt x="175" y="191"/>
                  </a:lnTo>
                  <a:lnTo>
                    <a:pt x="106" y="201"/>
                  </a:lnTo>
                  <a:lnTo>
                    <a:pt x="209" y="252"/>
                  </a:lnTo>
                  <a:lnTo>
                    <a:pt x="275" y="122"/>
                  </a:lnTo>
                  <a:lnTo>
                    <a:pt x="354" y="92"/>
                  </a:lnTo>
                  <a:lnTo>
                    <a:pt x="267" y="70"/>
                  </a:lnTo>
                  <a:lnTo>
                    <a:pt x="255" y="37"/>
                  </a:lnTo>
                  <a:lnTo>
                    <a:pt x="230" y="56"/>
                  </a:lnTo>
                  <a:lnTo>
                    <a:pt x="241" y="26"/>
                  </a:lnTo>
                  <a:lnTo>
                    <a:pt x="182" y="0"/>
                  </a:lnTo>
                  <a:lnTo>
                    <a:pt x="162" y="26"/>
                  </a:lnTo>
                  <a:lnTo>
                    <a:pt x="190" y="87"/>
                  </a:lnTo>
                  <a:lnTo>
                    <a:pt x="124" y="25"/>
                  </a:lnTo>
                  <a:lnTo>
                    <a:pt x="103" y="37"/>
                  </a:lnTo>
                  <a:lnTo>
                    <a:pt x="117" y="69"/>
                  </a:lnTo>
                  <a:lnTo>
                    <a:pt x="53" y="40"/>
                  </a:lnTo>
                  <a:lnTo>
                    <a:pt x="98" y="22"/>
                  </a:lnTo>
                  <a:lnTo>
                    <a:pt x="0" y="3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5" name="30516194.75407.56185">
              <a:extLst>
                <a:ext uri="{FF2B5EF4-FFF2-40B4-BE49-F238E27FC236}">
                  <a16:creationId xmlns:a16="http://schemas.microsoft.com/office/drawing/2014/main" id="{B4A631B0-418E-4004-9A7C-F5F45F59EA8C}"/>
                </a:ext>
              </a:extLst>
            </p:cNvPr>
            <p:cNvSpPr>
              <a:spLocks noChangeAspect="1"/>
            </p:cNvSpPr>
            <p:nvPr/>
          </p:nvSpPr>
          <p:spPr bwMode="gray">
            <a:xfrm>
              <a:off x="6206162" y="1454795"/>
              <a:ext cx="287202" cy="94190"/>
            </a:xfrm>
            <a:custGeom>
              <a:avLst/>
              <a:gdLst/>
              <a:ahLst/>
              <a:cxnLst>
                <a:cxn ang="0">
                  <a:pos x="0" y="29"/>
                </a:cxn>
                <a:cxn ang="0">
                  <a:pos x="47" y="38"/>
                </a:cxn>
                <a:cxn ang="0">
                  <a:pos x="17" y="50"/>
                </a:cxn>
                <a:cxn ang="0">
                  <a:pos x="29" y="60"/>
                </a:cxn>
                <a:cxn ang="0">
                  <a:pos x="147" y="58"/>
                </a:cxn>
                <a:cxn ang="0">
                  <a:pos x="73" y="73"/>
                </a:cxn>
                <a:cxn ang="0">
                  <a:pos x="191" y="106"/>
                </a:cxn>
                <a:cxn ang="0">
                  <a:pos x="269" y="87"/>
                </a:cxn>
                <a:cxn ang="0">
                  <a:pos x="320" y="50"/>
                </a:cxn>
                <a:cxn ang="0">
                  <a:pos x="307" y="32"/>
                </a:cxn>
                <a:cxn ang="0">
                  <a:pos x="231" y="33"/>
                </a:cxn>
                <a:cxn ang="0">
                  <a:pos x="243" y="14"/>
                </a:cxn>
                <a:cxn ang="0">
                  <a:pos x="181" y="33"/>
                </a:cxn>
                <a:cxn ang="0">
                  <a:pos x="173" y="0"/>
                </a:cxn>
                <a:cxn ang="0">
                  <a:pos x="158" y="43"/>
                </a:cxn>
                <a:cxn ang="0">
                  <a:pos x="73" y="0"/>
                </a:cxn>
                <a:cxn ang="0">
                  <a:pos x="76" y="27"/>
                </a:cxn>
                <a:cxn ang="0">
                  <a:pos x="50" y="14"/>
                </a:cxn>
                <a:cxn ang="0">
                  <a:pos x="61" y="39"/>
                </a:cxn>
                <a:cxn ang="0">
                  <a:pos x="0" y="29"/>
                </a:cxn>
              </a:cxnLst>
              <a:rect l="0" t="0" r="r" b="b"/>
              <a:pathLst>
                <a:path w="320" h="106">
                  <a:moveTo>
                    <a:pt x="0" y="29"/>
                  </a:moveTo>
                  <a:lnTo>
                    <a:pt x="47" y="38"/>
                  </a:lnTo>
                  <a:lnTo>
                    <a:pt x="17" y="50"/>
                  </a:lnTo>
                  <a:lnTo>
                    <a:pt x="29" y="60"/>
                  </a:lnTo>
                  <a:lnTo>
                    <a:pt x="147" y="58"/>
                  </a:lnTo>
                  <a:lnTo>
                    <a:pt x="73" y="73"/>
                  </a:lnTo>
                  <a:lnTo>
                    <a:pt x="191" y="106"/>
                  </a:lnTo>
                  <a:lnTo>
                    <a:pt x="269" y="87"/>
                  </a:lnTo>
                  <a:lnTo>
                    <a:pt x="320" y="50"/>
                  </a:lnTo>
                  <a:lnTo>
                    <a:pt x="307" y="32"/>
                  </a:lnTo>
                  <a:lnTo>
                    <a:pt x="231" y="33"/>
                  </a:lnTo>
                  <a:lnTo>
                    <a:pt x="243" y="14"/>
                  </a:lnTo>
                  <a:lnTo>
                    <a:pt x="181" y="33"/>
                  </a:lnTo>
                  <a:lnTo>
                    <a:pt x="173" y="0"/>
                  </a:lnTo>
                  <a:lnTo>
                    <a:pt x="158" y="43"/>
                  </a:lnTo>
                  <a:lnTo>
                    <a:pt x="73" y="0"/>
                  </a:lnTo>
                  <a:lnTo>
                    <a:pt x="76" y="27"/>
                  </a:lnTo>
                  <a:lnTo>
                    <a:pt x="50" y="14"/>
                  </a:lnTo>
                  <a:lnTo>
                    <a:pt x="61" y="39"/>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6" name="30517204.5413.62547.8755">
              <a:extLst>
                <a:ext uri="{FF2B5EF4-FFF2-40B4-BE49-F238E27FC236}">
                  <a16:creationId xmlns:a16="http://schemas.microsoft.com/office/drawing/2014/main" id="{5EA68561-B1B2-4B73-B0CB-4BA381DA483C}"/>
                </a:ext>
              </a:extLst>
            </p:cNvPr>
            <p:cNvSpPr>
              <a:spLocks noChangeAspect="1"/>
            </p:cNvSpPr>
            <p:nvPr/>
          </p:nvSpPr>
          <p:spPr bwMode="gray">
            <a:xfrm>
              <a:off x="6305066" y="1611221"/>
              <a:ext cx="125532" cy="63916"/>
            </a:xfrm>
            <a:custGeom>
              <a:avLst/>
              <a:gdLst/>
              <a:ahLst/>
              <a:cxnLst>
                <a:cxn ang="0">
                  <a:pos x="0" y="55"/>
                </a:cxn>
                <a:cxn ang="0">
                  <a:pos x="11" y="20"/>
                </a:cxn>
                <a:cxn ang="0">
                  <a:pos x="67" y="0"/>
                </a:cxn>
                <a:cxn ang="0">
                  <a:pos x="77" y="20"/>
                </a:cxn>
                <a:cxn ang="0">
                  <a:pos x="137" y="36"/>
                </a:cxn>
                <a:cxn ang="0">
                  <a:pos x="54" y="69"/>
                </a:cxn>
                <a:cxn ang="0">
                  <a:pos x="67" y="51"/>
                </a:cxn>
                <a:cxn ang="0">
                  <a:pos x="0" y="55"/>
                </a:cxn>
              </a:cxnLst>
              <a:rect l="0" t="0" r="r" b="b"/>
              <a:pathLst>
                <a:path w="137" h="69">
                  <a:moveTo>
                    <a:pt x="0" y="55"/>
                  </a:moveTo>
                  <a:lnTo>
                    <a:pt x="11" y="20"/>
                  </a:lnTo>
                  <a:lnTo>
                    <a:pt x="67" y="0"/>
                  </a:lnTo>
                  <a:lnTo>
                    <a:pt x="77" y="20"/>
                  </a:lnTo>
                  <a:lnTo>
                    <a:pt x="137" y="36"/>
                  </a:lnTo>
                  <a:lnTo>
                    <a:pt x="54" y="69"/>
                  </a:lnTo>
                  <a:lnTo>
                    <a:pt x="67" y="51"/>
                  </a:lnTo>
                  <a:lnTo>
                    <a:pt x="0" y="5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7" name="30518237.875395.539.7524.1255">
              <a:extLst>
                <a:ext uri="{FF2B5EF4-FFF2-40B4-BE49-F238E27FC236}">
                  <a16:creationId xmlns:a16="http://schemas.microsoft.com/office/drawing/2014/main" id="{8C8CDC2E-8A77-4D02-853F-BFB76975358F}"/>
                </a:ext>
              </a:extLst>
            </p:cNvPr>
            <p:cNvSpPr>
              <a:spLocks noChangeAspect="1"/>
            </p:cNvSpPr>
            <p:nvPr/>
          </p:nvSpPr>
          <p:spPr bwMode="gray">
            <a:xfrm>
              <a:off x="6012158" y="2149458"/>
              <a:ext cx="386106" cy="645884"/>
            </a:xfrm>
            <a:custGeom>
              <a:avLst/>
              <a:gdLst/>
              <a:ahLst/>
              <a:cxnLst>
                <a:cxn ang="0">
                  <a:pos x="0" y="529"/>
                </a:cxn>
                <a:cxn ang="0">
                  <a:pos x="18" y="611"/>
                </a:cxn>
                <a:cxn ang="0">
                  <a:pos x="55" y="649"/>
                </a:cxn>
                <a:cxn ang="0">
                  <a:pos x="51" y="704"/>
                </a:cxn>
                <a:cxn ang="0">
                  <a:pos x="155" y="667"/>
                </a:cxn>
                <a:cxn ang="0">
                  <a:pos x="183" y="556"/>
                </a:cxn>
                <a:cxn ang="0">
                  <a:pos x="162" y="551"/>
                </a:cxn>
                <a:cxn ang="0">
                  <a:pos x="241" y="517"/>
                </a:cxn>
                <a:cxn ang="0">
                  <a:pos x="166" y="509"/>
                </a:cxn>
                <a:cxn ang="0">
                  <a:pos x="223" y="517"/>
                </a:cxn>
                <a:cxn ang="0">
                  <a:pos x="253" y="488"/>
                </a:cxn>
                <a:cxn ang="0">
                  <a:pos x="208" y="452"/>
                </a:cxn>
                <a:cxn ang="0">
                  <a:pos x="165" y="477"/>
                </a:cxn>
                <a:cxn ang="0">
                  <a:pos x="199" y="455"/>
                </a:cxn>
                <a:cxn ang="0">
                  <a:pos x="201" y="353"/>
                </a:cxn>
                <a:cxn ang="0">
                  <a:pos x="345" y="257"/>
                </a:cxn>
                <a:cxn ang="0">
                  <a:pos x="334" y="236"/>
                </a:cxn>
                <a:cxn ang="0">
                  <a:pos x="359" y="188"/>
                </a:cxn>
                <a:cxn ang="0">
                  <a:pos x="429" y="173"/>
                </a:cxn>
                <a:cxn ang="0">
                  <a:pos x="411" y="59"/>
                </a:cxn>
                <a:cxn ang="0">
                  <a:pos x="313" y="0"/>
                </a:cxn>
                <a:cxn ang="0">
                  <a:pos x="298" y="0"/>
                </a:cxn>
                <a:cxn ang="0">
                  <a:pos x="297" y="37"/>
                </a:cxn>
                <a:cxn ang="0">
                  <a:pos x="235" y="30"/>
                </a:cxn>
                <a:cxn ang="0">
                  <a:pos x="223" y="59"/>
                </a:cxn>
                <a:cxn ang="0">
                  <a:pos x="181" y="67"/>
                </a:cxn>
                <a:cxn ang="0">
                  <a:pos x="169" y="113"/>
                </a:cxn>
                <a:cxn ang="0">
                  <a:pos x="111" y="168"/>
                </a:cxn>
                <a:cxn ang="0">
                  <a:pos x="84" y="243"/>
                </a:cxn>
                <a:cxn ang="0">
                  <a:pos x="96" y="274"/>
                </a:cxn>
                <a:cxn ang="0">
                  <a:pos x="34" y="297"/>
                </a:cxn>
                <a:cxn ang="0">
                  <a:pos x="32" y="396"/>
                </a:cxn>
                <a:cxn ang="0">
                  <a:pos x="50" y="417"/>
                </a:cxn>
                <a:cxn ang="0">
                  <a:pos x="32" y="436"/>
                </a:cxn>
                <a:cxn ang="0">
                  <a:pos x="39" y="480"/>
                </a:cxn>
                <a:cxn ang="0">
                  <a:pos x="0" y="529"/>
                </a:cxn>
              </a:cxnLst>
              <a:rect l="0" t="0" r="r" b="b"/>
              <a:pathLst>
                <a:path w="429" h="704">
                  <a:moveTo>
                    <a:pt x="0" y="529"/>
                  </a:moveTo>
                  <a:lnTo>
                    <a:pt x="18" y="611"/>
                  </a:lnTo>
                  <a:lnTo>
                    <a:pt x="55" y="649"/>
                  </a:lnTo>
                  <a:lnTo>
                    <a:pt x="51" y="704"/>
                  </a:lnTo>
                  <a:lnTo>
                    <a:pt x="155" y="667"/>
                  </a:lnTo>
                  <a:lnTo>
                    <a:pt x="183" y="556"/>
                  </a:lnTo>
                  <a:lnTo>
                    <a:pt x="162" y="551"/>
                  </a:lnTo>
                  <a:lnTo>
                    <a:pt x="241" y="517"/>
                  </a:lnTo>
                  <a:lnTo>
                    <a:pt x="166" y="509"/>
                  </a:lnTo>
                  <a:lnTo>
                    <a:pt x="223" y="517"/>
                  </a:lnTo>
                  <a:lnTo>
                    <a:pt x="253" y="488"/>
                  </a:lnTo>
                  <a:lnTo>
                    <a:pt x="208" y="452"/>
                  </a:lnTo>
                  <a:lnTo>
                    <a:pt x="165" y="477"/>
                  </a:lnTo>
                  <a:lnTo>
                    <a:pt x="199" y="455"/>
                  </a:lnTo>
                  <a:lnTo>
                    <a:pt x="201" y="353"/>
                  </a:lnTo>
                  <a:lnTo>
                    <a:pt x="345" y="257"/>
                  </a:lnTo>
                  <a:lnTo>
                    <a:pt x="334" y="236"/>
                  </a:lnTo>
                  <a:lnTo>
                    <a:pt x="359" y="188"/>
                  </a:lnTo>
                  <a:lnTo>
                    <a:pt x="429" y="173"/>
                  </a:lnTo>
                  <a:lnTo>
                    <a:pt x="411" y="59"/>
                  </a:lnTo>
                  <a:lnTo>
                    <a:pt x="313" y="0"/>
                  </a:lnTo>
                  <a:lnTo>
                    <a:pt x="298" y="0"/>
                  </a:lnTo>
                  <a:lnTo>
                    <a:pt x="297" y="37"/>
                  </a:lnTo>
                  <a:lnTo>
                    <a:pt x="235" y="30"/>
                  </a:lnTo>
                  <a:lnTo>
                    <a:pt x="223" y="59"/>
                  </a:lnTo>
                  <a:lnTo>
                    <a:pt x="181" y="67"/>
                  </a:lnTo>
                  <a:lnTo>
                    <a:pt x="169" y="113"/>
                  </a:lnTo>
                  <a:lnTo>
                    <a:pt x="111" y="168"/>
                  </a:lnTo>
                  <a:lnTo>
                    <a:pt x="84" y="243"/>
                  </a:lnTo>
                  <a:lnTo>
                    <a:pt x="96" y="274"/>
                  </a:lnTo>
                  <a:lnTo>
                    <a:pt x="34" y="297"/>
                  </a:lnTo>
                  <a:lnTo>
                    <a:pt x="32" y="396"/>
                  </a:lnTo>
                  <a:lnTo>
                    <a:pt x="50" y="417"/>
                  </a:lnTo>
                  <a:lnTo>
                    <a:pt x="32" y="436"/>
                  </a:lnTo>
                  <a:lnTo>
                    <a:pt x="39" y="480"/>
                  </a:lnTo>
                  <a:lnTo>
                    <a:pt x="0" y="5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8" name="30519296.875385.6254.1258.255">
              <a:extLst>
                <a:ext uri="{FF2B5EF4-FFF2-40B4-BE49-F238E27FC236}">
                  <a16:creationId xmlns:a16="http://schemas.microsoft.com/office/drawing/2014/main" id="{4FCCB4D2-3D62-456F-ADE2-9283F3A64EED}"/>
                </a:ext>
              </a:extLst>
            </p:cNvPr>
            <p:cNvSpPr>
              <a:spLocks noChangeAspect="1"/>
            </p:cNvSpPr>
            <p:nvPr/>
          </p:nvSpPr>
          <p:spPr bwMode="gray">
            <a:xfrm>
              <a:off x="5854293" y="3106512"/>
              <a:ext cx="133142" cy="65597"/>
            </a:xfrm>
            <a:custGeom>
              <a:avLst/>
              <a:gdLst/>
              <a:ahLst/>
              <a:cxnLst>
                <a:cxn ang="0">
                  <a:pos x="0" y="50"/>
                </a:cxn>
                <a:cxn ang="0">
                  <a:pos x="33" y="73"/>
                </a:cxn>
                <a:cxn ang="0">
                  <a:pos x="80" y="53"/>
                </a:cxn>
                <a:cxn ang="0">
                  <a:pos x="100" y="72"/>
                </a:cxn>
                <a:cxn ang="0">
                  <a:pos x="147" y="33"/>
                </a:cxn>
                <a:cxn ang="0">
                  <a:pos x="119" y="29"/>
                </a:cxn>
                <a:cxn ang="0">
                  <a:pos x="118" y="11"/>
                </a:cxn>
                <a:cxn ang="0">
                  <a:pos x="114" y="7"/>
                </a:cxn>
                <a:cxn ang="0">
                  <a:pos x="49" y="0"/>
                </a:cxn>
                <a:cxn ang="0">
                  <a:pos x="0" y="50"/>
                </a:cxn>
              </a:cxnLst>
              <a:rect l="0" t="0" r="r" b="b"/>
              <a:pathLst>
                <a:path w="147" h="73">
                  <a:moveTo>
                    <a:pt x="0" y="50"/>
                  </a:moveTo>
                  <a:lnTo>
                    <a:pt x="33" y="73"/>
                  </a:lnTo>
                  <a:lnTo>
                    <a:pt x="80" y="53"/>
                  </a:lnTo>
                  <a:lnTo>
                    <a:pt x="100" y="72"/>
                  </a:lnTo>
                  <a:lnTo>
                    <a:pt x="147" y="33"/>
                  </a:lnTo>
                  <a:lnTo>
                    <a:pt x="119" y="29"/>
                  </a:lnTo>
                  <a:lnTo>
                    <a:pt x="118" y="11"/>
                  </a:lnTo>
                  <a:lnTo>
                    <a:pt x="114" y="7"/>
                  </a:lnTo>
                  <a:lnTo>
                    <a:pt x="49" y="0"/>
                  </a:lnTo>
                  <a:lnTo>
                    <a:pt x="0" y="5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39" name="30520320.5441.12510.37513.3755">
              <a:extLst>
                <a:ext uri="{FF2B5EF4-FFF2-40B4-BE49-F238E27FC236}">
                  <a16:creationId xmlns:a16="http://schemas.microsoft.com/office/drawing/2014/main" id="{8DB155D7-7B35-4F81-9427-443B2EDE4A5D}"/>
                </a:ext>
              </a:extLst>
            </p:cNvPr>
            <p:cNvSpPr>
              <a:spLocks noChangeAspect="1"/>
            </p:cNvSpPr>
            <p:nvPr/>
          </p:nvSpPr>
          <p:spPr bwMode="gray">
            <a:xfrm>
              <a:off x="6744431" y="3490005"/>
              <a:ext cx="214926" cy="166517"/>
            </a:xfrm>
            <a:custGeom>
              <a:avLst/>
              <a:gdLst/>
              <a:ahLst/>
              <a:cxnLst>
                <a:cxn ang="0">
                  <a:pos x="0" y="169"/>
                </a:cxn>
                <a:cxn ang="0">
                  <a:pos x="4" y="150"/>
                </a:cxn>
                <a:cxn ang="0">
                  <a:pos x="38" y="111"/>
                </a:cxn>
                <a:cxn ang="0">
                  <a:pos x="19" y="93"/>
                </a:cxn>
                <a:cxn ang="0">
                  <a:pos x="17" y="47"/>
                </a:cxn>
                <a:cxn ang="0">
                  <a:pos x="38" y="9"/>
                </a:cxn>
                <a:cxn ang="0">
                  <a:pos x="237" y="0"/>
                </a:cxn>
                <a:cxn ang="0">
                  <a:pos x="200" y="27"/>
                </a:cxn>
                <a:cxn ang="0">
                  <a:pos x="188" y="100"/>
                </a:cxn>
                <a:cxn ang="0">
                  <a:pos x="107" y="144"/>
                </a:cxn>
                <a:cxn ang="0">
                  <a:pos x="35" y="183"/>
                </a:cxn>
                <a:cxn ang="0">
                  <a:pos x="0" y="169"/>
                </a:cxn>
              </a:cxnLst>
              <a:rect l="0" t="0" r="r" b="b"/>
              <a:pathLst>
                <a:path w="237" h="183">
                  <a:moveTo>
                    <a:pt x="0" y="169"/>
                  </a:moveTo>
                  <a:lnTo>
                    <a:pt x="4" y="150"/>
                  </a:lnTo>
                  <a:lnTo>
                    <a:pt x="38" y="111"/>
                  </a:lnTo>
                  <a:lnTo>
                    <a:pt x="19" y="93"/>
                  </a:lnTo>
                  <a:lnTo>
                    <a:pt x="17" y="47"/>
                  </a:lnTo>
                  <a:lnTo>
                    <a:pt x="38" y="9"/>
                  </a:lnTo>
                  <a:lnTo>
                    <a:pt x="237" y="0"/>
                  </a:lnTo>
                  <a:lnTo>
                    <a:pt x="200" y="27"/>
                  </a:lnTo>
                  <a:lnTo>
                    <a:pt x="188" y="100"/>
                  </a:lnTo>
                  <a:lnTo>
                    <a:pt x="107" y="144"/>
                  </a:lnTo>
                  <a:lnTo>
                    <a:pt x="35" y="183"/>
                  </a:lnTo>
                  <a:lnTo>
                    <a:pt x="0" y="16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0" name="30522343.5470.56.75105">
              <a:extLst>
                <a:ext uri="{FF2B5EF4-FFF2-40B4-BE49-F238E27FC236}">
                  <a16:creationId xmlns:a16="http://schemas.microsoft.com/office/drawing/2014/main" id="{FAA28E72-15FD-4DFF-88CE-809DA3264CA4}"/>
                </a:ext>
              </a:extLst>
            </p:cNvPr>
            <p:cNvSpPr>
              <a:spLocks noChangeAspect="1"/>
            </p:cNvSpPr>
            <p:nvPr/>
          </p:nvSpPr>
          <p:spPr bwMode="gray">
            <a:xfrm>
              <a:off x="7216126" y="3861726"/>
              <a:ext cx="161670" cy="111011"/>
            </a:xfrm>
            <a:custGeom>
              <a:avLst/>
              <a:gdLst/>
              <a:ahLst/>
              <a:cxnLst>
                <a:cxn ang="0">
                  <a:pos x="0" y="55"/>
                </a:cxn>
                <a:cxn ang="0">
                  <a:pos x="9" y="52"/>
                </a:cxn>
                <a:cxn ang="0">
                  <a:pos x="23" y="71"/>
                </a:cxn>
                <a:cxn ang="0">
                  <a:pos x="97" y="70"/>
                </a:cxn>
                <a:cxn ang="0">
                  <a:pos x="165" y="0"/>
                </a:cxn>
                <a:cxn ang="0">
                  <a:pos x="174" y="43"/>
                </a:cxn>
                <a:cxn ang="0">
                  <a:pos x="154" y="44"/>
                </a:cxn>
                <a:cxn ang="0">
                  <a:pos x="165" y="70"/>
                </a:cxn>
                <a:cxn ang="0">
                  <a:pos x="137" y="120"/>
                </a:cxn>
                <a:cxn ang="0">
                  <a:pos x="31" y="107"/>
                </a:cxn>
                <a:cxn ang="0">
                  <a:pos x="0" y="55"/>
                </a:cxn>
              </a:cxnLst>
              <a:rect l="0" t="0" r="r" b="b"/>
              <a:pathLst>
                <a:path w="174" h="120">
                  <a:moveTo>
                    <a:pt x="0" y="55"/>
                  </a:moveTo>
                  <a:lnTo>
                    <a:pt x="9" y="52"/>
                  </a:lnTo>
                  <a:lnTo>
                    <a:pt x="23" y="71"/>
                  </a:lnTo>
                  <a:lnTo>
                    <a:pt x="97" y="70"/>
                  </a:lnTo>
                  <a:lnTo>
                    <a:pt x="165" y="0"/>
                  </a:lnTo>
                  <a:lnTo>
                    <a:pt x="174" y="43"/>
                  </a:lnTo>
                  <a:lnTo>
                    <a:pt x="154" y="44"/>
                  </a:lnTo>
                  <a:lnTo>
                    <a:pt x="165" y="70"/>
                  </a:lnTo>
                  <a:lnTo>
                    <a:pt x="137" y="120"/>
                  </a:lnTo>
                  <a:lnTo>
                    <a:pt x="31" y="107"/>
                  </a:lnTo>
                  <a:lnTo>
                    <a:pt x="0" y="5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1" name="30523320.875388.2514.257.55">
              <a:extLst>
                <a:ext uri="{FF2B5EF4-FFF2-40B4-BE49-F238E27FC236}">
                  <a16:creationId xmlns:a16="http://schemas.microsoft.com/office/drawing/2014/main" id="{9760B30E-AF94-490E-B587-D9EFF975E49F}"/>
                </a:ext>
              </a:extLst>
            </p:cNvPr>
            <p:cNvSpPr>
              <a:spLocks noChangeAspect="1"/>
            </p:cNvSpPr>
            <p:nvPr/>
          </p:nvSpPr>
          <p:spPr bwMode="gray">
            <a:xfrm>
              <a:off x="5896137" y="3496735"/>
              <a:ext cx="119826" cy="228752"/>
            </a:xfrm>
            <a:custGeom>
              <a:avLst/>
              <a:gdLst/>
              <a:ahLst/>
              <a:cxnLst>
                <a:cxn ang="0">
                  <a:pos x="0" y="117"/>
                </a:cxn>
                <a:cxn ang="0">
                  <a:pos x="28" y="94"/>
                </a:cxn>
                <a:cxn ang="0">
                  <a:pos x="42" y="3"/>
                </a:cxn>
                <a:cxn ang="0">
                  <a:pos x="123" y="0"/>
                </a:cxn>
                <a:cxn ang="0">
                  <a:pos x="103" y="31"/>
                </a:cxn>
                <a:cxn ang="0">
                  <a:pos x="126" y="69"/>
                </a:cxn>
                <a:cxn ang="0">
                  <a:pos x="79" y="117"/>
                </a:cxn>
                <a:cxn ang="0">
                  <a:pos x="132" y="147"/>
                </a:cxn>
                <a:cxn ang="0">
                  <a:pos x="66" y="252"/>
                </a:cxn>
                <a:cxn ang="0">
                  <a:pos x="56" y="185"/>
                </a:cxn>
                <a:cxn ang="0">
                  <a:pos x="0" y="117"/>
                </a:cxn>
              </a:cxnLst>
              <a:rect l="0" t="0" r="r" b="b"/>
              <a:pathLst>
                <a:path w="132" h="252">
                  <a:moveTo>
                    <a:pt x="0" y="117"/>
                  </a:moveTo>
                  <a:lnTo>
                    <a:pt x="28" y="94"/>
                  </a:lnTo>
                  <a:lnTo>
                    <a:pt x="42" y="3"/>
                  </a:lnTo>
                  <a:lnTo>
                    <a:pt x="123" y="0"/>
                  </a:lnTo>
                  <a:lnTo>
                    <a:pt x="103" y="31"/>
                  </a:lnTo>
                  <a:lnTo>
                    <a:pt x="126" y="69"/>
                  </a:lnTo>
                  <a:lnTo>
                    <a:pt x="79" y="117"/>
                  </a:lnTo>
                  <a:lnTo>
                    <a:pt x="132" y="147"/>
                  </a:lnTo>
                  <a:lnTo>
                    <a:pt x="66" y="252"/>
                  </a:lnTo>
                  <a:lnTo>
                    <a:pt x="56" y="185"/>
                  </a:lnTo>
                  <a:lnTo>
                    <a:pt x="0" y="11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2" name="30524310.25423.545.255">
              <a:extLst>
                <a:ext uri="{FF2B5EF4-FFF2-40B4-BE49-F238E27FC236}">
                  <a16:creationId xmlns:a16="http://schemas.microsoft.com/office/drawing/2014/main" id="{236C71AA-C7B0-4386-B413-EB5C3F2D8662}"/>
                </a:ext>
              </a:extLst>
            </p:cNvPr>
            <p:cNvSpPr>
              <a:spLocks noChangeAspect="1"/>
            </p:cNvSpPr>
            <p:nvPr/>
          </p:nvSpPr>
          <p:spPr bwMode="gray">
            <a:xfrm>
              <a:off x="6462935" y="3323489"/>
              <a:ext cx="85589" cy="65597"/>
            </a:xfrm>
            <a:custGeom>
              <a:avLst/>
              <a:gdLst/>
              <a:ahLst/>
              <a:cxnLst>
                <a:cxn ang="0">
                  <a:pos x="0" y="47"/>
                </a:cxn>
                <a:cxn ang="0">
                  <a:pos x="11" y="3"/>
                </a:cxn>
                <a:cxn ang="0">
                  <a:pos x="63" y="0"/>
                </a:cxn>
                <a:cxn ang="0">
                  <a:pos x="93" y="34"/>
                </a:cxn>
                <a:cxn ang="0">
                  <a:pos x="50" y="36"/>
                </a:cxn>
                <a:cxn ang="0">
                  <a:pos x="4" y="70"/>
                </a:cxn>
                <a:cxn ang="0">
                  <a:pos x="24" y="49"/>
                </a:cxn>
                <a:cxn ang="0">
                  <a:pos x="0" y="47"/>
                </a:cxn>
              </a:cxnLst>
              <a:rect l="0" t="0" r="r" b="b"/>
              <a:pathLst>
                <a:path w="93" h="70">
                  <a:moveTo>
                    <a:pt x="0" y="47"/>
                  </a:moveTo>
                  <a:lnTo>
                    <a:pt x="11" y="3"/>
                  </a:lnTo>
                  <a:lnTo>
                    <a:pt x="63" y="0"/>
                  </a:lnTo>
                  <a:lnTo>
                    <a:pt x="93" y="34"/>
                  </a:lnTo>
                  <a:lnTo>
                    <a:pt x="50" y="36"/>
                  </a:lnTo>
                  <a:lnTo>
                    <a:pt x="4" y="70"/>
                  </a:lnTo>
                  <a:lnTo>
                    <a:pt x="24" y="49"/>
                  </a:lnTo>
                  <a:lnTo>
                    <a:pt x="0" y="4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3" name="30525309.7542413.534.755">
              <a:extLst>
                <a:ext uri="{FF2B5EF4-FFF2-40B4-BE49-F238E27FC236}">
                  <a16:creationId xmlns:a16="http://schemas.microsoft.com/office/drawing/2014/main" id="{262D37C2-B537-43B5-9F85-DD1FCD665ED9}"/>
                </a:ext>
              </a:extLst>
            </p:cNvPr>
            <p:cNvSpPr>
              <a:spLocks noChangeAspect="1"/>
            </p:cNvSpPr>
            <p:nvPr/>
          </p:nvSpPr>
          <p:spPr bwMode="gray">
            <a:xfrm>
              <a:off x="6472442" y="3315078"/>
              <a:ext cx="557287" cy="220341"/>
            </a:xfrm>
            <a:custGeom>
              <a:avLst/>
              <a:gdLst/>
              <a:ahLst/>
              <a:cxnLst>
                <a:cxn ang="0">
                  <a:pos x="0" y="79"/>
                </a:cxn>
                <a:cxn ang="0">
                  <a:pos x="26" y="141"/>
                </a:cxn>
                <a:cxn ang="0">
                  <a:pos x="2" y="148"/>
                </a:cxn>
                <a:cxn ang="0">
                  <a:pos x="26" y="158"/>
                </a:cxn>
                <a:cxn ang="0">
                  <a:pos x="36" y="196"/>
                </a:cxn>
                <a:cxn ang="0">
                  <a:pos x="70" y="192"/>
                </a:cxn>
                <a:cxn ang="0">
                  <a:pos x="36" y="209"/>
                </a:cxn>
                <a:cxn ang="0">
                  <a:pos x="76" y="202"/>
                </a:cxn>
                <a:cxn ang="0">
                  <a:pos x="118" y="227"/>
                </a:cxn>
                <a:cxn ang="0">
                  <a:pos x="157" y="200"/>
                </a:cxn>
                <a:cxn ang="0">
                  <a:pos x="217" y="235"/>
                </a:cxn>
                <a:cxn ang="0">
                  <a:pos x="323" y="200"/>
                </a:cxn>
                <a:cxn ang="0">
                  <a:pos x="320" y="238"/>
                </a:cxn>
                <a:cxn ang="0">
                  <a:pos x="341" y="200"/>
                </a:cxn>
                <a:cxn ang="0">
                  <a:pos x="540" y="191"/>
                </a:cxn>
                <a:cxn ang="0">
                  <a:pos x="614" y="188"/>
                </a:cxn>
                <a:cxn ang="0">
                  <a:pos x="592" y="104"/>
                </a:cxn>
                <a:cxn ang="0">
                  <a:pos x="609" y="86"/>
                </a:cxn>
                <a:cxn ang="0">
                  <a:pos x="546" y="16"/>
                </a:cxn>
                <a:cxn ang="0">
                  <a:pos x="505" y="16"/>
                </a:cxn>
                <a:cxn ang="0">
                  <a:pos x="393" y="45"/>
                </a:cxn>
                <a:cxn ang="0">
                  <a:pos x="296" y="0"/>
                </a:cxn>
                <a:cxn ang="0">
                  <a:pos x="235" y="1"/>
                </a:cxn>
                <a:cxn ang="0">
                  <a:pos x="158" y="42"/>
                </a:cxn>
                <a:cxn ang="0">
                  <a:pos x="96" y="31"/>
                </a:cxn>
                <a:cxn ang="0">
                  <a:pos x="116" y="53"/>
                </a:cxn>
                <a:cxn ang="0">
                  <a:pos x="0" y="79"/>
                </a:cxn>
              </a:cxnLst>
              <a:rect l="0" t="0" r="r" b="b"/>
              <a:pathLst>
                <a:path w="614" h="238">
                  <a:moveTo>
                    <a:pt x="0" y="79"/>
                  </a:moveTo>
                  <a:lnTo>
                    <a:pt x="26" y="141"/>
                  </a:lnTo>
                  <a:lnTo>
                    <a:pt x="2" y="148"/>
                  </a:lnTo>
                  <a:lnTo>
                    <a:pt x="26" y="158"/>
                  </a:lnTo>
                  <a:lnTo>
                    <a:pt x="36" y="196"/>
                  </a:lnTo>
                  <a:lnTo>
                    <a:pt x="70" y="192"/>
                  </a:lnTo>
                  <a:lnTo>
                    <a:pt x="36" y="209"/>
                  </a:lnTo>
                  <a:lnTo>
                    <a:pt x="76" y="202"/>
                  </a:lnTo>
                  <a:lnTo>
                    <a:pt x="118" y="227"/>
                  </a:lnTo>
                  <a:lnTo>
                    <a:pt x="157" y="200"/>
                  </a:lnTo>
                  <a:lnTo>
                    <a:pt x="217" y="235"/>
                  </a:lnTo>
                  <a:lnTo>
                    <a:pt x="323" y="200"/>
                  </a:lnTo>
                  <a:lnTo>
                    <a:pt x="320" y="238"/>
                  </a:lnTo>
                  <a:lnTo>
                    <a:pt x="341" y="200"/>
                  </a:lnTo>
                  <a:lnTo>
                    <a:pt x="540" y="191"/>
                  </a:lnTo>
                  <a:lnTo>
                    <a:pt x="614" y="188"/>
                  </a:lnTo>
                  <a:lnTo>
                    <a:pt x="592" y="104"/>
                  </a:lnTo>
                  <a:lnTo>
                    <a:pt x="609" y="86"/>
                  </a:lnTo>
                  <a:lnTo>
                    <a:pt x="546" y="16"/>
                  </a:lnTo>
                  <a:lnTo>
                    <a:pt x="505" y="16"/>
                  </a:lnTo>
                  <a:lnTo>
                    <a:pt x="393" y="45"/>
                  </a:lnTo>
                  <a:lnTo>
                    <a:pt x="296" y="0"/>
                  </a:lnTo>
                  <a:lnTo>
                    <a:pt x="235" y="1"/>
                  </a:lnTo>
                  <a:lnTo>
                    <a:pt x="158" y="42"/>
                  </a:lnTo>
                  <a:lnTo>
                    <a:pt x="96" y="31"/>
                  </a:lnTo>
                  <a:lnTo>
                    <a:pt x="116" y="53"/>
                  </a:lnTo>
                  <a:lnTo>
                    <a:pt x="0" y="7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4" name="30526278.375355.37597.6255">
              <a:extLst>
                <a:ext uri="{FF2B5EF4-FFF2-40B4-BE49-F238E27FC236}">
                  <a16:creationId xmlns:a16="http://schemas.microsoft.com/office/drawing/2014/main" id="{7B62597B-C474-4EDF-B4AF-FDB25A969585}"/>
                </a:ext>
              </a:extLst>
            </p:cNvPr>
            <p:cNvSpPr>
              <a:spLocks noChangeAspect="1"/>
            </p:cNvSpPr>
            <p:nvPr/>
          </p:nvSpPr>
          <p:spPr bwMode="gray">
            <a:xfrm>
              <a:off x="5371183" y="2807118"/>
              <a:ext cx="123631" cy="144650"/>
            </a:xfrm>
            <a:custGeom>
              <a:avLst/>
              <a:gdLst/>
              <a:ahLst/>
              <a:cxnLst>
                <a:cxn ang="0">
                  <a:pos x="0" y="132"/>
                </a:cxn>
                <a:cxn ang="0">
                  <a:pos x="18" y="146"/>
                </a:cxn>
                <a:cxn ang="0">
                  <a:pos x="4" y="158"/>
                </a:cxn>
                <a:cxn ang="0">
                  <a:pos x="127" y="133"/>
                </a:cxn>
                <a:cxn ang="0">
                  <a:pos x="136" y="51"/>
                </a:cxn>
                <a:cxn ang="0">
                  <a:pos x="120" y="32"/>
                </a:cxn>
                <a:cxn ang="0">
                  <a:pos x="84" y="41"/>
                </a:cxn>
                <a:cxn ang="0">
                  <a:pos x="72" y="29"/>
                </a:cxn>
                <a:cxn ang="0">
                  <a:pos x="87" y="9"/>
                </a:cxn>
                <a:cxn ang="0">
                  <a:pos x="72" y="0"/>
                </a:cxn>
                <a:cxn ang="0">
                  <a:pos x="57" y="40"/>
                </a:cxn>
                <a:cxn ang="0">
                  <a:pos x="4" y="51"/>
                </a:cxn>
                <a:cxn ang="0">
                  <a:pos x="21" y="60"/>
                </a:cxn>
                <a:cxn ang="0">
                  <a:pos x="11" y="82"/>
                </a:cxn>
                <a:cxn ang="0">
                  <a:pos x="44" y="88"/>
                </a:cxn>
                <a:cxn ang="0">
                  <a:pos x="14" y="118"/>
                </a:cxn>
                <a:cxn ang="0">
                  <a:pos x="50" y="111"/>
                </a:cxn>
                <a:cxn ang="0">
                  <a:pos x="0" y="132"/>
                </a:cxn>
              </a:cxnLst>
              <a:rect l="0" t="0" r="r" b="b"/>
              <a:pathLst>
                <a:path w="136" h="158">
                  <a:moveTo>
                    <a:pt x="0" y="132"/>
                  </a:moveTo>
                  <a:lnTo>
                    <a:pt x="18" y="146"/>
                  </a:lnTo>
                  <a:lnTo>
                    <a:pt x="4" y="158"/>
                  </a:lnTo>
                  <a:lnTo>
                    <a:pt x="127" y="133"/>
                  </a:lnTo>
                  <a:lnTo>
                    <a:pt x="136" y="51"/>
                  </a:lnTo>
                  <a:lnTo>
                    <a:pt x="120" y="32"/>
                  </a:lnTo>
                  <a:lnTo>
                    <a:pt x="84" y="41"/>
                  </a:lnTo>
                  <a:lnTo>
                    <a:pt x="72" y="29"/>
                  </a:lnTo>
                  <a:lnTo>
                    <a:pt x="87" y="9"/>
                  </a:lnTo>
                  <a:lnTo>
                    <a:pt x="72" y="0"/>
                  </a:lnTo>
                  <a:lnTo>
                    <a:pt x="57" y="40"/>
                  </a:lnTo>
                  <a:lnTo>
                    <a:pt x="4" y="51"/>
                  </a:lnTo>
                  <a:lnTo>
                    <a:pt x="21" y="60"/>
                  </a:lnTo>
                  <a:lnTo>
                    <a:pt x="11" y="82"/>
                  </a:lnTo>
                  <a:lnTo>
                    <a:pt x="44" y="88"/>
                  </a:lnTo>
                  <a:lnTo>
                    <a:pt x="14" y="118"/>
                  </a:lnTo>
                  <a:lnTo>
                    <a:pt x="50" y="111"/>
                  </a:lnTo>
                  <a:lnTo>
                    <a:pt x="0" y="13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5" name="30527277.75359.253.54.8755">
              <a:extLst>
                <a:ext uri="{FF2B5EF4-FFF2-40B4-BE49-F238E27FC236}">
                  <a16:creationId xmlns:a16="http://schemas.microsoft.com/office/drawing/2014/main" id="{710223FE-03BF-432A-B8EA-C11FB4B9A9A0}"/>
                </a:ext>
              </a:extLst>
            </p:cNvPr>
            <p:cNvSpPr>
              <a:spLocks noChangeAspect="1"/>
            </p:cNvSpPr>
            <p:nvPr/>
          </p:nvSpPr>
          <p:spPr bwMode="gray">
            <a:xfrm>
              <a:off x="5433949" y="2798707"/>
              <a:ext cx="76082" cy="55506"/>
            </a:xfrm>
            <a:custGeom>
              <a:avLst/>
              <a:gdLst/>
              <a:ahLst/>
              <a:cxnLst>
                <a:cxn ang="0">
                  <a:pos x="0" y="40"/>
                </a:cxn>
                <a:cxn ang="0">
                  <a:pos x="12" y="52"/>
                </a:cxn>
                <a:cxn ang="0">
                  <a:pos x="48" y="43"/>
                </a:cxn>
                <a:cxn ang="0">
                  <a:pos x="64" y="62"/>
                </a:cxn>
                <a:cxn ang="0">
                  <a:pos x="85" y="40"/>
                </a:cxn>
                <a:cxn ang="0">
                  <a:pos x="66" y="9"/>
                </a:cxn>
                <a:cxn ang="0">
                  <a:pos x="24" y="0"/>
                </a:cxn>
                <a:cxn ang="0">
                  <a:pos x="15" y="20"/>
                </a:cxn>
                <a:cxn ang="0">
                  <a:pos x="0" y="40"/>
                </a:cxn>
              </a:cxnLst>
              <a:rect l="0" t="0" r="r" b="b"/>
              <a:pathLst>
                <a:path w="85" h="62">
                  <a:moveTo>
                    <a:pt x="0" y="40"/>
                  </a:moveTo>
                  <a:lnTo>
                    <a:pt x="12" y="52"/>
                  </a:lnTo>
                  <a:lnTo>
                    <a:pt x="48" y="43"/>
                  </a:lnTo>
                  <a:lnTo>
                    <a:pt x="64" y="62"/>
                  </a:lnTo>
                  <a:lnTo>
                    <a:pt x="85" y="40"/>
                  </a:lnTo>
                  <a:lnTo>
                    <a:pt x="66" y="9"/>
                  </a:lnTo>
                  <a:lnTo>
                    <a:pt x="24" y="0"/>
                  </a:lnTo>
                  <a:lnTo>
                    <a:pt x="15" y="20"/>
                  </a:lnTo>
                  <a:lnTo>
                    <a:pt x="0" y="4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6" name="30528270361.3751.51.255">
              <a:extLst>
                <a:ext uri="{FF2B5EF4-FFF2-40B4-BE49-F238E27FC236}">
                  <a16:creationId xmlns:a16="http://schemas.microsoft.com/office/drawing/2014/main" id="{5DDAD4A9-179A-4A08-A0D0-122075E80D77}"/>
                </a:ext>
              </a:extLst>
            </p:cNvPr>
            <p:cNvSpPr>
              <a:spLocks noChangeAspect="1"/>
            </p:cNvSpPr>
            <p:nvPr/>
          </p:nvSpPr>
          <p:spPr bwMode="gray">
            <a:xfrm>
              <a:off x="5466282" y="2672556"/>
              <a:ext cx="20922" cy="23547"/>
            </a:xfrm>
            <a:custGeom>
              <a:avLst/>
              <a:gdLst/>
              <a:ahLst/>
              <a:cxnLst>
                <a:cxn ang="0">
                  <a:pos x="0" y="27"/>
                </a:cxn>
                <a:cxn ang="0">
                  <a:pos x="0" y="5"/>
                </a:cxn>
                <a:cxn ang="0">
                  <a:pos x="22" y="0"/>
                </a:cxn>
                <a:cxn ang="0">
                  <a:pos x="0" y="27"/>
                </a:cxn>
              </a:cxnLst>
              <a:rect l="0" t="0" r="r" b="b"/>
              <a:pathLst>
                <a:path w="22" h="27">
                  <a:moveTo>
                    <a:pt x="0" y="27"/>
                  </a:moveTo>
                  <a:lnTo>
                    <a:pt x="0" y="5"/>
                  </a:lnTo>
                  <a:lnTo>
                    <a:pt x="22" y="0"/>
                  </a:lnTo>
                  <a:lnTo>
                    <a:pt x="0" y="2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7" name="30529271.536211.1255">
              <a:extLst>
                <a:ext uri="{FF2B5EF4-FFF2-40B4-BE49-F238E27FC236}">
                  <a16:creationId xmlns:a16="http://schemas.microsoft.com/office/drawing/2014/main" id="{4498A69A-5711-4524-8EB0-CB9535712B15}"/>
                </a:ext>
              </a:extLst>
            </p:cNvPr>
            <p:cNvSpPr>
              <a:spLocks noChangeAspect="1"/>
            </p:cNvSpPr>
            <p:nvPr/>
          </p:nvSpPr>
          <p:spPr bwMode="gray">
            <a:xfrm>
              <a:off x="5475793" y="2696107"/>
              <a:ext cx="19021" cy="15137"/>
            </a:xfrm>
            <a:custGeom>
              <a:avLst/>
              <a:gdLst/>
              <a:ahLst/>
              <a:cxnLst>
                <a:cxn ang="0">
                  <a:pos x="0" y="14"/>
                </a:cxn>
                <a:cxn ang="0">
                  <a:pos x="11" y="0"/>
                </a:cxn>
                <a:cxn ang="0">
                  <a:pos x="21" y="18"/>
                </a:cxn>
                <a:cxn ang="0">
                  <a:pos x="0" y="14"/>
                </a:cxn>
              </a:cxnLst>
              <a:rect l="0" t="0" r="r" b="b"/>
              <a:pathLst>
                <a:path w="21" h="18">
                  <a:moveTo>
                    <a:pt x="0" y="14"/>
                  </a:moveTo>
                  <a:lnTo>
                    <a:pt x="11" y="0"/>
                  </a:lnTo>
                  <a:lnTo>
                    <a:pt x="21" y="18"/>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8" name="30530269.125363.12522.2514.55">
              <a:extLst>
                <a:ext uri="{FF2B5EF4-FFF2-40B4-BE49-F238E27FC236}">
                  <a16:creationId xmlns:a16="http://schemas.microsoft.com/office/drawing/2014/main" id="{604525F1-2AD5-40DB-9984-0C67C0D8880E}"/>
                </a:ext>
              </a:extLst>
            </p:cNvPr>
            <p:cNvSpPr>
              <a:spLocks noChangeAspect="1"/>
            </p:cNvSpPr>
            <p:nvPr/>
          </p:nvSpPr>
          <p:spPr bwMode="gray">
            <a:xfrm>
              <a:off x="5494810" y="2659103"/>
              <a:ext cx="233947" cy="358265"/>
            </a:xfrm>
            <a:custGeom>
              <a:avLst/>
              <a:gdLst/>
              <a:ahLst/>
              <a:cxnLst>
                <a:cxn ang="0">
                  <a:pos x="0" y="92"/>
                </a:cxn>
                <a:cxn ang="0">
                  <a:pos x="10" y="39"/>
                </a:cxn>
                <a:cxn ang="0">
                  <a:pos x="38" y="0"/>
                </a:cxn>
                <a:cxn ang="0">
                  <a:pos x="98" y="0"/>
                </a:cxn>
                <a:cxn ang="0">
                  <a:pos x="63" y="47"/>
                </a:cxn>
                <a:cxn ang="0">
                  <a:pos x="142" y="57"/>
                </a:cxn>
                <a:cxn ang="0">
                  <a:pos x="92" y="121"/>
                </a:cxn>
                <a:cxn ang="0">
                  <a:pos x="151" y="143"/>
                </a:cxn>
                <a:cxn ang="0">
                  <a:pos x="207" y="224"/>
                </a:cxn>
                <a:cxn ang="0">
                  <a:pos x="191" y="230"/>
                </a:cxn>
                <a:cxn ang="0">
                  <a:pos x="216" y="249"/>
                </a:cxn>
                <a:cxn ang="0">
                  <a:pos x="202" y="270"/>
                </a:cxn>
                <a:cxn ang="0">
                  <a:pos x="258" y="274"/>
                </a:cxn>
                <a:cxn ang="0">
                  <a:pos x="224" y="328"/>
                </a:cxn>
                <a:cxn ang="0">
                  <a:pos x="247" y="343"/>
                </a:cxn>
                <a:cxn ang="0">
                  <a:pos x="15" y="394"/>
                </a:cxn>
                <a:cxn ang="0">
                  <a:pos x="118" y="321"/>
                </a:cxn>
                <a:cxn ang="0">
                  <a:pos x="88" y="332"/>
                </a:cxn>
                <a:cxn ang="0">
                  <a:pos x="29" y="310"/>
                </a:cxn>
                <a:cxn ang="0">
                  <a:pos x="73" y="282"/>
                </a:cxn>
                <a:cxn ang="0">
                  <a:pos x="45" y="270"/>
                </a:cxn>
                <a:cxn ang="0">
                  <a:pos x="104" y="241"/>
                </a:cxn>
                <a:cxn ang="0">
                  <a:pos x="111" y="205"/>
                </a:cxn>
                <a:cxn ang="0">
                  <a:pos x="81" y="194"/>
                </a:cxn>
                <a:cxn ang="0">
                  <a:pos x="98" y="173"/>
                </a:cxn>
                <a:cxn ang="0">
                  <a:pos x="37" y="183"/>
                </a:cxn>
                <a:cxn ang="0">
                  <a:pos x="38" y="127"/>
                </a:cxn>
                <a:cxn ang="0">
                  <a:pos x="10" y="153"/>
                </a:cxn>
                <a:cxn ang="0">
                  <a:pos x="26" y="95"/>
                </a:cxn>
                <a:cxn ang="0">
                  <a:pos x="0" y="92"/>
                </a:cxn>
              </a:cxnLst>
              <a:rect l="0" t="0" r="r" b="b"/>
              <a:pathLst>
                <a:path w="258" h="394">
                  <a:moveTo>
                    <a:pt x="0" y="92"/>
                  </a:moveTo>
                  <a:lnTo>
                    <a:pt x="10" y="39"/>
                  </a:lnTo>
                  <a:lnTo>
                    <a:pt x="38" y="0"/>
                  </a:lnTo>
                  <a:lnTo>
                    <a:pt x="98" y="0"/>
                  </a:lnTo>
                  <a:lnTo>
                    <a:pt x="63" y="47"/>
                  </a:lnTo>
                  <a:lnTo>
                    <a:pt x="142" y="57"/>
                  </a:lnTo>
                  <a:lnTo>
                    <a:pt x="92" y="121"/>
                  </a:lnTo>
                  <a:lnTo>
                    <a:pt x="151" y="143"/>
                  </a:lnTo>
                  <a:lnTo>
                    <a:pt x="207" y="224"/>
                  </a:lnTo>
                  <a:lnTo>
                    <a:pt x="191" y="230"/>
                  </a:lnTo>
                  <a:lnTo>
                    <a:pt x="216" y="249"/>
                  </a:lnTo>
                  <a:lnTo>
                    <a:pt x="202" y="270"/>
                  </a:lnTo>
                  <a:lnTo>
                    <a:pt x="258" y="274"/>
                  </a:lnTo>
                  <a:lnTo>
                    <a:pt x="224" y="328"/>
                  </a:lnTo>
                  <a:lnTo>
                    <a:pt x="247" y="343"/>
                  </a:lnTo>
                  <a:lnTo>
                    <a:pt x="15" y="394"/>
                  </a:lnTo>
                  <a:lnTo>
                    <a:pt x="118" y="321"/>
                  </a:lnTo>
                  <a:lnTo>
                    <a:pt x="88" y="332"/>
                  </a:lnTo>
                  <a:lnTo>
                    <a:pt x="29" y="310"/>
                  </a:lnTo>
                  <a:lnTo>
                    <a:pt x="73" y="282"/>
                  </a:lnTo>
                  <a:lnTo>
                    <a:pt x="45" y="270"/>
                  </a:lnTo>
                  <a:lnTo>
                    <a:pt x="104" y="241"/>
                  </a:lnTo>
                  <a:lnTo>
                    <a:pt x="111" y="205"/>
                  </a:lnTo>
                  <a:lnTo>
                    <a:pt x="81" y="194"/>
                  </a:lnTo>
                  <a:lnTo>
                    <a:pt x="98" y="173"/>
                  </a:lnTo>
                  <a:lnTo>
                    <a:pt x="37" y="183"/>
                  </a:lnTo>
                  <a:lnTo>
                    <a:pt x="38" y="127"/>
                  </a:lnTo>
                  <a:lnTo>
                    <a:pt x="10" y="153"/>
                  </a:lnTo>
                  <a:lnTo>
                    <a:pt x="26" y="95"/>
                  </a:lnTo>
                  <a:lnTo>
                    <a:pt x="0" y="9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49" name="30541254.75728.51.755.755">
              <a:extLst>
                <a:ext uri="{FF2B5EF4-FFF2-40B4-BE49-F238E27FC236}">
                  <a16:creationId xmlns:a16="http://schemas.microsoft.com/office/drawing/2014/main" id="{44E55EC2-9B5E-42BD-8277-375E3831C69B}"/>
                </a:ext>
              </a:extLst>
            </p:cNvPr>
            <p:cNvSpPr>
              <a:spLocks noChangeAspect="1"/>
            </p:cNvSpPr>
            <p:nvPr/>
          </p:nvSpPr>
          <p:spPr bwMode="gray">
            <a:xfrm>
              <a:off x="11352990" y="2423621"/>
              <a:ext cx="91298" cy="30277"/>
            </a:xfrm>
            <a:custGeom>
              <a:avLst/>
              <a:gdLst/>
              <a:ahLst/>
              <a:cxnLst>
                <a:cxn ang="0">
                  <a:pos x="0" y="10"/>
                </a:cxn>
                <a:cxn ang="0">
                  <a:pos x="61" y="0"/>
                </a:cxn>
                <a:cxn ang="0">
                  <a:pos x="101" y="15"/>
                </a:cxn>
                <a:cxn ang="0">
                  <a:pos x="81" y="32"/>
                </a:cxn>
                <a:cxn ang="0">
                  <a:pos x="0" y="10"/>
                </a:cxn>
              </a:cxnLst>
              <a:rect l="0" t="0" r="r" b="b"/>
              <a:pathLst>
                <a:path w="101" h="32">
                  <a:moveTo>
                    <a:pt x="0" y="10"/>
                  </a:moveTo>
                  <a:lnTo>
                    <a:pt x="61" y="0"/>
                  </a:lnTo>
                  <a:lnTo>
                    <a:pt x="101" y="15"/>
                  </a:lnTo>
                  <a:lnTo>
                    <a:pt x="81" y="32"/>
                  </a:lnTo>
                  <a:lnTo>
                    <a:pt x="0" y="1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0" name="30558282.5513.2572.375115.1255">
              <a:extLst>
                <a:ext uri="{FF2B5EF4-FFF2-40B4-BE49-F238E27FC236}">
                  <a16:creationId xmlns:a16="http://schemas.microsoft.com/office/drawing/2014/main" id="{63E75A2A-3E12-42BC-A947-A3162FEB7342}"/>
                </a:ext>
              </a:extLst>
            </p:cNvPr>
            <p:cNvSpPr>
              <a:spLocks noChangeAspect="1"/>
            </p:cNvSpPr>
            <p:nvPr/>
          </p:nvSpPr>
          <p:spPr bwMode="gray">
            <a:xfrm>
              <a:off x="7902751" y="2876079"/>
              <a:ext cx="1844948" cy="1170665"/>
            </a:xfrm>
            <a:custGeom>
              <a:avLst/>
              <a:gdLst/>
              <a:ahLst/>
              <a:cxnLst>
                <a:cxn ang="0">
                  <a:pos x="13" y="562"/>
                </a:cxn>
                <a:cxn ang="0">
                  <a:pos x="216" y="484"/>
                </a:cxn>
                <a:cxn ang="0">
                  <a:pos x="209" y="371"/>
                </a:cxn>
                <a:cxn ang="0">
                  <a:pos x="312" y="273"/>
                </a:cxn>
                <a:cxn ang="0">
                  <a:pos x="407" y="225"/>
                </a:cxn>
                <a:cxn ang="0">
                  <a:pos x="506" y="243"/>
                </a:cxn>
                <a:cxn ang="0">
                  <a:pos x="572" y="355"/>
                </a:cxn>
                <a:cxn ang="0">
                  <a:pos x="781" y="456"/>
                </a:cxn>
                <a:cxn ang="0">
                  <a:pos x="1039" y="503"/>
                </a:cxn>
                <a:cxn ang="0">
                  <a:pos x="1278" y="419"/>
                </a:cxn>
                <a:cxn ang="0">
                  <a:pos x="1329" y="374"/>
                </a:cxn>
                <a:cxn ang="0">
                  <a:pos x="1530" y="295"/>
                </a:cxn>
                <a:cxn ang="0">
                  <a:pos x="1402" y="254"/>
                </a:cxn>
                <a:cxn ang="0">
                  <a:pos x="1423" y="157"/>
                </a:cxn>
                <a:cxn ang="0">
                  <a:pos x="1522" y="154"/>
                </a:cxn>
                <a:cxn ang="0">
                  <a:pos x="1548" y="38"/>
                </a:cxn>
                <a:cxn ang="0">
                  <a:pos x="1736" y="26"/>
                </a:cxn>
                <a:cxn ang="0">
                  <a:pos x="1899" y="201"/>
                </a:cxn>
                <a:cxn ang="0">
                  <a:pos x="2044" y="220"/>
                </a:cxn>
                <a:cxn ang="0">
                  <a:pos x="1913" y="379"/>
                </a:cxn>
                <a:cxn ang="0">
                  <a:pos x="1899" y="463"/>
                </a:cxn>
                <a:cxn ang="0">
                  <a:pos x="1823" y="491"/>
                </a:cxn>
                <a:cxn ang="0">
                  <a:pos x="1777" y="506"/>
                </a:cxn>
                <a:cxn ang="0">
                  <a:pos x="1593" y="617"/>
                </a:cxn>
                <a:cxn ang="0">
                  <a:pos x="1608" y="528"/>
                </a:cxn>
                <a:cxn ang="0">
                  <a:pos x="1469" y="624"/>
                </a:cxn>
                <a:cxn ang="0">
                  <a:pos x="1574" y="653"/>
                </a:cxn>
                <a:cxn ang="0">
                  <a:pos x="1553" y="710"/>
                </a:cxn>
                <a:cxn ang="0">
                  <a:pos x="1611" y="880"/>
                </a:cxn>
                <a:cxn ang="0">
                  <a:pos x="1611" y="909"/>
                </a:cxn>
                <a:cxn ang="0">
                  <a:pos x="1614" y="946"/>
                </a:cxn>
                <a:cxn ang="0">
                  <a:pos x="1425" y="1188"/>
                </a:cxn>
                <a:cxn ang="0">
                  <a:pos x="1347" y="1207"/>
                </a:cxn>
                <a:cxn ang="0">
                  <a:pos x="1310" y="1228"/>
                </a:cxn>
                <a:cxn ang="0">
                  <a:pos x="1216" y="1286"/>
                </a:cxn>
                <a:cxn ang="0">
                  <a:pos x="1142" y="1242"/>
                </a:cxn>
                <a:cxn ang="0">
                  <a:pos x="953" y="1209"/>
                </a:cxn>
                <a:cxn ang="0">
                  <a:pos x="935" y="1247"/>
                </a:cxn>
                <a:cxn ang="0">
                  <a:pos x="856" y="1220"/>
                </a:cxn>
                <a:cxn ang="0">
                  <a:pos x="799" y="1161"/>
                </a:cxn>
                <a:cxn ang="0">
                  <a:pos x="833" y="1030"/>
                </a:cxn>
                <a:cxn ang="0">
                  <a:pos x="757" y="996"/>
                </a:cxn>
                <a:cxn ang="0">
                  <a:pos x="604" y="1020"/>
                </a:cxn>
                <a:cxn ang="0">
                  <a:pos x="507" y="1038"/>
                </a:cxn>
                <a:cxn ang="0">
                  <a:pos x="481" y="1019"/>
                </a:cxn>
                <a:cxn ang="0">
                  <a:pos x="352" y="967"/>
                </a:cxn>
                <a:cxn ang="0">
                  <a:pos x="178" y="908"/>
                </a:cxn>
                <a:cxn ang="0">
                  <a:pos x="197" y="843"/>
                </a:cxn>
                <a:cxn ang="0">
                  <a:pos x="221" y="740"/>
                </a:cxn>
                <a:cxn ang="0">
                  <a:pos x="134" y="741"/>
                </a:cxn>
                <a:cxn ang="0">
                  <a:pos x="35" y="671"/>
                </a:cxn>
                <a:cxn ang="0">
                  <a:pos x="0" y="612"/>
                </a:cxn>
              </a:cxnLst>
              <a:rect l="0" t="0" r="r" b="b"/>
              <a:pathLst>
                <a:path w="2044" h="1286">
                  <a:moveTo>
                    <a:pt x="0" y="612"/>
                  </a:moveTo>
                  <a:lnTo>
                    <a:pt x="13" y="562"/>
                  </a:lnTo>
                  <a:lnTo>
                    <a:pt x="87" y="551"/>
                  </a:lnTo>
                  <a:lnTo>
                    <a:pt x="216" y="484"/>
                  </a:lnTo>
                  <a:lnTo>
                    <a:pt x="235" y="432"/>
                  </a:lnTo>
                  <a:lnTo>
                    <a:pt x="209" y="371"/>
                  </a:lnTo>
                  <a:lnTo>
                    <a:pt x="290" y="355"/>
                  </a:lnTo>
                  <a:lnTo>
                    <a:pt x="312" y="273"/>
                  </a:lnTo>
                  <a:lnTo>
                    <a:pt x="397" y="278"/>
                  </a:lnTo>
                  <a:lnTo>
                    <a:pt x="407" y="225"/>
                  </a:lnTo>
                  <a:lnTo>
                    <a:pt x="472" y="198"/>
                  </a:lnTo>
                  <a:lnTo>
                    <a:pt x="506" y="243"/>
                  </a:lnTo>
                  <a:lnTo>
                    <a:pt x="553" y="260"/>
                  </a:lnTo>
                  <a:lnTo>
                    <a:pt x="572" y="355"/>
                  </a:lnTo>
                  <a:lnTo>
                    <a:pt x="719" y="392"/>
                  </a:lnTo>
                  <a:lnTo>
                    <a:pt x="781" y="456"/>
                  </a:lnTo>
                  <a:lnTo>
                    <a:pt x="902" y="452"/>
                  </a:lnTo>
                  <a:lnTo>
                    <a:pt x="1039" y="503"/>
                  </a:lnTo>
                  <a:lnTo>
                    <a:pt x="1222" y="456"/>
                  </a:lnTo>
                  <a:lnTo>
                    <a:pt x="1278" y="419"/>
                  </a:lnTo>
                  <a:lnTo>
                    <a:pt x="1278" y="368"/>
                  </a:lnTo>
                  <a:lnTo>
                    <a:pt x="1329" y="374"/>
                  </a:lnTo>
                  <a:lnTo>
                    <a:pt x="1440" y="300"/>
                  </a:lnTo>
                  <a:lnTo>
                    <a:pt x="1530" y="295"/>
                  </a:lnTo>
                  <a:lnTo>
                    <a:pt x="1487" y="239"/>
                  </a:lnTo>
                  <a:lnTo>
                    <a:pt x="1402" y="254"/>
                  </a:lnTo>
                  <a:lnTo>
                    <a:pt x="1401" y="191"/>
                  </a:lnTo>
                  <a:lnTo>
                    <a:pt x="1423" y="157"/>
                  </a:lnTo>
                  <a:lnTo>
                    <a:pt x="1473" y="176"/>
                  </a:lnTo>
                  <a:lnTo>
                    <a:pt x="1522" y="154"/>
                  </a:lnTo>
                  <a:lnTo>
                    <a:pt x="1571" y="69"/>
                  </a:lnTo>
                  <a:lnTo>
                    <a:pt x="1548" y="38"/>
                  </a:lnTo>
                  <a:lnTo>
                    <a:pt x="1669" y="0"/>
                  </a:lnTo>
                  <a:lnTo>
                    <a:pt x="1736" y="26"/>
                  </a:lnTo>
                  <a:lnTo>
                    <a:pt x="1798" y="169"/>
                  </a:lnTo>
                  <a:lnTo>
                    <a:pt x="1899" y="201"/>
                  </a:lnTo>
                  <a:lnTo>
                    <a:pt x="1919" y="253"/>
                  </a:lnTo>
                  <a:lnTo>
                    <a:pt x="2044" y="220"/>
                  </a:lnTo>
                  <a:lnTo>
                    <a:pt x="1986" y="359"/>
                  </a:lnTo>
                  <a:lnTo>
                    <a:pt x="1913" y="379"/>
                  </a:lnTo>
                  <a:lnTo>
                    <a:pt x="1923" y="432"/>
                  </a:lnTo>
                  <a:lnTo>
                    <a:pt x="1899" y="463"/>
                  </a:lnTo>
                  <a:lnTo>
                    <a:pt x="1886" y="452"/>
                  </a:lnTo>
                  <a:lnTo>
                    <a:pt x="1823" y="491"/>
                  </a:lnTo>
                  <a:lnTo>
                    <a:pt x="1823" y="513"/>
                  </a:lnTo>
                  <a:lnTo>
                    <a:pt x="1777" y="506"/>
                  </a:lnTo>
                  <a:lnTo>
                    <a:pt x="1692" y="568"/>
                  </a:lnTo>
                  <a:lnTo>
                    <a:pt x="1593" y="617"/>
                  </a:lnTo>
                  <a:lnTo>
                    <a:pt x="1623" y="551"/>
                  </a:lnTo>
                  <a:lnTo>
                    <a:pt x="1608" y="528"/>
                  </a:lnTo>
                  <a:lnTo>
                    <a:pt x="1473" y="604"/>
                  </a:lnTo>
                  <a:lnTo>
                    <a:pt x="1469" y="624"/>
                  </a:lnTo>
                  <a:lnTo>
                    <a:pt x="1515" y="674"/>
                  </a:lnTo>
                  <a:lnTo>
                    <a:pt x="1574" y="653"/>
                  </a:lnTo>
                  <a:lnTo>
                    <a:pt x="1636" y="671"/>
                  </a:lnTo>
                  <a:lnTo>
                    <a:pt x="1553" y="710"/>
                  </a:lnTo>
                  <a:lnTo>
                    <a:pt x="1523" y="763"/>
                  </a:lnTo>
                  <a:lnTo>
                    <a:pt x="1611" y="880"/>
                  </a:lnTo>
                  <a:lnTo>
                    <a:pt x="1550" y="869"/>
                  </a:lnTo>
                  <a:lnTo>
                    <a:pt x="1611" y="909"/>
                  </a:lnTo>
                  <a:lnTo>
                    <a:pt x="1552" y="935"/>
                  </a:lnTo>
                  <a:lnTo>
                    <a:pt x="1614" y="946"/>
                  </a:lnTo>
                  <a:lnTo>
                    <a:pt x="1501" y="1133"/>
                  </a:lnTo>
                  <a:lnTo>
                    <a:pt x="1425" y="1188"/>
                  </a:lnTo>
                  <a:lnTo>
                    <a:pt x="1353" y="1206"/>
                  </a:lnTo>
                  <a:lnTo>
                    <a:pt x="1347" y="1207"/>
                  </a:lnTo>
                  <a:lnTo>
                    <a:pt x="1329" y="1196"/>
                  </a:lnTo>
                  <a:lnTo>
                    <a:pt x="1310" y="1228"/>
                  </a:lnTo>
                  <a:lnTo>
                    <a:pt x="1223" y="1247"/>
                  </a:lnTo>
                  <a:lnTo>
                    <a:pt x="1216" y="1286"/>
                  </a:lnTo>
                  <a:lnTo>
                    <a:pt x="1201" y="1239"/>
                  </a:lnTo>
                  <a:lnTo>
                    <a:pt x="1142" y="1242"/>
                  </a:lnTo>
                  <a:lnTo>
                    <a:pt x="1052" y="1184"/>
                  </a:lnTo>
                  <a:lnTo>
                    <a:pt x="953" y="1209"/>
                  </a:lnTo>
                  <a:lnTo>
                    <a:pt x="932" y="1210"/>
                  </a:lnTo>
                  <a:lnTo>
                    <a:pt x="935" y="1247"/>
                  </a:lnTo>
                  <a:lnTo>
                    <a:pt x="920" y="1238"/>
                  </a:lnTo>
                  <a:lnTo>
                    <a:pt x="856" y="1220"/>
                  </a:lnTo>
                  <a:lnTo>
                    <a:pt x="837" y="1152"/>
                  </a:lnTo>
                  <a:lnTo>
                    <a:pt x="799" y="1161"/>
                  </a:lnTo>
                  <a:lnTo>
                    <a:pt x="834" y="1062"/>
                  </a:lnTo>
                  <a:lnTo>
                    <a:pt x="833" y="1030"/>
                  </a:lnTo>
                  <a:lnTo>
                    <a:pt x="792" y="1009"/>
                  </a:lnTo>
                  <a:lnTo>
                    <a:pt x="757" y="996"/>
                  </a:lnTo>
                  <a:lnTo>
                    <a:pt x="746" y="960"/>
                  </a:lnTo>
                  <a:lnTo>
                    <a:pt x="604" y="1020"/>
                  </a:lnTo>
                  <a:lnTo>
                    <a:pt x="540" y="1004"/>
                  </a:lnTo>
                  <a:lnTo>
                    <a:pt x="507" y="1038"/>
                  </a:lnTo>
                  <a:lnTo>
                    <a:pt x="503" y="1014"/>
                  </a:lnTo>
                  <a:lnTo>
                    <a:pt x="481" y="1019"/>
                  </a:lnTo>
                  <a:lnTo>
                    <a:pt x="408" y="1019"/>
                  </a:lnTo>
                  <a:lnTo>
                    <a:pt x="352" y="967"/>
                  </a:lnTo>
                  <a:lnTo>
                    <a:pt x="246" y="932"/>
                  </a:lnTo>
                  <a:lnTo>
                    <a:pt x="178" y="908"/>
                  </a:lnTo>
                  <a:lnTo>
                    <a:pt x="161" y="850"/>
                  </a:lnTo>
                  <a:lnTo>
                    <a:pt x="197" y="843"/>
                  </a:lnTo>
                  <a:lnTo>
                    <a:pt x="175" y="796"/>
                  </a:lnTo>
                  <a:lnTo>
                    <a:pt x="221" y="740"/>
                  </a:lnTo>
                  <a:lnTo>
                    <a:pt x="186" y="721"/>
                  </a:lnTo>
                  <a:lnTo>
                    <a:pt x="134" y="741"/>
                  </a:lnTo>
                  <a:lnTo>
                    <a:pt x="32" y="679"/>
                  </a:lnTo>
                  <a:lnTo>
                    <a:pt x="35" y="671"/>
                  </a:lnTo>
                  <a:lnTo>
                    <a:pt x="36" y="626"/>
                  </a:lnTo>
                  <a:lnTo>
                    <a:pt x="0" y="61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1" name="30559355.5579.253.545">
              <a:extLst>
                <a:ext uri="{FF2B5EF4-FFF2-40B4-BE49-F238E27FC236}">
                  <a16:creationId xmlns:a16="http://schemas.microsoft.com/office/drawing/2014/main" id="{0A5435D0-1C9F-41D1-BC4B-449F10CFC8E4}"/>
                </a:ext>
              </a:extLst>
            </p:cNvPr>
            <p:cNvSpPr>
              <a:spLocks noChangeAspect="1"/>
            </p:cNvSpPr>
            <p:nvPr/>
          </p:nvSpPr>
          <p:spPr bwMode="gray">
            <a:xfrm>
              <a:off x="8960269" y="4055155"/>
              <a:ext cx="62766" cy="57186"/>
            </a:xfrm>
            <a:custGeom>
              <a:avLst/>
              <a:gdLst/>
              <a:ahLst/>
              <a:cxnLst>
                <a:cxn ang="0">
                  <a:pos x="0" y="48"/>
                </a:cxn>
                <a:cxn ang="0">
                  <a:pos x="23" y="0"/>
                </a:cxn>
                <a:cxn ang="0">
                  <a:pos x="73" y="11"/>
                </a:cxn>
                <a:cxn ang="0">
                  <a:pos x="33" y="62"/>
                </a:cxn>
                <a:cxn ang="0">
                  <a:pos x="0" y="48"/>
                </a:cxn>
              </a:cxnLst>
              <a:rect l="0" t="0" r="r" b="b"/>
              <a:pathLst>
                <a:path w="73" h="62">
                  <a:moveTo>
                    <a:pt x="0" y="48"/>
                  </a:moveTo>
                  <a:lnTo>
                    <a:pt x="23" y="0"/>
                  </a:lnTo>
                  <a:lnTo>
                    <a:pt x="73" y="11"/>
                  </a:lnTo>
                  <a:lnTo>
                    <a:pt x="33" y="62"/>
                  </a:lnTo>
                  <a:lnTo>
                    <a:pt x="0" y="4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2" name="30560323.25502.554.87555.255">
              <a:extLst>
                <a:ext uri="{FF2B5EF4-FFF2-40B4-BE49-F238E27FC236}">
                  <a16:creationId xmlns:a16="http://schemas.microsoft.com/office/drawing/2014/main" id="{75308B4E-87BE-4C64-B015-5D2248F26E4A}"/>
                </a:ext>
              </a:extLst>
            </p:cNvPr>
            <p:cNvSpPr>
              <a:spLocks noChangeAspect="1"/>
            </p:cNvSpPr>
            <p:nvPr/>
          </p:nvSpPr>
          <p:spPr bwMode="gray">
            <a:xfrm>
              <a:off x="7727769" y="3535420"/>
              <a:ext cx="886334" cy="888092"/>
            </a:xfrm>
            <a:custGeom>
              <a:avLst/>
              <a:gdLst/>
              <a:ahLst/>
              <a:cxnLst>
                <a:cxn ang="0">
                  <a:pos x="0" y="444"/>
                </a:cxn>
                <a:cxn ang="0">
                  <a:pos x="27" y="422"/>
                </a:cxn>
                <a:cxn ang="0">
                  <a:pos x="103" y="422"/>
                </a:cxn>
                <a:cxn ang="0">
                  <a:pos x="51" y="320"/>
                </a:cxn>
                <a:cxn ang="0">
                  <a:pos x="81" y="293"/>
                </a:cxn>
                <a:cxn ang="0">
                  <a:pos x="125" y="295"/>
                </a:cxn>
                <a:cxn ang="0">
                  <a:pos x="224" y="184"/>
                </a:cxn>
                <a:cxn ang="0">
                  <a:pos x="217" y="154"/>
                </a:cxn>
                <a:cxn ang="0">
                  <a:pos x="243" y="136"/>
                </a:cxn>
                <a:cxn ang="0">
                  <a:pos x="199" y="101"/>
                </a:cxn>
                <a:cxn ang="0">
                  <a:pos x="198" y="46"/>
                </a:cxn>
                <a:cxn ang="0">
                  <a:pos x="294" y="46"/>
                </a:cxn>
                <a:cxn ang="0">
                  <a:pos x="322" y="20"/>
                </a:cxn>
                <a:cxn ang="0">
                  <a:pos x="374" y="0"/>
                </a:cxn>
                <a:cxn ang="0">
                  <a:pos x="409" y="19"/>
                </a:cxn>
                <a:cxn ang="0">
                  <a:pos x="363" y="75"/>
                </a:cxn>
                <a:cxn ang="0">
                  <a:pos x="385" y="122"/>
                </a:cxn>
                <a:cxn ang="0">
                  <a:pos x="349" y="129"/>
                </a:cxn>
                <a:cxn ang="0">
                  <a:pos x="366" y="187"/>
                </a:cxn>
                <a:cxn ang="0">
                  <a:pos x="434" y="211"/>
                </a:cxn>
                <a:cxn ang="0">
                  <a:pos x="401" y="265"/>
                </a:cxn>
                <a:cxn ang="0">
                  <a:pos x="491" y="316"/>
                </a:cxn>
                <a:cxn ang="0">
                  <a:pos x="665" y="349"/>
                </a:cxn>
                <a:cxn ang="0">
                  <a:pos x="669" y="298"/>
                </a:cxn>
                <a:cxn ang="0">
                  <a:pos x="691" y="293"/>
                </a:cxn>
                <a:cxn ang="0">
                  <a:pos x="695" y="317"/>
                </a:cxn>
                <a:cxn ang="0">
                  <a:pos x="709" y="339"/>
                </a:cxn>
                <a:cxn ang="0">
                  <a:pos x="797" y="330"/>
                </a:cxn>
                <a:cxn ang="0">
                  <a:pos x="792" y="299"/>
                </a:cxn>
                <a:cxn ang="0">
                  <a:pos x="934" y="239"/>
                </a:cxn>
                <a:cxn ang="0">
                  <a:pos x="945" y="275"/>
                </a:cxn>
                <a:cxn ang="0">
                  <a:pos x="980" y="288"/>
                </a:cxn>
                <a:cxn ang="0">
                  <a:pos x="966" y="324"/>
                </a:cxn>
                <a:cxn ang="0">
                  <a:pos x="907" y="346"/>
                </a:cxn>
                <a:cxn ang="0">
                  <a:pos x="820" y="507"/>
                </a:cxn>
                <a:cxn ang="0">
                  <a:pos x="803" y="442"/>
                </a:cxn>
                <a:cxn ang="0">
                  <a:pos x="787" y="467"/>
                </a:cxn>
                <a:cxn ang="0">
                  <a:pos x="767" y="436"/>
                </a:cxn>
                <a:cxn ang="0">
                  <a:pos x="805" y="396"/>
                </a:cxn>
                <a:cxn ang="0">
                  <a:pos x="730" y="390"/>
                </a:cxn>
                <a:cxn ang="0">
                  <a:pos x="682" y="345"/>
                </a:cxn>
                <a:cxn ang="0">
                  <a:pos x="666" y="370"/>
                </a:cxn>
                <a:cxn ang="0">
                  <a:pos x="684" y="390"/>
                </a:cxn>
                <a:cxn ang="0">
                  <a:pos x="661" y="404"/>
                </a:cxn>
                <a:cxn ang="0">
                  <a:pos x="683" y="425"/>
                </a:cxn>
                <a:cxn ang="0">
                  <a:pos x="695" y="517"/>
                </a:cxn>
                <a:cxn ang="0">
                  <a:pos x="666" y="502"/>
                </a:cxn>
                <a:cxn ang="0">
                  <a:pos x="610" y="574"/>
                </a:cxn>
                <a:cxn ang="0">
                  <a:pos x="408" y="722"/>
                </a:cxn>
                <a:cxn ang="0">
                  <a:pos x="393" y="903"/>
                </a:cxn>
                <a:cxn ang="0">
                  <a:pos x="309" y="976"/>
                </a:cxn>
                <a:cxn ang="0">
                  <a:pos x="234" y="836"/>
                </a:cxn>
                <a:cxn ang="0">
                  <a:pos x="203" y="724"/>
                </a:cxn>
                <a:cxn ang="0">
                  <a:pos x="176" y="698"/>
                </a:cxn>
                <a:cxn ang="0">
                  <a:pos x="155" y="496"/>
                </a:cxn>
                <a:cxn ang="0">
                  <a:pos x="139" y="489"/>
                </a:cxn>
                <a:cxn ang="0">
                  <a:pos x="126" y="533"/>
                </a:cxn>
                <a:cxn ang="0">
                  <a:pos x="78" y="546"/>
                </a:cxn>
                <a:cxn ang="0">
                  <a:pos x="30" y="492"/>
                </a:cxn>
                <a:cxn ang="0">
                  <a:pos x="77" y="464"/>
                </a:cxn>
                <a:cxn ang="0">
                  <a:pos x="30" y="474"/>
                </a:cxn>
                <a:cxn ang="0">
                  <a:pos x="0" y="444"/>
                </a:cxn>
              </a:cxnLst>
              <a:rect l="0" t="0" r="r" b="b"/>
              <a:pathLst>
                <a:path w="980" h="976">
                  <a:moveTo>
                    <a:pt x="0" y="444"/>
                  </a:moveTo>
                  <a:lnTo>
                    <a:pt x="27" y="422"/>
                  </a:lnTo>
                  <a:lnTo>
                    <a:pt x="103" y="422"/>
                  </a:lnTo>
                  <a:lnTo>
                    <a:pt x="51" y="320"/>
                  </a:lnTo>
                  <a:lnTo>
                    <a:pt x="81" y="293"/>
                  </a:lnTo>
                  <a:lnTo>
                    <a:pt x="125" y="295"/>
                  </a:lnTo>
                  <a:lnTo>
                    <a:pt x="224" y="184"/>
                  </a:lnTo>
                  <a:lnTo>
                    <a:pt x="217" y="154"/>
                  </a:lnTo>
                  <a:lnTo>
                    <a:pt x="243" y="136"/>
                  </a:lnTo>
                  <a:lnTo>
                    <a:pt x="199" y="101"/>
                  </a:lnTo>
                  <a:lnTo>
                    <a:pt x="198" y="46"/>
                  </a:lnTo>
                  <a:lnTo>
                    <a:pt x="294" y="46"/>
                  </a:lnTo>
                  <a:lnTo>
                    <a:pt x="322" y="20"/>
                  </a:lnTo>
                  <a:lnTo>
                    <a:pt x="374" y="0"/>
                  </a:lnTo>
                  <a:lnTo>
                    <a:pt x="409" y="19"/>
                  </a:lnTo>
                  <a:lnTo>
                    <a:pt x="363" y="75"/>
                  </a:lnTo>
                  <a:lnTo>
                    <a:pt x="385" y="122"/>
                  </a:lnTo>
                  <a:lnTo>
                    <a:pt x="349" y="129"/>
                  </a:lnTo>
                  <a:lnTo>
                    <a:pt x="366" y="187"/>
                  </a:lnTo>
                  <a:lnTo>
                    <a:pt x="434" y="211"/>
                  </a:lnTo>
                  <a:lnTo>
                    <a:pt x="401" y="265"/>
                  </a:lnTo>
                  <a:lnTo>
                    <a:pt x="491" y="316"/>
                  </a:lnTo>
                  <a:lnTo>
                    <a:pt x="665" y="349"/>
                  </a:lnTo>
                  <a:lnTo>
                    <a:pt x="669" y="298"/>
                  </a:lnTo>
                  <a:lnTo>
                    <a:pt x="691" y="293"/>
                  </a:lnTo>
                  <a:lnTo>
                    <a:pt x="695" y="317"/>
                  </a:lnTo>
                  <a:lnTo>
                    <a:pt x="709" y="339"/>
                  </a:lnTo>
                  <a:lnTo>
                    <a:pt x="797" y="330"/>
                  </a:lnTo>
                  <a:lnTo>
                    <a:pt x="792" y="299"/>
                  </a:lnTo>
                  <a:lnTo>
                    <a:pt x="934" y="239"/>
                  </a:lnTo>
                  <a:lnTo>
                    <a:pt x="945" y="275"/>
                  </a:lnTo>
                  <a:lnTo>
                    <a:pt x="980" y="288"/>
                  </a:lnTo>
                  <a:lnTo>
                    <a:pt x="966" y="324"/>
                  </a:lnTo>
                  <a:lnTo>
                    <a:pt x="907" y="346"/>
                  </a:lnTo>
                  <a:lnTo>
                    <a:pt x="820" y="507"/>
                  </a:lnTo>
                  <a:lnTo>
                    <a:pt x="803" y="442"/>
                  </a:lnTo>
                  <a:lnTo>
                    <a:pt x="787" y="467"/>
                  </a:lnTo>
                  <a:lnTo>
                    <a:pt x="767" y="436"/>
                  </a:lnTo>
                  <a:lnTo>
                    <a:pt x="805" y="396"/>
                  </a:lnTo>
                  <a:lnTo>
                    <a:pt x="730" y="390"/>
                  </a:lnTo>
                  <a:lnTo>
                    <a:pt x="682" y="345"/>
                  </a:lnTo>
                  <a:lnTo>
                    <a:pt x="666" y="370"/>
                  </a:lnTo>
                  <a:lnTo>
                    <a:pt x="684" y="390"/>
                  </a:lnTo>
                  <a:lnTo>
                    <a:pt x="661" y="404"/>
                  </a:lnTo>
                  <a:lnTo>
                    <a:pt x="683" y="425"/>
                  </a:lnTo>
                  <a:lnTo>
                    <a:pt x="695" y="517"/>
                  </a:lnTo>
                  <a:lnTo>
                    <a:pt x="666" y="502"/>
                  </a:lnTo>
                  <a:lnTo>
                    <a:pt x="610" y="574"/>
                  </a:lnTo>
                  <a:lnTo>
                    <a:pt x="408" y="722"/>
                  </a:lnTo>
                  <a:lnTo>
                    <a:pt x="393" y="903"/>
                  </a:lnTo>
                  <a:lnTo>
                    <a:pt x="309" y="976"/>
                  </a:lnTo>
                  <a:lnTo>
                    <a:pt x="234" y="836"/>
                  </a:lnTo>
                  <a:lnTo>
                    <a:pt x="203" y="724"/>
                  </a:lnTo>
                  <a:lnTo>
                    <a:pt x="176" y="698"/>
                  </a:lnTo>
                  <a:lnTo>
                    <a:pt x="155" y="496"/>
                  </a:lnTo>
                  <a:lnTo>
                    <a:pt x="139" y="489"/>
                  </a:lnTo>
                  <a:lnTo>
                    <a:pt x="126" y="533"/>
                  </a:lnTo>
                  <a:lnTo>
                    <a:pt x="78" y="546"/>
                  </a:lnTo>
                  <a:lnTo>
                    <a:pt x="30" y="492"/>
                  </a:lnTo>
                  <a:lnTo>
                    <a:pt x="77" y="464"/>
                  </a:lnTo>
                  <a:lnTo>
                    <a:pt x="30" y="474"/>
                  </a:lnTo>
                  <a:lnTo>
                    <a:pt x="0" y="44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3" name="30561382.875553.87521.37520.3755">
              <a:extLst>
                <a:ext uri="{FF2B5EF4-FFF2-40B4-BE49-F238E27FC236}">
                  <a16:creationId xmlns:a16="http://schemas.microsoft.com/office/drawing/2014/main" id="{F15D31B0-8530-4FA6-BD26-942A083F7191}"/>
                </a:ext>
              </a:extLst>
            </p:cNvPr>
            <p:cNvSpPr>
              <a:spLocks noChangeAspect="1"/>
            </p:cNvSpPr>
            <p:nvPr/>
          </p:nvSpPr>
          <p:spPr bwMode="gray">
            <a:xfrm>
              <a:off x="8551336" y="4497519"/>
              <a:ext cx="329046" cy="348174"/>
            </a:xfrm>
            <a:custGeom>
              <a:avLst/>
              <a:gdLst/>
              <a:ahLst/>
              <a:cxnLst>
                <a:cxn ang="0">
                  <a:pos x="0" y="0"/>
                </a:cxn>
                <a:cxn ang="0">
                  <a:pos x="80" y="15"/>
                </a:cxn>
                <a:cxn ang="0">
                  <a:pos x="182" y="114"/>
                </a:cxn>
                <a:cxn ang="0">
                  <a:pos x="264" y="150"/>
                </a:cxn>
                <a:cxn ang="0">
                  <a:pos x="255" y="177"/>
                </a:cxn>
                <a:cxn ang="0">
                  <a:pos x="283" y="175"/>
                </a:cxn>
                <a:cxn ang="0">
                  <a:pos x="279" y="212"/>
                </a:cxn>
                <a:cxn ang="0">
                  <a:pos x="363" y="282"/>
                </a:cxn>
                <a:cxn ang="0">
                  <a:pos x="354" y="377"/>
                </a:cxn>
                <a:cxn ang="0">
                  <a:pos x="318" y="378"/>
                </a:cxn>
                <a:cxn ang="0">
                  <a:pos x="244" y="323"/>
                </a:cxn>
                <a:cxn ang="0">
                  <a:pos x="124" y="132"/>
                </a:cxn>
                <a:cxn ang="0">
                  <a:pos x="0" y="0"/>
                </a:cxn>
              </a:cxnLst>
              <a:rect l="0" t="0" r="r" b="b"/>
              <a:pathLst>
                <a:path w="363" h="378">
                  <a:moveTo>
                    <a:pt x="0" y="0"/>
                  </a:moveTo>
                  <a:lnTo>
                    <a:pt x="80" y="15"/>
                  </a:lnTo>
                  <a:lnTo>
                    <a:pt x="182" y="114"/>
                  </a:lnTo>
                  <a:lnTo>
                    <a:pt x="264" y="150"/>
                  </a:lnTo>
                  <a:lnTo>
                    <a:pt x="255" y="177"/>
                  </a:lnTo>
                  <a:lnTo>
                    <a:pt x="283" y="175"/>
                  </a:lnTo>
                  <a:lnTo>
                    <a:pt x="279" y="212"/>
                  </a:lnTo>
                  <a:lnTo>
                    <a:pt x="363" y="282"/>
                  </a:lnTo>
                  <a:lnTo>
                    <a:pt x="354" y="377"/>
                  </a:lnTo>
                  <a:lnTo>
                    <a:pt x="318" y="378"/>
                  </a:lnTo>
                  <a:lnTo>
                    <a:pt x="244" y="323"/>
                  </a:lnTo>
                  <a:lnTo>
                    <a:pt x="124" y="132"/>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4" name="30562404.6255735.2517.1255">
              <a:extLst>
                <a:ext uri="{FF2B5EF4-FFF2-40B4-BE49-F238E27FC236}">
                  <a16:creationId xmlns:a16="http://schemas.microsoft.com/office/drawing/2014/main" id="{D232F623-39E6-440D-A280-F9CCAB16A195}"/>
                </a:ext>
              </a:extLst>
            </p:cNvPr>
            <p:cNvSpPr>
              <a:spLocks noChangeAspect="1"/>
            </p:cNvSpPr>
            <p:nvPr/>
          </p:nvSpPr>
          <p:spPr bwMode="gray">
            <a:xfrm>
              <a:off x="8857560" y="4852419"/>
              <a:ext cx="275791" cy="85783"/>
            </a:xfrm>
            <a:custGeom>
              <a:avLst/>
              <a:gdLst/>
              <a:ahLst/>
              <a:cxnLst>
                <a:cxn ang="0">
                  <a:pos x="0" y="26"/>
                </a:cxn>
                <a:cxn ang="0">
                  <a:pos x="21" y="0"/>
                </a:cxn>
                <a:cxn ang="0">
                  <a:pos x="234" y="29"/>
                </a:cxn>
                <a:cxn ang="0">
                  <a:pos x="254" y="53"/>
                </a:cxn>
                <a:cxn ang="0">
                  <a:pos x="298" y="62"/>
                </a:cxn>
                <a:cxn ang="0">
                  <a:pos x="304" y="95"/>
                </a:cxn>
                <a:cxn ang="0">
                  <a:pos x="54" y="49"/>
                </a:cxn>
                <a:cxn ang="0">
                  <a:pos x="0" y="26"/>
                </a:cxn>
              </a:cxnLst>
              <a:rect l="0" t="0" r="r" b="b"/>
              <a:pathLst>
                <a:path w="304" h="95">
                  <a:moveTo>
                    <a:pt x="0" y="26"/>
                  </a:moveTo>
                  <a:lnTo>
                    <a:pt x="21" y="0"/>
                  </a:lnTo>
                  <a:lnTo>
                    <a:pt x="234" y="29"/>
                  </a:lnTo>
                  <a:lnTo>
                    <a:pt x="254" y="53"/>
                  </a:lnTo>
                  <a:lnTo>
                    <a:pt x="298" y="62"/>
                  </a:lnTo>
                  <a:lnTo>
                    <a:pt x="304" y="95"/>
                  </a:lnTo>
                  <a:lnTo>
                    <a:pt x="54" y="49"/>
                  </a:lnTo>
                  <a:lnTo>
                    <a:pt x="0" y="2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5" name="30563385.25579.8751618.55">
              <a:extLst>
                <a:ext uri="{FF2B5EF4-FFF2-40B4-BE49-F238E27FC236}">
                  <a16:creationId xmlns:a16="http://schemas.microsoft.com/office/drawing/2014/main" id="{4486939E-7D08-40AA-9B33-A32523FD76B6}"/>
                </a:ext>
              </a:extLst>
            </p:cNvPr>
            <p:cNvSpPr>
              <a:spLocks noChangeAspect="1"/>
            </p:cNvSpPr>
            <p:nvPr/>
          </p:nvSpPr>
          <p:spPr bwMode="gray">
            <a:xfrm>
              <a:off x="8969780" y="4536207"/>
              <a:ext cx="296713" cy="262391"/>
            </a:xfrm>
            <a:custGeom>
              <a:avLst/>
              <a:gdLst/>
              <a:ahLst/>
              <a:cxnLst>
                <a:cxn ang="0">
                  <a:pos x="0" y="126"/>
                </a:cxn>
                <a:cxn ang="0">
                  <a:pos x="22" y="89"/>
                </a:cxn>
                <a:cxn ang="0">
                  <a:pos x="50" y="112"/>
                </a:cxn>
                <a:cxn ang="0">
                  <a:pos x="150" y="104"/>
                </a:cxn>
                <a:cxn ang="0">
                  <a:pos x="183" y="92"/>
                </a:cxn>
                <a:cxn ang="0">
                  <a:pos x="227" y="0"/>
                </a:cxn>
                <a:cxn ang="0">
                  <a:pos x="285" y="4"/>
                </a:cxn>
                <a:cxn ang="0">
                  <a:pos x="272" y="27"/>
                </a:cxn>
                <a:cxn ang="0">
                  <a:pos x="329" y="112"/>
                </a:cxn>
                <a:cxn ang="0">
                  <a:pos x="297" y="106"/>
                </a:cxn>
                <a:cxn ang="0">
                  <a:pos x="241" y="202"/>
                </a:cxn>
                <a:cxn ang="0">
                  <a:pos x="232" y="262"/>
                </a:cxn>
                <a:cxn ang="0">
                  <a:pos x="197" y="280"/>
                </a:cxn>
                <a:cxn ang="0">
                  <a:pos x="133" y="245"/>
                </a:cxn>
                <a:cxn ang="0">
                  <a:pos x="96" y="261"/>
                </a:cxn>
                <a:cxn ang="0">
                  <a:pos x="91" y="232"/>
                </a:cxn>
                <a:cxn ang="0">
                  <a:pos x="40" y="238"/>
                </a:cxn>
                <a:cxn ang="0">
                  <a:pos x="0" y="126"/>
                </a:cxn>
              </a:cxnLst>
              <a:rect l="0" t="0" r="r" b="b"/>
              <a:pathLst>
                <a:path w="329" h="280">
                  <a:moveTo>
                    <a:pt x="0" y="126"/>
                  </a:moveTo>
                  <a:lnTo>
                    <a:pt x="22" y="89"/>
                  </a:lnTo>
                  <a:lnTo>
                    <a:pt x="50" y="112"/>
                  </a:lnTo>
                  <a:lnTo>
                    <a:pt x="150" y="104"/>
                  </a:lnTo>
                  <a:lnTo>
                    <a:pt x="183" y="92"/>
                  </a:lnTo>
                  <a:lnTo>
                    <a:pt x="227" y="0"/>
                  </a:lnTo>
                  <a:lnTo>
                    <a:pt x="285" y="4"/>
                  </a:lnTo>
                  <a:lnTo>
                    <a:pt x="272" y="27"/>
                  </a:lnTo>
                  <a:lnTo>
                    <a:pt x="329" y="112"/>
                  </a:lnTo>
                  <a:lnTo>
                    <a:pt x="297" y="106"/>
                  </a:lnTo>
                  <a:lnTo>
                    <a:pt x="241" y="202"/>
                  </a:lnTo>
                  <a:lnTo>
                    <a:pt x="232" y="262"/>
                  </a:lnTo>
                  <a:lnTo>
                    <a:pt x="197" y="280"/>
                  </a:lnTo>
                  <a:lnTo>
                    <a:pt x="133" y="245"/>
                  </a:lnTo>
                  <a:lnTo>
                    <a:pt x="96" y="261"/>
                  </a:lnTo>
                  <a:lnTo>
                    <a:pt x="91" y="232"/>
                  </a:lnTo>
                  <a:lnTo>
                    <a:pt x="40" y="238"/>
                  </a:lnTo>
                  <a:lnTo>
                    <a:pt x="0" y="12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6" name="30564409.25594.51.1254.55">
              <a:extLst>
                <a:ext uri="{FF2B5EF4-FFF2-40B4-BE49-F238E27FC236}">
                  <a16:creationId xmlns:a16="http://schemas.microsoft.com/office/drawing/2014/main" id="{37FC3264-8B72-4EC2-ACBC-C4DFEE561122}"/>
                </a:ext>
              </a:extLst>
            </p:cNvPr>
            <p:cNvSpPr>
              <a:spLocks noChangeAspect="1"/>
            </p:cNvSpPr>
            <p:nvPr/>
          </p:nvSpPr>
          <p:spPr bwMode="gray">
            <a:xfrm>
              <a:off x="9203723" y="4926426"/>
              <a:ext cx="72277" cy="16821"/>
            </a:xfrm>
            <a:custGeom>
              <a:avLst/>
              <a:gdLst/>
              <a:ahLst/>
              <a:cxnLst>
                <a:cxn ang="0">
                  <a:pos x="0" y="4"/>
                </a:cxn>
                <a:cxn ang="0">
                  <a:pos x="10" y="21"/>
                </a:cxn>
                <a:cxn ang="0">
                  <a:pos x="82" y="7"/>
                </a:cxn>
                <a:cxn ang="0">
                  <a:pos x="27" y="0"/>
                </a:cxn>
                <a:cxn ang="0">
                  <a:pos x="0" y="4"/>
                </a:cxn>
              </a:cxnLst>
              <a:rect l="0" t="0" r="r" b="b"/>
              <a:pathLst>
                <a:path w="82" h="21">
                  <a:moveTo>
                    <a:pt x="0" y="4"/>
                  </a:moveTo>
                  <a:lnTo>
                    <a:pt x="10" y="21"/>
                  </a:lnTo>
                  <a:lnTo>
                    <a:pt x="82" y="7"/>
                  </a:lnTo>
                  <a:lnTo>
                    <a:pt x="27" y="0"/>
                  </a:lnTo>
                  <a:lnTo>
                    <a:pt x="0" y="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7" name="30565390598.37513.87511.6255">
              <a:extLst>
                <a:ext uri="{FF2B5EF4-FFF2-40B4-BE49-F238E27FC236}">
                  <a16:creationId xmlns:a16="http://schemas.microsoft.com/office/drawing/2014/main" id="{0D53904B-230E-4EFD-BFAC-F0806CFB2B34}"/>
                </a:ext>
              </a:extLst>
            </p:cNvPr>
            <p:cNvSpPr>
              <a:spLocks noChangeAspect="1"/>
            </p:cNvSpPr>
            <p:nvPr/>
          </p:nvSpPr>
          <p:spPr bwMode="gray">
            <a:xfrm>
              <a:off x="9266493" y="4613576"/>
              <a:ext cx="186397" cy="227071"/>
            </a:xfrm>
            <a:custGeom>
              <a:avLst/>
              <a:gdLst/>
              <a:ahLst/>
              <a:cxnLst>
                <a:cxn ang="0">
                  <a:pos x="0" y="145"/>
                </a:cxn>
                <a:cxn ang="0">
                  <a:pos x="26" y="191"/>
                </a:cxn>
                <a:cxn ang="0">
                  <a:pos x="17" y="235"/>
                </a:cxn>
                <a:cxn ang="0">
                  <a:pos x="50" y="244"/>
                </a:cxn>
                <a:cxn ang="0">
                  <a:pos x="48" y="154"/>
                </a:cxn>
                <a:cxn ang="0">
                  <a:pos x="70" y="145"/>
                </a:cxn>
                <a:cxn ang="0">
                  <a:pos x="72" y="180"/>
                </a:cxn>
                <a:cxn ang="0">
                  <a:pos x="92" y="220"/>
                </a:cxn>
                <a:cxn ang="0">
                  <a:pos x="129" y="202"/>
                </a:cxn>
                <a:cxn ang="0">
                  <a:pos x="83" y="118"/>
                </a:cxn>
                <a:cxn ang="0">
                  <a:pos x="152" y="81"/>
                </a:cxn>
                <a:cxn ang="0">
                  <a:pos x="60" y="104"/>
                </a:cxn>
                <a:cxn ang="0">
                  <a:pos x="46" y="50"/>
                </a:cxn>
                <a:cxn ang="0">
                  <a:pos x="181" y="45"/>
                </a:cxn>
                <a:cxn ang="0">
                  <a:pos x="206" y="0"/>
                </a:cxn>
                <a:cxn ang="0">
                  <a:pos x="166" y="28"/>
                </a:cxn>
                <a:cxn ang="0">
                  <a:pos x="70" y="13"/>
                </a:cxn>
                <a:cxn ang="0">
                  <a:pos x="37" y="34"/>
                </a:cxn>
                <a:cxn ang="0">
                  <a:pos x="0" y="145"/>
                </a:cxn>
              </a:cxnLst>
              <a:rect l="0" t="0" r="r" b="b"/>
              <a:pathLst>
                <a:path w="206" h="244">
                  <a:moveTo>
                    <a:pt x="0" y="145"/>
                  </a:moveTo>
                  <a:lnTo>
                    <a:pt x="26" y="191"/>
                  </a:lnTo>
                  <a:lnTo>
                    <a:pt x="17" y="235"/>
                  </a:lnTo>
                  <a:lnTo>
                    <a:pt x="50" y="244"/>
                  </a:lnTo>
                  <a:lnTo>
                    <a:pt x="48" y="154"/>
                  </a:lnTo>
                  <a:lnTo>
                    <a:pt x="70" y="145"/>
                  </a:lnTo>
                  <a:lnTo>
                    <a:pt x="72" y="180"/>
                  </a:lnTo>
                  <a:lnTo>
                    <a:pt x="92" y="220"/>
                  </a:lnTo>
                  <a:lnTo>
                    <a:pt x="129" y="202"/>
                  </a:lnTo>
                  <a:lnTo>
                    <a:pt x="83" y="118"/>
                  </a:lnTo>
                  <a:lnTo>
                    <a:pt x="152" y="81"/>
                  </a:lnTo>
                  <a:lnTo>
                    <a:pt x="60" y="104"/>
                  </a:lnTo>
                  <a:lnTo>
                    <a:pt x="46" y="50"/>
                  </a:lnTo>
                  <a:lnTo>
                    <a:pt x="181" y="45"/>
                  </a:lnTo>
                  <a:lnTo>
                    <a:pt x="206" y="0"/>
                  </a:lnTo>
                  <a:lnTo>
                    <a:pt x="166" y="28"/>
                  </a:lnTo>
                  <a:lnTo>
                    <a:pt x="70" y="13"/>
                  </a:lnTo>
                  <a:lnTo>
                    <a:pt x="37" y="34"/>
                  </a:lnTo>
                  <a:lnTo>
                    <a:pt x="0" y="1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8" name="30566409.375607.53.56.6255">
              <a:extLst>
                <a:ext uri="{FF2B5EF4-FFF2-40B4-BE49-F238E27FC236}">
                  <a16:creationId xmlns:a16="http://schemas.microsoft.com/office/drawing/2014/main" id="{47A998F3-F840-42DB-9C6A-3E5B4E645C3D}"/>
                </a:ext>
              </a:extLst>
            </p:cNvPr>
            <p:cNvSpPr>
              <a:spLocks noChangeAspect="1"/>
            </p:cNvSpPr>
            <p:nvPr/>
          </p:nvSpPr>
          <p:spPr bwMode="gray">
            <a:xfrm>
              <a:off x="9412947" y="4929791"/>
              <a:ext cx="106511" cy="55506"/>
            </a:xfrm>
            <a:custGeom>
              <a:avLst/>
              <a:gdLst/>
              <a:ahLst/>
              <a:cxnLst>
                <a:cxn ang="0">
                  <a:pos x="0" y="37"/>
                </a:cxn>
                <a:cxn ang="0">
                  <a:pos x="5" y="63"/>
                </a:cxn>
                <a:cxn ang="0">
                  <a:pos x="115" y="0"/>
                </a:cxn>
                <a:cxn ang="0">
                  <a:pos x="33" y="19"/>
                </a:cxn>
                <a:cxn ang="0">
                  <a:pos x="0" y="37"/>
                </a:cxn>
              </a:cxnLst>
              <a:rect l="0" t="0" r="r" b="b"/>
              <a:pathLst>
                <a:path w="115" h="63">
                  <a:moveTo>
                    <a:pt x="0" y="37"/>
                  </a:moveTo>
                  <a:lnTo>
                    <a:pt x="5" y="63"/>
                  </a:lnTo>
                  <a:lnTo>
                    <a:pt x="115" y="0"/>
                  </a:lnTo>
                  <a:lnTo>
                    <a:pt x="33" y="19"/>
                  </a:lnTo>
                  <a:lnTo>
                    <a:pt x="0" y="3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59" name="30567389.375614.3755.6252.255">
              <a:extLst>
                <a:ext uri="{FF2B5EF4-FFF2-40B4-BE49-F238E27FC236}">
                  <a16:creationId xmlns:a16="http://schemas.microsoft.com/office/drawing/2014/main" id="{C90DFC6A-E33C-497D-9459-3EB3809FF4E3}"/>
                </a:ext>
              </a:extLst>
            </p:cNvPr>
            <p:cNvSpPr>
              <a:spLocks noChangeAspect="1"/>
            </p:cNvSpPr>
            <p:nvPr/>
          </p:nvSpPr>
          <p:spPr bwMode="gray">
            <a:xfrm>
              <a:off x="9523262" y="4605169"/>
              <a:ext cx="34238" cy="89144"/>
            </a:xfrm>
            <a:custGeom>
              <a:avLst/>
              <a:gdLst/>
              <a:ahLst/>
              <a:cxnLst>
                <a:cxn ang="0">
                  <a:pos x="0" y="35"/>
                </a:cxn>
                <a:cxn ang="0">
                  <a:pos x="8" y="80"/>
                </a:cxn>
                <a:cxn ang="0">
                  <a:pos x="32" y="99"/>
                </a:cxn>
                <a:cxn ang="0">
                  <a:pos x="17" y="58"/>
                </a:cxn>
                <a:cxn ang="0">
                  <a:pos x="40" y="52"/>
                </a:cxn>
                <a:cxn ang="0">
                  <a:pos x="37" y="21"/>
                </a:cxn>
                <a:cxn ang="0">
                  <a:pos x="8" y="41"/>
                </a:cxn>
                <a:cxn ang="0">
                  <a:pos x="21" y="0"/>
                </a:cxn>
                <a:cxn ang="0">
                  <a:pos x="0" y="35"/>
                </a:cxn>
              </a:cxnLst>
              <a:rect l="0" t="0" r="r" b="b"/>
              <a:pathLst>
                <a:path w="40" h="99">
                  <a:moveTo>
                    <a:pt x="0" y="35"/>
                  </a:moveTo>
                  <a:lnTo>
                    <a:pt x="8" y="80"/>
                  </a:lnTo>
                  <a:lnTo>
                    <a:pt x="32" y="99"/>
                  </a:lnTo>
                  <a:lnTo>
                    <a:pt x="17" y="58"/>
                  </a:lnTo>
                  <a:lnTo>
                    <a:pt x="40" y="52"/>
                  </a:lnTo>
                  <a:lnTo>
                    <a:pt x="37" y="21"/>
                  </a:lnTo>
                  <a:lnTo>
                    <a:pt x="8" y="41"/>
                  </a:lnTo>
                  <a:lnTo>
                    <a:pt x="21" y="0"/>
                  </a:lnTo>
                  <a:lnTo>
                    <a:pt x="0" y="3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0" name="30568398.5615.3751.755.3755">
              <a:extLst>
                <a:ext uri="{FF2B5EF4-FFF2-40B4-BE49-F238E27FC236}">
                  <a16:creationId xmlns:a16="http://schemas.microsoft.com/office/drawing/2014/main" id="{38EAF73D-840A-42AA-8B6A-8519385B774C}"/>
                </a:ext>
              </a:extLst>
            </p:cNvPr>
            <p:cNvSpPr>
              <a:spLocks noChangeAspect="1"/>
            </p:cNvSpPr>
            <p:nvPr/>
          </p:nvSpPr>
          <p:spPr bwMode="gray">
            <a:xfrm>
              <a:off x="9538479" y="4753183"/>
              <a:ext cx="85592" cy="26912"/>
            </a:xfrm>
            <a:custGeom>
              <a:avLst/>
              <a:gdLst/>
              <a:ahLst/>
              <a:cxnLst>
                <a:cxn ang="0">
                  <a:pos x="0" y="12"/>
                </a:cxn>
                <a:cxn ang="0">
                  <a:pos x="53" y="0"/>
                </a:cxn>
                <a:cxn ang="0">
                  <a:pos x="96" y="31"/>
                </a:cxn>
                <a:cxn ang="0">
                  <a:pos x="0" y="12"/>
                </a:cxn>
              </a:cxnLst>
              <a:rect l="0" t="0" r="r" b="b"/>
              <a:pathLst>
                <a:path w="96" h="31">
                  <a:moveTo>
                    <a:pt x="0" y="12"/>
                  </a:moveTo>
                  <a:lnTo>
                    <a:pt x="53" y="0"/>
                  </a:lnTo>
                  <a:lnTo>
                    <a:pt x="96" y="31"/>
                  </a:lnTo>
                  <a:lnTo>
                    <a:pt x="0" y="1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1" name="30569394.125620.87516.2519.755">
              <a:extLst>
                <a:ext uri="{FF2B5EF4-FFF2-40B4-BE49-F238E27FC236}">
                  <a16:creationId xmlns:a16="http://schemas.microsoft.com/office/drawing/2014/main" id="{CFF9BBCF-6B20-473D-AA59-617E6D701D6A}"/>
                </a:ext>
              </a:extLst>
            </p:cNvPr>
            <p:cNvSpPr>
              <a:spLocks noChangeAspect="1"/>
            </p:cNvSpPr>
            <p:nvPr/>
          </p:nvSpPr>
          <p:spPr bwMode="gray">
            <a:xfrm>
              <a:off x="9627872" y="4682538"/>
              <a:ext cx="315734" cy="260710"/>
            </a:xfrm>
            <a:custGeom>
              <a:avLst/>
              <a:gdLst/>
              <a:ahLst/>
              <a:cxnLst>
                <a:cxn ang="0">
                  <a:pos x="0" y="36"/>
                </a:cxn>
                <a:cxn ang="0">
                  <a:pos x="51" y="63"/>
                </a:cxn>
                <a:cxn ang="0">
                  <a:pos x="102" y="56"/>
                </a:cxn>
                <a:cxn ang="0">
                  <a:pos x="37" y="77"/>
                </a:cxn>
                <a:cxn ang="0">
                  <a:pos x="69" y="124"/>
                </a:cxn>
                <a:cxn ang="0">
                  <a:pos x="99" y="84"/>
                </a:cxn>
                <a:cxn ang="0">
                  <a:pos x="120" y="124"/>
                </a:cxn>
                <a:cxn ang="0">
                  <a:pos x="245" y="168"/>
                </a:cxn>
                <a:cxn ang="0">
                  <a:pos x="275" y="238"/>
                </a:cxn>
                <a:cxn ang="0">
                  <a:pos x="252" y="235"/>
                </a:cxn>
                <a:cxn ang="0">
                  <a:pos x="232" y="268"/>
                </a:cxn>
                <a:cxn ang="0">
                  <a:pos x="308" y="253"/>
                </a:cxn>
                <a:cxn ang="0">
                  <a:pos x="349" y="289"/>
                </a:cxn>
                <a:cxn ang="0">
                  <a:pos x="344" y="73"/>
                </a:cxn>
                <a:cxn ang="0">
                  <a:pos x="236" y="36"/>
                </a:cxn>
                <a:cxn ang="0">
                  <a:pos x="149" y="99"/>
                </a:cxn>
                <a:cxn ang="0">
                  <a:pos x="114" y="66"/>
                </a:cxn>
                <a:cxn ang="0">
                  <a:pos x="103" y="14"/>
                </a:cxn>
                <a:cxn ang="0">
                  <a:pos x="51" y="0"/>
                </a:cxn>
                <a:cxn ang="0">
                  <a:pos x="0" y="36"/>
                </a:cxn>
              </a:cxnLst>
              <a:rect l="0" t="0" r="r" b="b"/>
              <a:pathLst>
                <a:path w="349" h="289">
                  <a:moveTo>
                    <a:pt x="0" y="36"/>
                  </a:moveTo>
                  <a:lnTo>
                    <a:pt x="51" y="63"/>
                  </a:lnTo>
                  <a:lnTo>
                    <a:pt x="102" y="56"/>
                  </a:lnTo>
                  <a:lnTo>
                    <a:pt x="37" y="77"/>
                  </a:lnTo>
                  <a:lnTo>
                    <a:pt x="69" y="124"/>
                  </a:lnTo>
                  <a:lnTo>
                    <a:pt x="99" y="84"/>
                  </a:lnTo>
                  <a:lnTo>
                    <a:pt x="120" y="124"/>
                  </a:lnTo>
                  <a:lnTo>
                    <a:pt x="245" y="168"/>
                  </a:lnTo>
                  <a:lnTo>
                    <a:pt x="275" y="238"/>
                  </a:lnTo>
                  <a:lnTo>
                    <a:pt x="252" y="235"/>
                  </a:lnTo>
                  <a:lnTo>
                    <a:pt x="232" y="268"/>
                  </a:lnTo>
                  <a:lnTo>
                    <a:pt x="308" y="253"/>
                  </a:lnTo>
                  <a:lnTo>
                    <a:pt x="349" y="289"/>
                  </a:lnTo>
                  <a:lnTo>
                    <a:pt x="344" y="73"/>
                  </a:lnTo>
                  <a:lnTo>
                    <a:pt x="236" y="36"/>
                  </a:lnTo>
                  <a:lnTo>
                    <a:pt x="149" y="99"/>
                  </a:lnTo>
                  <a:lnTo>
                    <a:pt x="114" y="66"/>
                  </a:lnTo>
                  <a:lnTo>
                    <a:pt x="103" y="14"/>
                  </a:lnTo>
                  <a:lnTo>
                    <a:pt x="51" y="0"/>
                  </a:lnTo>
                  <a:lnTo>
                    <a:pt x="0" y="3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2" name="30570406.75621.51.50.8755">
              <a:extLst>
                <a:ext uri="{FF2B5EF4-FFF2-40B4-BE49-F238E27FC236}">
                  <a16:creationId xmlns:a16="http://schemas.microsoft.com/office/drawing/2014/main" id="{D8957EAB-D8D7-4A56-B662-8EF04AF5925D}"/>
                </a:ext>
              </a:extLst>
            </p:cNvPr>
            <p:cNvSpPr>
              <a:spLocks noChangeAspect="1"/>
            </p:cNvSpPr>
            <p:nvPr/>
          </p:nvSpPr>
          <p:spPr bwMode="gray">
            <a:xfrm>
              <a:off x="9637383" y="4887742"/>
              <a:ext cx="11411" cy="23547"/>
            </a:xfrm>
            <a:custGeom>
              <a:avLst/>
              <a:gdLst/>
              <a:ahLst/>
              <a:cxnLst>
                <a:cxn ang="0">
                  <a:pos x="0" y="25"/>
                </a:cxn>
                <a:cxn ang="0">
                  <a:pos x="10" y="0"/>
                </a:cxn>
                <a:cxn ang="0">
                  <a:pos x="16" y="14"/>
                </a:cxn>
                <a:cxn ang="0">
                  <a:pos x="0" y="25"/>
                </a:cxn>
              </a:cxnLst>
              <a:rect l="0" t="0" r="r" b="b"/>
              <a:pathLst>
                <a:path w="16" h="25">
                  <a:moveTo>
                    <a:pt x="0" y="25"/>
                  </a:moveTo>
                  <a:lnTo>
                    <a:pt x="10" y="0"/>
                  </a:lnTo>
                  <a:lnTo>
                    <a:pt x="16" y="14"/>
                  </a:lnTo>
                  <a:lnTo>
                    <a:pt x="0" y="2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3" name="30571317.62561296.6255">
              <a:extLst>
                <a:ext uri="{FF2B5EF4-FFF2-40B4-BE49-F238E27FC236}">
                  <a16:creationId xmlns:a16="http://schemas.microsoft.com/office/drawing/2014/main" id="{2DB33532-3A87-45D3-B8E8-6AC63C5D785C}"/>
                </a:ext>
              </a:extLst>
            </p:cNvPr>
            <p:cNvSpPr>
              <a:spLocks noChangeAspect="1"/>
            </p:cNvSpPr>
            <p:nvPr/>
          </p:nvSpPr>
          <p:spPr bwMode="gray">
            <a:xfrm>
              <a:off x="9485220" y="3442910"/>
              <a:ext cx="104610" cy="146334"/>
            </a:xfrm>
            <a:custGeom>
              <a:avLst/>
              <a:gdLst/>
              <a:ahLst/>
              <a:cxnLst>
                <a:cxn ang="0">
                  <a:pos x="0" y="160"/>
                </a:cxn>
                <a:cxn ang="0">
                  <a:pos x="12" y="35"/>
                </a:cxn>
                <a:cxn ang="0">
                  <a:pos x="74" y="0"/>
                </a:cxn>
                <a:cxn ang="0">
                  <a:pos x="115" y="98"/>
                </a:cxn>
                <a:cxn ang="0">
                  <a:pos x="73" y="144"/>
                </a:cxn>
                <a:cxn ang="0">
                  <a:pos x="0" y="160"/>
                </a:cxn>
              </a:cxnLst>
              <a:rect l="0" t="0" r="r" b="b"/>
              <a:pathLst>
                <a:path w="115" h="160">
                  <a:moveTo>
                    <a:pt x="0" y="160"/>
                  </a:moveTo>
                  <a:lnTo>
                    <a:pt x="12" y="35"/>
                  </a:lnTo>
                  <a:lnTo>
                    <a:pt x="74" y="0"/>
                  </a:lnTo>
                  <a:lnTo>
                    <a:pt x="115" y="98"/>
                  </a:lnTo>
                  <a:lnTo>
                    <a:pt x="73" y="144"/>
                  </a:lnTo>
                  <a:lnTo>
                    <a:pt x="0" y="16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4" name="30572381.125563.259.3757.1255">
              <a:extLst>
                <a:ext uri="{FF2B5EF4-FFF2-40B4-BE49-F238E27FC236}">
                  <a16:creationId xmlns:a16="http://schemas.microsoft.com/office/drawing/2014/main" id="{101C99DC-01D8-4347-9F55-D6165681CDA1}"/>
                </a:ext>
              </a:extLst>
            </p:cNvPr>
            <p:cNvSpPr>
              <a:spLocks noChangeAspect="1"/>
            </p:cNvSpPr>
            <p:nvPr/>
          </p:nvSpPr>
          <p:spPr bwMode="gray">
            <a:xfrm>
              <a:off x="8703496" y="4472291"/>
              <a:ext cx="114121" cy="151380"/>
            </a:xfrm>
            <a:custGeom>
              <a:avLst/>
              <a:gdLst/>
              <a:ahLst/>
              <a:cxnLst>
                <a:cxn ang="0">
                  <a:pos x="0" y="0"/>
                </a:cxn>
                <a:cxn ang="0">
                  <a:pos x="25" y="0"/>
                </a:cxn>
                <a:cxn ang="0">
                  <a:pos x="33" y="31"/>
                </a:cxn>
                <a:cxn ang="0">
                  <a:pos x="65" y="11"/>
                </a:cxn>
                <a:cxn ang="0">
                  <a:pos x="106" y="50"/>
                </a:cxn>
                <a:cxn ang="0">
                  <a:pos x="125" y="167"/>
                </a:cxn>
                <a:cxn ang="0">
                  <a:pos x="124" y="167"/>
                </a:cxn>
                <a:cxn ang="0">
                  <a:pos x="39" y="117"/>
                </a:cxn>
                <a:cxn ang="0">
                  <a:pos x="0" y="0"/>
                </a:cxn>
              </a:cxnLst>
              <a:rect l="0" t="0" r="r" b="b"/>
              <a:pathLst>
                <a:path w="125" h="167">
                  <a:moveTo>
                    <a:pt x="0" y="0"/>
                  </a:moveTo>
                  <a:lnTo>
                    <a:pt x="25" y="0"/>
                  </a:lnTo>
                  <a:lnTo>
                    <a:pt x="33" y="31"/>
                  </a:lnTo>
                  <a:lnTo>
                    <a:pt x="65" y="11"/>
                  </a:lnTo>
                  <a:lnTo>
                    <a:pt x="106" y="50"/>
                  </a:lnTo>
                  <a:lnTo>
                    <a:pt x="125" y="167"/>
                  </a:lnTo>
                  <a:lnTo>
                    <a:pt x="124" y="167"/>
                  </a:lnTo>
                  <a:lnTo>
                    <a:pt x="39" y="117"/>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5" name="30573380.375581.12511.375185">
              <a:extLst>
                <a:ext uri="{FF2B5EF4-FFF2-40B4-BE49-F238E27FC236}">
                  <a16:creationId xmlns:a16="http://schemas.microsoft.com/office/drawing/2014/main" id="{2E69E546-CD40-424A-8DC6-5E6B58844E10}"/>
                </a:ext>
              </a:extLst>
            </p:cNvPr>
            <p:cNvSpPr>
              <a:spLocks noChangeAspect="1"/>
            </p:cNvSpPr>
            <p:nvPr/>
          </p:nvSpPr>
          <p:spPr bwMode="gray">
            <a:xfrm>
              <a:off x="8988798" y="4458835"/>
              <a:ext cx="291007" cy="185018"/>
            </a:xfrm>
            <a:custGeom>
              <a:avLst/>
              <a:gdLst/>
              <a:ahLst/>
              <a:cxnLst>
                <a:cxn ang="0">
                  <a:pos x="0" y="176"/>
                </a:cxn>
                <a:cxn ang="0">
                  <a:pos x="28" y="199"/>
                </a:cxn>
                <a:cxn ang="0">
                  <a:pos x="128" y="191"/>
                </a:cxn>
                <a:cxn ang="0">
                  <a:pos x="161" y="179"/>
                </a:cxn>
                <a:cxn ang="0">
                  <a:pos x="205" y="87"/>
                </a:cxn>
                <a:cxn ang="0">
                  <a:pos x="263" y="91"/>
                </a:cxn>
                <a:cxn ang="0">
                  <a:pos x="319" y="59"/>
                </a:cxn>
                <a:cxn ang="0">
                  <a:pos x="265" y="33"/>
                </a:cxn>
                <a:cxn ang="0">
                  <a:pos x="249" y="0"/>
                </a:cxn>
                <a:cxn ang="0">
                  <a:pos x="183" y="62"/>
                </a:cxn>
                <a:cxn ang="0">
                  <a:pos x="164" y="96"/>
                </a:cxn>
                <a:cxn ang="0">
                  <a:pos x="143" y="77"/>
                </a:cxn>
                <a:cxn ang="0">
                  <a:pos x="105" y="127"/>
                </a:cxn>
                <a:cxn ang="0">
                  <a:pos x="62" y="133"/>
                </a:cxn>
                <a:cxn ang="0">
                  <a:pos x="48" y="179"/>
                </a:cxn>
                <a:cxn ang="0">
                  <a:pos x="0" y="176"/>
                </a:cxn>
              </a:cxnLst>
              <a:rect l="0" t="0" r="r" b="b"/>
              <a:pathLst>
                <a:path w="319" h="199">
                  <a:moveTo>
                    <a:pt x="0" y="176"/>
                  </a:moveTo>
                  <a:lnTo>
                    <a:pt x="28" y="199"/>
                  </a:lnTo>
                  <a:lnTo>
                    <a:pt x="128" y="191"/>
                  </a:lnTo>
                  <a:lnTo>
                    <a:pt x="161" y="179"/>
                  </a:lnTo>
                  <a:lnTo>
                    <a:pt x="205" y="87"/>
                  </a:lnTo>
                  <a:lnTo>
                    <a:pt x="263" y="91"/>
                  </a:lnTo>
                  <a:lnTo>
                    <a:pt x="319" y="59"/>
                  </a:lnTo>
                  <a:lnTo>
                    <a:pt x="265" y="33"/>
                  </a:lnTo>
                  <a:lnTo>
                    <a:pt x="249" y="0"/>
                  </a:lnTo>
                  <a:lnTo>
                    <a:pt x="183" y="62"/>
                  </a:lnTo>
                  <a:lnTo>
                    <a:pt x="164" y="96"/>
                  </a:lnTo>
                  <a:lnTo>
                    <a:pt x="143" y="77"/>
                  </a:lnTo>
                  <a:lnTo>
                    <a:pt x="105" y="127"/>
                  </a:lnTo>
                  <a:lnTo>
                    <a:pt x="62" y="133"/>
                  </a:lnTo>
                  <a:lnTo>
                    <a:pt x="48" y="179"/>
                  </a:lnTo>
                  <a:lnTo>
                    <a:pt x="0" y="17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6" name="30574320.875489.12527.2531.55">
              <a:extLst>
                <a:ext uri="{FF2B5EF4-FFF2-40B4-BE49-F238E27FC236}">
                  <a16:creationId xmlns:a16="http://schemas.microsoft.com/office/drawing/2014/main" id="{66AA4770-7E92-4BE1-87DC-A04CD8986835}"/>
                </a:ext>
              </a:extLst>
            </p:cNvPr>
            <p:cNvSpPr>
              <a:spLocks noChangeAspect="1"/>
            </p:cNvSpPr>
            <p:nvPr/>
          </p:nvSpPr>
          <p:spPr bwMode="gray">
            <a:xfrm>
              <a:off x="7512843" y="3496735"/>
              <a:ext cx="505933" cy="439002"/>
            </a:xfrm>
            <a:custGeom>
              <a:avLst/>
              <a:gdLst/>
              <a:ahLst/>
              <a:cxnLst>
                <a:cxn ang="0">
                  <a:pos x="0" y="267"/>
                </a:cxn>
                <a:cxn ang="0">
                  <a:pos x="52" y="284"/>
                </a:cxn>
                <a:cxn ang="0">
                  <a:pos x="175" y="267"/>
                </a:cxn>
                <a:cxn ang="0">
                  <a:pos x="198" y="218"/>
                </a:cxn>
                <a:cxn ang="0">
                  <a:pos x="281" y="190"/>
                </a:cxn>
                <a:cxn ang="0">
                  <a:pos x="289" y="149"/>
                </a:cxn>
                <a:cxn ang="0">
                  <a:pos x="316" y="138"/>
                </a:cxn>
                <a:cxn ang="0">
                  <a:pos x="304" y="116"/>
                </a:cxn>
                <a:cxn ang="0">
                  <a:pos x="334" y="114"/>
                </a:cxn>
                <a:cxn ang="0">
                  <a:pos x="356" y="72"/>
                </a:cxn>
                <a:cxn ang="0">
                  <a:pos x="347" y="31"/>
                </a:cxn>
                <a:cxn ang="0">
                  <a:pos x="458" y="0"/>
                </a:cxn>
                <a:cxn ang="0">
                  <a:pos x="560" y="62"/>
                </a:cxn>
                <a:cxn ang="0">
                  <a:pos x="532" y="88"/>
                </a:cxn>
                <a:cxn ang="0">
                  <a:pos x="436" y="88"/>
                </a:cxn>
                <a:cxn ang="0">
                  <a:pos x="437" y="143"/>
                </a:cxn>
                <a:cxn ang="0">
                  <a:pos x="481" y="178"/>
                </a:cxn>
                <a:cxn ang="0">
                  <a:pos x="455" y="196"/>
                </a:cxn>
                <a:cxn ang="0">
                  <a:pos x="462" y="226"/>
                </a:cxn>
                <a:cxn ang="0">
                  <a:pos x="363" y="337"/>
                </a:cxn>
                <a:cxn ang="0">
                  <a:pos x="319" y="335"/>
                </a:cxn>
                <a:cxn ang="0">
                  <a:pos x="289" y="362"/>
                </a:cxn>
                <a:cxn ang="0">
                  <a:pos x="341" y="464"/>
                </a:cxn>
                <a:cxn ang="0">
                  <a:pos x="265" y="464"/>
                </a:cxn>
                <a:cxn ang="0">
                  <a:pos x="238" y="486"/>
                </a:cxn>
                <a:cxn ang="0">
                  <a:pos x="182" y="425"/>
                </a:cxn>
                <a:cxn ang="0">
                  <a:pos x="26" y="436"/>
                </a:cxn>
                <a:cxn ang="0">
                  <a:pos x="79" y="366"/>
                </a:cxn>
                <a:cxn ang="0">
                  <a:pos x="0" y="267"/>
                </a:cxn>
              </a:cxnLst>
              <a:rect l="0" t="0" r="r" b="b"/>
              <a:pathLst>
                <a:path w="560" h="486">
                  <a:moveTo>
                    <a:pt x="0" y="267"/>
                  </a:moveTo>
                  <a:lnTo>
                    <a:pt x="52" y="284"/>
                  </a:lnTo>
                  <a:lnTo>
                    <a:pt x="175" y="267"/>
                  </a:lnTo>
                  <a:lnTo>
                    <a:pt x="198" y="218"/>
                  </a:lnTo>
                  <a:lnTo>
                    <a:pt x="281" y="190"/>
                  </a:lnTo>
                  <a:lnTo>
                    <a:pt x="289" y="149"/>
                  </a:lnTo>
                  <a:lnTo>
                    <a:pt x="316" y="138"/>
                  </a:lnTo>
                  <a:lnTo>
                    <a:pt x="304" y="116"/>
                  </a:lnTo>
                  <a:lnTo>
                    <a:pt x="334" y="114"/>
                  </a:lnTo>
                  <a:lnTo>
                    <a:pt x="356" y="72"/>
                  </a:lnTo>
                  <a:lnTo>
                    <a:pt x="347" y="31"/>
                  </a:lnTo>
                  <a:lnTo>
                    <a:pt x="458" y="0"/>
                  </a:lnTo>
                  <a:lnTo>
                    <a:pt x="560" y="62"/>
                  </a:lnTo>
                  <a:lnTo>
                    <a:pt x="532" y="88"/>
                  </a:lnTo>
                  <a:lnTo>
                    <a:pt x="436" y="88"/>
                  </a:lnTo>
                  <a:lnTo>
                    <a:pt x="437" y="143"/>
                  </a:lnTo>
                  <a:lnTo>
                    <a:pt x="481" y="178"/>
                  </a:lnTo>
                  <a:lnTo>
                    <a:pt x="455" y="196"/>
                  </a:lnTo>
                  <a:lnTo>
                    <a:pt x="462" y="226"/>
                  </a:lnTo>
                  <a:lnTo>
                    <a:pt x="363" y="337"/>
                  </a:lnTo>
                  <a:lnTo>
                    <a:pt x="319" y="335"/>
                  </a:lnTo>
                  <a:lnTo>
                    <a:pt x="289" y="362"/>
                  </a:lnTo>
                  <a:lnTo>
                    <a:pt x="341" y="464"/>
                  </a:lnTo>
                  <a:lnTo>
                    <a:pt x="265" y="464"/>
                  </a:lnTo>
                  <a:lnTo>
                    <a:pt x="238" y="486"/>
                  </a:lnTo>
                  <a:lnTo>
                    <a:pt x="182" y="425"/>
                  </a:lnTo>
                  <a:lnTo>
                    <a:pt x="26" y="436"/>
                  </a:lnTo>
                  <a:lnTo>
                    <a:pt x="79" y="366"/>
                  </a:lnTo>
                  <a:lnTo>
                    <a:pt x="0" y="26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7" name="30575372.125595.255.3754.255">
              <a:extLst>
                <a:ext uri="{FF2B5EF4-FFF2-40B4-BE49-F238E27FC236}">
                  <a16:creationId xmlns:a16="http://schemas.microsoft.com/office/drawing/2014/main" id="{CDD3D91C-1D16-45DA-B9F7-B8639D5E01B0}"/>
                </a:ext>
              </a:extLst>
            </p:cNvPr>
            <p:cNvSpPr>
              <a:spLocks noChangeAspect="1"/>
            </p:cNvSpPr>
            <p:nvPr/>
          </p:nvSpPr>
          <p:spPr bwMode="gray">
            <a:xfrm>
              <a:off x="9215138" y="4325957"/>
              <a:ext cx="66571" cy="85779"/>
            </a:xfrm>
            <a:custGeom>
              <a:avLst/>
              <a:gdLst/>
              <a:ahLst/>
              <a:cxnLst>
                <a:cxn ang="0">
                  <a:pos x="0" y="97"/>
                </a:cxn>
                <a:cxn ang="0">
                  <a:pos x="54" y="51"/>
                </a:cxn>
                <a:cxn ang="0">
                  <a:pos x="77" y="0"/>
                </a:cxn>
                <a:cxn ang="0">
                  <a:pos x="0" y="97"/>
                </a:cxn>
              </a:cxnLst>
              <a:rect l="0" t="0" r="r" b="b"/>
              <a:pathLst>
                <a:path w="77" h="97">
                  <a:moveTo>
                    <a:pt x="0" y="97"/>
                  </a:moveTo>
                  <a:lnTo>
                    <a:pt x="54" y="51"/>
                  </a:lnTo>
                  <a:lnTo>
                    <a:pt x="77" y="0"/>
                  </a:lnTo>
                  <a:lnTo>
                    <a:pt x="0" y="9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8" name="30576358.25600.2511.57.755">
              <a:extLst>
                <a:ext uri="{FF2B5EF4-FFF2-40B4-BE49-F238E27FC236}">
                  <a16:creationId xmlns:a16="http://schemas.microsoft.com/office/drawing/2014/main" id="{362CD859-D22E-49B7-9E67-E14A784C1AD1}"/>
                </a:ext>
              </a:extLst>
            </p:cNvPr>
            <p:cNvSpPr>
              <a:spLocks noChangeAspect="1"/>
            </p:cNvSpPr>
            <p:nvPr/>
          </p:nvSpPr>
          <p:spPr bwMode="gray">
            <a:xfrm>
              <a:off x="9295021" y="4100570"/>
              <a:ext cx="127436" cy="186699"/>
            </a:xfrm>
            <a:custGeom>
              <a:avLst/>
              <a:gdLst/>
              <a:ahLst/>
              <a:cxnLst>
                <a:cxn ang="0">
                  <a:pos x="0" y="79"/>
                </a:cxn>
                <a:cxn ang="0">
                  <a:pos x="26" y="0"/>
                </a:cxn>
                <a:cxn ang="0">
                  <a:pos x="74" y="2"/>
                </a:cxn>
                <a:cxn ang="0">
                  <a:pos x="87" y="55"/>
                </a:cxn>
                <a:cxn ang="0">
                  <a:pos x="49" y="110"/>
                </a:cxn>
                <a:cxn ang="0">
                  <a:pos x="58" y="141"/>
                </a:cxn>
                <a:cxn ang="0">
                  <a:pos x="130" y="161"/>
                </a:cxn>
                <a:cxn ang="0">
                  <a:pos x="136" y="203"/>
                </a:cxn>
                <a:cxn ang="0">
                  <a:pos x="92" y="161"/>
                </a:cxn>
                <a:cxn ang="0">
                  <a:pos x="92" y="181"/>
                </a:cxn>
                <a:cxn ang="0">
                  <a:pos x="26" y="161"/>
                </a:cxn>
                <a:cxn ang="0">
                  <a:pos x="0" y="79"/>
                </a:cxn>
              </a:cxnLst>
              <a:rect l="0" t="0" r="r" b="b"/>
              <a:pathLst>
                <a:path w="136" h="203">
                  <a:moveTo>
                    <a:pt x="0" y="79"/>
                  </a:moveTo>
                  <a:lnTo>
                    <a:pt x="26" y="0"/>
                  </a:lnTo>
                  <a:lnTo>
                    <a:pt x="74" y="2"/>
                  </a:lnTo>
                  <a:lnTo>
                    <a:pt x="87" y="55"/>
                  </a:lnTo>
                  <a:lnTo>
                    <a:pt x="49" y="110"/>
                  </a:lnTo>
                  <a:lnTo>
                    <a:pt x="58" y="141"/>
                  </a:lnTo>
                  <a:lnTo>
                    <a:pt x="130" y="161"/>
                  </a:lnTo>
                  <a:lnTo>
                    <a:pt x="136" y="203"/>
                  </a:lnTo>
                  <a:lnTo>
                    <a:pt x="92" y="161"/>
                  </a:lnTo>
                  <a:lnTo>
                    <a:pt x="92" y="181"/>
                  </a:lnTo>
                  <a:lnTo>
                    <a:pt x="26" y="161"/>
                  </a:lnTo>
                  <a:lnTo>
                    <a:pt x="0" y="7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69" name="305773686012.3752.1255">
              <a:extLst>
                <a:ext uri="{FF2B5EF4-FFF2-40B4-BE49-F238E27FC236}">
                  <a16:creationId xmlns:a16="http://schemas.microsoft.com/office/drawing/2014/main" id="{4D8FDC1D-FA56-4191-A00D-D9C3DCFA6354}"/>
                </a:ext>
              </a:extLst>
            </p:cNvPr>
            <p:cNvSpPr>
              <a:spLocks noChangeAspect="1"/>
            </p:cNvSpPr>
            <p:nvPr/>
          </p:nvSpPr>
          <p:spPr bwMode="gray">
            <a:xfrm>
              <a:off x="9308337" y="4256995"/>
              <a:ext cx="34238" cy="38688"/>
            </a:xfrm>
            <a:custGeom>
              <a:avLst/>
              <a:gdLst/>
              <a:ahLst/>
              <a:cxnLst>
                <a:cxn ang="0">
                  <a:pos x="0" y="0"/>
                </a:cxn>
                <a:cxn ang="0">
                  <a:pos x="20" y="0"/>
                </a:cxn>
                <a:cxn ang="0">
                  <a:pos x="39" y="8"/>
                </a:cxn>
                <a:cxn ang="0">
                  <a:pos x="29" y="41"/>
                </a:cxn>
                <a:cxn ang="0">
                  <a:pos x="0" y="0"/>
                </a:cxn>
              </a:cxnLst>
              <a:rect l="0" t="0" r="r" b="b"/>
              <a:pathLst>
                <a:path w="39" h="41">
                  <a:moveTo>
                    <a:pt x="0" y="0"/>
                  </a:moveTo>
                  <a:lnTo>
                    <a:pt x="20" y="0"/>
                  </a:lnTo>
                  <a:lnTo>
                    <a:pt x="39" y="8"/>
                  </a:lnTo>
                  <a:lnTo>
                    <a:pt x="29" y="4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0" name="305783716042.87525">
              <a:extLst>
                <a:ext uri="{FF2B5EF4-FFF2-40B4-BE49-F238E27FC236}">
                  <a16:creationId xmlns:a16="http://schemas.microsoft.com/office/drawing/2014/main" id="{912FA198-FEF7-4A53-BEC2-3AD6D7B9D992}"/>
                </a:ext>
              </a:extLst>
            </p:cNvPr>
            <p:cNvSpPr>
              <a:spLocks noChangeAspect="1"/>
            </p:cNvSpPr>
            <p:nvPr/>
          </p:nvSpPr>
          <p:spPr bwMode="gray">
            <a:xfrm>
              <a:off x="9355887" y="4307455"/>
              <a:ext cx="30433" cy="45414"/>
            </a:xfrm>
            <a:custGeom>
              <a:avLst/>
              <a:gdLst/>
              <a:ahLst/>
              <a:cxnLst>
                <a:cxn ang="0">
                  <a:pos x="0" y="0"/>
                </a:cxn>
                <a:cxn ang="0">
                  <a:pos x="3" y="52"/>
                </a:cxn>
                <a:cxn ang="0">
                  <a:pos x="36" y="30"/>
                </a:cxn>
                <a:cxn ang="0">
                  <a:pos x="0" y="0"/>
                </a:cxn>
              </a:cxnLst>
              <a:rect l="0" t="0" r="r" b="b"/>
              <a:pathLst>
                <a:path w="36" h="52">
                  <a:moveTo>
                    <a:pt x="0" y="0"/>
                  </a:moveTo>
                  <a:lnTo>
                    <a:pt x="3" y="52"/>
                  </a:lnTo>
                  <a:lnTo>
                    <a:pt x="36" y="30"/>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1" name="30579375.125604.1257.758.255">
              <a:extLst>
                <a:ext uri="{FF2B5EF4-FFF2-40B4-BE49-F238E27FC236}">
                  <a16:creationId xmlns:a16="http://schemas.microsoft.com/office/drawing/2014/main" id="{D01110AA-9E95-4390-969D-5EDD10E92836}"/>
                </a:ext>
              </a:extLst>
            </p:cNvPr>
            <p:cNvSpPr>
              <a:spLocks noChangeAspect="1"/>
            </p:cNvSpPr>
            <p:nvPr/>
          </p:nvSpPr>
          <p:spPr bwMode="gray">
            <a:xfrm>
              <a:off x="9357787" y="4373052"/>
              <a:ext cx="133142" cy="124467"/>
            </a:xfrm>
            <a:custGeom>
              <a:avLst/>
              <a:gdLst/>
              <a:ahLst/>
              <a:cxnLst>
                <a:cxn ang="0">
                  <a:pos x="0" y="95"/>
                </a:cxn>
                <a:cxn ang="0">
                  <a:pos x="31" y="45"/>
                </a:cxn>
                <a:cxn ang="0">
                  <a:pos x="68" y="54"/>
                </a:cxn>
                <a:cxn ang="0">
                  <a:pos x="121" y="0"/>
                </a:cxn>
                <a:cxn ang="0">
                  <a:pos x="145" y="32"/>
                </a:cxn>
                <a:cxn ang="0">
                  <a:pos x="141" y="114"/>
                </a:cxn>
                <a:cxn ang="0">
                  <a:pos x="129" y="80"/>
                </a:cxn>
                <a:cxn ang="0">
                  <a:pos x="115" y="139"/>
                </a:cxn>
                <a:cxn ang="0">
                  <a:pos x="78" y="123"/>
                </a:cxn>
                <a:cxn ang="0">
                  <a:pos x="56" y="62"/>
                </a:cxn>
                <a:cxn ang="0">
                  <a:pos x="0" y="95"/>
                </a:cxn>
              </a:cxnLst>
              <a:rect l="0" t="0" r="r" b="b"/>
              <a:pathLst>
                <a:path w="145" h="139">
                  <a:moveTo>
                    <a:pt x="0" y="95"/>
                  </a:moveTo>
                  <a:lnTo>
                    <a:pt x="31" y="45"/>
                  </a:lnTo>
                  <a:lnTo>
                    <a:pt x="68" y="54"/>
                  </a:lnTo>
                  <a:lnTo>
                    <a:pt x="121" y="0"/>
                  </a:lnTo>
                  <a:lnTo>
                    <a:pt x="145" y="32"/>
                  </a:lnTo>
                  <a:lnTo>
                    <a:pt x="141" y="114"/>
                  </a:lnTo>
                  <a:lnTo>
                    <a:pt x="129" y="80"/>
                  </a:lnTo>
                  <a:lnTo>
                    <a:pt x="115" y="139"/>
                  </a:lnTo>
                  <a:lnTo>
                    <a:pt x="78" y="123"/>
                  </a:lnTo>
                  <a:lnTo>
                    <a:pt x="56" y="62"/>
                  </a:lnTo>
                  <a:lnTo>
                    <a:pt x="0" y="9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2" name="30580373.125605.1253.251.8755">
              <a:extLst>
                <a:ext uri="{FF2B5EF4-FFF2-40B4-BE49-F238E27FC236}">
                  <a16:creationId xmlns:a16="http://schemas.microsoft.com/office/drawing/2014/main" id="{DA35A72B-F578-40D4-851D-5E862923DB8A}"/>
                </a:ext>
              </a:extLst>
            </p:cNvPr>
            <p:cNvSpPr>
              <a:spLocks noChangeAspect="1"/>
            </p:cNvSpPr>
            <p:nvPr/>
          </p:nvSpPr>
          <p:spPr bwMode="gray">
            <a:xfrm>
              <a:off x="9374904" y="4341094"/>
              <a:ext cx="28532" cy="53825"/>
            </a:xfrm>
            <a:custGeom>
              <a:avLst/>
              <a:gdLst/>
              <a:ahLst/>
              <a:cxnLst>
                <a:cxn ang="0">
                  <a:pos x="0" y="35"/>
                </a:cxn>
                <a:cxn ang="0">
                  <a:pos x="8" y="24"/>
                </a:cxn>
                <a:cxn ang="0">
                  <a:pos x="33" y="0"/>
                </a:cxn>
                <a:cxn ang="0">
                  <a:pos x="22" y="56"/>
                </a:cxn>
                <a:cxn ang="0">
                  <a:pos x="0" y="35"/>
                </a:cxn>
              </a:cxnLst>
              <a:rect l="0" t="0" r="r" b="b"/>
              <a:pathLst>
                <a:path w="33" h="56">
                  <a:moveTo>
                    <a:pt x="0" y="35"/>
                  </a:moveTo>
                  <a:lnTo>
                    <a:pt x="8" y="24"/>
                  </a:lnTo>
                  <a:lnTo>
                    <a:pt x="33" y="0"/>
                  </a:lnTo>
                  <a:lnTo>
                    <a:pt x="22" y="56"/>
                  </a:lnTo>
                  <a:lnTo>
                    <a:pt x="0" y="3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3" name="30581354558.2528.7514.8755">
              <a:extLst>
                <a:ext uri="{FF2B5EF4-FFF2-40B4-BE49-F238E27FC236}">
                  <a16:creationId xmlns:a16="http://schemas.microsoft.com/office/drawing/2014/main" id="{6AB5A13C-728B-4C08-9F66-3901A68E7FBD}"/>
                </a:ext>
              </a:extLst>
            </p:cNvPr>
            <p:cNvSpPr>
              <a:spLocks noChangeAspect="1"/>
            </p:cNvSpPr>
            <p:nvPr/>
          </p:nvSpPr>
          <p:spPr bwMode="gray">
            <a:xfrm>
              <a:off x="8623613" y="4031608"/>
              <a:ext cx="237752" cy="465911"/>
            </a:xfrm>
            <a:custGeom>
              <a:avLst/>
              <a:gdLst/>
              <a:ahLst/>
              <a:cxnLst>
                <a:cxn ang="0">
                  <a:pos x="0" y="82"/>
                </a:cxn>
                <a:cxn ang="0">
                  <a:pos x="18" y="42"/>
                </a:cxn>
                <a:cxn ang="0">
                  <a:pos x="89" y="0"/>
                </a:cxn>
                <a:cxn ang="0">
                  <a:pos x="121" y="40"/>
                </a:cxn>
                <a:cxn ang="0">
                  <a:pos x="111" y="109"/>
                </a:cxn>
                <a:cxn ang="0">
                  <a:pos x="196" y="79"/>
                </a:cxn>
                <a:cxn ang="0">
                  <a:pos x="232" y="109"/>
                </a:cxn>
                <a:cxn ang="0">
                  <a:pos x="264" y="176"/>
                </a:cxn>
                <a:cxn ang="0">
                  <a:pos x="253" y="219"/>
                </a:cxn>
                <a:cxn ang="0">
                  <a:pos x="188" y="216"/>
                </a:cxn>
                <a:cxn ang="0">
                  <a:pos x="165" y="236"/>
                </a:cxn>
                <a:cxn ang="0">
                  <a:pos x="177" y="307"/>
                </a:cxn>
                <a:cxn ang="0">
                  <a:pos x="90" y="245"/>
                </a:cxn>
                <a:cxn ang="0">
                  <a:pos x="55" y="355"/>
                </a:cxn>
                <a:cxn ang="0">
                  <a:pos x="96" y="456"/>
                </a:cxn>
                <a:cxn ang="0">
                  <a:pos x="155" y="491"/>
                </a:cxn>
                <a:cxn ang="0">
                  <a:pos x="123" y="511"/>
                </a:cxn>
                <a:cxn ang="0">
                  <a:pos x="115" y="480"/>
                </a:cxn>
                <a:cxn ang="0">
                  <a:pos x="90" y="480"/>
                </a:cxn>
                <a:cxn ang="0">
                  <a:pos x="24" y="424"/>
                </a:cxn>
                <a:cxn ang="0">
                  <a:pos x="35" y="359"/>
                </a:cxn>
                <a:cxn ang="0">
                  <a:pos x="70" y="300"/>
                </a:cxn>
                <a:cxn ang="0">
                  <a:pos x="23" y="201"/>
                </a:cxn>
                <a:cxn ang="0">
                  <a:pos x="38" y="157"/>
                </a:cxn>
                <a:cxn ang="0">
                  <a:pos x="0" y="82"/>
                </a:cxn>
              </a:cxnLst>
              <a:rect l="0" t="0" r="r" b="b"/>
              <a:pathLst>
                <a:path w="264" h="511">
                  <a:moveTo>
                    <a:pt x="0" y="82"/>
                  </a:moveTo>
                  <a:lnTo>
                    <a:pt x="18" y="42"/>
                  </a:lnTo>
                  <a:lnTo>
                    <a:pt x="89" y="0"/>
                  </a:lnTo>
                  <a:lnTo>
                    <a:pt x="121" y="40"/>
                  </a:lnTo>
                  <a:lnTo>
                    <a:pt x="111" y="109"/>
                  </a:lnTo>
                  <a:lnTo>
                    <a:pt x="196" y="79"/>
                  </a:lnTo>
                  <a:lnTo>
                    <a:pt x="232" y="109"/>
                  </a:lnTo>
                  <a:lnTo>
                    <a:pt x="264" y="176"/>
                  </a:lnTo>
                  <a:lnTo>
                    <a:pt x="253" y="219"/>
                  </a:lnTo>
                  <a:lnTo>
                    <a:pt x="188" y="216"/>
                  </a:lnTo>
                  <a:lnTo>
                    <a:pt x="165" y="236"/>
                  </a:lnTo>
                  <a:lnTo>
                    <a:pt x="177" y="307"/>
                  </a:lnTo>
                  <a:lnTo>
                    <a:pt x="90" y="245"/>
                  </a:lnTo>
                  <a:lnTo>
                    <a:pt x="55" y="355"/>
                  </a:lnTo>
                  <a:lnTo>
                    <a:pt x="96" y="456"/>
                  </a:lnTo>
                  <a:lnTo>
                    <a:pt x="155" y="491"/>
                  </a:lnTo>
                  <a:lnTo>
                    <a:pt x="123" y="511"/>
                  </a:lnTo>
                  <a:lnTo>
                    <a:pt x="115" y="480"/>
                  </a:lnTo>
                  <a:lnTo>
                    <a:pt x="90" y="480"/>
                  </a:lnTo>
                  <a:lnTo>
                    <a:pt x="24" y="424"/>
                  </a:lnTo>
                  <a:lnTo>
                    <a:pt x="35" y="359"/>
                  </a:lnTo>
                  <a:lnTo>
                    <a:pt x="70" y="300"/>
                  </a:lnTo>
                  <a:lnTo>
                    <a:pt x="23" y="201"/>
                  </a:lnTo>
                  <a:lnTo>
                    <a:pt x="38" y="157"/>
                  </a:lnTo>
                  <a:lnTo>
                    <a:pt x="0" y="8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4" name="30582349.25566.8752813.1255">
              <a:extLst>
                <a:ext uri="{FF2B5EF4-FFF2-40B4-BE49-F238E27FC236}">
                  <a16:creationId xmlns:a16="http://schemas.microsoft.com/office/drawing/2014/main" id="{82972AFA-15C1-4D26-8E05-DB7371CD4594}"/>
                </a:ext>
              </a:extLst>
            </p:cNvPr>
            <p:cNvSpPr>
              <a:spLocks noChangeAspect="1"/>
            </p:cNvSpPr>
            <p:nvPr/>
          </p:nvSpPr>
          <p:spPr bwMode="gray">
            <a:xfrm>
              <a:off x="8760556" y="3954236"/>
              <a:ext cx="211120" cy="454139"/>
            </a:xfrm>
            <a:custGeom>
              <a:avLst/>
              <a:gdLst/>
              <a:ahLst/>
              <a:cxnLst>
                <a:cxn ang="0">
                  <a:pos x="0" y="25"/>
                </a:cxn>
                <a:cxn ang="0">
                  <a:pos x="34" y="77"/>
                </a:cxn>
                <a:cxn ang="0">
                  <a:pos x="79" y="98"/>
                </a:cxn>
                <a:cxn ang="0">
                  <a:pos x="57" y="136"/>
                </a:cxn>
                <a:cxn ang="0">
                  <a:pos x="138" y="202"/>
                </a:cxn>
                <a:cxn ang="0">
                  <a:pos x="174" y="292"/>
                </a:cxn>
                <a:cxn ang="0">
                  <a:pos x="178" y="369"/>
                </a:cxn>
                <a:cxn ang="0">
                  <a:pos x="78" y="435"/>
                </a:cxn>
                <a:cxn ang="0">
                  <a:pos x="94" y="497"/>
                </a:cxn>
                <a:cxn ang="0">
                  <a:pos x="126" y="453"/>
                </a:cxn>
                <a:cxn ang="0">
                  <a:pos x="144" y="465"/>
                </a:cxn>
                <a:cxn ang="0">
                  <a:pos x="152" y="437"/>
                </a:cxn>
                <a:cxn ang="0">
                  <a:pos x="232" y="392"/>
                </a:cxn>
                <a:cxn ang="0">
                  <a:pos x="221" y="267"/>
                </a:cxn>
                <a:cxn ang="0">
                  <a:pos x="114" y="151"/>
                </a:cxn>
                <a:cxn ang="0">
                  <a:pos x="125" y="114"/>
                </a:cxn>
                <a:cxn ang="0">
                  <a:pos x="189" y="58"/>
                </a:cxn>
                <a:cxn ang="0">
                  <a:pos x="99" y="0"/>
                </a:cxn>
                <a:cxn ang="0">
                  <a:pos x="0" y="25"/>
                </a:cxn>
              </a:cxnLst>
              <a:rect l="0" t="0" r="r" b="b"/>
              <a:pathLst>
                <a:path w="232" h="497">
                  <a:moveTo>
                    <a:pt x="0" y="25"/>
                  </a:moveTo>
                  <a:lnTo>
                    <a:pt x="34" y="77"/>
                  </a:lnTo>
                  <a:lnTo>
                    <a:pt x="79" y="98"/>
                  </a:lnTo>
                  <a:lnTo>
                    <a:pt x="57" y="136"/>
                  </a:lnTo>
                  <a:lnTo>
                    <a:pt x="138" y="202"/>
                  </a:lnTo>
                  <a:lnTo>
                    <a:pt x="174" y="292"/>
                  </a:lnTo>
                  <a:lnTo>
                    <a:pt x="178" y="369"/>
                  </a:lnTo>
                  <a:lnTo>
                    <a:pt x="78" y="435"/>
                  </a:lnTo>
                  <a:lnTo>
                    <a:pt x="94" y="497"/>
                  </a:lnTo>
                  <a:lnTo>
                    <a:pt x="126" y="453"/>
                  </a:lnTo>
                  <a:lnTo>
                    <a:pt x="144" y="465"/>
                  </a:lnTo>
                  <a:lnTo>
                    <a:pt x="152" y="437"/>
                  </a:lnTo>
                  <a:lnTo>
                    <a:pt x="232" y="392"/>
                  </a:lnTo>
                  <a:lnTo>
                    <a:pt x="221" y="267"/>
                  </a:lnTo>
                  <a:lnTo>
                    <a:pt x="114" y="151"/>
                  </a:lnTo>
                  <a:lnTo>
                    <a:pt x="125" y="114"/>
                  </a:lnTo>
                  <a:lnTo>
                    <a:pt x="189" y="58"/>
                  </a:lnTo>
                  <a:lnTo>
                    <a:pt x="99" y="0"/>
                  </a:lnTo>
                  <a:lnTo>
                    <a:pt x="0" y="2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5" name="30583357.375456.2512.25185">
              <a:extLst>
                <a:ext uri="{FF2B5EF4-FFF2-40B4-BE49-F238E27FC236}">
                  <a16:creationId xmlns:a16="http://schemas.microsoft.com/office/drawing/2014/main" id="{A8F47BDB-59A8-44F0-9375-39CB247AFD62}"/>
                </a:ext>
              </a:extLst>
            </p:cNvPr>
            <p:cNvSpPr>
              <a:spLocks noChangeAspect="1"/>
            </p:cNvSpPr>
            <p:nvPr/>
          </p:nvSpPr>
          <p:spPr bwMode="gray">
            <a:xfrm>
              <a:off x="6987889" y="4088794"/>
              <a:ext cx="287202" cy="195110"/>
            </a:xfrm>
            <a:custGeom>
              <a:avLst/>
              <a:gdLst/>
              <a:ahLst/>
              <a:cxnLst>
                <a:cxn ang="0">
                  <a:pos x="0" y="216"/>
                </a:cxn>
                <a:cxn ang="0">
                  <a:pos x="85" y="168"/>
                </a:cxn>
                <a:cxn ang="0">
                  <a:pos x="70" y="145"/>
                </a:cxn>
                <a:cxn ang="0">
                  <a:pos x="95" y="117"/>
                </a:cxn>
                <a:cxn ang="0">
                  <a:pos x="180" y="24"/>
                </a:cxn>
                <a:cxn ang="0">
                  <a:pos x="287" y="0"/>
                </a:cxn>
                <a:cxn ang="0">
                  <a:pos x="322" y="84"/>
                </a:cxn>
                <a:cxn ang="0">
                  <a:pos x="294" y="117"/>
                </a:cxn>
                <a:cxn ang="0">
                  <a:pos x="172" y="175"/>
                </a:cxn>
                <a:cxn ang="0">
                  <a:pos x="0" y="216"/>
                </a:cxn>
              </a:cxnLst>
              <a:rect l="0" t="0" r="r" b="b"/>
              <a:pathLst>
                <a:path w="322" h="216">
                  <a:moveTo>
                    <a:pt x="0" y="216"/>
                  </a:moveTo>
                  <a:lnTo>
                    <a:pt x="85" y="168"/>
                  </a:lnTo>
                  <a:lnTo>
                    <a:pt x="70" y="145"/>
                  </a:lnTo>
                  <a:lnTo>
                    <a:pt x="95" y="117"/>
                  </a:lnTo>
                  <a:lnTo>
                    <a:pt x="180" y="24"/>
                  </a:lnTo>
                  <a:lnTo>
                    <a:pt x="287" y="0"/>
                  </a:lnTo>
                  <a:lnTo>
                    <a:pt x="322" y="84"/>
                  </a:lnTo>
                  <a:lnTo>
                    <a:pt x="294" y="117"/>
                  </a:lnTo>
                  <a:lnTo>
                    <a:pt x="172" y="175"/>
                  </a:lnTo>
                  <a:lnTo>
                    <a:pt x="0" y="21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6" name="30584360.625454.7596.755">
              <a:extLst>
                <a:ext uri="{FF2B5EF4-FFF2-40B4-BE49-F238E27FC236}">
                  <a16:creationId xmlns:a16="http://schemas.microsoft.com/office/drawing/2014/main" id="{08AD8D18-E3D3-4741-8699-07AA9E31F213}"/>
                </a:ext>
              </a:extLst>
            </p:cNvPr>
            <p:cNvSpPr>
              <a:spLocks noChangeAspect="1"/>
            </p:cNvSpPr>
            <p:nvPr/>
          </p:nvSpPr>
          <p:spPr bwMode="gray">
            <a:xfrm>
              <a:off x="6963162" y="4139254"/>
              <a:ext cx="106511" cy="144650"/>
            </a:xfrm>
            <a:custGeom>
              <a:avLst/>
              <a:gdLst/>
              <a:ahLst/>
              <a:cxnLst>
                <a:cxn ang="0">
                  <a:pos x="0" y="32"/>
                </a:cxn>
                <a:cxn ang="0">
                  <a:pos x="26" y="158"/>
                </a:cxn>
                <a:cxn ang="0">
                  <a:pos x="111" y="110"/>
                </a:cxn>
                <a:cxn ang="0">
                  <a:pos x="96" y="87"/>
                </a:cxn>
                <a:cxn ang="0">
                  <a:pos x="121" y="59"/>
                </a:cxn>
                <a:cxn ang="0">
                  <a:pos x="121" y="24"/>
                </a:cxn>
                <a:cxn ang="0">
                  <a:pos x="60" y="0"/>
                </a:cxn>
                <a:cxn ang="0">
                  <a:pos x="0" y="32"/>
                </a:cxn>
              </a:cxnLst>
              <a:rect l="0" t="0" r="r" b="b"/>
              <a:pathLst>
                <a:path w="121" h="158">
                  <a:moveTo>
                    <a:pt x="0" y="32"/>
                  </a:moveTo>
                  <a:lnTo>
                    <a:pt x="26" y="158"/>
                  </a:lnTo>
                  <a:lnTo>
                    <a:pt x="111" y="110"/>
                  </a:lnTo>
                  <a:lnTo>
                    <a:pt x="96" y="87"/>
                  </a:lnTo>
                  <a:lnTo>
                    <a:pt x="121" y="59"/>
                  </a:lnTo>
                  <a:lnTo>
                    <a:pt x="121" y="24"/>
                  </a:lnTo>
                  <a:lnTo>
                    <a:pt x="60" y="0"/>
                  </a:lnTo>
                  <a:lnTo>
                    <a:pt x="0" y="3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7" name="30585435.5405.37524.7530.755">
              <a:extLst>
                <a:ext uri="{FF2B5EF4-FFF2-40B4-BE49-F238E27FC236}">
                  <a16:creationId xmlns:a16="http://schemas.microsoft.com/office/drawing/2014/main" id="{E762F141-D289-4E47-B74D-9EA9603C34F1}"/>
                </a:ext>
              </a:extLst>
            </p:cNvPr>
            <p:cNvSpPr>
              <a:spLocks noChangeAspect="1"/>
            </p:cNvSpPr>
            <p:nvPr/>
          </p:nvSpPr>
          <p:spPr bwMode="gray">
            <a:xfrm>
              <a:off x="6171928" y="5351972"/>
              <a:ext cx="492621" cy="400314"/>
            </a:xfrm>
            <a:custGeom>
              <a:avLst/>
              <a:gdLst/>
              <a:ahLst/>
              <a:cxnLst>
                <a:cxn ang="0">
                  <a:pos x="0" y="231"/>
                </a:cxn>
                <a:cxn ang="0">
                  <a:pos x="19" y="216"/>
                </a:cxn>
                <a:cxn ang="0">
                  <a:pos x="43" y="245"/>
                </a:cxn>
                <a:cxn ang="0">
                  <a:pos x="85" y="245"/>
                </a:cxn>
                <a:cxn ang="0">
                  <a:pos x="114" y="224"/>
                </a:cxn>
                <a:cxn ang="0">
                  <a:pos x="114" y="88"/>
                </a:cxn>
                <a:cxn ang="0">
                  <a:pos x="143" y="123"/>
                </a:cxn>
                <a:cxn ang="0">
                  <a:pos x="142" y="160"/>
                </a:cxn>
                <a:cxn ang="0">
                  <a:pos x="188" y="158"/>
                </a:cxn>
                <a:cxn ang="0">
                  <a:pos x="228" y="117"/>
                </a:cxn>
                <a:cxn ang="0">
                  <a:pos x="301" y="117"/>
                </a:cxn>
                <a:cxn ang="0">
                  <a:pos x="427" y="0"/>
                </a:cxn>
                <a:cxn ang="0">
                  <a:pos x="503" y="17"/>
                </a:cxn>
                <a:cxn ang="0">
                  <a:pos x="515" y="125"/>
                </a:cxn>
                <a:cxn ang="0">
                  <a:pos x="480" y="156"/>
                </a:cxn>
                <a:cxn ang="0">
                  <a:pos x="502" y="179"/>
                </a:cxn>
                <a:cxn ang="0">
                  <a:pos x="519" y="160"/>
                </a:cxn>
                <a:cxn ang="0">
                  <a:pos x="546" y="160"/>
                </a:cxn>
                <a:cxn ang="0">
                  <a:pos x="532" y="224"/>
                </a:cxn>
                <a:cxn ang="0">
                  <a:pos x="452" y="323"/>
                </a:cxn>
                <a:cxn ang="0">
                  <a:pos x="353" y="409"/>
                </a:cxn>
                <a:cxn ang="0">
                  <a:pos x="279" y="438"/>
                </a:cxn>
                <a:cxn ang="0">
                  <a:pos x="65" y="439"/>
                </a:cxn>
                <a:cxn ang="0">
                  <a:pos x="47" y="390"/>
                </a:cxn>
                <a:cxn ang="0">
                  <a:pos x="55" y="351"/>
                </a:cxn>
                <a:cxn ang="0">
                  <a:pos x="0" y="231"/>
                </a:cxn>
              </a:cxnLst>
              <a:rect l="0" t="0" r="r" b="b"/>
              <a:pathLst>
                <a:path w="546" h="439">
                  <a:moveTo>
                    <a:pt x="0" y="231"/>
                  </a:moveTo>
                  <a:lnTo>
                    <a:pt x="19" y="216"/>
                  </a:lnTo>
                  <a:lnTo>
                    <a:pt x="43" y="245"/>
                  </a:lnTo>
                  <a:lnTo>
                    <a:pt x="85" y="245"/>
                  </a:lnTo>
                  <a:lnTo>
                    <a:pt x="114" y="224"/>
                  </a:lnTo>
                  <a:lnTo>
                    <a:pt x="114" y="88"/>
                  </a:lnTo>
                  <a:lnTo>
                    <a:pt x="143" y="123"/>
                  </a:lnTo>
                  <a:lnTo>
                    <a:pt x="142" y="160"/>
                  </a:lnTo>
                  <a:lnTo>
                    <a:pt x="188" y="158"/>
                  </a:lnTo>
                  <a:lnTo>
                    <a:pt x="228" y="117"/>
                  </a:lnTo>
                  <a:lnTo>
                    <a:pt x="301" y="117"/>
                  </a:lnTo>
                  <a:lnTo>
                    <a:pt x="427" y="0"/>
                  </a:lnTo>
                  <a:lnTo>
                    <a:pt x="503" y="17"/>
                  </a:lnTo>
                  <a:lnTo>
                    <a:pt x="515" y="125"/>
                  </a:lnTo>
                  <a:lnTo>
                    <a:pt x="480" y="156"/>
                  </a:lnTo>
                  <a:lnTo>
                    <a:pt x="502" y="179"/>
                  </a:lnTo>
                  <a:lnTo>
                    <a:pt x="519" y="160"/>
                  </a:lnTo>
                  <a:lnTo>
                    <a:pt x="546" y="160"/>
                  </a:lnTo>
                  <a:lnTo>
                    <a:pt x="532" y="224"/>
                  </a:lnTo>
                  <a:lnTo>
                    <a:pt x="452" y="323"/>
                  </a:lnTo>
                  <a:lnTo>
                    <a:pt x="353" y="409"/>
                  </a:lnTo>
                  <a:lnTo>
                    <a:pt x="279" y="438"/>
                  </a:lnTo>
                  <a:lnTo>
                    <a:pt x="65" y="439"/>
                  </a:lnTo>
                  <a:lnTo>
                    <a:pt x="47" y="390"/>
                  </a:lnTo>
                  <a:lnTo>
                    <a:pt x="55" y="351"/>
                  </a:lnTo>
                  <a:lnTo>
                    <a:pt x="0" y="23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8" name="30586404.125396.12523.37523.8755">
              <a:extLst>
                <a:ext uri="{FF2B5EF4-FFF2-40B4-BE49-F238E27FC236}">
                  <a16:creationId xmlns:a16="http://schemas.microsoft.com/office/drawing/2014/main" id="{43BF48FE-8DE2-4A3D-B53A-36055944ABFB}"/>
                </a:ext>
              </a:extLst>
            </p:cNvPr>
            <p:cNvSpPr>
              <a:spLocks noChangeAspect="1"/>
            </p:cNvSpPr>
            <p:nvPr/>
          </p:nvSpPr>
          <p:spPr bwMode="gray">
            <a:xfrm>
              <a:off x="6021669" y="4842328"/>
              <a:ext cx="384206" cy="381812"/>
            </a:xfrm>
            <a:custGeom>
              <a:avLst/>
              <a:gdLst/>
              <a:ahLst/>
              <a:cxnLst>
                <a:cxn ang="0">
                  <a:pos x="0" y="388"/>
                </a:cxn>
                <a:cxn ang="0">
                  <a:pos x="55" y="374"/>
                </a:cxn>
                <a:cxn ang="0">
                  <a:pos x="328" y="414"/>
                </a:cxn>
                <a:cxn ang="0">
                  <a:pos x="389" y="396"/>
                </a:cxn>
                <a:cxn ang="0">
                  <a:pos x="348" y="364"/>
                </a:cxn>
                <a:cxn ang="0">
                  <a:pos x="348" y="239"/>
                </a:cxn>
                <a:cxn ang="0">
                  <a:pos x="422" y="239"/>
                </a:cxn>
                <a:cxn ang="0">
                  <a:pos x="417" y="170"/>
                </a:cxn>
                <a:cxn ang="0">
                  <a:pos x="348" y="177"/>
                </a:cxn>
                <a:cxn ang="0">
                  <a:pos x="341" y="58"/>
                </a:cxn>
                <a:cxn ang="0">
                  <a:pos x="310" y="36"/>
                </a:cxn>
                <a:cxn ang="0">
                  <a:pos x="267" y="38"/>
                </a:cxn>
                <a:cxn ang="0">
                  <a:pos x="256" y="73"/>
                </a:cxn>
                <a:cxn ang="0">
                  <a:pos x="209" y="77"/>
                </a:cxn>
                <a:cxn ang="0">
                  <a:pos x="154" y="0"/>
                </a:cxn>
                <a:cxn ang="0">
                  <a:pos x="27" y="16"/>
                </a:cxn>
                <a:cxn ang="0">
                  <a:pos x="73" y="173"/>
                </a:cxn>
                <a:cxn ang="0">
                  <a:pos x="0" y="388"/>
                </a:cxn>
              </a:cxnLst>
              <a:rect l="0" t="0" r="r" b="b"/>
              <a:pathLst>
                <a:path w="422" h="414">
                  <a:moveTo>
                    <a:pt x="0" y="388"/>
                  </a:moveTo>
                  <a:lnTo>
                    <a:pt x="55" y="374"/>
                  </a:lnTo>
                  <a:lnTo>
                    <a:pt x="328" y="414"/>
                  </a:lnTo>
                  <a:lnTo>
                    <a:pt x="389" y="396"/>
                  </a:lnTo>
                  <a:lnTo>
                    <a:pt x="348" y="364"/>
                  </a:lnTo>
                  <a:lnTo>
                    <a:pt x="348" y="239"/>
                  </a:lnTo>
                  <a:lnTo>
                    <a:pt x="422" y="239"/>
                  </a:lnTo>
                  <a:lnTo>
                    <a:pt x="417" y="170"/>
                  </a:lnTo>
                  <a:lnTo>
                    <a:pt x="348" y="177"/>
                  </a:lnTo>
                  <a:lnTo>
                    <a:pt x="341" y="58"/>
                  </a:lnTo>
                  <a:lnTo>
                    <a:pt x="310" y="36"/>
                  </a:lnTo>
                  <a:lnTo>
                    <a:pt x="267" y="38"/>
                  </a:lnTo>
                  <a:lnTo>
                    <a:pt x="256" y="73"/>
                  </a:lnTo>
                  <a:lnTo>
                    <a:pt x="209" y="77"/>
                  </a:lnTo>
                  <a:lnTo>
                    <a:pt x="154" y="0"/>
                  </a:lnTo>
                  <a:lnTo>
                    <a:pt x="27" y="16"/>
                  </a:lnTo>
                  <a:lnTo>
                    <a:pt x="73" y="173"/>
                  </a:lnTo>
                  <a:lnTo>
                    <a:pt x="0" y="38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79" name="30587402.25396.8751.8751.8755">
              <a:extLst>
                <a:ext uri="{FF2B5EF4-FFF2-40B4-BE49-F238E27FC236}">
                  <a16:creationId xmlns:a16="http://schemas.microsoft.com/office/drawing/2014/main" id="{976E5B87-6BF5-4EDD-ABFC-832CB17E67D2}"/>
                </a:ext>
              </a:extLst>
            </p:cNvPr>
            <p:cNvSpPr>
              <a:spLocks noChangeAspect="1"/>
            </p:cNvSpPr>
            <p:nvPr/>
          </p:nvSpPr>
          <p:spPr bwMode="gray">
            <a:xfrm>
              <a:off x="6034981" y="4813735"/>
              <a:ext cx="32333" cy="28593"/>
            </a:xfrm>
            <a:custGeom>
              <a:avLst/>
              <a:gdLst/>
              <a:ahLst/>
              <a:cxnLst>
                <a:cxn ang="0">
                  <a:pos x="0" y="11"/>
                </a:cxn>
                <a:cxn ang="0">
                  <a:pos x="12" y="36"/>
                </a:cxn>
                <a:cxn ang="0">
                  <a:pos x="34" y="0"/>
                </a:cxn>
                <a:cxn ang="0">
                  <a:pos x="0" y="11"/>
                </a:cxn>
              </a:cxnLst>
              <a:rect l="0" t="0" r="r" b="b"/>
              <a:pathLst>
                <a:path w="34" h="36">
                  <a:moveTo>
                    <a:pt x="0" y="11"/>
                  </a:moveTo>
                  <a:lnTo>
                    <a:pt x="12" y="36"/>
                  </a:lnTo>
                  <a:lnTo>
                    <a:pt x="34" y="0"/>
                  </a:lnTo>
                  <a:lnTo>
                    <a:pt x="0" y="1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0" name="30588427411.87517.37517.6255">
              <a:extLst>
                <a:ext uri="{FF2B5EF4-FFF2-40B4-BE49-F238E27FC236}">
                  <a16:creationId xmlns:a16="http://schemas.microsoft.com/office/drawing/2014/main" id="{48132A95-17FF-427C-B85E-A60D13C70193}"/>
                </a:ext>
              </a:extLst>
            </p:cNvPr>
            <p:cNvSpPr>
              <a:spLocks noChangeAspect="1"/>
            </p:cNvSpPr>
            <p:nvPr/>
          </p:nvSpPr>
          <p:spPr bwMode="gray">
            <a:xfrm>
              <a:off x="6276538" y="5214049"/>
              <a:ext cx="281497" cy="279212"/>
            </a:xfrm>
            <a:custGeom>
              <a:avLst/>
              <a:gdLst/>
              <a:ahLst/>
              <a:cxnLst>
                <a:cxn ang="0">
                  <a:pos x="0" y="238"/>
                </a:cxn>
                <a:cxn ang="0">
                  <a:pos x="0" y="145"/>
                </a:cxn>
                <a:cxn ang="0">
                  <a:pos x="34" y="143"/>
                </a:cxn>
                <a:cxn ang="0">
                  <a:pos x="34" y="24"/>
                </a:cxn>
                <a:cxn ang="0">
                  <a:pos x="99" y="10"/>
                </a:cxn>
                <a:cxn ang="0">
                  <a:pos x="120" y="31"/>
                </a:cxn>
                <a:cxn ang="0">
                  <a:pos x="175" y="0"/>
                </a:cxn>
                <a:cxn ang="0">
                  <a:pos x="268" y="128"/>
                </a:cxn>
                <a:cxn ang="0">
                  <a:pos x="313" y="150"/>
                </a:cxn>
                <a:cxn ang="0">
                  <a:pos x="187" y="267"/>
                </a:cxn>
                <a:cxn ang="0">
                  <a:pos x="114" y="267"/>
                </a:cxn>
                <a:cxn ang="0">
                  <a:pos x="74" y="308"/>
                </a:cxn>
                <a:cxn ang="0">
                  <a:pos x="28" y="310"/>
                </a:cxn>
                <a:cxn ang="0">
                  <a:pos x="29" y="273"/>
                </a:cxn>
                <a:cxn ang="0">
                  <a:pos x="0" y="238"/>
                </a:cxn>
              </a:cxnLst>
              <a:rect l="0" t="0" r="r" b="b"/>
              <a:pathLst>
                <a:path w="313" h="310">
                  <a:moveTo>
                    <a:pt x="0" y="238"/>
                  </a:moveTo>
                  <a:lnTo>
                    <a:pt x="0" y="145"/>
                  </a:lnTo>
                  <a:lnTo>
                    <a:pt x="34" y="143"/>
                  </a:lnTo>
                  <a:lnTo>
                    <a:pt x="34" y="24"/>
                  </a:lnTo>
                  <a:lnTo>
                    <a:pt x="99" y="10"/>
                  </a:lnTo>
                  <a:lnTo>
                    <a:pt x="120" y="31"/>
                  </a:lnTo>
                  <a:lnTo>
                    <a:pt x="175" y="0"/>
                  </a:lnTo>
                  <a:lnTo>
                    <a:pt x="268" y="128"/>
                  </a:lnTo>
                  <a:lnTo>
                    <a:pt x="313" y="150"/>
                  </a:lnTo>
                  <a:lnTo>
                    <a:pt x="187" y="267"/>
                  </a:lnTo>
                  <a:lnTo>
                    <a:pt x="114" y="267"/>
                  </a:lnTo>
                  <a:lnTo>
                    <a:pt x="74" y="308"/>
                  </a:lnTo>
                  <a:lnTo>
                    <a:pt x="28" y="310"/>
                  </a:lnTo>
                  <a:lnTo>
                    <a:pt x="29" y="273"/>
                  </a:lnTo>
                  <a:lnTo>
                    <a:pt x="0" y="23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1" name="30589397.75429.1253.6253.255">
              <a:extLst>
                <a:ext uri="{FF2B5EF4-FFF2-40B4-BE49-F238E27FC236}">
                  <a16:creationId xmlns:a16="http://schemas.microsoft.com/office/drawing/2014/main" id="{2B996C67-A5EF-4F5D-820B-8FC28E694210}"/>
                </a:ext>
              </a:extLst>
            </p:cNvPr>
            <p:cNvSpPr>
              <a:spLocks noChangeAspect="1"/>
            </p:cNvSpPr>
            <p:nvPr/>
          </p:nvSpPr>
          <p:spPr bwMode="gray">
            <a:xfrm>
              <a:off x="6550428" y="4739727"/>
              <a:ext cx="55156" cy="58870"/>
            </a:xfrm>
            <a:custGeom>
              <a:avLst/>
              <a:gdLst/>
              <a:ahLst/>
              <a:cxnLst>
                <a:cxn ang="0">
                  <a:pos x="0" y="9"/>
                </a:cxn>
                <a:cxn ang="0">
                  <a:pos x="7" y="34"/>
                </a:cxn>
                <a:cxn ang="0">
                  <a:pos x="20" y="66"/>
                </a:cxn>
                <a:cxn ang="0">
                  <a:pos x="58" y="27"/>
                </a:cxn>
                <a:cxn ang="0">
                  <a:pos x="55" y="0"/>
                </a:cxn>
                <a:cxn ang="0">
                  <a:pos x="0" y="9"/>
                </a:cxn>
              </a:cxnLst>
              <a:rect l="0" t="0" r="r" b="b"/>
              <a:pathLst>
                <a:path w="58" h="66">
                  <a:moveTo>
                    <a:pt x="0" y="9"/>
                  </a:moveTo>
                  <a:lnTo>
                    <a:pt x="7" y="34"/>
                  </a:lnTo>
                  <a:lnTo>
                    <a:pt x="20" y="66"/>
                  </a:lnTo>
                  <a:lnTo>
                    <a:pt x="58" y="27"/>
                  </a:lnTo>
                  <a:lnTo>
                    <a:pt x="55" y="0"/>
                  </a:lnTo>
                  <a:lnTo>
                    <a:pt x="0" y="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2" name="30590369.375390.2521.12514.3755">
              <a:extLst>
                <a:ext uri="{FF2B5EF4-FFF2-40B4-BE49-F238E27FC236}">
                  <a16:creationId xmlns:a16="http://schemas.microsoft.com/office/drawing/2014/main" id="{5C22F15A-A263-45B7-996D-CCCB64C045C8}"/>
                </a:ext>
              </a:extLst>
            </p:cNvPr>
            <p:cNvSpPr>
              <a:spLocks noChangeAspect="1"/>
            </p:cNvSpPr>
            <p:nvPr/>
          </p:nvSpPr>
          <p:spPr bwMode="gray">
            <a:xfrm>
              <a:off x="5930371" y="4280543"/>
              <a:ext cx="228241" cy="343128"/>
            </a:xfrm>
            <a:custGeom>
              <a:avLst/>
              <a:gdLst/>
              <a:ahLst/>
              <a:cxnLst>
                <a:cxn ang="0">
                  <a:pos x="0" y="267"/>
                </a:cxn>
                <a:cxn ang="0">
                  <a:pos x="35" y="196"/>
                </a:cxn>
                <a:cxn ang="0">
                  <a:pos x="99" y="206"/>
                </a:cxn>
                <a:cxn ang="0">
                  <a:pos x="167" y="60"/>
                </a:cxn>
                <a:cxn ang="0">
                  <a:pos x="202" y="34"/>
                </a:cxn>
                <a:cxn ang="0">
                  <a:pos x="188" y="5"/>
                </a:cxn>
                <a:cxn ang="0">
                  <a:pos x="204" y="0"/>
                </a:cxn>
                <a:cxn ang="0">
                  <a:pos x="229" y="90"/>
                </a:cxn>
                <a:cxn ang="0">
                  <a:pos x="188" y="107"/>
                </a:cxn>
                <a:cxn ang="0">
                  <a:pos x="235" y="179"/>
                </a:cxn>
                <a:cxn ang="0">
                  <a:pos x="204" y="264"/>
                </a:cxn>
                <a:cxn ang="0">
                  <a:pos x="257" y="328"/>
                </a:cxn>
                <a:cxn ang="0">
                  <a:pos x="251" y="374"/>
                </a:cxn>
                <a:cxn ang="0">
                  <a:pos x="163" y="353"/>
                </a:cxn>
                <a:cxn ang="0">
                  <a:pos x="96" y="352"/>
                </a:cxn>
                <a:cxn ang="0">
                  <a:pos x="41" y="353"/>
                </a:cxn>
                <a:cxn ang="0">
                  <a:pos x="39" y="291"/>
                </a:cxn>
                <a:cxn ang="0">
                  <a:pos x="0" y="267"/>
                </a:cxn>
              </a:cxnLst>
              <a:rect l="0" t="0" r="r" b="b"/>
              <a:pathLst>
                <a:path w="257" h="374">
                  <a:moveTo>
                    <a:pt x="0" y="267"/>
                  </a:moveTo>
                  <a:lnTo>
                    <a:pt x="35" y="196"/>
                  </a:lnTo>
                  <a:lnTo>
                    <a:pt x="99" y="206"/>
                  </a:lnTo>
                  <a:lnTo>
                    <a:pt x="167" y="60"/>
                  </a:lnTo>
                  <a:lnTo>
                    <a:pt x="202" y="34"/>
                  </a:lnTo>
                  <a:lnTo>
                    <a:pt x="188" y="5"/>
                  </a:lnTo>
                  <a:lnTo>
                    <a:pt x="204" y="0"/>
                  </a:lnTo>
                  <a:lnTo>
                    <a:pt x="229" y="90"/>
                  </a:lnTo>
                  <a:lnTo>
                    <a:pt x="188" y="107"/>
                  </a:lnTo>
                  <a:lnTo>
                    <a:pt x="235" y="179"/>
                  </a:lnTo>
                  <a:lnTo>
                    <a:pt x="204" y="264"/>
                  </a:lnTo>
                  <a:lnTo>
                    <a:pt x="257" y="328"/>
                  </a:lnTo>
                  <a:lnTo>
                    <a:pt x="251" y="374"/>
                  </a:lnTo>
                  <a:lnTo>
                    <a:pt x="163" y="353"/>
                  </a:lnTo>
                  <a:lnTo>
                    <a:pt x="96" y="352"/>
                  </a:lnTo>
                  <a:lnTo>
                    <a:pt x="41" y="353"/>
                  </a:lnTo>
                  <a:lnTo>
                    <a:pt x="39" y="291"/>
                  </a:lnTo>
                  <a:lnTo>
                    <a:pt x="0" y="26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3" name="30591372.75401.7515.2524.55">
              <a:extLst>
                <a:ext uri="{FF2B5EF4-FFF2-40B4-BE49-F238E27FC236}">
                  <a16:creationId xmlns:a16="http://schemas.microsoft.com/office/drawing/2014/main" id="{83CD8512-C0FE-48ED-A4B8-F7F36D1AEB83}"/>
                </a:ext>
              </a:extLst>
            </p:cNvPr>
            <p:cNvSpPr>
              <a:spLocks noChangeAspect="1"/>
            </p:cNvSpPr>
            <p:nvPr/>
          </p:nvSpPr>
          <p:spPr bwMode="gray">
            <a:xfrm>
              <a:off x="6114867" y="4334367"/>
              <a:ext cx="391812" cy="247254"/>
            </a:xfrm>
            <a:custGeom>
              <a:avLst/>
              <a:gdLst/>
              <a:ahLst/>
              <a:cxnLst>
                <a:cxn ang="0">
                  <a:pos x="0" y="205"/>
                </a:cxn>
                <a:cxn ang="0">
                  <a:pos x="31" y="120"/>
                </a:cxn>
                <a:cxn ang="0">
                  <a:pos x="139" y="98"/>
                </a:cxn>
                <a:cxn ang="0">
                  <a:pos x="150" y="70"/>
                </a:cxn>
                <a:cxn ang="0">
                  <a:pos x="200" y="60"/>
                </a:cxn>
                <a:cxn ang="0">
                  <a:pos x="274" y="0"/>
                </a:cxn>
                <a:cxn ang="0">
                  <a:pos x="299" y="71"/>
                </a:cxn>
                <a:cxn ang="0">
                  <a:pos x="355" y="98"/>
                </a:cxn>
                <a:cxn ang="0">
                  <a:pos x="436" y="195"/>
                </a:cxn>
                <a:cxn ang="0">
                  <a:pos x="234" y="223"/>
                </a:cxn>
                <a:cxn ang="0">
                  <a:pos x="168" y="195"/>
                </a:cxn>
                <a:cxn ang="0">
                  <a:pos x="139" y="243"/>
                </a:cxn>
                <a:cxn ang="0">
                  <a:pos x="81" y="243"/>
                </a:cxn>
                <a:cxn ang="0">
                  <a:pos x="53" y="269"/>
                </a:cxn>
                <a:cxn ang="0">
                  <a:pos x="0" y="205"/>
                </a:cxn>
              </a:cxnLst>
              <a:rect l="0" t="0" r="r" b="b"/>
              <a:pathLst>
                <a:path w="436" h="269">
                  <a:moveTo>
                    <a:pt x="0" y="205"/>
                  </a:moveTo>
                  <a:lnTo>
                    <a:pt x="31" y="120"/>
                  </a:lnTo>
                  <a:lnTo>
                    <a:pt x="139" y="98"/>
                  </a:lnTo>
                  <a:lnTo>
                    <a:pt x="150" y="70"/>
                  </a:lnTo>
                  <a:lnTo>
                    <a:pt x="200" y="60"/>
                  </a:lnTo>
                  <a:lnTo>
                    <a:pt x="274" y="0"/>
                  </a:lnTo>
                  <a:lnTo>
                    <a:pt x="299" y="71"/>
                  </a:lnTo>
                  <a:lnTo>
                    <a:pt x="355" y="98"/>
                  </a:lnTo>
                  <a:lnTo>
                    <a:pt x="436" y="195"/>
                  </a:lnTo>
                  <a:lnTo>
                    <a:pt x="234" y="223"/>
                  </a:lnTo>
                  <a:lnTo>
                    <a:pt x="168" y="195"/>
                  </a:lnTo>
                  <a:lnTo>
                    <a:pt x="139" y="243"/>
                  </a:lnTo>
                  <a:lnTo>
                    <a:pt x="81" y="243"/>
                  </a:lnTo>
                  <a:lnTo>
                    <a:pt x="53" y="269"/>
                  </a:lnTo>
                  <a:lnTo>
                    <a:pt x="0" y="20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4" name="30592348.75399.530.7520.255">
              <a:extLst>
                <a:ext uri="{FF2B5EF4-FFF2-40B4-BE49-F238E27FC236}">
                  <a16:creationId xmlns:a16="http://schemas.microsoft.com/office/drawing/2014/main" id="{D8FBA9D8-2882-4888-93C2-5AC85D1EFB03}"/>
                </a:ext>
              </a:extLst>
            </p:cNvPr>
            <p:cNvSpPr>
              <a:spLocks noChangeAspect="1"/>
            </p:cNvSpPr>
            <p:nvPr/>
          </p:nvSpPr>
          <p:spPr bwMode="gray">
            <a:xfrm>
              <a:off x="6076825" y="3947509"/>
              <a:ext cx="325245" cy="497869"/>
            </a:xfrm>
            <a:custGeom>
              <a:avLst/>
              <a:gdLst/>
              <a:ahLst/>
              <a:cxnLst>
                <a:cxn ang="0">
                  <a:pos x="0" y="313"/>
                </a:cxn>
                <a:cxn ang="0">
                  <a:pos x="52" y="340"/>
                </a:cxn>
                <a:cxn ang="0">
                  <a:pos x="38" y="368"/>
                </a:cxn>
                <a:cxn ang="0">
                  <a:pos x="63" y="458"/>
                </a:cxn>
                <a:cxn ang="0">
                  <a:pos x="22" y="475"/>
                </a:cxn>
                <a:cxn ang="0">
                  <a:pos x="69" y="547"/>
                </a:cxn>
                <a:cxn ang="0">
                  <a:pos x="177" y="525"/>
                </a:cxn>
                <a:cxn ang="0">
                  <a:pos x="188" y="497"/>
                </a:cxn>
                <a:cxn ang="0">
                  <a:pos x="238" y="487"/>
                </a:cxn>
                <a:cxn ang="0">
                  <a:pos x="312" y="427"/>
                </a:cxn>
                <a:cxn ang="0">
                  <a:pos x="286" y="361"/>
                </a:cxn>
                <a:cxn ang="0">
                  <a:pos x="321" y="271"/>
                </a:cxn>
                <a:cxn ang="0">
                  <a:pos x="356" y="265"/>
                </a:cxn>
                <a:cxn ang="0">
                  <a:pos x="357" y="138"/>
                </a:cxn>
                <a:cxn ang="0">
                  <a:pos x="89" y="0"/>
                </a:cxn>
                <a:cxn ang="0">
                  <a:pos x="55" y="14"/>
                </a:cxn>
                <a:cxn ang="0">
                  <a:pos x="55" y="68"/>
                </a:cxn>
                <a:cxn ang="0">
                  <a:pos x="89" y="105"/>
                </a:cxn>
                <a:cxn ang="0">
                  <a:pos x="69" y="225"/>
                </a:cxn>
                <a:cxn ang="0">
                  <a:pos x="0" y="313"/>
                </a:cxn>
              </a:cxnLst>
              <a:rect l="0" t="0" r="r" b="b"/>
              <a:pathLst>
                <a:path w="357" h="547">
                  <a:moveTo>
                    <a:pt x="0" y="313"/>
                  </a:moveTo>
                  <a:lnTo>
                    <a:pt x="52" y="340"/>
                  </a:lnTo>
                  <a:lnTo>
                    <a:pt x="38" y="368"/>
                  </a:lnTo>
                  <a:lnTo>
                    <a:pt x="63" y="458"/>
                  </a:lnTo>
                  <a:lnTo>
                    <a:pt x="22" y="475"/>
                  </a:lnTo>
                  <a:lnTo>
                    <a:pt x="69" y="547"/>
                  </a:lnTo>
                  <a:lnTo>
                    <a:pt x="177" y="525"/>
                  </a:lnTo>
                  <a:lnTo>
                    <a:pt x="188" y="497"/>
                  </a:lnTo>
                  <a:lnTo>
                    <a:pt x="238" y="487"/>
                  </a:lnTo>
                  <a:lnTo>
                    <a:pt x="312" y="427"/>
                  </a:lnTo>
                  <a:lnTo>
                    <a:pt x="286" y="361"/>
                  </a:lnTo>
                  <a:lnTo>
                    <a:pt x="321" y="271"/>
                  </a:lnTo>
                  <a:lnTo>
                    <a:pt x="356" y="265"/>
                  </a:lnTo>
                  <a:lnTo>
                    <a:pt x="357" y="138"/>
                  </a:lnTo>
                  <a:lnTo>
                    <a:pt x="89" y="0"/>
                  </a:lnTo>
                  <a:lnTo>
                    <a:pt x="55" y="14"/>
                  </a:lnTo>
                  <a:lnTo>
                    <a:pt x="55" y="68"/>
                  </a:lnTo>
                  <a:lnTo>
                    <a:pt x="89" y="105"/>
                  </a:lnTo>
                  <a:lnTo>
                    <a:pt x="69" y="225"/>
                  </a:lnTo>
                  <a:lnTo>
                    <a:pt x="0" y="31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5" name="30593386.5395.37516.2514.255">
              <a:extLst>
                <a:ext uri="{FF2B5EF4-FFF2-40B4-BE49-F238E27FC236}">
                  <a16:creationId xmlns:a16="http://schemas.microsoft.com/office/drawing/2014/main" id="{C5152F6D-7062-47C7-801D-BE284162D926}"/>
                </a:ext>
              </a:extLst>
            </p:cNvPr>
            <p:cNvSpPr>
              <a:spLocks noChangeAspect="1"/>
            </p:cNvSpPr>
            <p:nvPr/>
          </p:nvSpPr>
          <p:spPr bwMode="gray">
            <a:xfrm>
              <a:off x="6012158" y="4558070"/>
              <a:ext cx="228241" cy="264071"/>
            </a:xfrm>
            <a:custGeom>
              <a:avLst/>
              <a:gdLst/>
              <a:ahLst/>
              <a:cxnLst>
                <a:cxn ang="0">
                  <a:pos x="0" y="253"/>
                </a:cxn>
                <a:cxn ang="0">
                  <a:pos x="26" y="289"/>
                </a:cxn>
                <a:cxn ang="0">
                  <a:pos x="60" y="278"/>
                </a:cxn>
                <a:cxn ang="0">
                  <a:pos x="111" y="281"/>
                </a:cxn>
                <a:cxn ang="0">
                  <a:pos x="158" y="251"/>
                </a:cxn>
                <a:cxn ang="0">
                  <a:pos x="170" y="193"/>
                </a:cxn>
                <a:cxn ang="0">
                  <a:pos x="220" y="145"/>
                </a:cxn>
                <a:cxn ang="0">
                  <a:pos x="251" y="0"/>
                </a:cxn>
                <a:cxn ang="0">
                  <a:pos x="193" y="0"/>
                </a:cxn>
                <a:cxn ang="0">
                  <a:pos x="165" y="26"/>
                </a:cxn>
                <a:cxn ang="0">
                  <a:pos x="159" y="72"/>
                </a:cxn>
                <a:cxn ang="0">
                  <a:pos x="71" y="51"/>
                </a:cxn>
                <a:cxn ang="0">
                  <a:pos x="68" y="81"/>
                </a:cxn>
                <a:cxn ang="0">
                  <a:pos x="104" y="84"/>
                </a:cxn>
                <a:cxn ang="0">
                  <a:pos x="93" y="198"/>
                </a:cxn>
                <a:cxn ang="0">
                  <a:pos x="49" y="185"/>
                </a:cxn>
                <a:cxn ang="0">
                  <a:pos x="0" y="253"/>
                </a:cxn>
              </a:cxnLst>
              <a:rect l="0" t="0" r="r" b="b"/>
              <a:pathLst>
                <a:path w="251" h="289">
                  <a:moveTo>
                    <a:pt x="0" y="253"/>
                  </a:moveTo>
                  <a:lnTo>
                    <a:pt x="26" y="289"/>
                  </a:lnTo>
                  <a:lnTo>
                    <a:pt x="60" y="278"/>
                  </a:lnTo>
                  <a:lnTo>
                    <a:pt x="111" y="281"/>
                  </a:lnTo>
                  <a:lnTo>
                    <a:pt x="158" y="251"/>
                  </a:lnTo>
                  <a:lnTo>
                    <a:pt x="170" y="193"/>
                  </a:lnTo>
                  <a:lnTo>
                    <a:pt x="220" y="145"/>
                  </a:lnTo>
                  <a:lnTo>
                    <a:pt x="251" y="0"/>
                  </a:lnTo>
                  <a:lnTo>
                    <a:pt x="193" y="0"/>
                  </a:lnTo>
                  <a:lnTo>
                    <a:pt x="165" y="26"/>
                  </a:lnTo>
                  <a:lnTo>
                    <a:pt x="159" y="72"/>
                  </a:lnTo>
                  <a:lnTo>
                    <a:pt x="71" y="51"/>
                  </a:lnTo>
                  <a:lnTo>
                    <a:pt x="68" y="81"/>
                  </a:lnTo>
                  <a:lnTo>
                    <a:pt x="104" y="84"/>
                  </a:lnTo>
                  <a:lnTo>
                    <a:pt x="93" y="198"/>
                  </a:lnTo>
                  <a:lnTo>
                    <a:pt x="49" y="185"/>
                  </a:lnTo>
                  <a:lnTo>
                    <a:pt x="0" y="25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6" name="30594383.875397.534.37535.755">
              <a:extLst>
                <a:ext uri="{FF2B5EF4-FFF2-40B4-BE49-F238E27FC236}">
                  <a16:creationId xmlns:a16="http://schemas.microsoft.com/office/drawing/2014/main" id="{818C7FAC-7469-4A7C-B9A1-2BA37168FC54}"/>
                </a:ext>
              </a:extLst>
            </p:cNvPr>
            <p:cNvSpPr>
              <a:spLocks noChangeAspect="1"/>
            </p:cNvSpPr>
            <p:nvPr/>
          </p:nvSpPr>
          <p:spPr bwMode="gray">
            <a:xfrm>
              <a:off x="6044491" y="4516021"/>
              <a:ext cx="572504" cy="555059"/>
            </a:xfrm>
            <a:custGeom>
              <a:avLst/>
              <a:gdLst/>
              <a:ahLst/>
              <a:cxnLst>
                <a:cxn ang="0">
                  <a:pos x="0" y="362"/>
                </a:cxn>
                <a:cxn ang="0">
                  <a:pos x="2" y="378"/>
                </a:cxn>
                <a:cxn ang="0">
                  <a:pos x="129" y="362"/>
                </a:cxn>
                <a:cxn ang="0">
                  <a:pos x="184" y="439"/>
                </a:cxn>
                <a:cxn ang="0">
                  <a:pos x="231" y="435"/>
                </a:cxn>
                <a:cxn ang="0">
                  <a:pos x="242" y="400"/>
                </a:cxn>
                <a:cxn ang="0">
                  <a:pos x="285" y="398"/>
                </a:cxn>
                <a:cxn ang="0">
                  <a:pos x="316" y="420"/>
                </a:cxn>
                <a:cxn ang="0">
                  <a:pos x="323" y="539"/>
                </a:cxn>
                <a:cxn ang="0">
                  <a:pos x="392" y="532"/>
                </a:cxn>
                <a:cxn ang="0">
                  <a:pos x="583" y="611"/>
                </a:cxn>
                <a:cxn ang="0">
                  <a:pos x="581" y="575"/>
                </a:cxn>
                <a:cxn ang="0">
                  <a:pos x="544" y="559"/>
                </a:cxn>
                <a:cxn ang="0">
                  <a:pos x="551" y="472"/>
                </a:cxn>
                <a:cxn ang="0">
                  <a:pos x="612" y="442"/>
                </a:cxn>
                <a:cxn ang="0">
                  <a:pos x="573" y="383"/>
                </a:cxn>
                <a:cxn ang="0">
                  <a:pos x="568" y="282"/>
                </a:cxn>
                <a:cxn ang="0">
                  <a:pos x="561" y="257"/>
                </a:cxn>
                <a:cxn ang="0">
                  <a:pos x="583" y="213"/>
                </a:cxn>
                <a:cxn ang="0">
                  <a:pos x="612" y="129"/>
                </a:cxn>
                <a:cxn ang="0">
                  <a:pos x="634" y="98"/>
                </a:cxn>
                <a:cxn ang="0">
                  <a:pos x="621" y="50"/>
                </a:cxn>
                <a:cxn ang="0">
                  <a:pos x="510" y="0"/>
                </a:cxn>
                <a:cxn ang="0">
                  <a:pos x="308" y="28"/>
                </a:cxn>
                <a:cxn ang="0">
                  <a:pos x="242" y="0"/>
                </a:cxn>
                <a:cxn ang="0">
                  <a:pos x="213" y="48"/>
                </a:cxn>
                <a:cxn ang="0">
                  <a:pos x="182" y="193"/>
                </a:cxn>
                <a:cxn ang="0">
                  <a:pos x="132" y="241"/>
                </a:cxn>
                <a:cxn ang="0">
                  <a:pos x="120" y="299"/>
                </a:cxn>
                <a:cxn ang="0">
                  <a:pos x="73" y="329"/>
                </a:cxn>
                <a:cxn ang="0">
                  <a:pos x="22" y="326"/>
                </a:cxn>
                <a:cxn ang="0">
                  <a:pos x="0" y="362"/>
                </a:cxn>
              </a:cxnLst>
              <a:rect l="0" t="0" r="r" b="b"/>
              <a:pathLst>
                <a:path w="634" h="611">
                  <a:moveTo>
                    <a:pt x="0" y="362"/>
                  </a:moveTo>
                  <a:lnTo>
                    <a:pt x="2" y="378"/>
                  </a:lnTo>
                  <a:lnTo>
                    <a:pt x="129" y="362"/>
                  </a:lnTo>
                  <a:lnTo>
                    <a:pt x="184" y="439"/>
                  </a:lnTo>
                  <a:lnTo>
                    <a:pt x="231" y="435"/>
                  </a:lnTo>
                  <a:lnTo>
                    <a:pt x="242" y="400"/>
                  </a:lnTo>
                  <a:lnTo>
                    <a:pt x="285" y="398"/>
                  </a:lnTo>
                  <a:lnTo>
                    <a:pt x="316" y="420"/>
                  </a:lnTo>
                  <a:lnTo>
                    <a:pt x="323" y="539"/>
                  </a:lnTo>
                  <a:lnTo>
                    <a:pt x="392" y="532"/>
                  </a:lnTo>
                  <a:lnTo>
                    <a:pt x="583" y="611"/>
                  </a:lnTo>
                  <a:lnTo>
                    <a:pt x="581" y="575"/>
                  </a:lnTo>
                  <a:lnTo>
                    <a:pt x="544" y="559"/>
                  </a:lnTo>
                  <a:lnTo>
                    <a:pt x="551" y="472"/>
                  </a:lnTo>
                  <a:lnTo>
                    <a:pt x="612" y="442"/>
                  </a:lnTo>
                  <a:lnTo>
                    <a:pt x="573" y="383"/>
                  </a:lnTo>
                  <a:lnTo>
                    <a:pt x="568" y="282"/>
                  </a:lnTo>
                  <a:lnTo>
                    <a:pt x="561" y="257"/>
                  </a:lnTo>
                  <a:lnTo>
                    <a:pt x="583" y="213"/>
                  </a:lnTo>
                  <a:lnTo>
                    <a:pt x="612" y="129"/>
                  </a:lnTo>
                  <a:lnTo>
                    <a:pt x="634" y="98"/>
                  </a:lnTo>
                  <a:lnTo>
                    <a:pt x="621" y="50"/>
                  </a:lnTo>
                  <a:lnTo>
                    <a:pt x="510" y="0"/>
                  </a:lnTo>
                  <a:lnTo>
                    <a:pt x="308" y="28"/>
                  </a:lnTo>
                  <a:lnTo>
                    <a:pt x="242" y="0"/>
                  </a:lnTo>
                  <a:lnTo>
                    <a:pt x="213" y="48"/>
                  </a:lnTo>
                  <a:lnTo>
                    <a:pt x="182" y="193"/>
                  </a:lnTo>
                  <a:lnTo>
                    <a:pt x="132" y="241"/>
                  </a:lnTo>
                  <a:lnTo>
                    <a:pt x="120" y="299"/>
                  </a:lnTo>
                  <a:lnTo>
                    <a:pt x="73" y="329"/>
                  </a:lnTo>
                  <a:lnTo>
                    <a:pt x="22" y="326"/>
                  </a:lnTo>
                  <a:lnTo>
                    <a:pt x="0" y="36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7" name="30595323.75435.3752.3754.3755">
              <a:extLst>
                <a:ext uri="{FF2B5EF4-FFF2-40B4-BE49-F238E27FC236}">
                  <a16:creationId xmlns:a16="http://schemas.microsoft.com/office/drawing/2014/main" id="{8F22AC84-E6F5-4506-91D5-54AC699A2BEC}"/>
                </a:ext>
              </a:extLst>
            </p:cNvPr>
            <p:cNvSpPr>
              <a:spLocks noChangeAspect="1"/>
            </p:cNvSpPr>
            <p:nvPr/>
          </p:nvSpPr>
          <p:spPr bwMode="gray">
            <a:xfrm>
              <a:off x="6653133" y="3540465"/>
              <a:ext cx="68472" cy="38688"/>
            </a:xfrm>
            <a:custGeom>
              <a:avLst/>
              <a:gdLst/>
              <a:ahLst/>
              <a:cxnLst>
                <a:cxn ang="0">
                  <a:pos x="0" y="22"/>
                </a:cxn>
                <a:cxn ang="0">
                  <a:pos x="28" y="41"/>
                </a:cxn>
                <a:cxn ang="0">
                  <a:pos x="79" y="0"/>
                </a:cxn>
                <a:cxn ang="0">
                  <a:pos x="0" y="22"/>
                </a:cxn>
              </a:cxnLst>
              <a:rect l="0" t="0" r="r" b="b"/>
              <a:pathLst>
                <a:path w="79" h="41">
                  <a:moveTo>
                    <a:pt x="0" y="22"/>
                  </a:moveTo>
                  <a:lnTo>
                    <a:pt x="28" y="41"/>
                  </a:lnTo>
                  <a:lnTo>
                    <a:pt x="79" y="0"/>
                  </a:lnTo>
                  <a:lnTo>
                    <a:pt x="0" y="2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8" name="30596370376.12511.62555">
              <a:extLst>
                <a:ext uri="{FF2B5EF4-FFF2-40B4-BE49-F238E27FC236}">
                  <a16:creationId xmlns:a16="http://schemas.microsoft.com/office/drawing/2014/main" id="{BE84D847-9076-4A0E-8180-0DD6698A36E7}"/>
                </a:ext>
              </a:extLst>
            </p:cNvPr>
            <p:cNvSpPr>
              <a:spLocks noChangeAspect="1"/>
            </p:cNvSpPr>
            <p:nvPr/>
          </p:nvSpPr>
          <p:spPr bwMode="gray">
            <a:xfrm>
              <a:off x="5702129" y="4290634"/>
              <a:ext cx="79883" cy="190064"/>
            </a:xfrm>
            <a:custGeom>
              <a:avLst/>
              <a:gdLst/>
              <a:ahLst/>
              <a:cxnLst>
                <a:cxn ang="0">
                  <a:pos x="0" y="49"/>
                </a:cxn>
                <a:cxn ang="0">
                  <a:pos x="36" y="205"/>
                </a:cxn>
                <a:cxn ang="0">
                  <a:pos x="65" y="203"/>
                </a:cxn>
                <a:cxn ang="0">
                  <a:pos x="91" y="23"/>
                </a:cxn>
                <a:cxn ang="0">
                  <a:pos x="65" y="0"/>
                </a:cxn>
                <a:cxn ang="0">
                  <a:pos x="49" y="15"/>
                </a:cxn>
                <a:cxn ang="0">
                  <a:pos x="0" y="49"/>
                </a:cxn>
              </a:cxnLst>
              <a:rect l="0" t="0" r="r" b="b"/>
              <a:pathLst>
                <a:path w="91" h="205">
                  <a:moveTo>
                    <a:pt x="0" y="49"/>
                  </a:moveTo>
                  <a:lnTo>
                    <a:pt x="36" y="205"/>
                  </a:lnTo>
                  <a:lnTo>
                    <a:pt x="65" y="203"/>
                  </a:lnTo>
                  <a:lnTo>
                    <a:pt x="91" y="23"/>
                  </a:lnTo>
                  <a:lnTo>
                    <a:pt x="65" y="0"/>
                  </a:lnTo>
                  <a:lnTo>
                    <a:pt x="49" y="15"/>
                  </a:lnTo>
                  <a:lnTo>
                    <a:pt x="0" y="4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89" name="30597389.25392.252.3753.3755">
              <a:extLst>
                <a:ext uri="{FF2B5EF4-FFF2-40B4-BE49-F238E27FC236}">
                  <a16:creationId xmlns:a16="http://schemas.microsoft.com/office/drawing/2014/main" id="{F312ADF6-14C5-421B-9E6E-F76D11458BDA}"/>
                </a:ext>
              </a:extLst>
            </p:cNvPr>
            <p:cNvSpPr>
              <a:spLocks noChangeAspect="1"/>
            </p:cNvSpPr>
            <p:nvPr/>
          </p:nvSpPr>
          <p:spPr bwMode="gray">
            <a:xfrm>
              <a:off x="5962704" y="4601804"/>
              <a:ext cx="53255" cy="38684"/>
            </a:xfrm>
            <a:custGeom>
              <a:avLst/>
              <a:gdLst/>
              <a:ahLst/>
              <a:cxnLst>
                <a:cxn ang="0">
                  <a:pos x="0" y="41"/>
                </a:cxn>
                <a:cxn ang="0">
                  <a:pos x="6" y="1"/>
                </a:cxn>
                <a:cxn ang="0">
                  <a:pos x="61" y="0"/>
                </a:cxn>
                <a:cxn ang="0">
                  <a:pos x="61" y="36"/>
                </a:cxn>
                <a:cxn ang="0">
                  <a:pos x="0" y="41"/>
                </a:cxn>
              </a:cxnLst>
              <a:rect l="0" t="0" r="r" b="b"/>
              <a:pathLst>
                <a:path w="61" h="41">
                  <a:moveTo>
                    <a:pt x="0" y="41"/>
                  </a:moveTo>
                  <a:lnTo>
                    <a:pt x="6" y="1"/>
                  </a:lnTo>
                  <a:lnTo>
                    <a:pt x="61" y="0"/>
                  </a:lnTo>
                  <a:lnTo>
                    <a:pt x="61" y="36"/>
                  </a:lnTo>
                  <a:lnTo>
                    <a:pt x="0" y="4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0" name="30598359.25436.527.62528.3755">
              <a:extLst>
                <a:ext uri="{FF2B5EF4-FFF2-40B4-BE49-F238E27FC236}">
                  <a16:creationId xmlns:a16="http://schemas.microsoft.com/office/drawing/2014/main" id="{72A5AF8B-C75C-4B2C-8F83-99A4104768E9}"/>
                </a:ext>
              </a:extLst>
            </p:cNvPr>
            <p:cNvSpPr>
              <a:spLocks noChangeAspect="1"/>
            </p:cNvSpPr>
            <p:nvPr/>
          </p:nvSpPr>
          <p:spPr bwMode="gray">
            <a:xfrm>
              <a:off x="6672155" y="4117391"/>
              <a:ext cx="454578" cy="445729"/>
            </a:xfrm>
            <a:custGeom>
              <a:avLst/>
              <a:gdLst/>
              <a:ahLst/>
              <a:cxnLst>
                <a:cxn ang="0">
                  <a:pos x="0" y="342"/>
                </a:cxn>
                <a:cxn ang="0">
                  <a:pos x="39" y="316"/>
                </a:cxn>
                <a:cxn ang="0">
                  <a:pos x="43" y="255"/>
                </a:cxn>
                <a:cxn ang="0">
                  <a:pos x="109" y="174"/>
                </a:cxn>
                <a:cxn ang="0">
                  <a:pos x="135" y="31"/>
                </a:cxn>
                <a:cxn ang="0">
                  <a:pos x="186" y="0"/>
                </a:cxn>
                <a:cxn ang="0">
                  <a:pos x="224" y="97"/>
                </a:cxn>
                <a:cxn ang="0">
                  <a:pos x="335" y="181"/>
                </a:cxn>
                <a:cxn ang="0">
                  <a:pos x="296" y="231"/>
                </a:cxn>
                <a:cxn ang="0">
                  <a:pos x="331" y="243"/>
                </a:cxn>
                <a:cxn ang="0">
                  <a:pos x="372" y="303"/>
                </a:cxn>
                <a:cxn ang="0">
                  <a:pos x="504" y="337"/>
                </a:cxn>
                <a:cxn ang="0">
                  <a:pos x="403" y="437"/>
                </a:cxn>
                <a:cxn ang="0">
                  <a:pos x="298" y="474"/>
                </a:cxn>
                <a:cxn ang="0">
                  <a:pos x="202" y="489"/>
                </a:cxn>
                <a:cxn ang="0">
                  <a:pos x="96" y="452"/>
                </a:cxn>
                <a:cxn ang="0">
                  <a:pos x="59" y="382"/>
                </a:cxn>
                <a:cxn ang="0">
                  <a:pos x="0" y="342"/>
                </a:cxn>
              </a:cxnLst>
              <a:rect l="0" t="0" r="r" b="b"/>
              <a:pathLst>
                <a:path w="504" h="489">
                  <a:moveTo>
                    <a:pt x="0" y="342"/>
                  </a:moveTo>
                  <a:lnTo>
                    <a:pt x="39" y="316"/>
                  </a:lnTo>
                  <a:lnTo>
                    <a:pt x="43" y="255"/>
                  </a:lnTo>
                  <a:lnTo>
                    <a:pt x="109" y="174"/>
                  </a:lnTo>
                  <a:lnTo>
                    <a:pt x="135" y="31"/>
                  </a:lnTo>
                  <a:lnTo>
                    <a:pt x="186" y="0"/>
                  </a:lnTo>
                  <a:lnTo>
                    <a:pt x="224" y="97"/>
                  </a:lnTo>
                  <a:lnTo>
                    <a:pt x="335" y="181"/>
                  </a:lnTo>
                  <a:lnTo>
                    <a:pt x="296" y="231"/>
                  </a:lnTo>
                  <a:lnTo>
                    <a:pt x="331" y="243"/>
                  </a:lnTo>
                  <a:lnTo>
                    <a:pt x="372" y="303"/>
                  </a:lnTo>
                  <a:lnTo>
                    <a:pt x="504" y="337"/>
                  </a:lnTo>
                  <a:lnTo>
                    <a:pt x="403" y="437"/>
                  </a:lnTo>
                  <a:lnTo>
                    <a:pt x="298" y="474"/>
                  </a:lnTo>
                  <a:lnTo>
                    <a:pt x="202" y="489"/>
                  </a:lnTo>
                  <a:lnTo>
                    <a:pt x="96" y="452"/>
                  </a:lnTo>
                  <a:lnTo>
                    <a:pt x="59" y="382"/>
                  </a:lnTo>
                  <a:lnTo>
                    <a:pt x="0" y="34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1" name="30599369.5453.1253.535">
              <a:extLst>
                <a:ext uri="{FF2B5EF4-FFF2-40B4-BE49-F238E27FC236}">
                  <a16:creationId xmlns:a16="http://schemas.microsoft.com/office/drawing/2014/main" id="{BF260819-6EDF-472F-8E8B-0E64CF6063D3}"/>
                </a:ext>
              </a:extLst>
            </p:cNvPr>
            <p:cNvSpPr>
              <a:spLocks noChangeAspect="1"/>
            </p:cNvSpPr>
            <p:nvPr/>
          </p:nvSpPr>
          <p:spPr bwMode="gray">
            <a:xfrm>
              <a:off x="6936534" y="4283907"/>
              <a:ext cx="47550" cy="57186"/>
            </a:xfrm>
            <a:custGeom>
              <a:avLst/>
              <a:gdLst/>
              <a:ahLst/>
              <a:cxnLst>
                <a:cxn ang="0">
                  <a:pos x="0" y="50"/>
                </a:cxn>
                <a:cxn ang="0">
                  <a:pos x="35" y="62"/>
                </a:cxn>
                <a:cxn ang="0">
                  <a:pos x="50" y="43"/>
                </a:cxn>
                <a:cxn ang="0">
                  <a:pos x="24" y="39"/>
                </a:cxn>
                <a:cxn ang="0">
                  <a:pos x="52" y="23"/>
                </a:cxn>
                <a:cxn ang="0">
                  <a:pos x="39" y="0"/>
                </a:cxn>
                <a:cxn ang="0">
                  <a:pos x="0" y="50"/>
                </a:cxn>
              </a:cxnLst>
              <a:rect l="0" t="0" r="r" b="b"/>
              <a:pathLst>
                <a:path w="52" h="62">
                  <a:moveTo>
                    <a:pt x="0" y="50"/>
                  </a:moveTo>
                  <a:lnTo>
                    <a:pt x="35" y="62"/>
                  </a:lnTo>
                  <a:lnTo>
                    <a:pt x="50" y="43"/>
                  </a:lnTo>
                  <a:lnTo>
                    <a:pt x="24" y="39"/>
                  </a:lnTo>
                  <a:lnTo>
                    <a:pt x="52" y="23"/>
                  </a:lnTo>
                  <a:lnTo>
                    <a:pt x="39" y="0"/>
                  </a:lnTo>
                  <a:lnTo>
                    <a:pt x="0" y="5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2" name="30600389.25390.7511.510.55">
              <a:extLst>
                <a:ext uri="{FF2B5EF4-FFF2-40B4-BE49-F238E27FC236}">
                  <a16:creationId xmlns:a16="http://schemas.microsoft.com/office/drawing/2014/main" id="{E65CB027-769F-409C-970A-74FB86DEE3D1}"/>
                </a:ext>
              </a:extLst>
            </p:cNvPr>
            <p:cNvSpPr>
              <a:spLocks noChangeAspect="1"/>
            </p:cNvSpPr>
            <p:nvPr/>
          </p:nvSpPr>
          <p:spPr bwMode="gray">
            <a:xfrm>
              <a:off x="5937981" y="4601804"/>
              <a:ext cx="167376" cy="188383"/>
            </a:xfrm>
            <a:custGeom>
              <a:avLst/>
              <a:gdLst/>
              <a:ahLst/>
              <a:cxnLst>
                <a:cxn ang="0">
                  <a:pos x="0" y="96"/>
                </a:cxn>
                <a:cxn ang="0">
                  <a:pos x="20" y="64"/>
                </a:cxn>
                <a:cxn ang="0">
                  <a:pos x="34" y="67"/>
                </a:cxn>
                <a:cxn ang="0">
                  <a:pos x="24" y="41"/>
                </a:cxn>
                <a:cxn ang="0">
                  <a:pos x="85" y="36"/>
                </a:cxn>
                <a:cxn ang="0">
                  <a:pos x="85" y="0"/>
                </a:cxn>
                <a:cxn ang="0">
                  <a:pos x="152" y="1"/>
                </a:cxn>
                <a:cxn ang="0">
                  <a:pos x="149" y="31"/>
                </a:cxn>
                <a:cxn ang="0">
                  <a:pos x="185" y="34"/>
                </a:cxn>
                <a:cxn ang="0">
                  <a:pos x="174" y="148"/>
                </a:cxn>
                <a:cxn ang="0">
                  <a:pos x="130" y="135"/>
                </a:cxn>
                <a:cxn ang="0">
                  <a:pos x="81" y="203"/>
                </a:cxn>
                <a:cxn ang="0">
                  <a:pos x="0" y="96"/>
                </a:cxn>
              </a:cxnLst>
              <a:rect l="0" t="0" r="r" b="b"/>
              <a:pathLst>
                <a:path w="185" h="203">
                  <a:moveTo>
                    <a:pt x="0" y="96"/>
                  </a:moveTo>
                  <a:lnTo>
                    <a:pt x="20" y="64"/>
                  </a:lnTo>
                  <a:lnTo>
                    <a:pt x="34" y="67"/>
                  </a:lnTo>
                  <a:lnTo>
                    <a:pt x="24" y="41"/>
                  </a:lnTo>
                  <a:lnTo>
                    <a:pt x="85" y="36"/>
                  </a:lnTo>
                  <a:lnTo>
                    <a:pt x="85" y="0"/>
                  </a:lnTo>
                  <a:lnTo>
                    <a:pt x="152" y="1"/>
                  </a:lnTo>
                  <a:lnTo>
                    <a:pt x="149" y="31"/>
                  </a:lnTo>
                  <a:lnTo>
                    <a:pt x="185" y="34"/>
                  </a:lnTo>
                  <a:lnTo>
                    <a:pt x="174" y="148"/>
                  </a:lnTo>
                  <a:lnTo>
                    <a:pt x="130" y="135"/>
                  </a:lnTo>
                  <a:lnTo>
                    <a:pt x="81" y="203"/>
                  </a:lnTo>
                  <a:lnTo>
                    <a:pt x="0" y="9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3" name="30601367.625342.8751.1255.6255">
              <a:extLst>
                <a:ext uri="{FF2B5EF4-FFF2-40B4-BE49-F238E27FC236}">
                  <a16:creationId xmlns:a16="http://schemas.microsoft.com/office/drawing/2014/main" id="{CE280C91-AC58-47CF-AA76-00D8FE136A6D}"/>
                </a:ext>
              </a:extLst>
            </p:cNvPr>
            <p:cNvSpPr>
              <a:spLocks noChangeAspect="1"/>
            </p:cNvSpPr>
            <p:nvPr/>
          </p:nvSpPr>
          <p:spPr bwMode="gray">
            <a:xfrm>
              <a:off x="5171470" y="4251949"/>
              <a:ext cx="87493" cy="16821"/>
            </a:xfrm>
            <a:custGeom>
              <a:avLst/>
              <a:gdLst/>
              <a:ahLst/>
              <a:cxnLst>
                <a:cxn ang="0">
                  <a:pos x="0" y="20"/>
                </a:cxn>
                <a:cxn ang="0">
                  <a:pos x="4" y="0"/>
                </a:cxn>
                <a:cxn ang="0">
                  <a:pos x="99" y="7"/>
                </a:cxn>
                <a:cxn ang="0">
                  <a:pos x="0" y="20"/>
                </a:cxn>
              </a:cxnLst>
              <a:rect l="0" t="0" r="r" b="b"/>
              <a:pathLst>
                <a:path w="99" h="20">
                  <a:moveTo>
                    <a:pt x="0" y="20"/>
                  </a:moveTo>
                  <a:lnTo>
                    <a:pt x="4" y="0"/>
                  </a:lnTo>
                  <a:lnTo>
                    <a:pt x="99" y="7"/>
                  </a:lnTo>
                  <a:lnTo>
                    <a:pt x="0" y="2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4" name="30602372.25368.62512.2585">
              <a:extLst>
                <a:ext uri="{FF2B5EF4-FFF2-40B4-BE49-F238E27FC236}">
                  <a16:creationId xmlns:a16="http://schemas.microsoft.com/office/drawing/2014/main" id="{EB04EBFE-2AF0-4C6F-8057-1063854F055D}"/>
                </a:ext>
              </a:extLst>
            </p:cNvPr>
            <p:cNvSpPr>
              <a:spLocks noChangeAspect="1"/>
            </p:cNvSpPr>
            <p:nvPr/>
          </p:nvSpPr>
          <p:spPr bwMode="gray">
            <a:xfrm>
              <a:off x="5582303" y="4329322"/>
              <a:ext cx="129337" cy="195110"/>
            </a:xfrm>
            <a:custGeom>
              <a:avLst/>
              <a:gdLst/>
              <a:ahLst/>
              <a:cxnLst>
                <a:cxn ang="0">
                  <a:pos x="0" y="204"/>
                </a:cxn>
                <a:cxn ang="0">
                  <a:pos x="13" y="55"/>
                </a:cxn>
                <a:cxn ang="0">
                  <a:pos x="6" y="8"/>
                </a:cxn>
                <a:cxn ang="0">
                  <a:pos x="96" y="0"/>
                </a:cxn>
                <a:cxn ang="0">
                  <a:pos x="142" y="171"/>
                </a:cxn>
                <a:cxn ang="0">
                  <a:pos x="37" y="216"/>
                </a:cxn>
                <a:cxn ang="0">
                  <a:pos x="0" y="204"/>
                </a:cxn>
              </a:cxnLst>
              <a:rect l="0" t="0" r="r" b="b"/>
              <a:pathLst>
                <a:path w="142" h="216">
                  <a:moveTo>
                    <a:pt x="0" y="204"/>
                  </a:moveTo>
                  <a:lnTo>
                    <a:pt x="13" y="55"/>
                  </a:lnTo>
                  <a:lnTo>
                    <a:pt x="6" y="8"/>
                  </a:lnTo>
                  <a:lnTo>
                    <a:pt x="96" y="0"/>
                  </a:lnTo>
                  <a:lnTo>
                    <a:pt x="142" y="171"/>
                  </a:lnTo>
                  <a:lnTo>
                    <a:pt x="37" y="216"/>
                  </a:lnTo>
                  <a:lnTo>
                    <a:pt x="0" y="20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5" name="30603369.5346.1251013.8755">
              <a:extLst>
                <a:ext uri="{FF2B5EF4-FFF2-40B4-BE49-F238E27FC236}">
                  <a16:creationId xmlns:a16="http://schemas.microsoft.com/office/drawing/2014/main" id="{7761BD62-18FD-44F7-958D-54A171D91815}"/>
                </a:ext>
              </a:extLst>
            </p:cNvPr>
            <p:cNvSpPr>
              <a:spLocks noChangeAspect="1"/>
            </p:cNvSpPr>
            <p:nvPr/>
          </p:nvSpPr>
          <p:spPr bwMode="gray">
            <a:xfrm>
              <a:off x="5220924" y="4283907"/>
              <a:ext cx="222536" cy="161471"/>
            </a:xfrm>
            <a:custGeom>
              <a:avLst/>
              <a:gdLst/>
              <a:ahLst/>
              <a:cxnLst>
                <a:cxn ang="0">
                  <a:pos x="0" y="59"/>
                </a:cxn>
                <a:cxn ang="0">
                  <a:pos x="41" y="33"/>
                </a:cxn>
                <a:cxn ang="0">
                  <a:pos x="43" y="0"/>
                </a:cxn>
                <a:cxn ang="0">
                  <a:pos x="122" y="7"/>
                </a:cxn>
                <a:cxn ang="0">
                  <a:pos x="144" y="23"/>
                </a:cxn>
                <a:cxn ang="0">
                  <a:pos x="201" y="4"/>
                </a:cxn>
                <a:cxn ang="0">
                  <a:pos x="235" y="84"/>
                </a:cxn>
                <a:cxn ang="0">
                  <a:pos x="245" y="144"/>
                </a:cxn>
                <a:cxn ang="0">
                  <a:pos x="224" y="140"/>
                </a:cxn>
                <a:cxn ang="0">
                  <a:pos x="219" y="173"/>
                </a:cxn>
                <a:cxn ang="0">
                  <a:pos x="183" y="179"/>
                </a:cxn>
                <a:cxn ang="0">
                  <a:pos x="181" y="144"/>
                </a:cxn>
                <a:cxn ang="0">
                  <a:pos x="161" y="143"/>
                </a:cxn>
                <a:cxn ang="0">
                  <a:pos x="128" y="92"/>
                </a:cxn>
                <a:cxn ang="0">
                  <a:pos x="58" y="121"/>
                </a:cxn>
                <a:cxn ang="0">
                  <a:pos x="0" y="59"/>
                </a:cxn>
              </a:cxnLst>
              <a:rect l="0" t="0" r="r" b="b"/>
              <a:pathLst>
                <a:path w="245" h="179">
                  <a:moveTo>
                    <a:pt x="0" y="59"/>
                  </a:moveTo>
                  <a:lnTo>
                    <a:pt x="41" y="33"/>
                  </a:lnTo>
                  <a:lnTo>
                    <a:pt x="43" y="0"/>
                  </a:lnTo>
                  <a:lnTo>
                    <a:pt x="122" y="7"/>
                  </a:lnTo>
                  <a:lnTo>
                    <a:pt x="144" y="23"/>
                  </a:lnTo>
                  <a:lnTo>
                    <a:pt x="201" y="4"/>
                  </a:lnTo>
                  <a:lnTo>
                    <a:pt x="235" y="84"/>
                  </a:lnTo>
                  <a:lnTo>
                    <a:pt x="245" y="144"/>
                  </a:lnTo>
                  <a:lnTo>
                    <a:pt x="224" y="140"/>
                  </a:lnTo>
                  <a:lnTo>
                    <a:pt x="219" y="173"/>
                  </a:lnTo>
                  <a:lnTo>
                    <a:pt x="183" y="179"/>
                  </a:lnTo>
                  <a:lnTo>
                    <a:pt x="181" y="144"/>
                  </a:lnTo>
                  <a:lnTo>
                    <a:pt x="161" y="143"/>
                  </a:lnTo>
                  <a:lnTo>
                    <a:pt x="128" y="92"/>
                  </a:lnTo>
                  <a:lnTo>
                    <a:pt x="58" y="121"/>
                  </a:lnTo>
                  <a:lnTo>
                    <a:pt x="0" y="5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6" name="30604337.25458.750.8753.3755">
              <a:extLst>
                <a:ext uri="{FF2B5EF4-FFF2-40B4-BE49-F238E27FC236}">
                  <a16:creationId xmlns:a16="http://schemas.microsoft.com/office/drawing/2014/main" id="{F2895ED4-C310-424A-BD73-DF9E19BB0EBF}"/>
                </a:ext>
              </a:extLst>
            </p:cNvPr>
            <p:cNvSpPr>
              <a:spLocks noChangeAspect="1"/>
            </p:cNvSpPr>
            <p:nvPr/>
          </p:nvSpPr>
          <p:spPr bwMode="gray">
            <a:xfrm>
              <a:off x="7029733" y="3760807"/>
              <a:ext cx="53255" cy="15137"/>
            </a:xfrm>
            <a:custGeom>
              <a:avLst/>
              <a:gdLst/>
              <a:ahLst/>
              <a:cxnLst>
                <a:cxn ang="0">
                  <a:pos x="0" y="0"/>
                </a:cxn>
                <a:cxn ang="0">
                  <a:pos x="32" y="17"/>
                </a:cxn>
                <a:cxn ang="0">
                  <a:pos x="61" y="5"/>
                </a:cxn>
                <a:cxn ang="0">
                  <a:pos x="0" y="0"/>
                </a:cxn>
              </a:cxnLst>
              <a:rect l="0" t="0" r="r" b="b"/>
              <a:pathLst>
                <a:path w="61" h="17">
                  <a:moveTo>
                    <a:pt x="0" y="0"/>
                  </a:moveTo>
                  <a:lnTo>
                    <a:pt x="32" y="17"/>
                  </a:lnTo>
                  <a:lnTo>
                    <a:pt x="61" y="5"/>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7" name="30605329438.37582.8755">
              <a:extLst>
                <a:ext uri="{FF2B5EF4-FFF2-40B4-BE49-F238E27FC236}">
                  <a16:creationId xmlns:a16="http://schemas.microsoft.com/office/drawing/2014/main" id="{08306D8C-9396-46ED-B97A-A88453C27276}"/>
                </a:ext>
              </a:extLst>
            </p:cNvPr>
            <p:cNvSpPr>
              <a:spLocks noChangeAspect="1"/>
            </p:cNvSpPr>
            <p:nvPr/>
          </p:nvSpPr>
          <p:spPr bwMode="gray">
            <a:xfrm>
              <a:off x="6700683" y="3627929"/>
              <a:ext cx="45649" cy="129513"/>
            </a:xfrm>
            <a:custGeom>
              <a:avLst/>
              <a:gdLst/>
              <a:ahLst/>
              <a:cxnLst>
                <a:cxn ang="0">
                  <a:pos x="0" y="70"/>
                </a:cxn>
                <a:cxn ang="0">
                  <a:pos x="28" y="141"/>
                </a:cxn>
                <a:cxn ang="0">
                  <a:pos x="32" y="139"/>
                </a:cxn>
                <a:cxn ang="0">
                  <a:pos x="47" y="63"/>
                </a:cxn>
                <a:cxn ang="0">
                  <a:pos x="27" y="68"/>
                </a:cxn>
                <a:cxn ang="0">
                  <a:pos x="32" y="35"/>
                </a:cxn>
                <a:cxn ang="0">
                  <a:pos x="49" y="19"/>
                </a:cxn>
                <a:cxn ang="0">
                  <a:pos x="53" y="0"/>
                </a:cxn>
                <a:cxn ang="0">
                  <a:pos x="35" y="2"/>
                </a:cxn>
                <a:cxn ang="0">
                  <a:pos x="0" y="70"/>
                </a:cxn>
              </a:cxnLst>
              <a:rect l="0" t="0" r="r" b="b"/>
              <a:pathLst>
                <a:path w="53" h="141">
                  <a:moveTo>
                    <a:pt x="0" y="70"/>
                  </a:moveTo>
                  <a:lnTo>
                    <a:pt x="28" y="141"/>
                  </a:lnTo>
                  <a:lnTo>
                    <a:pt x="32" y="139"/>
                  </a:lnTo>
                  <a:lnTo>
                    <a:pt x="47" y="63"/>
                  </a:lnTo>
                  <a:lnTo>
                    <a:pt x="27" y="68"/>
                  </a:lnTo>
                  <a:lnTo>
                    <a:pt x="32" y="35"/>
                  </a:lnTo>
                  <a:lnTo>
                    <a:pt x="49" y="19"/>
                  </a:lnTo>
                  <a:lnTo>
                    <a:pt x="53" y="0"/>
                  </a:lnTo>
                  <a:lnTo>
                    <a:pt x="35" y="2"/>
                  </a:lnTo>
                  <a:lnTo>
                    <a:pt x="0" y="7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8" name="30606373.25358.2511.87511.1255">
              <a:extLst>
                <a:ext uri="{FF2B5EF4-FFF2-40B4-BE49-F238E27FC236}">
                  <a16:creationId xmlns:a16="http://schemas.microsoft.com/office/drawing/2014/main" id="{DD67A896-445E-4AE8-B084-A974892081D1}"/>
                </a:ext>
              </a:extLst>
            </p:cNvPr>
            <p:cNvSpPr>
              <a:spLocks noChangeAspect="1"/>
            </p:cNvSpPr>
            <p:nvPr/>
          </p:nvSpPr>
          <p:spPr bwMode="gray">
            <a:xfrm>
              <a:off x="5414927" y="4344459"/>
              <a:ext cx="180692" cy="191748"/>
            </a:xfrm>
            <a:custGeom>
              <a:avLst/>
              <a:gdLst/>
              <a:ahLst/>
              <a:cxnLst>
                <a:cxn ang="0">
                  <a:pos x="0" y="139"/>
                </a:cxn>
                <a:cxn ang="0">
                  <a:pos x="3" y="107"/>
                </a:cxn>
                <a:cxn ang="0">
                  <a:pos x="8" y="74"/>
                </a:cxn>
                <a:cxn ang="0">
                  <a:pos x="29" y="78"/>
                </a:cxn>
                <a:cxn ang="0">
                  <a:pos x="19" y="18"/>
                </a:cxn>
                <a:cxn ang="0">
                  <a:pos x="77" y="0"/>
                </a:cxn>
                <a:cxn ang="0">
                  <a:pos x="111" y="12"/>
                </a:cxn>
                <a:cxn ang="0">
                  <a:pos x="129" y="33"/>
                </a:cxn>
                <a:cxn ang="0">
                  <a:pos x="196" y="40"/>
                </a:cxn>
                <a:cxn ang="0">
                  <a:pos x="183" y="189"/>
                </a:cxn>
                <a:cxn ang="0">
                  <a:pos x="31" y="211"/>
                </a:cxn>
                <a:cxn ang="0">
                  <a:pos x="36" y="162"/>
                </a:cxn>
                <a:cxn ang="0">
                  <a:pos x="0" y="139"/>
                </a:cxn>
              </a:cxnLst>
              <a:rect l="0" t="0" r="r" b="b"/>
              <a:pathLst>
                <a:path w="196" h="211">
                  <a:moveTo>
                    <a:pt x="0" y="139"/>
                  </a:moveTo>
                  <a:lnTo>
                    <a:pt x="3" y="107"/>
                  </a:lnTo>
                  <a:lnTo>
                    <a:pt x="8" y="74"/>
                  </a:lnTo>
                  <a:lnTo>
                    <a:pt x="29" y="78"/>
                  </a:lnTo>
                  <a:lnTo>
                    <a:pt x="19" y="18"/>
                  </a:lnTo>
                  <a:lnTo>
                    <a:pt x="77" y="0"/>
                  </a:lnTo>
                  <a:lnTo>
                    <a:pt x="111" y="12"/>
                  </a:lnTo>
                  <a:lnTo>
                    <a:pt x="129" y="33"/>
                  </a:lnTo>
                  <a:lnTo>
                    <a:pt x="196" y="40"/>
                  </a:lnTo>
                  <a:lnTo>
                    <a:pt x="183" y="189"/>
                  </a:lnTo>
                  <a:lnTo>
                    <a:pt x="31" y="211"/>
                  </a:lnTo>
                  <a:lnTo>
                    <a:pt x="36" y="162"/>
                  </a:lnTo>
                  <a:lnTo>
                    <a:pt x="0" y="13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199" name="30607328.75439.8758.758.255">
              <a:extLst>
                <a:ext uri="{FF2B5EF4-FFF2-40B4-BE49-F238E27FC236}">
                  <a16:creationId xmlns:a16="http://schemas.microsoft.com/office/drawing/2014/main" id="{8FC3673F-72FB-46D5-9DBB-1BE857B8B485}"/>
                </a:ext>
              </a:extLst>
            </p:cNvPr>
            <p:cNvSpPr>
              <a:spLocks noChangeAspect="1"/>
            </p:cNvSpPr>
            <p:nvPr/>
          </p:nvSpPr>
          <p:spPr bwMode="gray">
            <a:xfrm>
              <a:off x="6725410" y="3624564"/>
              <a:ext cx="133142" cy="139604"/>
            </a:xfrm>
            <a:custGeom>
              <a:avLst/>
              <a:gdLst/>
              <a:ahLst/>
              <a:cxnLst>
                <a:cxn ang="0">
                  <a:pos x="0" y="74"/>
                </a:cxn>
                <a:cxn ang="0">
                  <a:pos x="5" y="41"/>
                </a:cxn>
                <a:cxn ang="0">
                  <a:pos x="22" y="25"/>
                </a:cxn>
                <a:cxn ang="0">
                  <a:pos x="57" y="39"/>
                </a:cxn>
                <a:cxn ang="0">
                  <a:pos x="129" y="0"/>
                </a:cxn>
                <a:cxn ang="0">
                  <a:pos x="145" y="43"/>
                </a:cxn>
                <a:cxn ang="0">
                  <a:pos x="70" y="68"/>
                </a:cxn>
                <a:cxn ang="0">
                  <a:pos x="107" y="102"/>
                </a:cxn>
                <a:cxn ang="0">
                  <a:pos x="87" y="124"/>
                </a:cxn>
                <a:cxn ang="0">
                  <a:pos x="42" y="156"/>
                </a:cxn>
                <a:cxn ang="0">
                  <a:pos x="5" y="145"/>
                </a:cxn>
                <a:cxn ang="0">
                  <a:pos x="20" y="69"/>
                </a:cxn>
                <a:cxn ang="0">
                  <a:pos x="0" y="74"/>
                </a:cxn>
              </a:cxnLst>
              <a:rect l="0" t="0" r="r" b="b"/>
              <a:pathLst>
                <a:path w="145" h="156">
                  <a:moveTo>
                    <a:pt x="0" y="74"/>
                  </a:moveTo>
                  <a:lnTo>
                    <a:pt x="5" y="41"/>
                  </a:lnTo>
                  <a:lnTo>
                    <a:pt x="22" y="25"/>
                  </a:lnTo>
                  <a:lnTo>
                    <a:pt x="57" y="39"/>
                  </a:lnTo>
                  <a:lnTo>
                    <a:pt x="129" y="0"/>
                  </a:lnTo>
                  <a:lnTo>
                    <a:pt x="145" y="43"/>
                  </a:lnTo>
                  <a:lnTo>
                    <a:pt x="70" y="68"/>
                  </a:lnTo>
                  <a:lnTo>
                    <a:pt x="107" y="102"/>
                  </a:lnTo>
                  <a:lnTo>
                    <a:pt x="87" y="124"/>
                  </a:lnTo>
                  <a:lnTo>
                    <a:pt x="42" y="156"/>
                  </a:lnTo>
                  <a:lnTo>
                    <a:pt x="5" y="145"/>
                  </a:lnTo>
                  <a:lnTo>
                    <a:pt x="20" y="69"/>
                  </a:lnTo>
                  <a:lnTo>
                    <a:pt x="0" y="7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0" name="30608384.875438.37517.2514.8755">
              <a:extLst>
                <a:ext uri="{FF2B5EF4-FFF2-40B4-BE49-F238E27FC236}">
                  <a16:creationId xmlns:a16="http://schemas.microsoft.com/office/drawing/2014/main" id="{C74ECD83-EDF2-4351-B082-C6C367D787AF}"/>
                </a:ext>
              </a:extLst>
            </p:cNvPr>
            <p:cNvSpPr>
              <a:spLocks noChangeAspect="1"/>
            </p:cNvSpPr>
            <p:nvPr/>
          </p:nvSpPr>
          <p:spPr bwMode="gray">
            <a:xfrm>
              <a:off x="6700683" y="4531161"/>
              <a:ext cx="239653" cy="279212"/>
            </a:xfrm>
            <a:custGeom>
              <a:avLst/>
              <a:gdLst/>
              <a:ahLst/>
              <a:cxnLst>
                <a:cxn ang="0">
                  <a:pos x="0" y="19"/>
                </a:cxn>
                <a:cxn ang="0">
                  <a:pos x="36" y="84"/>
                </a:cxn>
                <a:cxn ang="0">
                  <a:pos x="0" y="144"/>
                </a:cxn>
                <a:cxn ang="0">
                  <a:pos x="28" y="161"/>
                </a:cxn>
                <a:cxn ang="0">
                  <a:pos x="9" y="183"/>
                </a:cxn>
                <a:cxn ang="0">
                  <a:pos x="180" y="307"/>
                </a:cxn>
                <a:cxn ang="0">
                  <a:pos x="253" y="208"/>
                </a:cxn>
                <a:cxn ang="0">
                  <a:pos x="237" y="180"/>
                </a:cxn>
                <a:cxn ang="0">
                  <a:pos x="237" y="58"/>
                </a:cxn>
                <a:cxn ang="0">
                  <a:pos x="264" y="22"/>
                </a:cxn>
                <a:cxn ang="0">
                  <a:pos x="168" y="37"/>
                </a:cxn>
                <a:cxn ang="0">
                  <a:pos x="62" y="0"/>
                </a:cxn>
                <a:cxn ang="0">
                  <a:pos x="0" y="19"/>
                </a:cxn>
              </a:cxnLst>
              <a:rect l="0" t="0" r="r" b="b"/>
              <a:pathLst>
                <a:path w="264" h="307">
                  <a:moveTo>
                    <a:pt x="0" y="19"/>
                  </a:moveTo>
                  <a:lnTo>
                    <a:pt x="36" y="84"/>
                  </a:lnTo>
                  <a:lnTo>
                    <a:pt x="0" y="144"/>
                  </a:lnTo>
                  <a:lnTo>
                    <a:pt x="28" y="161"/>
                  </a:lnTo>
                  <a:lnTo>
                    <a:pt x="9" y="183"/>
                  </a:lnTo>
                  <a:lnTo>
                    <a:pt x="180" y="307"/>
                  </a:lnTo>
                  <a:lnTo>
                    <a:pt x="253" y="208"/>
                  </a:lnTo>
                  <a:lnTo>
                    <a:pt x="237" y="180"/>
                  </a:lnTo>
                  <a:lnTo>
                    <a:pt x="237" y="58"/>
                  </a:lnTo>
                  <a:lnTo>
                    <a:pt x="264" y="22"/>
                  </a:lnTo>
                  <a:lnTo>
                    <a:pt x="168" y="37"/>
                  </a:lnTo>
                  <a:lnTo>
                    <a:pt x="62" y="0"/>
                  </a:lnTo>
                  <a:lnTo>
                    <a:pt x="0" y="1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1" name="30609335.625462.12533.3755">
              <a:extLst>
                <a:ext uri="{FF2B5EF4-FFF2-40B4-BE49-F238E27FC236}">
                  <a16:creationId xmlns:a16="http://schemas.microsoft.com/office/drawing/2014/main" id="{5EEF892A-F0AB-4B1A-A7AC-F0458C14CF13}"/>
                </a:ext>
              </a:extLst>
            </p:cNvPr>
            <p:cNvSpPr>
              <a:spLocks noChangeAspect="1"/>
            </p:cNvSpPr>
            <p:nvPr/>
          </p:nvSpPr>
          <p:spPr bwMode="gray">
            <a:xfrm>
              <a:off x="7082988" y="3733894"/>
              <a:ext cx="53255" cy="48776"/>
            </a:xfrm>
            <a:custGeom>
              <a:avLst/>
              <a:gdLst/>
              <a:ahLst/>
              <a:cxnLst>
                <a:cxn ang="0">
                  <a:pos x="0" y="32"/>
                </a:cxn>
                <a:cxn ang="0">
                  <a:pos x="49" y="0"/>
                </a:cxn>
                <a:cxn ang="0">
                  <a:pos x="60" y="51"/>
                </a:cxn>
                <a:cxn ang="0">
                  <a:pos x="0" y="32"/>
                </a:cxn>
              </a:cxnLst>
              <a:rect l="0" t="0" r="r" b="b"/>
              <a:pathLst>
                <a:path w="60" h="51">
                  <a:moveTo>
                    <a:pt x="0" y="32"/>
                  </a:moveTo>
                  <a:lnTo>
                    <a:pt x="49" y="0"/>
                  </a:lnTo>
                  <a:lnTo>
                    <a:pt x="60" y="51"/>
                  </a:lnTo>
                  <a:lnTo>
                    <a:pt x="0" y="3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2" name="30610325.875440.253.37535">
              <a:extLst>
                <a:ext uri="{FF2B5EF4-FFF2-40B4-BE49-F238E27FC236}">
                  <a16:creationId xmlns:a16="http://schemas.microsoft.com/office/drawing/2014/main" id="{7E9BEAEA-E205-4243-9252-F2926F4B701D}"/>
                </a:ext>
              </a:extLst>
            </p:cNvPr>
            <p:cNvSpPr>
              <a:spLocks noChangeAspect="1"/>
            </p:cNvSpPr>
            <p:nvPr/>
          </p:nvSpPr>
          <p:spPr bwMode="gray">
            <a:xfrm>
              <a:off x="6731116" y="3577469"/>
              <a:ext cx="47550" cy="52141"/>
            </a:xfrm>
            <a:custGeom>
              <a:avLst/>
              <a:gdLst/>
              <a:ahLst/>
              <a:cxnLst>
                <a:cxn ang="0">
                  <a:pos x="0" y="59"/>
                </a:cxn>
                <a:cxn ang="0">
                  <a:pos x="18" y="57"/>
                </a:cxn>
                <a:cxn ang="0">
                  <a:pos x="52" y="18"/>
                </a:cxn>
                <a:cxn ang="0">
                  <a:pos x="33" y="0"/>
                </a:cxn>
                <a:cxn ang="0">
                  <a:pos x="0" y="59"/>
                </a:cxn>
              </a:cxnLst>
              <a:rect l="0" t="0" r="r" b="b"/>
              <a:pathLst>
                <a:path w="52" h="59">
                  <a:moveTo>
                    <a:pt x="0" y="59"/>
                  </a:moveTo>
                  <a:lnTo>
                    <a:pt x="18" y="57"/>
                  </a:lnTo>
                  <a:lnTo>
                    <a:pt x="52" y="18"/>
                  </a:lnTo>
                  <a:lnTo>
                    <a:pt x="33" y="0"/>
                  </a:lnTo>
                  <a:lnTo>
                    <a:pt x="0" y="5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3" name="30611377.625352.8757.57.3755">
              <a:extLst>
                <a:ext uri="{FF2B5EF4-FFF2-40B4-BE49-F238E27FC236}">
                  <a16:creationId xmlns:a16="http://schemas.microsoft.com/office/drawing/2014/main" id="{62DD65FA-B8BC-4A0E-BADC-049D3F1D21ED}"/>
                </a:ext>
              </a:extLst>
            </p:cNvPr>
            <p:cNvSpPr>
              <a:spLocks noChangeAspect="1"/>
            </p:cNvSpPr>
            <p:nvPr/>
          </p:nvSpPr>
          <p:spPr bwMode="gray">
            <a:xfrm>
              <a:off x="5329339" y="4415101"/>
              <a:ext cx="119826" cy="121102"/>
            </a:xfrm>
            <a:custGeom>
              <a:avLst/>
              <a:gdLst/>
              <a:ahLst/>
              <a:cxnLst>
                <a:cxn ang="0">
                  <a:pos x="0" y="50"/>
                </a:cxn>
                <a:cxn ang="0">
                  <a:pos x="41" y="0"/>
                </a:cxn>
                <a:cxn ang="0">
                  <a:pos x="61" y="1"/>
                </a:cxn>
                <a:cxn ang="0">
                  <a:pos x="63" y="36"/>
                </a:cxn>
                <a:cxn ang="0">
                  <a:pos x="99" y="30"/>
                </a:cxn>
                <a:cxn ang="0">
                  <a:pos x="96" y="62"/>
                </a:cxn>
                <a:cxn ang="0">
                  <a:pos x="132" y="85"/>
                </a:cxn>
                <a:cxn ang="0">
                  <a:pos x="127" y="134"/>
                </a:cxn>
                <a:cxn ang="0">
                  <a:pos x="0" y="50"/>
                </a:cxn>
              </a:cxnLst>
              <a:rect l="0" t="0" r="r" b="b"/>
              <a:pathLst>
                <a:path w="132" h="134">
                  <a:moveTo>
                    <a:pt x="0" y="50"/>
                  </a:moveTo>
                  <a:lnTo>
                    <a:pt x="41" y="0"/>
                  </a:lnTo>
                  <a:lnTo>
                    <a:pt x="61" y="1"/>
                  </a:lnTo>
                  <a:lnTo>
                    <a:pt x="63" y="36"/>
                  </a:lnTo>
                  <a:lnTo>
                    <a:pt x="99" y="30"/>
                  </a:lnTo>
                  <a:lnTo>
                    <a:pt x="96" y="62"/>
                  </a:lnTo>
                  <a:lnTo>
                    <a:pt x="132" y="85"/>
                  </a:lnTo>
                  <a:lnTo>
                    <a:pt x="127" y="134"/>
                  </a:lnTo>
                  <a:lnTo>
                    <a:pt x="0" y="5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4" name="30612329.2539227.12529.55">
              <a:extLst>
                <a:ext uri="{FF2B5EF4-FFF2-40B4-BE49-F238E27FC236}">
                  <a16:creationId xmlns:a16="http://schemas.microsoft.com/office/drawing/2014/main" id="{737979A7-230B-4C18-AABF-E035F8E86870}"/>
                </a:ext>
              </a:extLst>
            </p:cNvPr>
            <p:cNvSpPr>
              <a:spLocks noChangeAspect="1"/>
            </p:cNvSpPr>
            <p:nvPr/>
          </p:nvSpPr>
          <p:spPr bwMode="gray">
            <a:xfrm>
              <a:off x="5955098" y="3629613"/>
              <a:ext cx="475500" cy="440683"/>
            </a:xfrm>
            <a:custGeom>
              <a:avLst/>
              <a:gdLst/>
              <a:ahLst/>
              <a:cxnLst>
                <a:cxn ang="0">
                  <a:pos x="0" y="254"/>
                </a:cxn>
                <a:cxn ang="0">
                  <a:pos x="2" y="105"/>
                </a:cxn>
                <a:cxn ang="0">
                  <a:pos x="68" y="0"/>
                </a:cxn>
                <a:cxn ang="0">
                  <a:pos x="191" y="31"/>
                </a:cxn>
                <a:cxn ang="0">
                  <a:pos x="215" y="66"/>
                </a:cxn>
                <a:cxn ang="0">
                  <a:pos x="316" y="105"/>
                </a:cxn>
                <a:cxn ang="0">
                  <a:pos x="349" y="91"/>
                </a:cxn>
                <a:cxn ang="0">
                  <a:pos x="352" y="39"/>
                </a:cxn>
                <a:cxn ang="0">
                  <a:pos x="385" y="14"/>
                </a:cxn>
                <a:cxn ang="0">
                  <a:pos x="522" y="55"/>
                </a:cxn>
                <a:cxn ang="0">
                  <a:pos x="507" y="113"/>
                </a:cxn>
                <a:cxn ang="0">
                  <a:pos x="522" y="398"/>
                </a:cxn>
                <a:cxn ang="0">
                  <a:pos x="522" y="465"/>
                </a:cxn>
                <a:cxn ang="0">
                  <a:pos x="492" y="467"/>
                </a:cxn>
                <a:cxn ang="0">
                  <a:pos x="492" y="486"/>
                </a:cxn>
                <a:cxn ang="0">
                  <a:pos x="224" y="348"/>
                </a:cxn>
                <a:cxn ang="0">
                  <a:pos x="190" y="362"/>
                </a:cxn>
                <a:cxn ang="0">
                  <a:pos x="79" y="346"/>
                </a:cxn>
                <a:cxn ang="0">
                  <a:pos x="0" y="254"/>
                </a:cxn>
              </a:cxnLst>
              <a:rect l="0" t="0" r="r" b="b"/>
              <a:pathLst>
                <a:path w="522" h="486">
                  <a:moveTo>
                    <a:pt x="0" y="254"/>
                  </a:moveTo>
                  <a:lnTo>
                    <a:pt x="2" y="105"/>
                  </a:lnTo>
                  <a:lnTo>
                    <a:pt x="68" y="0"/>
                  </a:lnTo>
                  <a:lnTo>
                    <a:pt x="191" y="31"/>
                  </a:lnTo>
                  <a:lnTo>
                    <a:pt x="215" y="66"/>
                  </a:lnTo>
                  <a:lnTo>
                    <a:pt x="316" y="105"/>
                  </a:lnTo>
                  <a:lnTo>
                    <a:pt x="349" y="91"/>
                  </a:lnTo>
                  <a:lnTo>
                    <a:pt x="352" y="39"/>
                  </a:lnTo>
                  <a:lnTo>
                    <a:pt x="385" y="14"/>
                  </a:lnTo>
                  <a:lnTo>
                    <a:pt x="522" y="55"/>
                  </a:lnTo>
                  <a:lnTo>
                    <a:pt x="507" y="113"/>
                  </a:lnTo>
                  <a:lnTo>
                    <a:pt x="522" y="398"/>
                  </a:lnTo>
                  <a:lnTo>
                    <a:pt x="522" y="465"/>
                  </a:lnTo>
                  <a:lnTo>
                    <a:pt x="492" y="467"/>
                  </a:lnTo>
                  <a:lnTo>
                    <a:pt x="492" y="486"/>
                  </a:lnTo>
                  <a:lnTo>
                    <a:pt x="224" y="348"/>
                  </a:lnTo>
                  <a:lnTo>
                    <a:pt x="190" y="362"/>
                  </a:lnTo>
                  <a:lnTo>
                    <a:pt x="79" y="346"/>
                  </a:lnTo>
                  <a:lnTo>
                    <a:pt x="0" y="25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5" name="30613416.25455.526.12513.3755">
              <a:extLst>
                <a:ext uri="{FF2B5EF4-FFF2-40B4-BE49-F238E27FC236}">
                  <a16:creationId xmlns:a16="http://schemas.microsoft.com/office/drawing/2014/main" id="{877BB674-4B14-4635-B9C8-62B64DA9E623}"/>
                </a:ext>
              </a:extLst>
            </p:cNvPr>
            <p:cNvSpPr>
              <a:spLocks noChangeAspect="1"/>
            </p:cNvSpPr>
            <p:nvPr/>
          </p:nvSpPr>
          <p:spPr bwMode="gray">
            <a:xfrm>
              <a:off x="6974573" y="5039122"/>
              <a:ext cx="214926" cy="425542"/>
            </a:xfrm>
            <a:custGeom>
              <a:avLst/>
              <a:gdLst/>
              <a:ahLst/>
              <a:cxnLst>
                <a:cxn ang="0">
                  <a:pos x="0" y="332"/>
                </a:cxn>
                <a:cxn ang="0">
                  <a:pos x="21" y="427"/>
                </a:cxn>
                <a:cxn ang="0">
                  <a:pos x="65" y="464"/>
                </a:cxn>
                <a:cxn ang="0">
                  <a:pos x="138" y="427"/>
                </a:cxn>
                <a:cxn ang="0">
                  <a:pos x="220" y="107"/>
                </a:cxn>
                <a:cxn ang="0">
                  <a:pos x="235" y="120"/>
                </a:cxn>
                <a:cxn ang="0">
                  <a:pos x="199" y="0"/>
                </a:cxn>
                <a:cxn ang="0">
                  <a:pos x="157" y="50"/>
                </a:cxn>
                <a:cxn ang="0">
                  <a:pos x="158" y="85"/>
                </a:cxn>
                <a:cxn ang="0">
                  <a:pos x="106" y="123"/>
                </a:cxn>
                <a:cxn ang="0">
                  <a:pos x="41" y="139"/>
                </a:cxn>
                <a:cxn ang="0">
                  <a:pos x="23" y="180"/>
                </a:cxn>
                <a:cxn ang="0">
                  <a:pos x="41" y="261"/>
                </a:cxn>
                <a:cxn ang="0">
                  <a:pos x="0" y="332"/>
                </a:cxn>
              </a:cxnLst>
              <a:rect l="0" t="0" r="r" b="b"/>
              <a:pathLst>
                <a:path w="235" h="464">
                  <a:moveTo>
                    <a:pt x="0" y="332"/>
                  </a:moveTo>
                  <a:lnTo>
                    <a:pt x="21" y="427"/>
                  </a:lnTo>
                  <a:lnTo>
                    <a:pt x="65" y="464"/>
                  </a:lnTo>
                  <a:lnTo>
                    <a:pt x="138" y="427"/>
                  </a:lnTo>
                  <a:lnTo>
                    <a:pt x="220" y="107"/>
                  </a:lnTo>
                  <a:lnTo>
                    <a:pt x="235" y="120"/>
                  </a:lnTo>
                  <a:lnTo>
                    <a:pt x="199" y="0"/>
                  </a:lnTo>
                  <a:lnTo>
                    <a:pt x="157" y="50"/>
                  </a:lnTo>
                  <a:lnTo>
                    <a:pt x="158" y="85"/>
                  </a:lnTo>
                  <a:lnTo>
                    <a:pt x="106" y="123"/>
                  </a:lnTo>
                  <a:lnTo>
                    <a:pt x="41" y="139"/>
                  </a:lnTo>
                  <a:lnTo>
                    <a:pt x="23" y="180"/>
                  </a:lnTo>
                  <a:lnTo>
                    <a:pt x="41" y="261"/>
                  </a:lnTo>
                  <a:lnTo>
                    <a:pt x="0" y="33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6" name="30614411436.12514.7565">
              <a:extLst>
                <a:ext uri="{FF2B5EF4-FFF2-40B4-BE49-F238E27FC236}">
                  <a16:creationId xmlns:a16="http://schemas.microsoft.com/office/drawing/2014/main" id="{D42D4287-7E1E-4B88-85B9-B71A69464B6D}"/>
                </a:ext>
              </a:extLst>
            </p:cNvPr>
            <p:cNvSpPr>
              <a:spLocks noChangeAspect="1"/>
            </p:cNvSpPr>
            <p:nvPr/>
          </p:nvSpPr>
          <p:spPr bwMode="gray">
            <a:xfrm>
              <a:off x="6664545" y="4956704"/>
              <a:ext cx="95099" cy="237163"/>
            </a:xfrm>
            <a:custGeom>
              <a:avLst/>
              <a:gdLst/>
              <a:ahLst/>
              <a:cxnLst>
                <a:cxn ang="0">
                  <a:pos x="0" y="142"/>
                </a:cxn>
                <a:cxn ang="0">
                  <a:pos x="14" y="158"/>
                </a:cxn>
                <a:cxn ang="0">
                  <a:pos x="57" y="172"/>
                </a:cxn>
                <a:cxn ang="0">
                  <a:pos x="51" y="221"/>
                </a:cxn>
                <a:cxn ang="0">
                  <a:pos x="87" y="261"/>
                </a:cxn>
                <a:cxn ang="0">
                  <a:pos x="107" y="187"/>
                </a:cxn>
                <a:cxn ang="0">
                  <a:pos x="73" y="138"/>
                </a:cxn>
                <a:cxn ang="0">
                  <a:pos x="84" y="165"/>
                </a:cxn>
                <a:cxn ang="0">
                  <a:pos x="63" y="164"/>
                </a:cxn>
                <a:cxn ang="0">
                  <a:pos x="41" y="96"/>
                </a:cxn>
                <a:cxn ang="0">
                  <a:pos x="40" y="7"/>
                </a:cxn>
                <a:cxn ang="0">
                  <a:pos x="7" y="0"/>
                </a:cxn>
                <a:cxn ang="0">
                  <a:pos x="33" y="43"/>
                </a:cxn>
                <a:cxn ang="0">
                  <a:pos x="0" y="142"/>
                </a:cxn>
              </a:cxnLst>
              <a:rect l="0" t="0" r="r" b="b"/>
              <a:pathLst>
                <a:path w="107" h="261">
                  <a:moveTo>
                    <a:pt x="0" y="142"/>
                  </a:moveTo>
                  <a:lnTo>
                    <a:pt x="14" y="158"/>
                  </a:lnTo>
                  <a:lnTo>
                    <a:pt x="57" y="172"/>
                  </a:lnTo>
                  <a:lnTo>
                    <a:pt x="51" y="221"/>
                  </a:lnTo>
                  <a:lnTo>
                    <a:pt x="87" y="261"/>
                  </a:lnTo>
                  <a:lnTo>
                    <a:pt x="107" y="187"/>
                  </a:lnTo>
                  <a:lnTo>
                    <a:pt x="73" y="138"/>
                  </a:lnTo>
                  <a:lnTo>
                    <a:pt x="84" y="165"/>
                  </a:lnTo>
                  <a:lnTo>
                    <a:pt x="63" y="164"/>
                  </a:lnTo>
                  <a:lnTo>
                    <a:pt x="41" y="96"/>
                  </a:lnTo>
                  <a:lnTo>
                    <a:pt x="40" y="7"/>
                  </a:lnTo>
                  <a:lnTo>
                    <a:pt x="7" y="0"/>
                  </a:lnTo>
                  <a:lnTo>
                    <a:pt x="33" y="43"/>
                  </a:lnTo>
                  <a:lnTo>
                    <a:pt x="0" y="14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7" name="30615345.625351.62528.62530.55">
              <a:extLst>
                <a:ext uri="{FF2B5EF4-FFF2-40B4-BE49-F238E27FC236}">
                  <a16:creationId xmlns:a16="http://schemas.microsoft.com/office/drawing/2014/main" id="{D690EDF5-4DCC-45F8-9673-197FA0AC5B61}"/>
                </a:ext>
              </a:extLst>
            </p:cNvPr>
            <p:cNvSpPr>
              <a:spLocks noChangeAspect="1"/>
            </p:cNvSpPr>
            <p:nvPr/>
          </p:nvSpPr>
          <p:spPr bwMode="gray">
            <a:xfrm>
              <a:off x="5310317" y="3897049"/>
              <a:ext cx="486915" cy="460865"/>
            </a:xfrm>
            <a:custGeom>
              <a:avLst/>
              <a:gdLst/>
              <a:ahLst/>
              <a:cxnLst>
                <a:cxn ang="0">
                  <a:pos x="0" y="351"/>
                </a:cxn>
                <a:cxn ang="0">
                  <a:pos x="23" y="315"/>
                </a:cxn>
                <a:cxn ang="0">
                  <a:pos x="49" y="338"/>
                </a:cxn>
                <a:cxn ang="0">
                  <a:pos x="218" y="327"/>
                </a:cxn>
                <a:cxn ang="0">
                  <a:pos x="182" y="0"/>
                </a:cxn>
                <a:cxn ang="0">
                  <a:pos x="241" y="0"/>
                </a:cxn>
                <a:cxn ang="0">
                  <a:pos x="509" y="177"/>
                </a:cxn>
                <a:cxn ang="0">
                  <a:pos x="512" y="207"/>
                </a:cxn>
                <a:cxn ang="0">
                  <a:pos x="538" y="203"/>
                </a:cxn>
                <a:cxn ang="0">
                  <a:pos x="540" y="308"/>
                </a:cxn>
                <a:cxn ang="0">
                  <a:pos x="518" y="330"/>
                </a:cxn>
                <a:cxn ang="0">
                  <a:pos x="409" y="344"/>
                </a:cxn>
                <a:cxn ang="0">
                  <a:pos x="272" y="404"/>
                </a:cxn>
                <a:cxn ang="0">
                  <a:pos x="229" y="500"/>
                </a:cxn>
                <a:cxn ang="0">
                  <a:pos x="195" y="488"/>
                </a:cxn>
                <a:cxn ang="0">
                  <a:pos x="137" y="506"/>
                </a:cxn>
                <a:cxn ang="0">
                  <a:pos x="103" y="426"/>
                </a:cxn>
                <a:cxn ang="0">
                  <a:pos x="46" y="445"/>
                </a:cxn>
                <a:cxn ang="0">
                  <a:pos x="24" y="429"/>
                </a:cxn>
                <a:cxn ang="0">
                  <a:pos x="0" y="351"/>
                </a:cxn>
              </a:cxnLst>
              <a:rect l="0" t="0" r="r" b="b"/>
              <a:pathLst>
                <a:path w="540" h="506">
                  <a:moveTo>
                    <a:pt x="0" y="351"/>
                  </a:moveTo>
                  <a:lnTo>
                    <a:pt x="23" y="315"/>
                  </a:lnTo>
                  <a:lnTo>
                    <a:pt x="49" y="338"/>
                  </a:lnTo>
                  <a:lnTo>
                    <a:pt x="218" y="327"/>
                  </a:lnTo>
                  <a:lnTo>
                    <a:pt x="182" y="0"/>
                  </a:lnTo>
                  <a:lnTo>
                    <a:pt x="241" y="0"/>
                  </a:lnTo>
                  <a:lnTo>
                    <a:pt x="509" y="177"/>
                  </a:lnTo>
                  <a:lnTo>
                    <a:pt x="512" y="207"/>
                  </a:lnTo>
                  <a:lnTo>
                    <a:pt x="538" y="203"/>
                  </a:lnTo>
                  <a:lnTo>
                    <a:pt x="540" y="308"/>
                  </a:lnTo>
                  <a:lnTo>
                    <a:pt x="518" y="330"/>
                  </a:lnTo>
                  <a:lnTo>
                    <a:pt x="409" y="344"/>
                  </a:lnTo>
                  <a:lnTo>
                    <a:pt x="272" y="404"/>
                  </a:lnTo>
                  <a:lnTo>
                    <a:pt x="229" y="500"/>
                  </a:lnTo>
                  <a:lnTo>
                    <a:pt x="195" y="488"/>
                  </a:lnTo>
                  <a:lnTo>
                    <a:pt x="137" y="506"/>
                  </a:lnTo>
                  <a:lnTo>
                    <a:pt x="103" y="426"/>
                  </a:lnTo>
                  <a:lnTo>
                    <a:pt x="46" y="445"/>
                  </a:lnTo>
                  <a:lnTo>
                    <a:pt x="24" y="429"/>
                  </a:lnTo>
                  <a:lnTo>
                    <a:pt x="0" y="35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8" name="30616341.125342.524.2522.755">
              <a:extLst>
                <a:ext uri="{FF2B5EF4-FFF2-40B4-BE49-F238E27FC236}">
                  <a16:creationId xmlns:a16="http://schemas.microsoft.com/office/drawing/2014/main" id="{14955EFF-FA12-4F89-9A21-8CC57004E259}"/>
                </a:ext>
              </a:extLst>
            </p:cNvPr>
            <p:cNvSpPr>
              <a:spLocks noChangeAspect="1"/>
            </p:cNvSpPr>
            <p:nvPr/>
          </p:nvSpPr>
          <p:spPr bwMode="gray">
            <a:xfrm>
              <a:off x="5163863" y="3823042"/>
              <a:ext cx="365184" cy="393588"/>
            </a:xfrm>
            <a:custGeom>
              <a:avLst/>
              <a:gdLst/>
              <a:ahLst/>
              <a:cxnLst>
                <a:cxn ang="0">
                  <a:pos x="0" y="217"/>
                </a:cxn>
                <a:cxn ang="0">
                  <a:pos x="25" y="242"/>
                </a:cxn>
                <a:cxn ang="0">
                  <a:pos x="31" y="306"/>
                </a:cxn>
                <a:cxn ang="0">
                  <a:pos x="11" y="388"/>
                </a:cxn>
                <a:cxn ang="0">
                  <a:pos x="87" y="370"/>
                </a:cxn>
                <a:cxn ang="0">
                  <a:pos x="163" y="432"/>
                </a:cxn>
                <a:cxn ang="0">
                  <a:pos x="186" y="396"/>
                </a:cxn>
                <a:cxn ang="0">
                  <a:pos x="212" y="419"/>
                </a:cxn>
                <a:cxn ang="0">
                  <a:pos x="381" y="408"/>
                </a:cxn>
                <a:cxn ang="0">
                  <a:pos x="345" y="81"/>
                </a:cxn>
                <a:cxn ang="0">
                  <a:pos x="404" y="81"/>
                </a:cxn>
                <a:cxn ang="0">
                  <a:pos x="281" y="0"/>
                </a:cxn>
                <a:cxn ang="0">
                  <a:pos x="278" y="44"/>
                </a:cxn>
                <a:cxn ang="0">
                  <a:pos x="171" y="41"/>
                </a:cxn>
                <a:cxn ang="0">
                  <a:pos x="169" y="132"/>
                </a:cxn>
                <a:cxn ang="0">
                  <a:pos x="131" y="148"/>
                </a:cxn>
                <a:cxn ang="0">
                  <a:pos x="134" y="203"/>
                </a:cxn>
                <a:cxn ang="0">
                  <a:pos x="0" y="217"/>
                </a:cxn>
              </a:cxnLst>
              <a:rect l="0" t="0" r="r" b="b"/>
              <a:pathLst>
                <a:path w="404" h="432">
                  <a:moveTo>
                    <a:pt x="0" y="217"/>
                  </a:moveTo>
                  <a:lnTo>
                    <a:pt x="25" y="242"/>
                  </a:lnTo>
                  <a:lnTo>
                    <a:pt x="31" y="306"/>
                  </a:lnTo>
                  <a:lnTo>
                    <a:pt x="11" y="388"/>
                  </a:lnTo>
                  <a:lnTo>
                    <a:pt x="87" y="370"/>
                  </a:lnTo>
                  <a:lnTo>
                    <a:pt x="163" y="432"/>
                  </a:lnTo>
                  <a:lnTo>
                    <a:pt x="186" y="396"/>
                  </a:lnTo>
                  <a:lnTo>
                    <a:pt x="212" y="419"/>
                  </a:lnTo>
                  <a:lnTo>
                    <a:pt x="381" y="408"/>
                  </a:lnTo>
                  <a:lnTo>
                    <a:pt x="345" y="81"/>
                  </a:lnTo>
                  <a:lnTo>
                    <a:pt x="404" y="81"/>
                  </a:lnTo>
                  <a:lnTo>
                    <a:pt x="281" y="0"/>
                  </a:lnTo>
                  <a:lnTo>
                    <a:pt x="278" y="44"/>
                  </a:lnTo>
                  <a:lnTo>
                    <a:pt x="171" y="41"/>
                  </a:lnTo>
                  <a:lnTo>
                    <a:pt x="169" y="132"/>
                  </a:lnTo>
                  <a:lnTo>
                    <a:pt x="131" y="148"/>
                  </a:lnTo>
                  <a:lnTo>
                    <a:pt x="134" y="203"/>
                  </a:lnTo>
                  <a:lnTo>
                    <a:pt x="0" y="21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09" name="30617323.75349.87516.7522.1255">
              <a:extLst>
                <a:ext uri="{FF2B5EF4-FFF2-40B4-BE49-F238E27FC236}">
                  <a16:creationId xmlns:a16="http://schemas.microsoft.com/office/drawing/2014/main" id="{56744B6B-3FCA-462A-8619-1AAAAD0993F0}"/>
                </a:ext>
              </a:extLst>
            </p:cNvPr>
            <p:cNvSpPr>
              <a:spLocks noChangeAspect="1"/>
            </p:cNvSpPr>
            <p:nvPr/>
          </p:nvSpPr>
          <p:spPr bwMode="gray">
            <a:xfrm>
              <a:off x="5281789" y="3540465"/>
              <a:ext cx="353773" cy="274166"/>
            </a:xfrm>
            <a:custGeom>
              <a:avLst/>
              <a:gdLst/>
              <a:ahLst/>
              <a:cxnLst>
                <a:cxn ang="0">
                  <a:pos x="0" y="291"/>
                </a:cxn>
                <a:cxn ang="0">
                  <a:pos x="97" y="235"/>
                </a:cxn>
                <a:cxn ang="0">
                  <a:pos x="131" y="118"/>
                </a:cxn>
                <a:cxn ang="0">
                  <a:pos x="213" y="59"/>
                </a:cxn>
                <a:cxn ang="0">
                  <a:pos x="241" y="0"/>
                </a:cxn>
                <a:cxn ang="0">
                  <a:pos x="360" y="19"/>
                </a:cxn>
                <a:cxn ang="0">
                  <a:pos x="392" y="129"/>
                </a:cxn>
                <a:cxn ang="0">
                  <a:pos x="338" y="132"/>
                </a:cxn>
                <a:cxn ang="0">
                  <a:pos x="310" y="144"/>
                </a:cxn>
                <a:cxn ang="0">
                  <a:pos x="315" y="173"/>
                </a:cxn>
                <a:cxn ang="0">
                  <a:pos x="164" y="239"/>
                </a:cxn>
                <a:cxn ang="0">
                  <a:pos x="146" y="295"/>
                </a:cxn>
                <a:cxn ang="0">
                  <a:pos x="0" y="291"/>
                </a:cxn>
              </a:cxnLst>
              <a:rect l="0" t="0" r="r" b="b"/>
              <a:pathLst>
                <a:path w="392" h="295">
                  <a:moveTo>
                    <a:pt x="0" y="291"/>
                  </a:moveTo>
                  <a:lnTo>
                    <a:pt x="97" y="235"/>
                  </a:lnTo>
                  <a:lnTo>
                    <a:pt x="131" y="118"/>
                  </a:lnTo>
                  <a:lnTo>
                    <a:pt x="213" y="59"/>
                  </a:lnTo>
                  <a:lnTo>
                    <a:pt x="241" y="0"/>
                  </a:lnTo>
                  <a:lnTo>
                    <a:pt x="360" y="19"/>
                  </a:lnTo>
                  <a:lnTo>
                    <a:pt x="392" y="129"/>
                  </a:lnTo>
                  <a:lnTo>
                    <a:pt x="338" y="132"/>
                  </a:lnTo>
                  <a:lnTo>
                    <a:pt x="310" y="144"/>
                  </a:lnTo>
                  <a:lnTo>
                    <a:pt x="315" y="173"/>
                  </a:lnTo>
                  <a:lnTo>
                    <a:pt x="164" y="239"/>
                  </a:lnTo>
                  <a:lnTo>
                    <a:pt x="146" y="295"/>
                  </a:lnTo>
                  <a:lnTo>
                    <a:pt x="0" y="29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0" name="30618413430.87531.37519.755">
              <a:extLst>
                <a:ext uri="{FF2B5EF4-FFF2-40B4-BE49-F238E27FC236}">
                  <a16:creationId xmlns:a16="http://schemas.microsoft.com/office/drawing/2014/main" id="{1705DED9-61CD-4E21-9A31-6C1FD591C413}"/>
                </a:ext>
              </a:extLst>
            </p:cNvPr>
            <p:cNvSpPr>
              <a:spLocks noChangeAspect="1"/>
            </p:cNvSpPr>
            <p:nvPr/>
          </p:nvSpPr>
          <p:spPr bwMode="gray">
            <a:xfrm>
              <a:off x="6578956" y="4988662"/>
              <a:ext cx="317635" cy="504599"/>
            </a:xfrm>
            <a:custGeom>
              <a:avLst/>
              <a:gdLst/>
              <a:ahLst/>
              <a:cxnLst>
                <a:cxn ang="0">
                  <a:pos x="0" y="155"/>
                </a:cxn>
                <a:cxn ang="0">
                  <a:pos x="9" y="173"/>
                </a:cxn>
                <a:cxn ang="0">
                  <a:pos x="92" y="199"/>
                </a:cxn>
                <a:cxn ang="0">
                  <a:pos x="100" y="234"/>
                </a:cxn>
                <a:cxn ang="0">
                  <a:pos x="96" y="322"/>
                </a:cxn>
                <a:cxn ang="0">
                  <a:pos x="52" y="414"/>
                </a:cxn>
                <a:cxn ang="0">
                  <a:pos x="64" y="522"/>
                </a:cxn>
                <a:cxn ang="0">
                  <a:pos x="68" y="557"/>
                </a:cxn>
                <a:cxn ang="0">
                  <a:pos x="95" y="557"/>
                </a:cxn>
                <a:cxn ang="0">
                  <a:pos x="95" y="520"/>
                </a:cxn>
                <a:cxn ang="0">
                  <a:pos x="181" y="470"/>
                </a:cxn>
                <a:cxn ang="0">
                  <a:pos x="156" y="322"/>
                </a:cxn>
                <a:cxn ang="0">
                  <a:pos x="349" y="172"/>
                </a:cxn>
                <a:cxn ang="0">
                  <a:pos x="352" y="0"/>
                </a:cxn>
                <a:cxn ang="0">
                  <a:pos x="302" y="30"/>
                </a:cxn>
                <a:cxn ang="0">
                  <a:pos x="169" y="38"/>
                </a:cxn>
                <a:cxn ang="0">
                  <a:pos x="166" y="102"/>
                </a:cxn>
                <a:cxn ang="0">
                  <a:pos x="200" y="151"/>
                </a:cxn>
                <a:cxn ang="0">
                  <a:pos x="180" y="225"/>
                </a:cxn>
                <a:cxn ang="0">
                  <a:pos x="144" y="185"/>
                </a:cxn>
                <a:cxn ang="0">
                  <a:pos x="150" y="136"/>
                </a:cxn>
                <a:cxn ang="0">
                  <a:pos x="107" y="122"/>
                </a:cxn>
                <a:cxn ang="0">
                  <a:pos x="0" y="155"/>
                </a:cxn>
              </a:cxnLst>
              <a:rect l="0" t="0" r="r" b="b"/>
              <a:pathLst>
                <a:path w="352" h="557">
                  <a:moveTo>
                    <a:pt x="0" y="155"/>
                  </a:moveTo>
                  <a:lnTo>
                    <a:pt x="9" y="173"/>
                  </a:lnTo>
                  <a:lnTo>
                    <a:pt x="92" y="199"/>
                  </a:lnTo>
                  <a:lnTo>
                    <a:pt x="100" y="234"/>
                  </a:lnTo>
                  <a:lnTo>
                    <a:pt x="96" y="322"/>
                  </a:lnTo>
                  <a:lnTo>
                    <a:pt x="52" y="414"/>
                  </a:lnTo>
                  <a:lnTo>
                    <a:pt x="64" y="522"/>
                  </a:lnTo>
                  <a:lnTo>
                    <a:pt x="68" y="557"/>
                  </a:lnTo>
                  <a:lnTo>
                    <a:pt x="95" y="557"/>
                  </a:lnTo>
                  <a:lnTo>
                    <a:pt x="95" y="520"/>
                  </a:lnTo>
                  <a:lnTo>
                    <a:pt x="181" y="470"/>
                  </a:lnTo>
                  <a:lnTo>
                    <a:pt x="156" y="322"/>
                  </a:lnTo>
                  <a:lnTo>
                    <a:pt x="349" y="172"/>
                  </a:lnTo>
                  <a:lnTo>
                    <a:pt x="352" y="0"/>
                  </a:lnTo>
                  <a:lnTo>
                    <a:pt x="302" y="30"/>
                  </a:lnTo>
                  <a:lnTo>
                    <a:pt x="169" y="38"/>
                  </a:lnTo>
                  <a:lnTo>
                    <a:pt x="166" y="102"/>
                  </a:lnTo>
                  <a:lnTo>
                    <a:pt x="200" y="151"/>
                  </a:lnTo>
                  <a:lnTo>
                    <a:pt x="180" y="225"/>
                  </a:lnTo>
                  <a:lnTo>
                    <a:pt x="144" y="185"/>
                  </a:lnTo>
                  <a:lnTo>
                    <a:pt x="150" y="136"/>
                  </a:lnTo>
                  <a:lnTo>
                    <a:pt x="107" y="122"/>
                  </a:lnTo>
                  <a:lnTo>
                    <a:pt x="0" y="15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1" name="30619348.5374.7522.87529.8755">
              <a:extLst>
                <a:ext uri="{FF2B5EF4-FFF2-40B4-BE49-F238E27FC236}">
                  <a16:creationId xmlns:a16="http://schemas.microsoft.com/office/drawing/2014/main" id="{5E776A8E-29C4-4277-87BD-309C739405C2}"/>
                </a:ext>
              </a:extLst>
            </p:cNvPr>
            <p:cNvSpPr>
              <a:spLocks noChangeAspect="1"/>
            </p:cNvSpPr>
            <p:nvPr/>
          </p:nvSpPr>
          <p:spPr bwMode="gray">
            <a:xfrm>
              <a:off x="5681207" y="3942464"/>
              <a:ext cx="477405" cy="371721"/>
            </a:xfrm>
            <a:custGeom>
              <a:avLst/>
              <a:gdLst/>
              <a:ahLst/>
              <a:cxnLst>
                <a:cxn ang="0">
                  <a:pos x="0" y="293"/>
                </a:cxn>
                <a:cxn ang="0">
                  <a:pos x="7" y="326"/>
                </a:cxn>
                <a:cxn ang="0">
                  <a:pos x="72" y="396"/>
                </a:cxn>
                <a:cxn ang="0">
                  <a:pos x="88" y="381"/>
                </a:cxn>
                <a:cxn ang="0">
                  <a:pos x="114" y="404"/>
                </a:cxn>
                <a:cxn ang="0">
                  <a:pos x="154" y="334"/>
                </a:cxn>
                <a:cxn ang="0">
                  <a:pos x="305" y="370"/>
                </a:cxn>
                <a:cxn ang="0">
                  <a:pos x="436" y="333"/>
                </a:cxn>
                <a:cxn ang="0">
                  <a:pos x="440" y="315"/>
                </a:cxn>
                <a:cxn ang="0">
                  <a:pos x="509" y="227"/>
                </a:cxn>
                <a:cxn ang="0">
                  <a:pos x="529" y="107"/>
                </a:cxn>
                <a:cxn ang="0">
                  <a:pos x="495" y="70"/>
                </a:cxn>
                <a:cxn ang="0">
                  <a:pos x="495" y="16"/>
                </a:cxn>
                <a:cxn ang="0">
                  <a:pos x="384" y="0"/>
                </a:cxn>
                <a:cxn ang="0">
                  <a:pos x="182" y="139"/>
                </a:cxn>
                <a:cxn ang="0">
                  <a:pos x="129" y="152"/>
                </a:cxn>
                <a:cxn ang="0">
                  <a:pos x="131" y="257"/>
                </a:cxn>
                <a:cxn ang="0">
                  <a:pos x="109" y="279"/>
                </a:cxn>
                <a:cxn ang="0">
                  <a:pos x="0" y="293"/>
                </a:cxn>
              </a:cxnLst>
              <a:rect l="0" t="0" r="r" b="b"/>
              <a:pathLst>
                <a:path w="529" h="404">
                  <a:moveTo>
                    <a:pt x="0" y="293"/>
                  </a:moveTo>
                  <a:lnTo>
                    <a:pt x="7" y="326"/>
                  </a:lnTo>
                  <a:lnTo>
                    <a:pt x="72" y="396"/>
                  </a:lnTo>
                  <a:lnTo>
                    <a:pt x="88" y="381"/>
                  </a:lnTo>
                  <a:lnTo>
                    <a:pt x="114" y="404"/>
                  </a:lnTo>
                  <a:lnTo>
                    <a:pt x="154" y="334"/>
                  </a:lnTo>
                  <a:lnTo>
                    <a:pt x="305" y="370"/>
                  </a:lnTo>
                  <a:lnTo>
                    <a:pt x="436" y="333"/>
                  </a:lnTo>
                  <a:lnTo>
                    <a:pt x="440" y="315"/>
                  </a:lnTo>
                  <a:lnTo>
                    <a:pt x="509" y="227"/>
                  </a:lnTo>
                  <a:lnTo>
                    <a:pt x="529" y="107"/>
                  </a:lnTo>
                  <a:lnTo>
                    <a:pt x="495" y="70"/>
                  </a:lnTo>
                  <a:lnTo>
                    <a:pt x="495" y="16"/>
                  </a:lnTo>
                  <a:lnTo>
                    <a:pt x="384" y="0"/>
                  </a:lnTo>
                  <a:lnTo>
                    <a:pt x="182" y="139"/>
                  </a:lnTo>
                  <a:lnTo>
                    <a:pt x="129" y="152"/>
                  </a:lnTo>
                  <a:lnTo>
                    <a:pt x="131" y="257"/>
                  </a:lnTo>
                  <a:lnTo>
                    <a:pt x="109" y="279"/>
                  </a:lnTo>
                  <a:lnTo>
                    <a:pt x="0" y="29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2" name="30620367.375379.7518.12521.8755">
              <a:extLst>
                <a:ext uri="{FF2B5EF4-FFF2-40B4-BE49-F238E27FC236}">
                  <a16:creationId xmlns:a16="http://schemas.microsoft.com/office/drawing/2014/main" id="{6073A302-AB4C-426F-9FFD-495FF712AE9E}"/>
                </a:ext>
              </a:extLst>
            </p:cNvPr>
            <p:cNvSpPr>
              <a:spLocks noChangeAspect="1"/>
            </p:cNvSpPr>
            <p:nvPr/>
          </p:nvSpPr>
          <p:spPr bwMode="gray">
            <a:xfrm>
              <a:off x="5759190" y="4248584"/>
              <a:ext cx="351869" cy="294349"/>
            </a:xfrm>
            <a:custGeom>
              <a:avLst/>
              <a:gdLst/>
              <a:ahLst/>
              <a:cxnLst>
                <a:cxn ang="0">
                  <a:pos x="0" y="251"/>
                </a:cxn>
                <a:cxn ang="0">
                  <a:pos x="26" y="71"/>
                </a:cxn>
                <a:cxn ang="0">
                  <a:pos x="66" y="1"/>
                </a:cxn>
                <a:cxn ang="0">
                  <a:pos x="217" y="37"/>
                </a:cxn>
                <a:cxn ang="0">
                  <a:pos x="348" y="0"/>
                </a:cxn>
                <a:cxn ang="0">
                  <a:pos x="374" y="42"/>
                </a:cxn>
                <a:cxn ang="0">
                  <a:pos x="388" y="71"/>
                </a:cxn>
                <a:cxn ang="0">
                  <a:pos x="353" y="97"/>
                </a:cxn>
                <a:cxn ang="0">
                  <a:pos x="285" y="243"/>
                </a:cxn>
                <a:cxn ang="0">
                  <a:pos x="221" y="233"/>
                </a:cxn>
                <a:cxn ang="0">
                  <a:pos x="186" y="304"/>
                </a:cxn>
                <a:cxn ang="0">
                  <a:pos x="111" y="323"/>
                </a:cxn>
                <a:cxn ang="0">
                  <a:pos x="66" y="260"/>
                </a:cxn>
                <a:cxn ang="0">
                  <a:pos x="0" y="251"/>
                </a:cxn>
              </a:cxnLst>
              <a:rect l="0" t="0" r="r" b="b"/>
              <a:pathLst>
                <a:path w="388" h="323">
                  <a:moveTo>
                    <a:pt x="0" y="251"/>
                  </a:moveTo>
                  <a:lnTo>
                    <a:pt x="26" y="71"/>
                  </a:lnTo>
                  <a:lnTo>
                    <a:pt x="66" y="1"/>
                  </a:lnTo>
                  <a:lnTo>
                    <a:pt x="217" y="37"/>
                  </a:lnTo>
                  <a:lnTo>
                    <a:pt x="348" y="0"/>
                  </a:lnTo>
                  <a:lnTo>
                    <a:pt x="374" y="42"/>
                  </a:lnTo>
                  <a:lnTo>
                    <a:pt x="388" y="71"/>
                  </a:lnTo>
                  <a:lnTo>
                    <a:pt x="353" y="97"/>
                  </a:lnTo>
                  <a:lnTo>
                    <a:pt x="285" y="243"/>
                  </a:lnTo>
                  <a:lnTo>
                    <a:pt x="221" y="233"/>
                  </a:lnTo>
                  <a:lnTo>
                    <a:pt x="186" y="304"/>
                  </a:lnTo>
                  <a:lnTo>
                    <a:pt x="111" y="323"/>
                  </a:lnTo>
                  <a:lnTo>
                    <a:pt x="66" y="260"/>
                  </a:lnTo>
                  <a:lnTo>
                    <a:pt x="0" y="25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3" name="30621369.5342.8753.3755.6255">
              <a:extLst>
                <a:ext uri="{FF2B5EF4-FFF2-40B4-BE49-F238E27FC236}">
                  <a16:creationId xmlns:a16="http://schemas.microsoft.com/office/drawing/2014/main" id="{18398D55-6B10-4053-A87C-0CEBFE8339BA}"/>
                </a:ext>
              </a:extLst>
            </p:cNvPr>
            <p:cNvSpPr>
              <a:spLocks noChangeAspect="1"/>
            </p:cNvSpPr>
            <p:nvPr/>
          </p:nvSpPr>
          <p:spPr bwMode="gray">
            <a:xfrm>
              <a:off x="5171470" y="4283907"/>
              <a:ext cx="87493" cy="53825"/>
            </a:xfrm>
            <a:custGeom>
              <a:avLst/>
              <a:gdLst/>
              <a:ahLst/>
              <a:cxnLst>
                <a:cxn ang="0">
                  <a:pos x="0" y="7"/>
                </a:cxn>
                <a:cxn ang="0">
                  <a:pos x="29" y="33"/>
                </a:cxn>
                <a:cxn ang="0">
                  <a:pos x="62" y="25"/>
                </a:cxn>
                <a:cxn ang="0">
                  <a:pos x="43" y="33"/>
                </a:cxn>
                <a:cxn ang="0">
                  <a:pos x="58" y="59"/>
                </a:cxn>
                <a:cxn ang="0">
                  <a:pos x="99" y="33"/>
                </a:cxn>
                <a:cxn ang="0">
                  <a:pos x="101" y="0"/>
                </a:cxn>
                <a:cxn ang="0">
                  <a:pos x="0" y="7"/>
                </a:cxn>
              </a:cxnLst>
              <a:rect l="0" t="0" r="r" b="b"/>
              <a:pathLst>
                <a:path w="101" h="59">
                  <a:moveTo>
                    <a:pt x="0" y="7"/>
                  </a:moveTo>
                  <a:lnTo>
                    <a:pt x="29" y="33"/>
                  </a:lnTo>
                  <a:lnTo>
                    <a:pt x="62" y="25"/>
                  </a:lnTo>
                  <a:lnTo>
                    <a:pt x="43" y="33"/>
                  </a:lnTo>
                  <a:lnTo>
                    <a:pt x="58" y="59"/>
                  </a:lnTo>
                  <a:lnTo>
                    <a:pt x="99" y="33"/>
                  </a:lnTo>
                  <a:lnTo>
                    <a:pt x="101" y="0"/>
                  </a:lnTo>
                  <a:lnTo>
                    <a:pt x="0" y="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4" name="30622343.5470.125315">
              <a:extLst>
                <a:ext uri="{FF2B5EF4-FFF2-40B4-BE49-F238E27FC236}">
                  <a16:creationId xmlns:a16="http://schemas.microsoft.com/office/drawing/2014/main" id="{4C37635D-1480-4BDE-8C47-75CD74895183}"/>
                </a:ext>
              </a:extLst>
            </p:cNvPr>
            <p:cNvSpPr>
              <a:spLocks noChangeAspect="1"/>
            </p:cNvSpPr>
            <p:nvPr/>
          </p:nvSpPr>
          <p:spPr bwMode="gray">
            <a:xfrm>
              <a:off x="7208520" y="3861726"/>
              <a:ext cx="17117" cy="48776"/>
            </a:xfrm>
            <a:custGeom>
              <a:avLst/>
              <a:gdLst/>
              <a:ahLst/>
              <a:cxnLst>
                <a:cxn ang="0">
                  <a:pos x="0" y="45"/>
                </a:cxn>
                <a:cxn ang="0">
                  <a:pos x="10" y="55"/>
                </a:cxn>
                <a:cxn ang="0">
                  <a:pos x="19" y="52"/>
                </a:cxn>
                <a:cxn ang="0">
                  <a:pos x="11" y="0"/>
                </a:cxn>
                <a:cxn ang="0">
                  <a:pos x="0" y="45"/>
                </a:cxn>
              </a:cxnLst>
              <a:rect l="0" t="0" r="r" b="b"/>
              <a:pathLst>
                <a:path w="19" h="55">
                  <a:moveTo>
                    <a:pt x="0" y="45"/>
                  </a:moveTo>
                  <a:lnTo>
                    <a:pt x="10" y="55"/>
                  </a:lnTo>
                  <a:lnTo>
                    <a:pt x="19" y="52"/>
                  </a:lnTo>
                  <a:lnTo>
                    <a:pt x="11" y="0"/>
                  </a:lnTo>
                  <a:lnTo>
                    <a:pt x="0" y="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5" name="30623395.25429.12533.1255">
              <a:extLst>
                <a:ext uri="{FF2B5EF4-FFF2-40B4-BE49-F238E27FC236}">
                  <a16:creationId xmlns:a16="http://schemas.microsoft.com/office/drawing/2014/main" id="{5DB7352E-BDF7-4F7F-88C0-9535075AF0AB}"/>
                </a:ext>
              </a:extLst>
            </p:cNvPr>
            <p:cNvSpPr>
              <a:spLocks noChangeAspect="1"/>
            </p:cNvSpPr>
            <p:nvPr/>
          </p:nvSpPr>
          <p:spPr bwMode="gray">
            <a:xfrm>
              <a:off x="6550428" y="4701039"/>
              <a:ext cx="51355" cy="47095"/>
            </a:xfrm>
            <a:custGeom>
              <a:avLst/>
              <a:gdLst/>
              <a:ahLst/>
              <a:cxnLst>
                <a:cxn ang="0">
                  <a:pos x="0" y="53"/>
                </a:cxn>
                <a:cxn ang="0">
                  <a:pos x="22" y="9"/>
                </a:cxn>
                <a:cxn ang="0">
                  <a:pos x="48" y="0"/>
                </a:cxn>
                <a:cxn ang="0">
                  <a:pos x="55" y="44"/>
                </a:cxn>
                <a:cxn ang="0">
                  <a:pos x="0" y="53"/>
                </a:cxn>
              </a:cxnLst>
              <a:rect l="0" t="0" r="r" b="b"/>
              <a:pathLst>
                <a:path w="55" h="53">
                  <a:moveTo>
                    <a:pt x="0" y="53"/>
                  </a:moveTo>
                  <a:lnTo>
                    <a:pt x="22" y="9"/>
                  </a:lnTo>
                  <a:lnTo>
                    <a:pt x="48" y="0"/>
                  </a:lnTo>
                  <a:lnTo>
                    <a:pt x="55" y="44"/>
                  </a:lnTo>
                  <a:lnTo>
                    <a:pt x="0" y="5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6" name="30624361.875341.5811.6255">
              <a:extLst>
                <a:ext uri="{FF2B5EF4-FFF2-40B4-BE49-F238E27FC236}">
                  <a16:creationId xmlns:a16="http://schemas.microsoft.com/office/drawing/2014/main" id="{31B27117-59A3-4674-ABCB-820160FBCF52}"/>
                </a:ext>
              </a:extLst>
            </p:cNvPr>
            <p:cNvSpPr>
              <a:spLocks noChangeAspect="1"/>
            </p:cNvSpPr>
            <p:nvPr/>
          </p:nvSpPr>
          <p:spPr bwMode="gray">
            <a:xfrm>
              <a:off x="5148647" y="4159440"/>
              <a:ext cx="186397" cy="131197"/>
            </a:xfrm>
            <a:custGeom>
              <a:avLst/>
              <a:gdLst/>
              <a:ahLst/>
              <a:cxnLst>
                <a:cxn ang="0">
                  <a:pos x="0" y="62"/>
                </a:cxn>
                <a:cxn ang="0">
                  <a:pos x="30" y="101"/>
                </a:cxn>
                <a:cxn ang="0">
                  <a:pos x="125" y="108"/>
                </a:cxn>
                <a:cxn ang="0">
                  <a:pos x="26" y="121"/>
                </a:cxn>
                <a:cxn ang="0">
                  <a:pos x="26" y="140"/>
                </a:cxn>
                <a:cxn ang="0">
                  <a:pos x="127" y="133"/>
                </a:cxn>
                <a:cxn ang="0">
                  <a:pos x="206" y="140"/>
                </a:cxn>
                <a:cxn ang="0">
                  <a:pos x="182" y="62"/>
                </a:cxn>
                <a:cxn ang="0">
                  <a:pos x="106" y="0"/>
                </a:cxn>
                <a:cxn ang="0">
                  <a:pos x="30" y="18"/>
                </a:cxn>
                <a:cxn ang="0">
                  <a:pos x="0" y="62"/>
                </a:cxn>
              </a:cxnLst>
              <a:rect l="0" t="0" r="r" b="b"/>
              <a:pathLst>
                <a:path w="206" h="140">
                  <a:moveTo>
                    <a:pt x="0" y="62"/>
                  </a:moveTo>
                  <a:lnTo>
                    <a:pt x="30" y="101"/>
                  </a:lnTo>
                  <a:lnTo>
                    <a:pt x="125" y="108"/>
                  </a:lnTo>
                  <a:lnTo>
                    <a:pt x="26" y="121"/>
                  </a:lnTo>
                  <a:lnTo>
                    <a:pt x="26" y="140"/>
                  </a:lnTo>
                  <a:lnTo>
                    <a:pt x="127" y="133"/>
                  </a:lnTo>
                  <a:lnTo>
                    <a:pt x="206" y="140"/>
                  </a:lnTo>
                  <a:lnTo>
                    <a:pt x="182" y="62"/>
                  </a:lnTo>
                  <a:lnTo>
                    <a:pt x="106" y="0"/>
                  </a:lnTo>
                  <a:lnTo>
                    <a:pt x="30" y="18"/>
                  </a:lnTo>
                  <a:lnTo>
                    <a:pt x="0" y="62"/>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7" name="30625374.625349.3755.755.8755">
              <a:extLst>
                <a:ext uri="{FF2B5EF4-FFF2-40B4-BE49-F238E27FC236}">
                  <a16:creationId xmlns:a16="http://schemas.microsoft.com/office/drawing/2014/main" id="{DFCC0D50-C671-4768-9F7E-2F2123EC49A7}"/>
                </a:ext>
              </a:extLst>
            </p:cNvPr>
            <p:cNvSpPr>
              <a:spLocks noChangeAspect="1"/>
            </p:cNvSpPr>
            <p:nvPr/>
          </p:nvSpPr>
          <p:spPr bwMode="gray">
            <a:xfrm>
              <a:off x="5276083" y="4364641"/>
              <a:ext cx="91298" cy="94190"/>
            </a:xfrm>
            <a:custGeom>
              <a:avLst/>
              <a:gdLst/>
              <a:ahLst/>
              <a:cxnLst>
                <a:cxn ang="0">
                  <a:pos x="0" y="29"/>
                </a:cxn>
                <a:cxn ang="0">
                  <a:pos x="11" y="69"/>
                </a:cxn>
                <a:cxn ang="0">
                  <a:pos x="62" y="101"/>
                </a:cxn>
                <a:cxn ang="0">
                  <a:pos x="103" y="51"/>
                </a:cxn>
                <a:cxn ang="0">
                  <a:pos x="70" y="0"/>
                </a:cxn>
                <a:cxn ang="0">
                  <a:pos x="0" y="29"/>
                </a:cxn>
              </a:cxnLst>
              <a:rect l="0" t="0" r="r" b="b"/>
              <a:pathLst>
                <a:path w="103" h="101">
                  <a:moveTo>
                    <a:pt x="0" y="29"/>
                  </a:moveTo>
                  <a:lnTo>
                    <a:pt x="11" y="69"/>
                  </a:lnTo>
                  <a:lnTo>
                    <a:pt x="62" y="101"/>
                  </a:lnTo>
                  <a:lnTo>
                    <a:pt x="103" y="51"/>
                  </a:lnTo>
                  <a:lnTo>
                    <a:pt x="70" y="0"/>
                  </a:lnTo>
                  <a:lnTo>
                    <a:pt x="0" y="2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8" name="30626371451.7525.519.255">
              <a:extLst>
                <a:ext uri="{FF2B5EF4-FFF2-40B4-BE49-F238E27FC236}">
                  <a16:creationId xmlns:a16="http://schemas.microsoft.com/office/drawing/2014/main" id="{1D3A30CA-1A42-47F0-9522-6C0D3615C71F}"/>
                </a:ext>
              </a:extLst>
            </p:cNvPr>
            <p:cNvSpPr>
              <a:spLocks noChangeAspect="1"/>
            </p:cNvSpPr>
            <p:nvPr/>
          </p:nvSpPr>
          <p:spPr bwMode="gray">
            <a:xfrm>
              <a:off x="6915612" y="4307455"/>
              <a:ext cx="310025" cy="413770"/>
            </a:xfrm>
            <a:custGeom>
              <a:avLst/>
              <a:gdLst/>
              <a:ahLst/>
              <a:cxnLst>
                <a:cxn ang="0">
                  <a:pos x="0" y="425"/>
                </a:cxn>
                <a:cxn ang="0">
                  <a:pos x="0" y="303"/>
                </a:cxn>
                <a:cxn ang="0">
                  <a:pos x="27" y="267"/>
                </a:cxn>
                <a:cxn ang="0">
                  <a:pos x="132" y="230"/>
                </a:cxn>
                <a:cxn ang="0">
                  <a:pos x="233" y="130"/>
                </a:cxn>
                <a:cxn ang="0">
                  <a:pos x="101" y="96"/>
                </a:cxn>
                <a:cxn ang="0">
                  <a:pos x="60" y="36"/>
                </a:cxn>
                <a:cxn ang="0">
                  <a:pos x="75" y="17"/>
                </a:cxn>
                <a:cxn ang="0">
                  <a:pos x="128" y="52"/>
                </a:cxn>
                <a:cxn ang="0">
                  <a:pos x="325" y="0"/>
                </a:cxn>
                <a:cxn ang="0">
                  <a:pos x="341" y="52"/>
                </a:cxn>
                <a:cxn ang="0">
                  <a:pos x="221" y="264"/>
                </a:cxn>
                <a:cxn ang="0">
                  <a:pos x="16" y="453"/>
                </a:cxn>
                <a:cxn ang="0">
                  <a:pos x="0" y="425"/>
                </a:cxn>
              </a:cxnLst>
              <a:rect l="0" t="0" r="r" b="b"/>
              <a:pathLst>
                <a:path w="341" h="453">
                  <a:moveTo>
                    <a:pt x="0" y="425"/>
                  </a:moveTo>
                  <a:lnTo>
                    <a:pt x="0" y="303"/>
                  </a:lnTo>
                  <a:lnTo>
                    <a:pt x="27" y="267"/>
                  </a:lnTo>
                  <a:lnTo>
                    <a:pt x="132" y="230"/>
                  </a:lnTo>
                  <a:lnTo>
                    <a:pt x="233" y="130"/>
                  </a:lnTo>
                  <a:lnTo>
                    <a:pt x="101" y="96"/>
                  </a:lnTo>
                  <a:lnTo>
                    <a:pt x="60" y="36"/>
                  </a:lnTo>
                  <a:lnTo>
                    <a:pt x="75" y="17"/>
                  </a:lnTo>
                  <a:lnTo>
                    <a:pt x="128" y="52"/>
                  </a:lnTo>
                  <a:lnTo>
                    <a:pt x="325" y="0"/>
                  </a:lnTo>
                  <a:lnTo>
                    <a:pt x="341" y="52"/>
                  </a:lnTo>
                  <a:lnTo>
                    <a:pt x="221" y="264"/>
                  </a:lnTo>
                  <a:lnTo>
                    <a:pt x="16" y="453"/>
                  </a:lnTo>
                  <a:lnTo>
                    <a:pt x="0" y="42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19" name="30627422.875421.62513.514.8755">
              <a:extLst>
                <a:ext uri="{FF2B5EF4-FFF2-40B4-BE49-F238E27FC236}">
                  <a16:creationId xmlns:a16="http://schemas.microsoft.com/office/drawing/2014/main" id="{CA852E7B-2D0A-48F0-982B-AECAD6082233}"/>
                </a:ext>
              </a:extLst>
            </p:cNvPr>
            <p:cNvSpPr>
              <a:spLocks noChangeAspect="1"/>
            </p:cNvSpPr>
            <p:nvPr/>
          </p:nvSpPr>
          <p:spPr bwMode="gray">
            <a:xfrm>
              <a:off x="6430598" y="5146768"/>
              <a:ext cx="241557" cy="218661"/>
            </a:xfrm>
            <a:custGeom>
              <a:avLst/>
              <a:gdLst/>
              <a:ahLst/>
              <a:cxnLst>
                <a:cxn ang="0">
                  <a:pos x="0" y="74"/>
                </a:cxn>
                <a:cxn ang="0">
                  <a:pos x="59" y="76"/>
                </a:cxn>
                <a:cxn ang="0">
                  <a:pos x="118" y="32"/>
                </a:cxn>
                <a:cxn ang="0">
                  <a:pos x="121" y="12"/>
                </a:cxn>
                <a:cxn ang="0">
                  <a:pos x="171" y="0"/>
                </a:cxn>
                <a:cxn ang="0">
                  <a:pos x="254" y="26"/>
                </a:cxn>
                <a:cxn ang="0">
                  <a:pos x="262" y="61"/>
                </a:cxn>
                <a:cxn ang="0">
                  <a:pos x="258" y="149"/>
                </a:cxn>
                <a:cxn ang="0">
                  <a:pos x="214" y="241"/>
                </a:cxn>
                <a:cxn ang="0">
                  <a:pos x="138" y="224"/>
                </a:cxn>
                <a:cxn ang="0">
                  <a:pos x="93" y="202"/>
                </a:cxn>
                <a:cxn ang="0">
                  <a:pos x="0" y="74"/>
                </a:cxn>
              </a:cxnLst>
              <a:rect l="0" t="0" r="r" b="b"/>
              <a:pathLst>
                <a:path w="262" h="241">
                  <a:moveTo>
                    <a:pt x="0" y="74"/>
                  </a:moveTo>
                  <a:lnTo>
                    <a:pt x="59" y="76"/>
                  </a:lnTo>
                  <a:lnTo>
                    <a:pt x="118" y="32"/>
                  </a:lnTo>
                  <a:lnTo>
                    <a:pt x="121" y="12"/>
                  </a:lnTo>
                  <a:lnTo>
                    <a:pt x="171" y="0"/>
                  </a:lnTo>
                  <a:lnTo>
                    <a:pt x="254" y="26"/>
                  </a:lnTo>
                  <a:lnTo>
                    <a:pt x="262" y="61"/>
                  </a:lnTo>
                  <a:lnTo>
                    <a:pt x="258" y="149"/>
                  </a:lnTo>
                  <a:lnTo>
                    <a:pt x="214" y="241"/>
                  </a:lnTo>
                  <a:lnTo>
                    <a:pt x="138" y="224"/>
                  </a:lnTo>
                  <a:lnTo>
                    <a:pt x="93" y="202"/>
                  </a:lnTo>
                  <a:lnTo>
                    <a:pt x="0" y="7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0" name="30628425.375396.12523.87525.55">
              <a:extLst>
                <a:ext uri="{FF2B5EF4-FFF2-40B4-BE49-F238E27FC236}">
                  <a16:creationId xmlns:a16="http://schemas.microsoft.com/office/drawing/2014/main" id="{C6203836-33DE-459C-B121-F2DBA30DEB2B}"/>
                </a:ext>
              </a:extLst>
            </p:cNvPr>
            <p:cNvSpPr>
              <a:spLocks noChangeAspect="1"/>
            </p:cNvSpPr>
            <p:nvPr/>
          </p:nvSpPr>
          <p:spPr bwMode="gray">
            <a:xfrm>
              <a:off x="6021669" y="5187137"/>
              <a:ext cx="408929" cy="386858"/>
            </a:xfrm>
            <a:custGeom>
              <a:avLst/>
              <a:gdLst/>
              <a:ahLst/>
              <a:cxnLst>
                <a:cxn ang="0">
                  <a:pos x="0" y="14"/>
                </a:cxn>
                <a:cxn ang="0">
                  <a:pos x="55" y="0"/>
                </a:cxn>
                <a:cxn ang="0">
                  <a:pos x="328" y="40"/>
                </a:cxn>
                <a:cxn ang="0">
                  <a:pos x="389" y="22"/>
                </a:cxn>
                <a:cxn ang="0">
                  <a:pos x="453" y="30"/>
                </a:cxn>
                <a:cxn ang="0">
                  <a:pos x="398" y="61"/>
                </a:cxn>
                <a:cxn ang="0">
                  <a:pos x="377" y="40"/>
                </a:cxn>
                <a:cxn ang="0">
                  <a:pos x="312" y="54"/>
                </a:cxn>
                <a:cxn ang="0">
                  <a:pos x="312" y="173"/>
                </a:cxn>
                <a:cxn ang="0">
                  <a:pos x="278" y="175"/>
                </a:cxn>
                <a:cxn ang="0">
                  <a:pos x="278" y="268"/>
                </a:cxn>
                <a:cxn ang="0">
                  <a:pos x="278" y="404"/>
                </a:cxn>
                <a:cxn ang="0">
                  <a:pos x="249" y="425"/>
                </a:cxn>
                <a:cxn ang="0">
                  <a:pos x="207" y="425"/>
                </a:cxn>
                <a:cxn ang="0">
                  <a:pos x="183" y="396"/>
                </a:cxn>
                <a:cxn ang="0">
                  <a:pos x="164" y="411"/>
                </a:cxn>
                <a:cxn ang="0">
                  <a:pos x="120" y="365"/>
                </a:cxn>
                <a:cxn ang="0">
                  <a:pos x="97" y="216"/>
                </a:cxn>
                <a:cxn ang="0">
                  <a:pos x="97" y="198"/>
                </a:cxn>
                <a:cxn ang="0">
                  <a:pos x="0" y="14"/>
                </a:cxn>
              </a:cxnLst>
              <a:rect l="0" t="0" r="r" b="b"/>
              <a:pathLst>
                <a:path w="453" h="425">
                  <a:moveTo>
                    <a:pt x="0" y="14"/>
                  </a:moveTo>
                  <a:lnTo>
                    <a:pt x="55" y="0"/>
                  </a:lnTo>
                  <a:lnTo>
                    <a:pt x="328" y="40"/>
                  </a:lnTo>
                  <a:lnTo>
                    <a:pt x="389" y="22"/>
                  </a:lnTo>
                  <a:lnTo>
                    <a:pt x="453" y="30"/>
                  </a:lnTo>
                  <a:lnTo>
                    <a:pt x="398" y="61"/>
                  </a:lnTo>
                  <a:lnTo>
                    <a:pt x="377" y="40"/>
                  </a:lnTo>
                  <a:lnTo>
                    <a:pt x="312" y="54"/>
                  </a:lnTo>
                  <a:lnTo>
                    <a:pt x="312" y="173"/>
                  </a:lnTo>
                  <a:lnTo>
                    <a:pt x="278" y="175"/>
                  </a:lnTo>
                  <a:lnTo>
                    <a:pt x="278" y="268"/>
                  </a:lnTo>
                  <a:lnTo>
                    <a:pt x="278" y="404"/>
                  </a:lnTo>
                  <a:lnTo>
                    <a:pt x="249" y="425"/>
                  </a:lnTo>
                  <a:lnTo>
                    <a:pt x="207" y="425"/>
                  </a:lnTo>
                  <a:lnTo>
                    <a:pt x="183" y="396"/>
                  </a:lnTo>
                  <a:lnTo>
                    <a:pt x="164" y="411"/>
                  </a:lnTo>
                  <a:lnTo>
                    <a:pt x="120" y="365"/>
                  </a:lnTo>
                  <a:lnTo>
                    <a:pt x="97" y="216"/>
                  </a:lnTo>
                  <a:lnTo>
                    <a:pt x="97" y="198"/>
                  </a:lnTo>
                  <a:lnTo>
                    <a:pt x="0" y="1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1" name="30629340.25342.513.12515.755">
              <a:extLst>
                <a:ext uri="{FF2B5EF4-FFF2-40B4-BE49-F238E27FC236}">
                  <a16:creationId xmlns:a16="http://schemas.microsoft.com/office/drawing/2014/main" id="{6B7628B4-7A3D-42F0-82EF-07ED41E0A116}"/>
                </a:ext>
              </a:extLst>
            </p:cNvPr>
            <p:cNvSpPr>
              <a:spLocks noChangeAspect="1"/>
            </p:cNvSpPr>
            <p:nvPr/>
          </p:nvSpPr>
          <p:spPr bwMode="gray">
            <a:xfrm>
              <a:off x="5163863" y="3807902"/>
              <a:ext cx="251064" cy="215296"/>
            </a:xfrm>
            <a:custGeom>
              <a:avLst/>
              <a:gdLst/>
              <a:ahLst/>
              <a:cxnLst>
                <a:cxn ang="0">
                  <a:pos x="0" y="234"/>
                </a:cxn>
                <a:cxn ang="0">
                  <a:pos x="132" y="0"/>
                </a:cxn>
                <a:cxn ang="0">
                  <a:pos x="278" y="4"/>
                </a:cxn>
                <a:cxn ang="0">
                  <a:pos x="281" y="17"/>
                </a:cxn>
                <a:cxn ang="0">
                  <a:pos x="278" y="61"/>
                </a:cxn>
                <a:cxn ang="0">
                  <a:pos x="171" y="58"/>
                </a:cxn>
                <a:cxn ang="0">
                  <a:pos x="169" y="149"/>
                </a:cxn>
                <a:cxn ang="0">
                  <a:pos x="131" y="165"/>
                </a:cxn>
                <a:cxn ang="0">
                  <a:pos x="134" y="220"/>
                </a:cxn>
                <a:cxn ang="0">
                  <a:pos x="0" y="234"/>
                </a:cxn>
              </a:cxnLst>
              <a:rect l="0" t="0" r="r" b="b"/>
              <a:pathLst>
                <a:path w="281" h="234">
                  <a:moveTo>
                    <a:pt x="0" y="234"/>
                  </a:moveTo>
                  <a:lnTo>
                    <a:pt x="132" y="0"/>
                  </a:lnTo>
                  <a:lnTo>
                    <a:pt x="278" y="4"/>
                  </a:lnTo>
                  <a:lnTo>
                    <a:pt x="281" y="17"/>
                  </a:lnTo>
                  <a:lnTo>
                    <a:pt x="278" y="61"/>
                  </a:lnTo>
                  <a:lnTo>
                    <a:pt x="171" y="58"/>
                  </a:lnTo>
                  <a:lnTo>
                    <a:pt x="169" y="149"/>
                  </a:lnTo>
                  <a:lnTo>
                    <a:pt x="131" y="165"/>
                  </a:lnTo>
                  <a:lnTo>
                    <a:pt x="134" y="220"/>
                  </a:lnTo>
                  <a:lnTo>
                    <a:pt x="0" y="234"/>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2" name="30630349.375415.7537.12531.255">
              <a:extLst>
                <a:ext uri="{FF2B5EF4-FFF2-40B4-BE49-F238E27FC236}">
                  <a16:creationId xmlns:a16="http://schemas.microsoft.com/office/drawing/2014/main" id="{1F4880C9-96B3-478C-A124-4F95BFD0A862}"/>
                </a:ext>
              </a:extLst>
            </p:cNvPr>
            <p:cNvSpPr>
              <a:spLocks noChangeAspect="1"/>
            </p:cNvSpPr>
            <p:nvPr/>
          </p:nvSpPr>
          <p:spPr bwMode="gray">
            <a:xfrm>
              <a:off x="6339304" y="3957601"/>
              <a:ext cx="500227" cy="600473"/>
            </a:xfrm>
            <a:custGeom>
              <a:avLst/>
              <a:gdLst/>
              <a:ahLst/>
              <a:cxnLst>
                <a:cxn ang="0">
                  <a:pos x="0" y="348"/>
                </a:cxn>
                <a:cxn ang="0">
                  <a:pos x="26" y="414"/>
                </a:cxn>
                <a:cxn ang="0">
                  <a:pos x="51" y="485"/>
                </a:cxn>
                <a:cxn ang="0">
                  <a:pos x="107" y="512"/>
                </a:cxn>
                <a:cxn ang="0">
                  <a:pos x="188" y="609"/>
                </a:cxn>
                <a:cxn ang="0">
                  <a:pos x="299" y="659"/>
                </a:cxn>
                <a:cxn ang="0">
                  <a:pos x="402" y="646"/>
                </a:cxn>
                <a:cxn ang="0">
                  <a:pos x="464" y="627"/>
                </a:cxn>
                <a:cxn ang="0">
                  <a:pos x="427" y="557"/>
                </a:cxn>
                <a:cxn ang="0">
                  <a:pos x="368" y="517"/>
                </a:cxn>
                <a:cxn ang="0">
                  <a:pos x="407" y="491"/>
                </a:cxn>
                <a:cxn ang="0">
                  <a:pos x="411" y="430"/>
                </a:cxn>
                <a:cxn ang="0">
                  <a:pos x="477" y="349"/>
                </a:cxn>
                <a:cxn ang="0">
                  <a:pos x="503" y="206"/>
                </a:cxn>
                <a:cxn ang="0">
                  <a:pos x="554" y="175"/>
                </a:cxn>
                <a:cxn ang="0">
                  <a:pos x="514" y="144"/>
                </a:cxn>
                <a:cxn ang="0">
                  <a:pos x="499" y="38"/>
                </a:cxn>
                <a:cxn ang="0">
                  <a:pos x="455" y="0"/>
                </a:cxn>
                <a:cxn ang="0">
                  <a:pos x="402" y="45"/>
                </a:cxn>
                <a:cxn ang="0">
                  <a:pos x="101" y="37"/>
                </a:cxn>
                <a:cxn ang="0">
                  <a:pos x="101" y="104"/>
                </a:cxn>
                <a:cxn ang="0">
                  <a:pos x="71" y="106"/>
                </a:cxn>
                <a:cxn ang="0">
                  <a:pos x="71" y="125"/>
                </a:cxn>
                <a:cxn ang="0">
                  <a:pos x="70" y="252"/>
                </a:cxn>
                <a:cxn ang="0">
                  <a:pos x="35" y="258"/>
                </a:cxn>
                <a:cxn ang="0">
                  <a:pos x="0" y="348"/>
                </a:cxn>
              </a:cxnLst>
              <a:rect l="0" t="0" r="r" b="b"/>
              <a:pathLst>
                <a:path w="554" h="659">
                  <a:moveTo>
                    <a:pt x="0" y="348"/>
                  </a:moveTo>
                  <a:lnTo>
                    <a:pt x="26" y="414"/>
                  </a:lnTo>
                  <a:lnTo>
                    <a:pt x="51" y="485"/>
                  </a:lnTo>
                  <a:lnTo>
                    <a:pt x="107" y="512"/>
                  </a:lnTo>
                  <a:lnTo>
                    <a:pt x="188" y="609"/>
                  </a:lnTo>
                  <a:lnTo>
                    <a:pt x="299" y="659"/>
                  </a:lnTo>
                  <a:lnTo>
                    <a:pt x="402" y="646"/>
                  </a:lnTo>
                  <a:lnTo>
                    <a:pt x="464" y="627"/>
                  </a:lnTo>
                  <a:lnTo>
                    <a:pt x="427" y="557"/>
                  </a:lnTo>
                  <a:lnTo>
                    <a:pt x="368" y="517"/>
                  </a:lnTo>
                  <a:lnTo>
                    <a:pt x="407" y="491"/>
                  </a:lnTo>
                  <a:lnTo>
                    <a:pt x="411" y="430"/>
                  </a:lnTo>
                  <a:lnTo>
                    <a:pt x="477" y="349"/>
                  </a:lnTo>
                  <a:lnTo>
                    <a:pt x="503" y="206"/>
                  </a:lnTo>
                  <a:lnTo>
                    <a:pt x="554" y="175"/>
                  </a:lnTo>
                  <a:lnTo>
                    <a:pt x="514" y="144"/>
                  </a:lnTo>
                  <a:lnTo>
                    <a:pt x="499" y="38"/>
                  </a:lnTo>
                  <a:lnTo>
                    <a:pt x="455" y="0"/>
                  </a:lnTo>
                  <a:lnTo>
                    <a:pt x="402" y="45"/>
                  </a:lnTo>
                  <a:lnTo>
                    <a:pt x="101" y="37"/>
                  </a:lnTo>
                  <a:lnTo>
                    <a:pt x="101" y="104"/>
                  </a:lnTo>
                  <a:lnTo>
                    <a:pt x="71" y="106"/>
                  </a:lnTo>
                  <a:lnTo>
                    <a:pt x="71" y="125"/>
                  </a:lnTo>
                  <a:lnTo>
                    <a:pt x="70" y="252"/>
                  </a:lnTo>
                  <a:lnTo>
                    <a:pt x="35" y="258"/>
                  </a:lnTo>
                  <a:lnTo>
                    <a:pt x="0" y="34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3" name="30631442.5432.37532.255">
              <a:extLst>
                <a:ext uri="{FF2B5EF4-FFF2-40B4-BE49-F238E27FC236}">
                  <a16:creationId xmlns:a16="http://schemas.microsoft.com/office/drawing/2014/main" id="{744235AC-0147-468F-AC00-BB8DC58AA9A0}"/>
                </a:ext>
              </a:extLst>
            </p:cNvPr>
            <p:cNvSpPr>
              <a:spLocks noChangeAspect="1"/>
            </p:cNvSpPr>
            <p:nvPr/>
          </p:nvSpPr>
          <p:spPr bwMode="gray">
            <a:xfrm>
              <a:off x="6605584" y="5464664"/>
              <a:ext cx="34238" cy="50460"/>
            </a:xfrm>
            <a:custGeom>
              <a:avLst/>
              <a:gdLst/>
              <a:ahLst/>
              <a:cxnLst>
                <a:cxn ang="0">
                  <a:pos x="0" y="31"/>
                </a:cxn>
                <a:cxn ang="0">
                  <a:pos x="22" y="54"/>
                </a:cxn>
                <a:cxn ang="0">
                  <a:pos x="39" y="35"/>
                </a:cxn>
                <a:cxn ang="0">
                  <a:pos x="35" y="0"/>
                </a:cxn>
                <a:cxn ang="0">
                  <a:pos x="0" y="31"/>
                </a:cxn>
              </a:cxnLst>
              <a:rect l="0" t="0" r="r" b="b"/>
              <a:pathLst>
                <a:path w="39" h="54">
                  <a:moveTo>
                    <a:pt x="0" y="31"/>
                  </a:moveTo>
                  <a:lnTo>
                    <a:pt x="22" y="54"/>
                  </a:lnTo>
                  <a:lnTo>
                    <a:pt x="39" y="35"/>
                  </a:lnTo>
                  <a:lnTo>
                    <a:pt x="35" y="0"/>
                  </a:lnTo>
                  <a:lnTo>
                    <a:pt x="0" y="3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4" name="30632395.125430.37520.12520.255">
              <a:extLst>
                <a:ext uri="{FF2B5EF4-FFF2-40B4-BE49-F238E27FC236}">
                  <a16:creationId xmlns:a16="http://schemas.microsoft.com/office/drawing/2014/main" id="{CA960534-10A6-4FAA-82D3-A9D692366885}"/>
                </a:ext>
              </a:extLst>
            </p:cNvPr>
            <p:cNvSpPr>
              <a:spLocks noChangeAspect="1"/>
            </p:cNvSpPr>
            <p:nvPr/>
          </p:nvSpPr>
          <p:spPr bwMode="gray">
            <a:xfrm>
              <a:off x="6573251" y="4697678"/>
              <a:ext cx="323341" cy="326307"/>
            </a:xfrm>
            <a:custGeom>
              <a:avLst/>
              <a:gdLst/>
              <a:ahLst/>
              <a:cxnLst>
                <a:cxn ang="0">
                  <a:pos x="0" y="113"/>
                </a:cxn>
                <a:cxn ang="0">
                  <a:pos x="3" y="182"/>
                </a:cxn>
                <a:cxn ang="0">
                  <a:pos x="47" y="252"/>
                </a:cxn>
                <a:cxn ang="0">
                  <a:pos x="109" y="282"/>
                </a:cxn>
                <a:cxn ang="0">
                  <a:pos x="142" y="289"/>
                </a:cxn>
                <a:cxn ang="0">
                  <a:pos x="178" y="356"/>
                </a:cxn>
                <a:cxn ang="0">
                  <a:pos x="311" y="348"/>
                </a:cxn>
                <a:cxn ang="0">
                  <a:pos x="361" y="318"/>
                </a:cxn>
                <a:cxn ang="0">
                  <a:pos x="310" y="177"/>
                </a:cxn>
                <a:cxn ang="0">
                  <a:pos x="323" y="124"/>
                </a:cxn>
                <a:cxn ang="0">
                  <a:pos x="152" y="0"/>
                </a:cxn>
                <a:cxn ang="0">
                  <a:pos x="106" y="62"/>
                </a:cxn>
                <a:cxn ang="0">
                  <a:pos x="87" y="45"/>
                </a:cxn>
                <a:cxn ang="0">
                  <a:pos x="73" y="59"/>
                </a:cxn>
                <a:cxn ang="0">
                  <a:pos x="72" y="0"/>
                </a:cxn>
                <a:cxn ang="0">
                  <a:pos x="28" y="3"/>
                </a:cxn>
                <a:cxn ang="0">
                  <a:pos x="35" y="47"/>
                </a:cxn>
                <a:cxn ang="0">
                  <a:pos x="38" y="74"/>
                </a:cxn>
                <a:cxn ang="0">
                  <a:pos x="0" y="113"/>
                </a:cxn>
              </a:cxnLst>
              <a:rect l="0" t="0" r="r" b="b"/>
              <a:pathLst>
                <a:path w="361" h="356">
                  <a:moveTo>
                    <a:pt x="0" y="113"/>
                  </a:moveTo>
                  <a:lnTo>
                    <a:pt x="3" y="182"/>
                  </a:lnTo>
                  <a:lnTo>
                    <a:pt x="47" y="252"/>
                  </a:lnTo>
                  <a:lnTo>
                    <a:pt x="109" y="282"/>
                  </a:lnTo>
                  <a:lnTo>
                    <a:pt x="142" y="289"/>
                  </a:lnTo>
                  <a:lnTo>
                    <a:pt x="178" y="356"/>
                  </a:lnTo>
                  <a:lnTo>
                    <a:pt x="311" y="348"/>
                  </a:lnTo>
                  <a:lnTo>
                    <a:pt x="361" y="318"/>
                  </a:lnTo>
                  <a:lnTo>
                    <a:pt x="310" y="177"/>
                  </a:lnTo>
                  <a:lnTo>
                    <a:pt x="323" y="124"/>
                  </a:lnTo>
                  <a:lnTo>
                    <a:pt x="152" y="0"/>
                  </a:lnTo>
                  <a:lnTo>
                    <a:pt x="106" y="62"/>
                  </a:lnTo>
                  <a:lnTo>
                    <a:pt x="87" y="45"/>
                  </a:lnTo>
                  <a:lnTo>
                    <a:pt x="73" y="59"/>
                  </a:lnTo>
                  <a:lnTo>
                    <a:pt x="72" y="0"/>
                  </a:lnTo>
                  <a:lnTo>
                    <a:pt x="28" y="3"/>
                  </a:lnTo>
                  <a:lnTo>
                    <a:pt x="35" y="47"/>
                  </a:lnTo>
                  <a:lnTo>
                    <a:pt x="38" y="74"/>
                  </a:lnTo>
                  <a:lnTo>
                    <a:pt x="0" y="11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5" name="30633372.253749.754.1255">
              <a:extLst>
                <a:ext uri="{FF2B5EF4-FFF2-40B4-BE49-F238E27FC236}">
                  <a16:creationId xmlns:a16="http://schemas.microsoft.com/office/drawing/2014/main" id="{BD43E106-72E1-4B75-8A42-D22019F0D817}"/>
                </a:ext>
              </a:extLst>
            </p:cNvPr>
            <p:cNvSpPr>
              <a:spLocks noChangeAspect="1"/>
            </p:cNvSpPr>
            <p:nvPr/>
          </p:nvSpPr>
          <p:spPr bwMode="gray">
            <a:xfrm>
              <a:off x="5667896" y="4329322"/>
              <a:ext cx="66571" cy="156425"/>
            </a:xfrm>
            <a:custGeom>
              <a:avLst/>
              <a:gdLst/>
              <a:ahLst/>
              <a:cxnLst>
                <a:cxn ang="0">
                  <a:pos x="0" y="0"/>
                </a:cxn>
                <a:cxn ang="0">
                  <a:pos x="35" y="8"/>
                </a:cxn>
                <a:cxn ang="0">
                  <a:pos x="71" y="164"/>
                </a:cxn>
                <a:cxn ang="0">
                  <a:pos x="46" y="171"/>
                </a:cxn>
                <a:cxn ang="0">
                  <a:pos x="0" y="0"/>
                </a:cxn>
              </a:cxnLst>
              <a:rect l="0" t="0" r="r" b="b"/>
              <a:pathLst>
                <a:path w="71" h="171">
                  <a:moveTo>
                    <a:pt x="0" y="0"/>
                  </a:moveTo>
                  <a:lnTo>
                    <a:pt x="35" y="8"/>
                  </a:lnTo>
                  <a:lnTo>
                    <a:pt x="71" y="164"/>
                  </a:lnTo>
                  <a:lnTo>
                    <a:pt x="46" y="171"/>
                  </a:lnTo>
                  <a:lnTo>
                    <a:pt x="0"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6" name="30634385.875430.3759.875105">
              <a:extLst>
                <a:ext uri="{FF2B5EF4-FFF2-40B4-BE49-F238E27FC236}">
                  <a16:creationId xmlns:a16="http://schemas.microsoft.com/office/drawing/2014/main" id="{81D846A0-32AA-44A0-8872-5694CDB99644}"/>
                </a:ext>
              </a:extLst>
            </p:cNvPr>
            <p:cNvSpPr>
              <a:spLocks noChangeAspect="1"/>
            </p:cNvSpPr>
            <p:nvPr/>
          </p:nvSpPr>
          <p:spPr bwMode="gray">
            <a:xfrm>
              <a:off x="6573251" y="4547979"/>
              <a:ext cx="157865" cy="161471"/>
            </a:xfrm>
            <a:custGeom>
              <a:avLst/>
              <a:gdLst/>
              <a:ahLst/>
              <a:cxnLst>
                <a:cxn ang="0">
                  <a:pos x="0" y="176"/>
                </a:cxn>
                <a:cxn ang="0">
                  <a:pos x="26" y="167"/>
                </a:cxn>
                <a:cxn ang="0">
                  <a:pos x="70" y="164"/>
                </a:cxn>
                <a:cxn ang="0">
                  <a:pos x="71" y="139"/>
                </a:cxn>
                <a:cxn ang="0">
                  <a:pos x="141" y="125"/>
                </a:cxn>
                <a:cxn ang="0">
                  <a:pos x="177" y="65"/>
                </a:cxn>
                <a:cxn ang="0">
                  <a:pos x="141" y="0"/>
                </a:cxn>
                <a:cxn ang="0">
                  <a:pos x="38" y="13"/>
                </a:cxn>
                <a:cxn ang="0">
                  <a:pos x="51" y="61"/>
                </a:cxn>
                <a:cxn ang="0">
                  <a:pos x="29" y="92"/>
                </a:cxn>
                <a:cxn ang="0">
                  <a:pos x="0" y="176"/>
                </a:cxn>
              </a:cxnLst>
              <a:rect l="0" t="0" r="r" b="b"/>
              <a:pathLst>
                <a:path w="177" h="176">
                  <a:moveTo>
                    <a:pt x="0" y="176"/>
                  </a:moveTo>
                  <a:lnTo>
                    <a:pt x="26" y="167"/>
                  </a:lnTo>
                  <a:lnTo>
                    <a:pt x="70" y="164"/>
                  </a:lnTo>
                  <a:lnTo>
                    <a:pt x="71" y="139"/>
                  </a:lnTo>
                  <a:lnTo>
                    <a:pt x="141" y="125"/>
                  </a:lnTo>
                  <a:lnTo>
                    <a:pt x="177" y="65"/>
                  </a:lnTo>
                  <a:lnTo>
                    <a:pt x="141" y="0"/>
                  </a:lnTo>
                  <a:lnTo>
                    <a:pt x="38" y="13"/>
                  </a:lnTo>
                  <a:lnTo>
                    <a:pt x="51" y="61"/>
                  </a:lnTo>
                  <a:lnTo>
                    <a:pt x="29" y="92"/>
                  </a:lnTo>
                  <a:lnTo>
                    <a:pt x="0" y="17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7" name="30635332.25420.519.7521.1255">
              <a:extLst>
                <a:ext uri="{FF2B5EF4-FFF2-40B4-BE49-F238E27FC236}">
                  <a16:creationId xmlns:a16="http://schemas.microsoft.com/office/drawing/2014/main" id="{5EA9B9A7-F7F2-45A5-A56E-EEB7326CE782}"/>
                </a:ext>
              </a:extLst>
            </p:cNvPr>
            <p:cNvSpPr>
              <a:spLocks noChangeAspect="1"/>
            </p:cNvSpPr>
            <p:nvPr/>
          </p:nvSpPr>
          <p:spPr bwMode="gray">
            <a:xfrm>
              <a:off x="6415381" y="3680073"/>
              <a:ext cx="338557" cy="319577"/>
            </a:xfrm>
            <a:custGeom>
              <a:avLst/>
              <a:gdLst/>
              <a:ahLst/>
              <a:cxnLst>
                <a:cxn ang="0">
                  <a:pos x="0" y="58"/>
                </a:cxn>
                <a:cxn ang="0">
                  <a:pos x="15" y="343"/>
                </a:cxn>
                <a:cxn ang="0">
                  <a:pos x="316" y="351"/>
                </a:cxn>
                <a:cxn ang="0">
                  <a:pos x="369" y="306"/>
                </a:cxn>
                <a:cxn ang="0">
                  <a:pos x="374" y="276"/>
                </a:cxn>
                <a:cxn ang="0">
                  <a:pos x="261" y="75"/>
                </a:cxn>
                <a:cxn ang="0">
                  <a:pos x="316" y="139"/>
                </a:cxn>
                <a:cxn ang="0">
                  <a:pos x="344" y="84"/>
                </a:cxn>
                <a:cxn ang="0">
                  <a:pos x="316" y="13"/>
                </a:cxn>
                <a:cxn ang="0">
                  <a:pos x="246" y="24"/>
                </a:cxn>
                <a:cxn ang="0">
                  <a:pos x="245" y="5"/>
                </a:cxn>
                <a:cxn ang="0">
                  <a:pos x="208" y="5"/>
                </a:cxn>
                <a:cxn ang="0">
                  <a:pos x="146" y="31"/>
                </a:cxn>
                <a:cxn ang="0">
                  <a:pos x="15" y="0"/>
                </a:cxn>
                <a:cxn ang="0">
                  <a:pos x="0" y="58"/>
                </a:cxn>
              </a:cxnLst>
              <a:rect l="0" t="0" r="r" b="b"/>
              <a:pathLst>
                <a:path w="374" h="351">
                  <a:moveTo>
                    <a:pt x="0" y="58"/>
                  </a:moveTo>
                  <a:lnTo>
                    <a:pt x="15" y="343"/>
                  </a:lnTo>
                  <a:lnTo>
                    <a:pt x="316" y="351"/>
                  </a:lnTo>
                  <a:lnTo>
                    <a:pt x="369" y="306"/>
                  </a:lnTo>
                  <a:lnTo>
                    <a:pt x="374" y="276"/>
                  </a:lnTo>
                  <a:lnTo>
                    <a:pt x="261" y="75"/>
                  </a:lnTo>
                  <a:lnTo>
                    <a:pt x="316" y="139"/>
                  </a:lnTo>
                  <a:lnTo>
                    <a:pt x="344" y="84"/>
                  </a:lnTo>
                  <a:lnTo>
                    <a:pt x="316" y="13"/>
                  </a:lnTo>
                  <a:lnTo>
                    <a:pt x="246" y="24"/>
                  </a:lnTo>
                  <a:lnTo>
                    <a:pt x="245" y="5"/>
                  </a:lnTo>
                  <a:lnTo>
                    <a:pt x="208" y="5"/>
                  </a:lnTo>
                  <a:lnTo>
                    <a:pt x="146" y="31"/>
                  </a:lnTo>
                  <a:lnTo>
                    <a:pt x="15" y="0"/>
                  </a:lnTo>
                  <a:lnTo>
                    <a:pt x="0" y="5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8" name="30636365.125364.62510.37514.1255">
              <a:extLst>
                <a:ext uri="{FF2B5EF4-FFF2-40B4-BE49-F238E27FC236}">
                  <a16:creationId xmlns:a16="http://schemas.microsoft.com/office/drawing/2014/main" id="{9F142AEE-A3D5-4D45-9159-779F3AA6CE88}"/>
                </a:ext>
              </a:extLst>
            </p:cNvPr>
            <p:cNvSpPr>
              <a:spLocks noChangeAspect="1"/>
            </p:cNvSpPr>
            <p:nvPr/>
          </p:nvSpPr>
          <p:spPr bwMode="gray">
            <a:xfrm>
              <a:off x="5519537" y="4213262"/>
              <a:ext cx="224436" cy="166517"/>
            </a:xfrm>
            <a:custGeom>
              <a:avLst/>
              <a:gdLst/>
              <a:ahLst/>
              <a:cxnLst>
                <a:cxn ang="0">
                  <a:pos x="0" y="156"/>
                </a:cxn>
                <a:cxn ang="0">
                  <a:pos x="18" y="177"/>
                </a:cxn>
                <a:cxn ang="0">
                  <a:pos x="85" y="184"/>
                </a:cxn>
                <a:cxn ang="0">
                  <a:pos x="78" y="137"/>
                </a:cxn>
                <a:cxn ang="0">
                  <a:pos x="168" y="129"/>
                </a:cxn>
                <a:cxn ang="0">
                  <a:pos x="203" y="137"/>
                </a:cxn>
                <a:cxn ang="0">
                  <a:pos x="252" y="103"/>
                </a:cxn>
                <a:cxn ang="0">
                  <a:pos x="187" y="33"/>
                </a:cxn>
                <a:cxn ang="0">
                  <a:pos x="180" y="0"/>
                </a:cxn>
                <a:cxn ang="0">
                  <a:pos x="43" y="60"/>
                </a:cxn>
                <a:cxn ang="0">
                  <a:pos x="0" y="156"/>
                </a:cxn>
              </a:cxnLst>
              <a:rect l="0" t="0" r="r" b="b"/>
              <a:pathLst>
                <a:path w="252" h="184">
                  <a:moveTo>
                    <a:pt x="0" y="156"/>
                  </a:moveTo>
                  <a:lnTo>
                    <a:pt x="18" y="177"/>
                  </a:lnTo>
                  <a:lnTo>
                    <a:pt x="85" y="184"/>
                  </a:lnTo>
                  <a:lnTo>
                    <a:pt x="78" y="137"/>
                  </a:lnTo>
                  <a:lnTo>
                    <a:pt x="168" y="129"/>
                  </a:lnTo>
                  <a:lnTo>
                    <a:pt x="203" y="137"/>
                  </a:lnTo>
                  <a:lnTo>
                    <a:pt x="252" y="103"/>
                  </a:lnTo>
                  <a:lnTo>
                    <a:pt x="187" y="33"/>
                  </a:lnTo>
                  <a:lnTo>
                    <a:pt x="180" y="0"/>
                  </a:lnTo>
                  <a:lnTo>
                    <a:pt x="43" y="60"/>
                  </a:lnTo>
                  <a:lnTo>
                    <a:pt x="0" y="15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29" name="30637408.625415.7518.37522.1255">
              <a:extLst>
                <a:ext uri="{FF2B5EF4-FFF2-40B4-BE49-F238E27FC236}">
                  <a16:creationId xmlns:a16="http://schemas.microsoft.com/office/drawing/2014/main" id="{9D06003D-76E1-4419-AFD3-3372B4585860}"/>
                </a:ext>
              </a:extLst>
            </p:cNvPr>
            <p:cNvSpPr>
              <a:spLocks noChangeAspect="1"/>
            </p:cNvSpPr>
            <p:nvPr/>
          </p:nvSpPr>
          <p:spPr bwMode="gray">
            <a:xfrm>
              <a:off x="6339304" y="4918019"/>
              <a:ext cx="353773" cy="296030"/>
            </a:xfrm>
            <a:custGeom>
              <a:avLst/>
              <a:gdLst/>
              <a:ahLst/>
              <a:cxnLst>
                <a:cxn ang="0">
                  <a:pos x="0" y="159"/>
                </a:cxn>
                <a:cxn ang="0">
                  <a:pos x="0" y="284"/>
                </a:cxn>
                <a:cxn ang="0">
                  <a:pos x="41" y="316"/>
                </a:cxn>
                <a:cxn ang="0">
                  <a:pos x="105" y="324"/>
                </a:cxn>
                <a:cxn ang="0">
                  <a:pos x="164" y="326"/>
                </a:cxn>
                <a:cxn ang="0">
                  <a:pos x="223" y="282"/>
                </a:cxn>
                <a:cxn ang="0">
                  <a:pos x="226" y="262"/>
                </a:cxn>
                <a:cxn ang="0">
                  <a:pos x="276" y="250"/>
                </a:cxn>
                <a:cxn ang="0">
                  <a:pos x="267" y="232"/>
                </a:cxn>
                <a:cxn ang="0">
                  <a:pos x="374" y="199"/>
                </a:cxn>
                <a:cxn ang="0">
                  <a:pos x="360" y="183"/>
                </a:cxn>
                <a:cxn ang="0">
                  <a:pos x="393" y="84"/>
                </a:cxn>
                <a:cxn ang="0">
                  <a:pos x="367" y="41"/>
                </a:cxn>
                <a:cxn ang="0">
                  <a:pos x="305" y="11"/>
                </a:cxn>
                <a:cxn ang="0">
                  <a:pos x="289" y="0"/>
                </a:cxn>
                <a:cxn ang="0">
                  <a:pos x="228" y="30"/>
                </a:cxn>
                <a:cxn ang="0">
                  <a:pos x="221" y="117"/>
                </a:cxn>
                <a:cxn ang="0">
                  <a:pos x="258" y="133"/>
                </a:cxn>
                <a:cxn ang="0">
                  <a:pos x="260" y="169"/>
                </a:cxn>
                <a:cxn ang="0">
                  <a:pos x="69" y="90"/>
                </a:cxn>
                <a:cxn ang="0">
                  <a:pos x="74" y="159"/>
                </a:cxn>
                <a:cxn ang="0">
                  <a:pos x="0" y="159"/>
                </a:cxn>
              </a:cxnLst>
              <a:rect l="0" t="0" r="r" b="b"/>
              <a:pathLst>
                <a:path w="393" h="326">
                  <a:moveTo>
                    <a:pt x="0" y="159"/>
                  </a:moveTo>
                  <a:lnTo>
                    <a:pt x="0" y="284"/>
                  </a:lnTo>
                  <a:lnTo>
                    <a:pt x="41" y="316"/>
                  </a:lnTo>
                  <a:lnTo>
                    <a:pt x="105" y="324"/>
                  </a:lnTo>
                  <a:lnTo>
                    <a:pt x="164" y="326"/>
                  </a:lnTo>
                  <a:lnTo>
                    <a:pt x="223" y="282"/>
                  </a:lnTo>
                  <a:lnTo>
                    <a:pt x="226" y="262"/>
                  </a:lnTo>
                  <a:lnTo>
                    <a:pt x="276" y="250"/>
                  </a:lnTo>
                  <a:lnTo>
                    <a:pt x="267" y="232"/>
                  </a:lnTo>
                  <a:lnTo>
                    <a:pt x="374" y="199"/>
                  </a:lnTo>
                  <a:lnTo>
                    <a:pt x="360" y="183"/>
                  </a:lnTo>
                  <a:lnTo>
                    <a:pt x="393" y="84"/>
                  </a:lnTo>
                  <a:lnTo>
                    <a:pt x="367" y="41"/>
                  </a:lnTo>
                  <a:lnTo>
                    <a:pt x="305" y="11"/>
                  </a:lnTo>
                  <a:lnTo>
                    <a:pt x="289" y="0"/>
                  </a:lnTo>
                  <a:lnTo>
                    <a:pt x="228" y="30"/>
                  </a:lnTo>
                  <a:lnTo>
                    <a:pt x="221" y="117"/>
                  </a:lnTo>
                  <a:lnTo>
                    <a:pt x="258" y="133"/>
                  </a:lnTo>
                  <a:lnTo>
                    <a:pt x="260" y="169"/>
                  </a:lnTo>
                  <a:lnTo>
                    <a:pt x="69" y="90"/>
                  </a:lnTo>
                  <a:lnTo>
                    <a:pt x="74" y="159"/>
                  </a:lnTo>
                  <a:lnTo>
                    <a:pt x="0" y="15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0" name="30639277.125418.12511.625155">
              <a:extLst>
                <a:ext uri="{FF2B5EF4-FFF2-40B4-BE49-F238E27FC236}">
                  <a16:creationId xmlns:a16="http://schemas.microsoft.com/office/drawing/2014/main" id="{4BEE111E-25F2-4E00-97E1-DC45504A2340}"/>
                </a:ext>
              </a:extLst>
            </p:cNvPr>
            <p:cNvSpPr>
              <a:spLocks noChangeAspect="1"/>
            </p:cNvSpPr>
            <p:nvPr/>
          </p:nvSpPr>
          <p:spPr bwMode="gray">
            <a:xfrm>
              <a:off x="6377343" y="2785251"/>
              <a:ext cx="239653" cy="191748"/>
            </a:xfrm>
            <a:custGeom>
              <a:avLst/>
              <a:gdLst/>
              <a:ahLst/>
              <a:cxnLst>
                <a:cxn ang="0">
                  <a:pos x="86" y="0"/>
                </a:cxn>
                <a:cxn ang="0">
                  <a:pos x="108" y="5"/>
                </a:cxn>
                <a:cxn ang="0">
                  <a:pos x="130" y="20"/>
                </a:cxn>
                <a:cxn ang="0">
                  <a:pos x="166" y="20"/>
                </a:cxn>
                <a:cxn ang="0">
                  <a:pos x="203" y="25"/>
                </a:cxn>
                <a:cxn ang="0">
                  <a:pos x="221" y="50"/>
                </a:cxn>
                <a:cxn ang="0">
                  <a:pos x="236" y="84"/>
                </a:cxn>
                <a:cxn ang="0">
                  <a:pos x="242" y="97"/>
                </a:cxn>
                <a:cxn ang="0">
                  <a:pos x="255" y="108"/>
                </a:cxn>
                <a:cxn ang="0">
                  <a:pos x="265" y="117"/>
                </a:cxn>
                <a:cxn ang="0">
                  <a:pos x="265" y="130"/>
                </a:cxn>
                <a:cxn ang="0">
                  <a:pos x="248" y="130"/>
                </a:cxn>
                <a:cxn ang="0">
                  <a:pos x="225" y="130"/>
                </a:cxn>
                <a:cxn ang="0">
                  <a:pos x="236" y="144"/>
                </a:cxn>
                <a:cxn ang="0">
                  <a:pos x="244" y="152"/>
                </a:cxn>
                <a:cxn ang="0">
                  <a:pos x="248" y="170"/>
                </a:cxn>
                <a:cxn ang="0">
                  <a:pos x="236" y="178"/>
                </a:cxn>
                <a:cxn ang="0">
                  <a:pos x="215" y="178"/>
                </a:cxn>
                <a:cxn ang="0">
                  <a:pos x="213" y="178"/>
                </a:cxn>
                <a:cxn ang="0">
                  <a:pos x="203" y="186"/>
                </a:cxn>
                <a:cxn ang="0">
                  <a:pos x="203" y="203"/>
                </a:cxn>
                <a:cxn ang="0">
                  <a:pos x="189" y="207"/>
                </a:cxn>
                <a:cxn ang="0">
                  <a:pos x="176" y="199"/>
                </a:cxn>
                <a:cxn ang="0">
                  <a:pos x="155" y="194"/>
                </a:cxn>
                <a:cxn ang="0">
                  <a:pos x="136" y="186"/>
                </a:cxn>
                <a:cxn ang="0">
                  <a:pos x="118" y="190"/>
                </a:cxn>
                <a:cxn ang="0">
                  <a:pos x="63" y="170"/>
                </a:cxn>
                <a:cxn ang="0">
                  <a:pos x="41" y="174"/>
                </a:cxn>
                <a:cxn ang="0">
                  <a:pos x="22" y="170"/>
                </a:cxn>
                <a:cxn ang="0">
                  <a:pos x="12" y="186"/>
                </a:cxn>
                <a:cxn ang="0">
                  <a:pos x="0" y="150"/>
                </a:cxn>
                <a:cxn ang="0">
                  <a:pos x="23" y="128"/>
                </a:cxn>
                <a:cxn ang="0">
                  <a:pos x="7" y="84"/>
                </a:cxn>
                <a:cxn ang="0">
                  <a:pos x="22" y="90"/>
                </a:cxn>
                <a:cxn ang="0">
                  <a:pos x="24" y="80"/>
                </a:cxn>
                <a:cxn ang="0">
                  <a:pos x="29" y="64"/>
                </a:cxn>
                <a:cxn ang="0">
                  <a:pos x="38" y="56"/>
                </a:cxn>
                <a:cxn ang="0">
                  <a:pos x="41" y="36"/>
                </a:cxn>
                <a:cxn ang="0">
                  <a:pos x="59" y="17"/>
                </a:cxn>
                <a:cxn ang="0">
                  <a:pos x="71" y="0"/>
                </a:cxn>
                <a:cxn ang="0">
                  <a:pos x="86" y="0"/>
                </a:cxn>
              </a:cxnLst>
              <a:rect l="0" t="0" r="r" b="b"/>
              <a:pathLst>
                <a:path w="265" h="207">
                  <a:moveTo>
                    <a:pt x="86" y="0"/>
                  </a:moveTo>
                  <a:lnTo>
                    <a:pt x="108" y="5"/>
                  </a:lnTo>
                  <a:lnTo>
                    <a:pt x="130" y="20"/>
                  </a:lnTo>
                  <a:lnTo>
                    <a:pt x="166" y="20"/>
                  </a:lnTo>
                  <a:lnTo>
                    <a:pt x="203" y="25"/>
                  </a:lnTo>
                  <a:lnTo>
                    <a:pt x="221" y="50"/>
                  </a:lnTo>
                  <a:lnTo>
                    <a:pt x="236" y="84"/>
                  </a:lnTo>
                  <a:lnTo>
                    <a:pt x="242" y="97"/>
                  </a:lnTo>
                  <a:lnTo>
                    <a:pt x="255" y="108"/>
                  </a:lnTo>
                  <a:lnTo>
                    <a:pt x="265" y="117"/>
                  </a:lnTo>
                  <a:lnTo>
                    <a:pt x="265" y="130"/>
                  </a:lnTo>
                  <a:lnTo>
                    <a:pt x="248" y="130"/>
                  </a:lnTo>
                  <a:lnTo>
                    <a:pt x="225" y="130"/>
                  </a:lnTo>
                  <a:lnTo>
                    <a:pt x="236" y="144"/>
                  </a:lnTo>
                  <a:lnTo>
                    <a:pt x="244" y="152"/>
                  </a:lnTo>
                  <a:lnTo>
                    <a:pt x="248" y="170"/>
                  </a:lnTo>
                  <a:lnTo>
                    <a:pt x="236" y="178"/>
                  </a:lnTo>
                  <a:lnTo>
                    <a:pt x="215" y="178"/>
                  </a:lnTo>
                  <a:lnTo>
                    <a:pt x="213" y="178"/>
                  </a:lnTo>
                  <a:lnTo>
                    <a:pt x="203" y="186"/>
                  </a:lnTo>
                  <a:lnTo>
                    <a:pt x="203" y="203"/>
                  </a:lnTo>
                  <a:lnTo>
                    <a:pt x="189" y="207"/>
                  </a:lnTo>
                  <a:lnTo>
                    <a:pt x="176" y="199"/>
                  </a:lnTo>
                  <a:lnTo>
                    <a:pt x="155" y="194"/>
                  </a:lnTo>
                  <a:lnTo>
                    <a:pt x="136" y="186"/>
                  </a:lnTo>
                  <a:lnTo>
                    <a:pt x="118" y="190"/>
                  </a:lnTo>
                  <a:lnTo>
                    <a:pt x="63" y="170"/>
                  </a:lnTo>
                  <a:lnTo>
                    <a:pt x="41" y="174"/>
                  </a:lnTo>
                  <a:lnTo>
                    <a:pt x="22" y="170"/>
                  </a:lnTo>
                  <a:lnTo>
                    <a:pt x="12" y="186"/>
                  </a:lnTo>
                  <a:lnTo>
                    <a:pt x="0" y="150"/>
                  </a:lnTo>
                  <a:lnTo>
                    <a:pt x="23" y="128"/>
                  </a:lnTo>
                  <a:lnTo>
                    <a:pt x="7" y="84"/>
                  </a:lnTo>
                  <a:lnTo>
                    <a:pt x="22" y="90"/>
                  </a:lnTo>
                  <a:lnTo>
                    <a:pt x="24" y="80"/>
                  </a:lnTo>
                  <a:lnTo>
                    <a:pt x="29" y="64"/>
                  </a:lnTo>
                  <a:lnTo>
                    <a:pt x="38" y="56"/>
                  </a:lnTo>
                  <a:lnTo>
                    <a:pt x="41" y="36"/>
                  </a:lnTo>
                  <a:lnTo>
                    <a:pt x="59" y="17"/>
                  </a:lnTo>
                  <a:lnTo>
                    <a:pt x="71" y="0"/>
                  </a:lnTo>
                  <a:lnTo>
                    <a:pt x="86" y="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1" name="30640285.37541619.12533.1255">
              <a:extLst>
                <a:ext uri="{FF2B5EF4-FFF2-40B4-BE49-F238E27FC236}">
                  <a16:creationId xmlns:a16="http://schemas.microsoft.com/office/drawing/2014/main" id="{E6238A16-7A45-4592-83C3-B2B398C6D7A3}"/>
                </a:ext>
              </a:extLst>
            </p:cNvPr>
            <p:cNvSpPr>
              <a:spLocks noChangeAspect="1"/>
            </p:cNvSpPr>
            <p:nvPr/>
          </p:nvSpPr>
          <p:spPr bwMode="gray">
            <a:xfrm>
              <a:off x="6341204" y="2919809"/>
              <a:ext cx="532560" cy="309486"/>
            </a:xfrm>
            <a:custGeom>
              <a:avLst/>
              <a:gdLst/>
              <a:ahLst/>
              <a:cxnLst>
                <a:cxn ang="0">
                  <a:pos x="301" y="13"/>
                </a:cxn>
                <a:cxn ang="0">
                  <a:pos x="330" y="0"/>
                </a:cxn>
                <a:cxn ang="0">
                  <a:pos x="366" y="22"/>
                </a:cxn>
                <a:cxn ang="0">
                  <a:pos x="380" y="49"/>
                </a:cxn>
                <a:cxn ang="0">
                  <a:pos x="422" y="73"/>
                </a:cxn>
                <a:cxn ang="0">
                  <a:pos x="477" y="110"/>
                </a:cxn>
                <a:cxn ang="0">
                  <a:pos x="516" y="110"/>
                </a:cxn>
                <a:cxn ang="0">
                  <a:pos x="571" y="125"/>
                </a:cxn>
                <a:cxn ang="0">
                  <a:pos x="557" y="184"/>
                </a:cxn>
                <a:cxn ang="0">
                  <a:pos x="507" y="235"/>
                </a:cxn>
                <a:cxn ang="0">
                  <a:pos x="432" y="276"/>
                </a:cxn>
                <a:cxn ang="0">
                  <a:pos x="435" y="298"/>
                </a:cxn>
                <a:cxn ang="0">
                  <a:pos x="397" y="338"/>
                </a:cxn>
                <a:cxn ang="0">
                  <a:pos x="389" y="271"/>
                </a:cxn>
                <a:cxn ang="0">
                  <a:pos x="327" y="264"/>
                </a:cxn>
                <a:cxn ang="0">
                  <a:pos x="326" y="242"/>
                </a:cxn>
                <a:cxn ang="0">
                  <a:pos x="250" y="300"/>
                </a:cxn>
                <a:cxn ang="0">
                  <a:pos x="224" y="267"/>
                </a:cxn>
                <a:cxn ang="0">
                  <a:pos x="246" y="246"/>
                </a:cxn>
                <a:cxn ang="0">
                  <a:pos x="260" y="228"/>
                </a:cxn>
                <a:cxn ang="0">
                  <a:pos x="231" y="192"/>
                </a:cxn>
                <a:cxn ang="0">
                  <a:pos x="179" y="173"/>
                </a:cxn>
                <a:cxn ang="0">
                  <a:pos x="90" y="184"/>
                </a:cxn>
                <a:cxn ang="0">
                  <a:pos x="22" y="189"/>
                </a:cxn>
                <a:cxn ang="0">
                  <a:pos x="14" y="140"/>
                </a:cxn>
                <a:cxn ang="0">
                  <a:pos x="63" y="75"/>
                </a:cxn>
                <a:cxn ang="0">
                  <a:pos x="52" y="30"/>
                </a:cxn>
                <a:cxn ang="0">
                  <a:pos x="80" y="26"/>
                </a:cxn>
                <a:cxn ang="0">
                  <a:pos x="128" y="31"/>
                </a:cxn>
                <a:cxn ang="0">
                  <a:pos x="175" y="37"/>
                </a:cxn>
                <a:cxn ang="0">
                  <a:pos x="215" y="51"/>
                </a:cxn>
                <a:cxn ang="0">
                  <a:pos x="242" y="55"/>
                </a:cxn>
                <a:cxn ang="0">
                  <a:pos x="252" y="30"/>
                </a:cxn>
                <a:cxn ang="0">
                  <a:pos x="283" y="26"/>
                </a:cxn>
              </a:cxnLst>
              <a:rect l="0" t="0" r="r" b="b"/>
              <a:pathLst>
                <a:path w="587" h="338">
                  <a:moveTo>
                    <a:pt x="292" y="16"/>
                  </a:moveTo>
                  <a:lnTo>
                    <a:pt x="301" y="13"/>
                  </a:lnTo>
                  <a:lnTo>
                    <a:pt x="318" y="4"/>
                  </a:lnTo>
                  <a:lnTo>
                    <a:pt x="330" y="0"/>
                  </a:lnTo>
                  <a:lnTo>
                    <a:pt x="356" y="4"/>
                  </a:lnTo>
                  <a:lnTo>
                    <a:pt x="366" y="22"/>
                  </a:lnTo>
                  <a:lnTo>
                    <a:pt x="371" y="42"/>
                  </a:lnTo>
                  <a:lnTo>
                    <a:pt x="380" y="49"/>
                  </a:lnTo>
                  <a:lnTo>
                    <a:pt x="393" y="45"/>
                  </a:lnTo>
                  <a:lnTo>
                    <a:pt x="422" y="73"/>
                  </a:lnTo>
                  <a:lnTo>
                    <a:pt x="437" y="95"/>
                  </a:lnTo>
                  <a:lnTo>
                    <a:pt x="477" y="110"/>
                  </a:lnTo>
                  <a:lnTo>
                    <a:pt x="503" y="114"/>
                  </a:lnTo>
                  <a:lnTo>
                    <a:pt x="516" y="110"/>
                  </a:lnTo>
                  <a:lnTo>
                    <a:pt x="540" y="121"/>
                  </a:lnTo>
                  <a:lnTo>
                    <a:pt x="571" y="125"/>
                  </a:lnTo>
                  <a:lnTo>
                    <a:pt x="587" y="177"/>
                  </a:lnTo>
                  <a:lnTo>
                    <a:pt x="557" y="184"/>
                  </a:lnTo>
                  <a:lnTo>
                    <a:pt x="551" y="209"/>
                  </a:lnTo>
                  <a:lnTo>
                    <a:pt x="507" y="235"/>
                  </a:lnTo>
                  <a:lnTo>
                    <a:pt x="439" y="253"/>
                  </a:lnTo>
                  <a:lnTo>
                    <a:pt x="432" y="276"/>
                  </a:lnTo>
                  <a:lnTo>
                    <a:pt x="403" y="267"/>
                  </a:lnTo>
                  <a:lnTo>
                    <a:pt x="435" y="298"/>
                  </a:lnTo>
                  <a:lnTo>
                    <a:pt x="473" y="302"/>
                  </a:lnTo>
                  <a:lnTo>
                    <a:pt x="397" y="338"/>
                  </a:lnTo>
                  <a:lnTo>
                    <a:pt x="352" y="300"/>
                  </a:lnTo>
                  <a:lnTo>
                    <a:pt x="389" y="271"/>
                  </a:lnTo>
                  <a:lnTo>
                    <a:pt x="352" y="264"/>
                  </a:lnTo>
                  <a:lnTo>
                    <a:pt x="327" y="264"/>
                  </a:lnTo>
                  <a:lnTo>
                    <a:pt x="333" y="239"/>
                  </a:lnTo>
                  <a:lnTo>
                    <a:pt x="326" y="242"/>
                  </a:lnTo>
                  <a:lnTo>
                    <a:pt x="271" y="256"/>
                  </a:lnTo>
                  <a:lnTo>
                    <a:pt x="250" y="300"/>
                  </a:lnTo>
                  <a:lnTo>
                    <a:pt x="215" y="297"/>
                  </a:lnTo>
                  <a:lnTo>
                    <a:pt x="224" y="267"/>
                  </a:lnTo>
                  <a:lnTo>
                    <a:pt x="226" y="253"/>
                  </a:lnTo>
                  <a:lnTo>
                    <a:pt x="246" y="246"/>
                  </a:lnTo>
                  <a:lnTo>
                    <a:pt x="257" y="236"/>
                  </a:lnTo>
                  <a:lnTo>
                    <a:pt x="260" y="228"/>
                  </a:lnTo>
                  <a:lnTo>
                    <a:pt x="246" y="224"/>
                  </a:lnTo>
                  <a:lnTo>
                    <a:pt x="231" y="192"/>
                  </a:lnTo>
                  <a:lnTo>
                    <a:pt x="208" y="173"/>
                  </a:lnTo>
                  <a:lnTo>
                    <a:pt x="179" y="173"/>
                  </a:lnTo>
                  <a:lnTo>
                    <a:pt x="142" y="181"/>
                  </a:lnTo>
                  <a:lnTo>
                    <a:pt x="90" y="184"/>
                  </a:lnTo>
                  <a:lnTo>
                    <a:pt x="62" y="189"/>
                  </a:lnTo>
                  <a:lnTo>
                    <a:pt x="22" y="189"/>
                  </a:lnTo>
                  <a:lnTo>
                    <a:pt x="0" y="170"/>
                  </a:lnTo>
                  <a:lnTo>
                    <a:pt x="14" y="140"/>
                  </a:lnTo>
                  <a:lnTo>
                    <a:pt x="37" y="108"/>
                  </a:lnTo>
                  <a:lnTo>
                    <a:pt x="63" y="75"/>
                  </a:lnTo>
                  <a:lnTo>
                    <a:pt x="51" y="37"/>
                  </a:lnTo>
                  <a:lnTo>
                    <a:pt x="52" y="30"/>
                  </a:lnTo>
                  <a:lnTo>
                    <a:pt x="61" y="22"/>
                  </a:lnTo>
                  <a:lnTo>
                    <a:pt x="80" y="26"/>
                  </a:lnTo>
                  <a:lnTo>
                    <a:pt x="102" y="22"/>
                  </a:lnTo>
                  <a:lnTo>
                    <a:pt x="128" y="31"/>
                  </a:lnTo>
                  <a:lnTo>
                    <a:pt x="156" y="42"/>
                  </a:lnTo>
                  <a:lnTo>
                    <a:pt x="175" y="37"/>
                  </a:lnTo>
                  <a:lnTo>
                    <a:pt x="194" y="46"/>
                  </a:lnTo>
                  <a:lnTo>
                    <a:pt x="215" y="51"/>
                  </a:lnTo>
                  <a:lnTo>
                    <a:pt x="228" y="59"/>
                  </a:lnTo>
                  <a:lnTo>
                    <a:pt x="242" y="55"/>
                  </a:lnTo>
                  <a:lnTo>
                    <a:pt x="243" y="38"/>
                  </a:lnTo>
                  <a:lnTo>
                    <a:pt x="252" y="30"/>
                  </a:lnTo>
                  <a:lnTo>
                    <a:pt x="275" y="30"/>
                  </a:lnTo>
                  <a:lnTo>
                    <a:pt x="283" y="26"/>
                  </a:lnTo>
                  <a:lnTo>
                    <a:pt x="292" y="1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2" name="30641295.125424.576.255">
              <a:extLst>
                <a:ext uri="{FF2B5EF4-FFF2-40B4-BE49-F238E27FC236}">
                  <a16:creationId xmlns:a16="http://schemas.microsoft.com/office/drawing/2014/main" id="{A0545ECC-F472-4658-84AE-BD34528D8EED}"/>
                </a:ext>
              </a:extLst>
            </p:cNvPr>
            <p:cNvSpPr>
              <a:spLocks noChangeAspect="1"/>
            </p:cNvSpPr>
            <p:nvPr/>
          </p:nvSpPr>
          <p:spPr bwMode="gray">
            <a:xfrm>
              <a:off x="6478151" y="3077919"/>
              <a:ext cx="100805" cy="116057"/>
            </a:xfrm>
            <a:custGeom>
              <a:avLst/>
              <a:gdLst/>
              <a:ahLst/>
              <a:cxnLst>
                <a:cxn ang="0">
                  <a:pos x="25" y="33"/>
                </a:cxn>
                <a:cxn ang="0">
                  <a:pos x="39" y="51"/>
                </a:cxn>
                <a:cxn ang="0">
                  <a:pos x="46" y="65"/>
                </a:cxn>
                <a:cxn ang="0">
                  <a:pos x="53" y="121"/>
                </a:cxn>
                <a:cxn ang="0">
                  <a:pos x="64" y="122"/>
                </a:cxn>
                <a:cxn ang="0">
                  <a:pos x="73" y="94"/>
                </a:cxn>
                <a:cxn ang="0">
                  <a:pos x="75" y="78"/>
                </a:cxn>
                <a:cxn ang="0">
                  <a:pos x="103" y="69"/>
                </a:cxn>
                <a:cxn ang="0">
                  <a:pos x="110" y="56"/>
                </a:cxn>
                <a:cxn ang="0">
                  <a:pos x="97" y="52"/>
                </a:cxn>
                <a:cxn ang="0">
                  <a:pos x="81" y="21"/>
                </a:cxn>
                <a:cxn ang="0">
                  <a:pos x="58" y="1"/>
                </a:cxn>
                <a:cxn ang="0">
                  <a:pos x="28" y="0"/>
                </a:cxn>
                <a:cxn ang="0">
                  <a:pos x="0" y="4"/>
                </a:cxn>
                <a:cxn ang="0">
                  <a:pos x="25" y="33"/>
                </a:cxn>
              </a:cxnLst>
              <a:rect l="0" t="0" r="r" b="b"/>
              <a:pathLst>
                <a:path w="110" h="122">
                  <a:moveTo>
                    <a:pt x="25" y="33"/>
                  </a:moveTo>
                  <a:lnTo>
                    <a:pt x="39" y="51"/>
                  </a:lnTo>
                  <a:lnTo>
                    <a:pt x="46" y="65"/>
                  </a:lnTo>
                  <a:lnTo>
                    <a:pt x="53" y="121"/>
                  </a:lnTo>
                  <a:lnTo>
                    <a:pt x="64" y="122"/>
                  </a:lnTo>
                  <a:lnTo>
                    <a:pt x="73" y="94"/>
                  </a:lnTo>
                  <a:lnTo>
                    <a:pt x="75" y="78"/>
                  </a:lnTo>
                  <a:lnTo>
                    <a:pt x="103" y="69"/>
                  </a:lnTo>
                  <a:lnTo>
                    <a:pt x="110" y="56"/>
                  </a:lnTo>
                  <a:lnTo>
                    <a:pt x="97" y="52"/>
                  </a:lnTo>
                  <a:lnTo>
                    <a:pt x="81" y="21"/>
                  </a:lnTo>
                  <a:lnTo>
                    <a:pt x="58" y="1"/>
                  </a:lnTo>
                  <a:lnTo>
                    <a:pt x="28" y="0"/>
                  </a:lnTo>
                  <a:lnTo>
                    <a:pt x="0" y="4"/>
                  </a:lnTo>
                  <a:lnTo>
                    <a:pt x="25" y="33"/>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3" name="30642304.625447.1256.25145">
              <a:extLst>
                <a:ext uri="{FF2B5EF4-FFF2-40B4-BE49-F238E27FC236}">
                  <a16:creationId xmlns:a16="http://schemas.microsoft.com/office/drawing/2014/main" id="{CDEF1E28-3C52-4295-9537-FB7856BAEB5E}"/>
                </a:ext>
              </a:extLst>
            </p:cNvPr>
            <p:cNvSpPr>
              <a:spLocks noChangeAspect="1"/>
            </p:cNvSpPr>
            <p:nvPr/>
          </p:nvSpPr>
          <p:spPr bwMode="gray">
            <a:xfrm>
              <a:off x="6841431" y="3232660"/>
              <a:ext cx="226341" cy="100920"/>
            </a:xfrm>
            <a:custGeom>
              <a:avLst/>
              <a:gdLst/>
              <a:ahLst/>
              <a:cxnLst>
                <a:cxn ang="0">
                  <a:pos x="0" y="6"/>
                </a:cxn>
                <a:cxn ang="0">
                  <a:pos x="59" y="0"/>
                </a:cxn>
                <a:cxn ang="0">
                  <a:pos x="115" y="22"/>
                </a:cxn>
                <a:cxn ang="0">
                  <a:pos x="139" y="47"/>
                </a:cxn>
                <a:cxn ang="0">
                  <a:pos x="167" y="47"/>
                </a:cxn>
                <a:cxn ang="0">
                  <a:pos x="188" y="36"/>
                </a:cxn>
                <a:cxn ang="0">
                  <a:pos x="203" y="32"/>
                </a:cxn>
                <a:cxn ang="0">
                  <a:pos x="218" y="58"/>
                </a:cxn>
                <a:cxn ang="0">
                  <a:pos x="244" y="64"/>
                </a:cxn>
                <a:cxn ang="0">
                  <a:pos x="239" y="75"/>
                </a:cxn>
                <a:cxn ang="0">
                  <a:pos x="247" y="94"/>
                </a:cxn>
                <a:cxn ang="0">
                  <a:pos x="244" y="109"/>
                </a:cxn>
                <a:cxn ang="0">
                  <a:pos x="218" y="86"/>
                </a:cxn>
                <a:cxn ang="0">
                  <a:pos x="203" y="79"/>
                </a:cxn>
                <a:cxn ang="0">
                  <a:pos x="189" y="79"/>
                </a:cxn>
                <a:cxn ang="0">
                  <a:pos x="182" y="104"/>
                </a:cxn>
                <a:cxn ang="0">
                  <a:pos x="163" y="97"/>
                </a:cxn>
                <a:cxn ang="0">
                  <a:pos x="132" y="110"/>
                </a:cxn>
                <a:cxn ang="0">
                  <a:pos x="95" y="108"/>
                </a:cxn>
                <a:cxn ang="0">
                  <a:pos x="93" y="64"/>
                </a:cxn>
                <a:cxn ang="0">
                  <a:pos x="33" y="27"/>
                </a:cxn>
                <a:cxn ang="0">
                  <a:pos x="0" y="6"/>
                </a:cxn>
              </a:cxnLst>
              <a:rect l="0" t="0" r="r" b="b"/>
              <a:pathLst>
                <a:path w="247" h="110">
                  <a:moveTo>
                    <a:pt x="0" y="6"/>
                  </a:moveTo>
                  <a:lnTo>
                    <a:pt x="59" y="0"/>
                  </a:lnTo>
                  <a:lnTo>
                    <a:pt x="115" y="22"/>
                  </a:lnTo>
                  <a:lnTo>
                    <a:pt x="139" y="47"/>
                  </a:lnTo>
                  <a:lnTo>
                    <a:pt x="167" y="47"/>
                  </a:lnTo>
                  <a:lnTo>
                    <a:pt x="188" y="36"/>
                  </a:lnTo>
                  <a:lnTo>
                    <a:pt x="203" y="32"/>
                  </a:lnTo>
                  <a:lnTo>
                    <a:pt x="218" y="58"/>
                  </a:lnTo>
                  <a:lnTo>
                    <a:pt x="244" y="64"/>
                  </a:lnTo>
                  <a:lnTo>
                    <a:pt x="239" y="75"/>
                  </a:lnTo>
                  <a:lnTo>
                    <a:pt x="247" y="94"/>
                  </a:lnTo>
                  <a:lnTo>
                    <a:pt x="244" y="109"/>
                  </a:lnTo>
                  <a:lnTo>
                    <a:pt x="218" y="86"/>
                  </a:lnTo>
                  <a:lnTo>
                    <a:pt x="203" y="79"/>
                  </a:lnTo>
                  <a:lnTo>
                    <a:pt x="189" y="79"/>
                  </a:lnTo>
                  <a:lnTo>
                    <a:pt x="182" y="104"/>
                  </a:lnTo>
                  <a:lnTo>
                    <a:pt x="163" y="97"/>
                  </a:lnTo>
                  <a:lnTo>
                    <a:pt x="132" y="110"/>
                  </a:lnTo>
                  <a:lnTo>
                    <a:pt x="95" y="108"/>
                  </a:lnTo>
                  <a:lnTo>
                    <a:pt x="93" y="64"/>
                  </a:lnTo>
                  <a:lnTo>
                    <a:pt x="33" y="27"/>
                  </a:lnTo>
                  <a:lnTo>
                    <a:pt x="0" y="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4" name="30643308.125457.59.511.6255">
              <a:extLst>
                <a:ext uri="{FF2B5EF4-FFF2-40B4-BE49-F238E27FC236}">
                  <a16:creationId xmlns:a16="http://schemas.microsoft.com/office/drawing/2014/main" id="{8BB9E804-99D2-4E3B-B85E-C2FE36D11527}"/>
                </a:ext>
              </a:extLst>
            </p:cNvPr>
            <p:cNvSpPr>
              <a:spLocks noChangeAspect="1"/>
            </p:cNvSpPr>
            <p:nvPr/>
          </p:nvSpPr>
          <p:spPr bwMode="gray">
            <a:xfrm>
              <a:off x="7006907" y="3288166"/>
              <a:ext cx="186397" cy="154745"/>
            </a:xfrm>
            <a:custGeom>
              <a:avLst/>
              <a:gdLst/>
              <a:ahLst/>
              <a:cxnLst>
                <a:cxn ang="0">
                  <a:pos x="77" y="7"/>
                </a:cxn>
                <a:cxn ang="0">
                  <a:pos x="88" y="7"/>
                </a:cxn>
                <a:cxn ang="0">
                  <a:pos x="119" y="15"/>
                </a:cxn>
                <a:cxn ang="0">
                  <a:pos x="149" y="37"/>
                </a:cxn>
                <a:cxn ang="0">
                  <a:pos x="167" y="63"/>
                </a:cxn>
                <a:cxn ang="0">
                  <a:pos x="205" y="95"/>
                </a:cxn>
                <a:cxn ang="0">
                  <a:pos x="185" y="101"/>
                </a:cxn>
                <a:cxn ang="0">
                  <a:pos x="171" y="121"/>
                </a:cxn>
                <a:cxn ang="0">
                  <a:pos x="168" y="130"/>
                </a:cxn>
                <a:cxn ang="0">
                  <a:pos x="160" y="166"/>
                </a:cxn>
                <a:cxn ang="0">
                  <a:pos x="132" y="156"/>
                </a:cxn>
                <a:cxn ang="0">
                  <a:pos x="126" y="125"/>
                </a:cxn>
                <a:cxn ang="0">
                  <a:pos x="98" y="137"/>
                </a:cxn>
                <a:cxn ang="0">
                  <a:pos x="69" y="155"/>
                </a:cxn>
                <a:cxn ang="0">
                  <a:pos x="53" y="151"/>
                </a:cxn>
                <a:cxn ang="0">
                  <a:pos x="38" y="136"/>
                </a:cxn>
                <a:cxn ang="0">
                  <a:pos x="28" y="121"/>
                </a:cxn>
                <a:cxn ang="0">
                  <a:pos x="40" y="106"/>
                </a:cxn>
                <a:cxn ang="0">
                  <a:pos x="49" y="118"/>
                </a:cxn>
                <a:cxn ang="0">
                  <a:pos x="84" y="134"/>
                </a:cxn>
                <a:cxn ang="0">
                  <a:pos x="91" y="119"/>
                </a:cxn>
                <a:cxn ang="0">
                  <a:pos x="58" y="93"/>
                </a:cxn>
                <a:cxn ang="0">
                  <a:pos x="47" y="71"/>
                </a:cxn>
                <a:cxn ang="0">
                  <a:pos x="36" y="63"/>
                </a:cxn>
                <a:cxn ang="0">
                  <a:pos x="36" y="51"/>
                </a:cxn>
                <a:cxn ang="0">
                  <a:pos x="21" y="45"/>
                </a:cxn>
                <a:cxn ang="0">
                  <a:pos x="0" y="41"/>
                </a:cxn>
                <a:cxn ang="0">
                  <a:pos x="6" y="24"/>
                </a:cxn>
                <a:cxn ang="0">
                  <a:pos x="9" y="15"/>
                </a:cxn>
                <a:cxn ang="0">
                  <a:pos x="25" y="15"/>
                </a:cxn>
                <a:cxn ang="0">
                  <a:pos x="36" y="22"/>
                </a:cxn>
                <a:cxn ang="0">
                  <a:pos x="62" y="45"/>
                </a:cxn>
                <a:cxn ang="0">
                  <a:pos x="65" y="30"/>
                </a:cxn>
                <a:cxn ang="0">
                  <a:pos x="57" y="12"/>
                </a:cxn>
                <a:cxn ang="0">
                  <a:pos x="62" y="0"/>
                </a:cxn>
                <a:cxn ang="0">
                  <a:pos x="77" y="7"/>
                </a:cxn>
              </a:cxnLst>
              <a:rect l="0" t="0" r="r" b="b"/>
              <a:pathLst>
                <a:path w="205" h="166">
                  <a:moveTo>
                    <a:pt x="77" y="7"/>
                  </a:moveTo>
                  <a:lnTo>
                    <a:pt x="88" y="7"/>
                  </a:lnTo>
                  <a:lnTo>
                    <a:pt x="119" y="15"/>
                  </a:lnTo>
                  <a:lnTo>
                    <a:pt x="149" y="37"/>
                  </a:lnTo>
                  <a:lnTo>
                    <a:pt x="167" y="63"/>
                  </a:lnTo>
                  <a:lnTo>
                    <a:pt x="205" y="95"/>
                  </a:lnTo>
                  <a:lnTo>
                    <a:pt x="185" y="101"/>
                  </a:lnTo>
                  <a:lnTo>
                    <a:pt x="171" y="121"/>
                  </a:lnTo>
                  <a:lnTo>
                    <a:pt x="168" y="130"/>
                  </a:lnTo>
                  <a:lnTo>
                    <a:pt x="160" y="166"/>
                  </a:lnTo>
                  <a:lnTo>
                    <a:pt x="132" y="156"/>
                  </a:lnTo>
                  <a:lnTo>
                    <a:pt x="126" y="125"/>
                  </a:lnTo>
                  <a:lnTo>
                    <a:pt x="98" y="137"/>
                  </a:lnTo>
                  <a:lnTo>
                    <a:pt x="69" y="155"/>
                  </a:lnTo>
                  <a:lnTo>
                    <a:pt x="53" y="151"/>
                  </a:lnTo>
                  <a:lnTo>
                    <a:pt x="38" y="136"/>
                  </a:lnTo>
                  <a:lnTo>
                    <a:pt x="28" y="121"/>
                  </a:lnTo>
                  <a:lnTo>
                    <a:pt x="40" y="106"/>
                  </a:lnTo>
                  <a:lnTo>
                    <a:pt x="49" y="118"/>
                  </a:lnTo>
                  <a:lnTo>
                    <a:pt x="84" y="134"/>
                  </a:lnTo>
                  <a:lnTo>
                    <a:pt x="91" y="119"/>
                  </a:lnTo>
                  <a:lnTo>
                    <a:pt x="58" y="93"/>
                  </a:lnTo>
                  <a:lnTo>
                    <a:pt x="47" y="71"/>
                  </a:lnTo>
                  <a:lnTo>
                    <a:pt x="36" y="63"/>
                  </a:lnTo>
                  <a:lnTo>
                    <a:pt x="36" y="51"/>
                  </a:lnTo>
                  <a:lnTo>
                    <a:pt x="21" y="45"/>
                  </a:lnTo>
                  <a:lnTo>
                    <a:pt x="0" y="41"/>
                  </a:lnTo>
                  <a:lnTo>
                    <a:pt x="6" y="24"/>
                  </a:lnTo>
                  <a:lnTo>
                    <a:pt x="9" y="15"/>
                  </a:lnTo>
                  <a:lnTo>
                    <a:pt x="25" y="15"/>
                  </a:lnTo>
                  <a:lnTo>
                    <a:pt x="36" y="22"/>
                  </a:lnTo>
                  <a:lnTo>
                    <a:pt x="62" y="45"/>
                  </a:lnTo>
                  <a:lnTo>
                    <a:pt x="65" y="30"/>
                  </a:lnTo>
                  <a:lnTo>
                    <a:pt x="57" y="12"/>
                  </a:lnTo>
                  <a:lnTo>
                    <a:pt x="62" y="0"/>
                  </a:lnTo>
                  <a:lnTo>
                    <a:pt x="77" y="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5" name="306443104555.757.6255">
              <a:extLst>
                <a:ext uri="{FF2B5EF4-FFF2-40B4-BE49-F238E27FC236}">
                  <a16:creationId xmlns:a16="http://schemas.microsoft.com/office/drawing/2014/main" id="{135D76DF-CF09-4101-AD93-80F03BD6B6F6}"/>
                </a:ext>
              </a:extLst>
            </p:cNvPr>
            <p:cNvSpPr>
              <a:spLocks noChangeAspect="1"/>
            </p:cNvSpPr>
            <p:nvPr/>
          </p:nvSpPr>
          <p:spPr bwMode="gray">
            <a:xfrm>
              <a:off x="6968868" y="3318443"/>
              <a:ext cx="119826" cy="94190"/>
            </a:xfrm>
            <a:custGeom>
              <a:avLst/>
              <a:gdLst/>
              <a:ahLst/>
              <a:cxnLst>
                <a:cxn ang="0">
                  <a:pos x="0" y="15"/>
                </a:cxn>
                <a:cxn ang="0">
                  <a:pos x="16" y="31"/>
                </a:cxn>
                <a:cxn ang="0">
                  <a:pos x="35" y="56"/>
                </a:cxn>
                <a:cxn ang="0">
                  <a:pos x="67" y="89"/>
                </a:cxn>
                <a:cxn ang="0">
                  <a:pos x="87" y="70"/>
                </a:cxn>
                <a:cxn ang="0">
                  <a:pos x="89" y="86"/>
                </a:cxn>
                <a:cxn ang="0">
                  <a:pos x="104" y="89"/>
                </a:cxn>
                <a:cxn ang="0">
                  <a:pos x="126" y="101"/>
                </a:cxn>
                <a:cxn ang="0">
                  <a:pos x="134" y="86"/>
                </a:cxn>
                <a:cxn ang="0">
                  <a:pos x="101" y="60"/>
                </a:cxn>
                <a:cxn ang="0">
                  <a:pos x="93" y="40"/>
                </a:cxn>
                <a:cxn ang="0">
                  <a:pos x="79" y="30"/>
                </a:cxn>
                <a:cxn ang="0">
                  <a:pos x="79" y="18"/>
                </a:cxn>
                <a:cxn ang="0">
                  <a:pos x="64" y="12"/>
                </a:cxn>
                <a:cxn ang="0">
                  <a:pos x="42" y="7"/>
                </a:cxn>
                <a:cxn ang="0">
                  <a:pos x="23" y="0"/>
                </a:cxn>
                <a:cxn ang="0">
                  <a:pos x="6" y="2"/>
                </a:cxn>
                <a:cxn ang="0">
                  <a:pos x="0" y="15"/>
                </a:cxn>
              </a:cxnLst>
              <a:rect l="0" t="0" r="r" b="b"/>
              <a:pathLst>
                <a:path w="134" h="101">
                  <a:moveTo>
                    <a:pt x="0" y="15"/>
                  </a:moveTo>
                  <a:lnTo>
                    <a:pt x="16" y="31"/>
                  </a:lnTo>
                  <a:lnTo>
                    <a:pt x="35" y="56"/>
                  </a:lnTo>
                  <a:lnTo>
                    <a:pt x="67" y="89"/>
                  </a:lnTo>
                  <a:lnTo>
                    <a:pt x="87" y="70"/>
                  </a:lnTo>
                  <a:lnTo>
                    <a:pt x="89" y="86"/>
                  </a:lnTo>
                  <a:lnTo>
                    <a:pt x="104" y="89"/>
                  </a:lnTo>
                  <a:lnTo>
                    <a:pt x="126" y="101"/>
                  </a:lnTo>
                  <a:lnTo>
                    <a:pt x="134" y="86"/>
                  </a:lnTo>
                  <a:lnTo>
                    <a:pt x="101" y="60"/>
                  </a:lnTo>
                  <a:lnTo>
                    <a:pt x="93" y="40"/>
                  </a:lnTo>
                  <a:lnTo>
                    <a:pt x="79" y="30"/>
                  </a:lnTo>
                  <a:lnTo>
                    <a:pt x="79" y="18"/>
                  </a:lnTo>
                  <a:lnTo>
                    <a:pt x="64" y="12"/>
                  </a:lnTo>
                  <a:lnTo>
                    <a:pt x="42" y="7"/>
                  </a:lnTo>
                  <a:lnTo>
                    <a:pt x="23" y="0"/>
                  </a:lnTo>
                  <a:lnTo>
                    <a:pt x="6" y="2"/>
                  </a:lnTo>
                  <a:lnTo>
                    <a:pt x="0" y="1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6" name="30645277.75459.37533.87578.8755">
              <a:extLst>
                <a:ext uri="{FF2B5EF4-FFF2-40B4-BE49-F238E27FC236}">
                  <a16:creationId xmlns:a16="http://schemas.microsoft.com/office/drawing/2014/main" id="{E84A6315-80EF-47ED-BFA4-2B4C0510057F}"/>
                </a:ext>
              </a:extLst>
            </p:cNvPr>
            <p:cNvSpPr>
              <a:spLocks noChangeAspect="1"/>
            </p:cNvSpPr>
            <p:nvPr/>
          </p:nvSpPr>
          <p:spPr bwMode="gray">
            <a:xfrm>
              <a:off x="7039240" y="2798707"/>
              <a:ext cx="1262933" cy="546648"/>
            </a:xfrm>
            <a:custGeom>
              <a:avLst/>
              <a:gdLst/>
              <a:ahLst/>
              <a:cxnLst>
                <a:cxn ang="0">
                  <a:pos x="1326" y="247"/>
                </a:cxn>
                <a:cxn ang="0">
                  <a:pos x="1187" y="234"/>
                </a:cxn>
                <a:cxn ang="0">
                  <a:pos x="1135" y="186"/>
                </a:cxn>
                <a:cxn ang="0">
                  <a:pos x="1069" y="194"/>
                </a:cxn>
                <a:cxn ang="0">
                  <a:pos x="1006" y="173"/>
                </a:cxn>
                <a:cxn ang="0">
                  <a:pos x="889" y="100"/>
                </a:cxn>
                <a:cxn ang="0">
                  <a:pos x="745" y="73"/>
                </a:cxn>
                <a:cxn ang="0">
                  <a:pos x="644" y="44"/>
                </a:cxn>
                <a:cxn ang="0">
                  <a:pos x="544" y="23"/>
                </a:cxn>
                <a:cxn ang="0">
                  <a:pos x="449" y="51"/>
                </a:cxn>
                <a:cxn ang="0">
                  <a:pos x="342" y="51"/>
                </a:cxn>
                <a:cxn ang="0">
                  <a:pos x="342" y="120"/>
                </a:cxn>
                <a:cxn ang="0">
                  <a:pos x="383" y="153"/>
                </a:cxn>
                <a:cxn ang="0">
                  <a:pos x="383" y="198"/>
                </a:cxn>
                <a:cxn ang="0">
                  <a:pos x="342" y="202"/>
                </a:cxn>
                <a:cxn ang="0">
                  <a:pos x="280" y="177"/>
                </a:cxn>
                <a:cxn ang="0">
                  <a:pos x="239" y="186"/>
                </a:cxn>
                <a:cxn ang="0">
                  <a:pos x="191" y="169"/>
                </a:cxn>
                <a:cxn ang="0">
                  <a:pos x="73" y="166"/>
                </a:cxn>
                <a:cxn ang="0">
                  <a:pos x="47" y="191"/>
                </a:cxn>
                <a:cxn ang="0">
                  <a:pos x="44" y="224"/>
                </a:cxn>
                <a:cxn ang="0">
                  <a:pos x="5" y="208"/>
                </a:cxn>
                <a:cxn ang="0">
                  <a:pos x="0" y="275"/>
                </a:cxn>
                <a:cxn ang="0">
                  <a:pos x="18" y="320"/>
                </a:cxn>
                <a:cxn ang="0">
                  <a:pos x="62" y="318"/>
                </a:cxn>
                <a:cxn ang="0">
                  <a:pos x="104" y="385"/>
                </a:cxn>
                <a:cxn ang="0">
                  <a:pos x="253" y="359"/>
                </a:cxn>
                <a:cxn ang="0">
                  <a:pos x="240" y="430"/>
                </a:cxn>
                <a:cxn ang="0">
                  <a:pos x="166" y="468"/>
                </a:cxn>
                <a:cxn ang="0">
                  <a:pos x="249" y="535"/>
                </a:cxn>
                <a:cxn ang="0">
                  <a:pos x="308" y="545"/>
                </a:cxn>
                <a:cxn ang="0">
                  <a:pos x="353" y="554"/>
                </a:cxn>
                <a:cxn ang="0">
                  <a:pos x="352" y="418"/>
                </a:cxn>
                <a:cxn ang="0">
                  <a:pos x="409" y="377"/>
                </a:cxn>
                <a:cxn ang="0">
                  <a:pos x="430" y="359"/>
                </a:cxn>
                <a:cxn ang="0">
                  <a:pos x="459" y="371"/>
                </a:cxn>
                <a:cxn ang="0">
                  <a:pos x="474" y="382"/>
                </a:cxn>
                <a:cxn ang="0">
                  <a:pos x="511" y="439"/>
                </a:cxn>
                <a:cxn ang="0">
                  <a:pos x="541" y="474"/>
                </a:cxn>
                <a:cxn ang="0">
                  <a:pos x="624" y="474"/>
                </a:cxn>
                <a:cxn ang="0">
                  <a:pos x="655" y="568"/>
                </a:cxn>
                <a:cxn ang="0">
                  <a:pos x="688" y="600"/>
                </a:cxn>
                <a:cxn ang="0">
                  <a:pos x="769" y="584"/>
                </a:cxn>
                <a:cxn ang="0">
                  <a:pos x="866" y="586"/>
                </a:cxn>
                <a:cxn ang="0">
                  <a:pos x="860" y="546"/>
                </a:cxn>
                <a:cxn ang="0">
                  <a:pos x="877" y="525"/>
                </a:cxn>
                <a:cxn ang="0">
                  <a:pos x="936" y="534"/>
                </a:cxn>
                <a:cxn ang="0">
                  <a:pos x="1018" y="514"/>
                </a:cxn>
                <a:cxn ang="0">
                  <a:pos x="1160" y="542"/>
                </a:cxn>
                <a:cxn ang="0">
                  <a:pos x="1160" y="457"/>
                </a:cxn>
                <a:cxn ang="0">
                  <a:pos x="1264" y="359"/>
                </a:cxn>
              </a:cxnLst>
              <a:rect l="0" t="0" r="r" b="b"/>
              <a:pathLst>
                <a:path w="1396" h="600">
                  <a:moveTo>
                    <a:pt x="1362" y="308"/>
                  </a:moveTo>
                  <a:lnTo>
                    <a:pt x="1396" y="296"/>
                  </a:lnTo>
                  <a:lnTo>
                    <a:pt x="1326" y="247"/>
                  </a:lnTo>
                  <a:lnTo>
                    <a:pt x="1281" y="267"/>
                  </a:lnTo>
                  <a:lnTo>
                    <a:pt x="1216" y="249"/>
                  </a:lnTo>
                  <a:lnTo>
                    <a:pt x="1187" y="234"/>
                  </a:lnTo>
                  <a:lnTo>
                    <a:pt x="1160" y="234"/>
                  </a:lnTo>
                  <a:lnTo>
                    <a:pt x="1143" y="205"/>
                  </a:lnTo>
                  <a:lnTo>
                    <a:pt x="1135" y="186"/>
                  </a:lnTo>
                  <a:lnTo>
                    <a:pt x="1110" y="186"/>
                  </a:lnTo>
                  <a:lnTo>
                    <a:pt x="1090" y="186"/>
                  </a:lnTo>
                  <a:lnTo>
                    <a:pt x="1069" y="194"/>
                  </a:lnTo>
                  <a:lnTo>
                    <a:pt x="1036" y="161"/>
                  </a:lnTo>
                  <a:lnTo>
                    <a:pt x="1021" y="166"/>
                  </a:lnTo>
                  <a:lnTo>
                    <a:pt x="1006" y="173"/>
                  </a:lnTo>
                  <a:lnTo>
                    <a:pt x="987" y="180"/>
                  </a:lnTo>
                  <a:lnTo>
                    <a:pt x="958" y="155"/>
                  </a:lnTo>
                  <a:lnTo>
                    <a:pt x="889" y="100"/>
                  </a:lnTo>
                  <a:lnTo>
                    <a:pt x="835" y="67"/>
                  </a:lnTo>
                  <a:lnTo>
                    <a:pt x="802" y="37"/>
                  </a:lnTo>
                  <a:lnTo>
                    <a:pt x="745" y="73"/>
                  </a:lnTo>
                  <a:lnTo>
                    <a:pt x="735" y="47"/>
                  </a:lnTo>
                  <a:lnTo>
                    <a:pt x="654" y="44"/>
                  </a:lnTo>
                  <a:lnTo>
                    <a:pt x="644" y="44"/>
                  </a:lnTo>
                  <a:lnTo>
                    <a:pt x="609" y="0"/>
                  </a:lnTo>
                  <a:lnTo>
                    <a:pt x="569" y="5"/>
                  </a:lnTo>
                  <a:lnTo>
                    <a:pt x="544" y="23"/>
                  </a:lnTo>
                  <a:lnTo>
                    <a:pt x="493" y="34"/>
                  </a:lnTo>
                  <a:lnTo>
                    <a:pt x="477" y="25"/>
                  </a:lnTo>
                  <a:lnTo>
                    <a:pt x="449" y="51"/>
                  </a:lnTo>
                  <a:lnTo>
                    <a:pt x="430" y="47"/>
                  </a:lnTo>
                  <a:lnTo>
                    <a:pt x="357" y="54"/>
                  </a:lnTo>
                  <a:lnTo>
                    <a:pt x="342" y="51"/>
                  </a:lnTo>
                  <a:lnTo>
                    <a:pt x="332" y="56"/>
                  </a:lnTo>
                  <a:lnTo>
                    <a:pt x="363" y="89"/>
                  </a:lnTo>
                  <a:lnTo>
                    <a:pt x="342" y="120"/>
                  </a:lnTo>
                  <a:lnTo>
                    <a:pt x="345" y="142"/>
                  </a:lnTo>
                  <a:lnTo>
                    <a:pt x="345" y="153"/>
                  </a:lnTo>
                  <a:lnTo>
                    <a:pt x="383" y="153"/>
                  </a:lnTo>
                  <a:lnTo>
                    <a:pt x="396" y="173"/>
                  </a:lnTo>
                  <a:lnTo>
                    <a:pt x="396" y="194"/>
                  </a:lnTo>
                  <a:lnTo>
                    <a:pt x="383" y="198"/>
                  </a:lnTo>
                  <a:lnTo>
                    <a:pt x="368" y="186"/>
                  </a:lnTo>
                  <a:lnTo>
                    <a:pt x="352" y="194"/>
                  </a:lnTo>
                  <a:lnTo>
                    <a:pt x="342" y="202"/>
                  </a:lnTo>
                  <a:lnTo>
                    <a:pt x="315" y="186"/>
                  </a:lnTo>
                  <a:lnTo>
                    <a:pt x="306" y="169"/>
                  </a:lnTo>
                  <a:lnTo>
                    <a:pt x="280" y="177"/>
                  </a:lnTo>
                  <a:lnTo>
                    <a:pt x="280" y="183"/>
                  </a:lnTo>
                  <a:lnTo>
                    <a:pt x="262" y="169"/>
                  </a:lnTo>
                  <a:lnTo>
                    <a:pt x="239" y="186"/>
                  </a:lnTo>
                  <a:lnTo>
                    <a:pt x="209" y="194"/>
                  </a:lnTo>
                  <a:lnTo>
                    <a:pt x="199" y="186"/>
                  </a:lnTo>
                  <a:lnTo>
                    <a:pt x="191" y="169"/>
                  </a:lnTo>
                  <a:lnTo>
                    <a:pt x="152" y="166"/>
                  </a:lnTo>
                  <a:lnTo>
                    <a:pt x="88" y="162"/>
                  </a:lnTo>
                  <a:lnTo>
                    <a:pt x="73" y="166"/>
                  </a:lnTo>
                  <a:lnTo>
                    <a:pt x="67" y="177"/>
                  </a:lnTo>
                  <a:lnTo>
                    <a:pt x="56" y="173"/>
                  </a:lnTo>
                  <a:lnTo>
                    <a:pt x="47" y="191"/>
                  </a:lnTo>
                  <a:lnTo>
                    <a:pt x="37" y="205"/>
                  </a:lnTo>
                  <a:lnTo>
                    <a:pt x="37" y="212"/>
                  </a:lnTo>
                  <a:lnTo>
                    <a:pt x="44" y="224"/>
                  </a:lnTo>
                  <a:lnTo>
                    <a:pt x="33" y="228"/>
                  </a:lnTo>
                  <a:lnTo>
                    <a:pt x="22" y="205"/>
                  </a:lnTo>
                  <a:lnTo>
                    <a:pt x="5" y="208"/>
                  </a:lnTo>
                  <a:lnTo>
                    <a:pt x="0" y="239"/>
                  </a:lnTo>
                  <a:lnTo>
                    <a:pt x="0" y="258"/>
                  </a:lnTo>
                  <a:lnTo>
                    <a:pt x="0" y="275"/>
                  </a:lnTo>
                  <a:lnTo>
                    <a:pt x="8" y="290"/>
                  </a:lnTo>
                  <a:lnTo>
                    <a:pt x="18" y="301"/>
                  </a:lnTo>
                  <a:lnTo>
                    <a:pt x="18" y="320"/>
                  </a:lnTo>
                  <a:lnTo>
                    <a:pt x="33" y="318"/>
                  </a:lnTo>
                  <a:lnTo>
                    <a:pt x="52" y="304"/>
                  </a:lnTo>
                  <a:lnTo>
                    <a:pt x="62" y="318"/>
                  </a:lnTo>
                  <a:lnTo>
                    <a:pt x="77" y="335"/>
                  </a:lnTo>
                  <a:lnTo>
                    <a:pt x="89" y="352"/>
                  </a:lnTo>
                  <a:lnTo>
                    <a:pt x="104" y="385"/>
                  </a:lnTo>
                  <a:lnTo>
                    <a:pt x="133" y="377"/>
                  </a:lnTo>
                  <a:lnTo>
                    <a:pt x="180" y="368"/>
                  </a:lnTo>
                  <a:lnTo>
                    <a:pt x="253" y="359"/>
                  </a:lnTo>
                  <a:lnTo>
                    <a:pt x="271" y="381"/>
                  </a:lnTo>
                  <a:lnTo>
                    <a:pt x="273" y="422"/>
                  </a:lnTo>
                  <a:lnTo>
                    <a:pt x="240" y="430"/>
                  </a:lnTo>
                  <a:lnTo>
                    <a:pt x="209" y="439"/>
                  </a:lnTo>
                  <a:lnTo>
                    <a:pt x="213" y="468"/>
                  </a:lnTo>
                  <a:lnTo>
                    <a:pt x="166" y="468"/>
                  </a:lnTo>
                  <a:lnTo>
                    <a:pt x="209" y="527"/>
                  </a:lnTo>
                  <a:lnTo>
                    <a:pt x="228" y="531"/>
                  </a:lnTo>
                  <a:lnTo>
                    <a:pt x="249" y="535"/>
                  </a:lnTo>
                  <a:lnTo>
                    <a:pt x="258" y="560"/>
                  </a:lnTo>
                  <a:lnTo>
                    <a:pt x="269" y="550"/>
                  </a:lnTo>
                  <a:lnTo>
                    <a:pt x="308" y="545"/>
                  </a:lnTo>
                  <a:lnTo>
                    <a:pt x="328" y="554"/>
                  </a:lnTo>
                  <a:lnTo>
                    <a:pt x="342" y="567"/>
                  </a:lnTo>
                  <a:lnTo>
                    <a:pt x="353" y="554"/>
                  </a:lnTo>
                  <a:lnTo>
                    <a:pt x="378" y="557"/>
                  </a:lnTo>
                  <a:lnTo>
                    <a:pt x="335" y="425"/>
                  </a:lnTo>
                  <a:lnTo>
                    <a:pt x="352" y="418"/>
                  </a:lnTo>
                  <a:lnTo>
                    <a:pt x="408" y="389"/>
                  </a:lnTo>
                  <a:lnTo>
                    <a:pt x="418" y="388"/>
                  </a:lnTo>
                  <a:lnTo>
                    <a:pt x="409" y="377"/>
                  </a:lnTo>
                  <a:lnTo>
                    <a:pt x="422" y="382"/>
                  </a:lnTo>
                  <a:lnTo>
                    <a:pt x="422" y="368"/>
                  </a:lnTo>
                  <a:lnTo>
                    <a:pt x="430" y="359"/>
                  </a:lnTo>
                  <a:lnTo>
                    <a:pt x="434" y="363"/>
                  </a:lnTo>
                  <a:lnTo>
                    <a:pt x="446" y="363"/>
                  </a:lnTo>
                  <a:lnTo>
                    <a:pt x="459" y="371"/>
                  </a:lnTo>
                  <a:lnTo>
                    <a:pt x="475" y="355"/>
                  </a:lnTo>
                  <a:lnTo>
                    <a:pt x="485" y="359"/>
                  </a:lnTo>
                  <a:lnTo>
                    <a:pt x="474" y="382"/>
                  </a:lnTo>
                  <a:lnTo>
                    <a:pt x="482" y="414"/>
                  </a:lnTo>
                  <a:lnTo>
                    <a:pt x="511" y="432"/>
                  </a:lnTo>
                  <a:lnTo>
                    <a:pt x="511" y="439"/>
                  </a:lnTo>
                  <a:lnTo>
                    <a:pt x="501" y="454"/>
                  </a:lnTo>
                  <a:lnTo>
                    <a:pt x="506" y="461"/>
                  </a:lnTo>
                  <a:lnTo>
                    <a:pt x="541" y="474"/>
                  </a:lnTo>
                  <a:lnTo>
                    <a:pt x="552" y="494"/>
                  </a:lnTo>
                  <a:lnTo>
                    <a:pt x="587" y="483"/>
                  </a:lnTo>
                  <a:lnTo>
                    <a:pt x="624" y="474"/>
                  </a:lnTo>
                  <a:lnTo>
                    <a:pt x="654" y="534"/>
                  </a:lnTo>
                  <a:lnTo>
                    <a:pt x="665" y="561"/>
                  </a:lnTo>
                  <a:lnTo>
                    <a:pt x="655" y="568"/>
                  </a:lnTo>
                  <a:lnTo>
                    <a:pt x="650" y="578"/>
                  </a:lnTo>
                  <a:lnTo>
                    <a:pt x="679" y="587"/>
                  </a:lnTo>
                  <a:lnTo>
                    <a:pt x="688" y="600"/>
                  </a:lnTo>
                  <a:lnTo>
                    <a:pt x="728" y="587"/>
                  </a:lnTo>
                  <a:lnTo>
                    <a:pt x="742" y="600"/>
                  </a:lnTo>
                  <a:lnTo>
                    <a:pt x="769" y="584"/>
                  </a:lnTo>
                  <a:lnTo>
                    <a:pt x="789" y="582"/>
                  </a:lnTo>
                  <a:lnTo>
                    <a:pt x="813" y="586"/>
                  </a:lnTo>
                  <a:lnTo>
                    <a:pt x="866" y="586"/>
                  </a:lnTo>
                  <a:lnTo>
                    <a:pt x="852" y="575"/>
                  </a:lnTo>
                  <a:lnTo>
                    <a:pt x="852" y="557"/>
                  </a:lnTo>
                  <a:lnTo>
                    <a:pt x="860" y="546"/>
                  </a:lnTo>
                  <a:lnTo>
                    <a:pt x="860" y="536"/>
                  </a:lnTo>
                  <a:lnTo>
                    <a:pt x="844" y="528"/>
                  </a:lnTo>
                  <a:lnTo>
                    <a:pt x="877" y="525"/>
                  </a:lnTo>
                  <a:lnTo>
                    <a:pt x="906" y="528"/>
                  </a:lnTo>
                  <a:lnTo>
                    <a:pt x="912" y="536"/>
                  </a:lnTo>
                  <a:lnTo>
                    <a:pt x="936" y="534"/>
                  </a:lnTo>
                  <a:lnTo>
                    <a:pt x="919" y="507"/>
                  </a:lnTo>
                  <a:lnTo>
                    <a:pt x="937" y="503"/>
                  </a:lnTo>
                  <a:lnTo>
                    <a:pt x="1018" y="514"/>
                  </a:lnTo>
                  <a:lnTo>
                    <a:pt x="1086" y="520"/>
                  </a:lnTo>
                  <a:lnTo>
                    <a:pt x="1135" y="542"/>
                  </a:lnTo>
                  <a:lnTo>
                    <a:pt x="1160" y="542"/>
                  </a:lnTo>
                  <a:lnTo>
                    <a:pt x="1168" y="567"/>
                  </a:lnTo>
                  <a:lnTo>
                    <a:pt x="1187" y="514"/>
                  </a:lnTo>
                  <a:lnTo>
                    <a:pt x="1160" y="457"/>
                  </a:lnTo>
                  <a:lnTo>
                    <a:pt x="1242" y="437"/>
                  </a:lnTo>
                  <a:lnTo>
                    <a:pt x="1252" y="406"/>
                  </a:lnTo>
                  <a:lnTo>
                    <a:pt x="1264" y="359"/>
                  </a:lnTo>
                  <a:lnTo>
                    <a:pt x="1349" y="363"/>
                  </a:lnTo>
                  <a:lnTo>
                    <a:pt x="1362" y="30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7" name="30646299.625478.3752134.255">
              <a:extLst>
                <a:ext uri="{FF2B5EF4-FFF2-40B4-BE49-F238E27FC236}">
                  <a16:creationId xmlns:a16="http://schemas.microsoft.com/office/drawing/2014/main" id="{FE34EB1F-F08D-4CB4-B716-B9826C5F826F}"/>
                </a:ext>
              </a:extLst>
            </p:cNvPr>
            <p:cNvSpPr>
              <a:spLocks noChangeAspect="1"/>
            </p:cNvSpPr>
            <p:nvPr/>
          </p:nvSpPr>
          <p:spPr bwMode="gray">
            <a:xfrm>
              <a:off x="7341662" y="3151926"/>
              <a:ext cx="547777" cy="338079"/>
            </a:xfrm>
            <a:custGeom>
              <a:avLst/>
              <a:gdLst/>
              <a:ahLst/>
              <a:cxnLst>
                <a:cxn ang="0">
                  <a:pos x="58" y="166"/>
                </a:cxn>
                <a:cxn ang="0">
                  <a:pos x="69" y="139"/>
                </a:cxn>
                <a:cxn ang="0">
                  <a:pos x="83" y="126"/>
                </a:cxn>
                <a:cxn ang="0">
                  <a:pos x="109" y="132"/>
                </a:cxn>
                <a:cxn ang="0">
                  <a:pos x="139" y="140"/>
                </a:cxn>
                <a:cxn ang="0">
                  <a:pos x="147" y="148"/>
                </a:cxn>
                <a:cxn ang="0">
                  <a:pos x="166" y="166"/>
                </a:cxn>
                <a:cxn ang="0">
                  <a:pos x="180" y="209"/>
                </a:cxn>
                <a:cxn ang="0">
                  <a:pos x="204" y="205"/>
                </a:cxn>
                <a:cxn ang="0">
                  <a:pos x="237" y="209"/>
                </a:cxn>
                <a:cxn ang="0">
                  <a:pos x="285" y="258"/>
                </a:cxn>
                <a:cxn ang="0">
                  <a:pos x="337" y="289"/>
                </a:cxn>
                <a:cxn ang="0">
                  <a:pos x="385" y="319"/>
                </a:cxn>
                <a:cxn ang="0">
                  <a:pos x="404" y="371"/>
                </a:cxn>
                <a:cxn ang="0">
                  <a:pos x="436" y="330"/>
                </a:cxn>
                <a:cxn ang="0">
                  <a:pos x="439" y="291"/>
                </a:cxn>
                <a:cxn ang="0">
                  <a:pos x="421" y="236"/>
                </a:cxn>
                <a:cxn ang="0">
                  <a:pos x="461" y="224"/>
                </a:cxn>
                <a:cxn ang="0">
                  <a:pos x="513" y="235"/>
                </a:cxn>
                <a:cxn ang="0">
                  <a:pos x="595" y="229"/>
                </a:cxn>
                <a:cxn ang="0">
                  <a:pos x="595" y="196"/>
                </a:cxn>
                <a:cxn ang="0">
                  <a:pos x="496" y="196"/>
                </a:cxn>
                <a:cxn ang="0">
                  <a:pos x="447" y="192"/>
                </a:cxn>
                <a:cxn ang="0">
                  <a:pos x="403" y="209"/>
                </a:cxn>
                <a:cxn ang="0">
                  <a:pos x="373" y="205"/>
                </a:cxn>
                <a:cxn ang="0">
                  <a:pos x="349" y="207"/>
                </a:cxn>
                <a:cxn ang="0">
                  <a:pos x="320" y="192"/>
                </a:cxn>
                <a:cxn ang="0">
                  <a:pos x="319" y="180"/>
                </a:cxn>
                <a:cxn ang="0">
                  <a:pos x="315" y="137"/>
                </a:cxn>
                <a:cxn ang="0">
                  <a:pos x="219" y="103"/>
                </a:cxn>
                <a:cxn ang="0">
                  <a:pos x="171" y="73"/>
                </a:cxn>
                <a:cxn ang="0">
                  <a:pos x="110" y="88"/>
                </a:cxn>
                <a:cxn ang="0">
                  <a:pos x="72" y="38"/>
                </a:cxn>
                <a:cxn ang="0">
                  <a:pos x="73" y="0"/>
                </a:cxn>
                <a:cxn ang="0">
                  <a:pos x="43" y="169"/>
                </a:cxn>
              </a:cxnLst>
              <a:rect l="0" t="0" r="r" b="b"/>
              <a:pathLst>
                <a:path w="609" h="371">
                  <a:moveTo>
                    <a:pt x="43" y="169"/>
                  </a:moveTo>
                  <a:lnTo>
                    <a:pt x="58" y="166"/>
                  </a:lnTo>
                  <a:lnTo>
                    <a:pt x="63" y="151"/>
                  </a:lnTo>
                  <a:lnTo>
                    <a:pt x="69" y="139"/>
                  </a:lnTo>
                  <a:lnTo>
                    <a:pt x="87" y="146"/>
                  </a:lnTo>
                  <a:lnTo>
                    <a:pt x="83" y="126"/>
                  </a:lnTo>
                  <a:lnTo>
                    <a:pt x="99" y="119"/>
                  </a:lnTo>
                  <a:lnTo>
                    <a:pt x="109" y="132"/>
                  </a:lnTo>
                  <a:lnTo>
                    <a:pt x="124" y="132"/>
                  </a:lnTo>
                  <a:lnTo>
                    <a:pt x="139" y="140"/>
                  </a:lnTo>
                  <a:lnTo>
                    <a:pt x="147" y="146"/>
                  </a:lnTo>
                  <a:lnTo>
                    <a:pt x="147" y="148"/>
                  </a:lnTo>
                  <a:lnTo>
                    <a:pt x="149" y="161"/>
                  </a:lnTo>
                  <a:lnTo>
                    <a:pt x="166" y="166"/>
                  </a:lnTo>
                  <a:lnTo>
                    <a:pt x="166" y="183"/>
                  </a:lnTo>
                  <a:lnTo>
                    <a:pt x="180" y="209"/>
                  </a:lnTo>
                  <a:lnTo>
                    <a:pt x="197" y="212"/>
                  </a:lnTo>
                  <a:lnTo>
                    <a:pt x="204" y="205"/>
                  </a:lnTo>
                  <a:lnTo>
                    <a:pt x="221" y="195"/>
                  </a:lnTo>
                  <a:lnTo>
                    <a:pt x="237" y="209"/>
                  </a:lnTo>
                  <a:lnTo>
                    <a:pt x="256" y="229"/>
                  </a:lnTo>
                  <a:lnTo>
                    <a:pt x="285" y="258"/>
                  </a:lnTo>
                  <a:lnTo>
                    <a:pt x="335" y="271"/>
                  </a:lnTo>
                  <a:lnTo>
                    <a:pt x="337" y="289"/>
                  </a:lnTo>
                  <a:lnTo>
                    <a:pt x="370" y="301"/>
                  </a:lnTo>
                  <a:lnTo>
                    <a:pt x="385" y="319"/>
                  </a:lnTo>
                  <a:lnTo>
                    <a:pt x="374" y="370"/>
                  </a:lnTo>
                  <a:lnTo>
                    <a:pt x="404" y="371"/>
                  </a:lnTo>
                  <a:lnTo>
                    <a:pt x="423" y="345"/>
                  </a:lnTo>
                  <a:lnTo>
                    <a:pt x="436" y="330"/>
                  </a:lnTo>
                  <a:lnTo>
                    <a:pt x="444" y="316"/>
                  </a:lnTo>
                  <a:lnTo>
                    <a:pt x="439" y="291"/>
                  </a:lnTo>
                  <a:lnTo>
                    <a:pt x="415" y="282"/>
                  </a:lnTo>
                  <a:lnTo>
                    <a:pt x="421" y="236"/>
                  </a:lnTo>
                  <a:lnTo>
                    <a:pt x="443" y="218"/>
                  </a:lnTo>
                  <a:lnTo>
                    <a:pt x="461" y="224"/>
                  </a:lnTo>
                  <a:lnTo>
                    <a:pt x="506" y="216"/>
                  </a:lnTo>
                  <a:lnTo>
                    <a:pt x="513" y="235"/>
                  </a:lnTo>
                  <a:lnTo>
                    <a:pt x="539" y="234"/>
                  </a:lnTo>
                  <a:lnTo>
                    <a:pt x="595" y="229"/>
                  </a:lnTo>
                  <a:lnTo>
                    <a:pt x="609" y="209"/>
                  </a:lnTo>
                  <a:lnTo>
                    <a:pt x="595" y="196"/>
                  </a:lnTo>
                  <a:lnTo>
                    <a:pt x="560" y="196"/>
                  </a:lnTo>
                  <a:lnTo>
                    <a:pt x="496" y="196"/>
                  </a:lnTo>
                  <a:lnTo>
                    <a:pt x="472" y="196"/>
                  </a:lnTo>
                  <a:lnTo>
                    <a:pt x="447" y="192"/>
                  </a:lnTo>
                  <a:lnTo>
                    <a:pt x="407" y="212"/>
                  </a:lnTo>
                  <a:lnTo>
                    <a:pt x="403" y="209"/>
                  </a:lnTo>
                  <a:lnTo>
                    <a:pt x="393" y="199"/>
                  </a:lnTo>
                  <a:lnTo>
                    <a:pt x="373" y="205"/>
                  </a:lnTo>
                  <a:lnTo>
                    <a:pt x="353" y="212"/>
                  </a:lnTo>
                  <a:lnTo>
                    <a:pt x="349" y="207"/>
                  </a:lnTo>
                  <a:lnTo>
                    <a:pt x="345" y="199"/>
                  </a:lnTo>
                  <a:lnTo>
                    <a:pt x="320" y="192"/>
                  </a:lnTo>
                  <a:lnTo>
                    <a:pt x="315" y="190"/>
                  </a:lnTo>
                  <a:lnTo>
                    <a:pt x="319" y="180"/>
                  </a:lnTo>
                  <a:lnTo>
                    <a:pt x="331" y="173"/>
                  </a:lnTo>
                  <a:lnTo>
                    <a:pt x="315" y="137"/>
                  </a:lnTo>
                  <a:lnTo>
                    <a:pt x="289" y="86"/>
                  </a:lnTo>
                  <a:lnTo>
                    <a:pt x="219" y="103"/>
                  </a:lnTo>
                  <a:lnTo>
                    <a:pt x="204" y="86"/>
                  </a:lnTo>
                  <a:lnTo>
                    <a:pt x="171" y="73"/>
                  </a:lnTo>
                  <a:lnTo>
                    <a:pt x="140" y="93"/>
                  </a:lnTo>
                  <a:lnTo>
                    <a:pt x="110" y="88"/>
                  </a:lnTo>
                  <a:lnTo>
                    <a:pt x="77" y="66"/>
                  </a:lnTo>
                  <a:lnTo>
                    <a:pt x="72" y="38"/>
                  </a:lnTo>
                  <a:lnTo>
                    <a:pt x="74" y="19"/>
                  </a:lnTo>
                  <a:lnTo>
                    <a:pt x="73" y="0"/>
                  </a:lnTo>
                  <a:lnTo>
                    <a:pt x="0" y="38"/>
                  </a:lnTo>
                  <a:lnTo>
                    <a:pt x="43" y="16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8" name="30647306.375473.7518.37526.3755">
              <a:extLst>
                <a:ext uri="{FF2B5EF4-FFF2-40B4-BE49-F238E27FC236}">
                  <a16:creationId xmlns:a16="http://schemas.microsoft.com/office/drawing/2014/main" id="{18CBA3BC-7812-40CB-831B-86D49D735A7D}"/>
                </a:ext>
              </a:extLst>
            </p:cNvPr>
            <p:cNvSpPr>
              <a:spLocks noChangeAspect="1"/>
            </p:cNvSpPr>
            <p:nvPr/>
          </p:nvSpPr>
          <p:spPr bwMode="gray">
            <a:xfrm>
              <a:off x="7269386" y="3261253"/>
              <a:ext cx="420344" cy="297714"/>
            </a:xfrm>
            <a:custGeom>
              <a:avLst/>
              <a:gdLst/>
              <a:ahLst/>
              <a:cxnLst>
                <a:cxn ang="0">
                  <a:pos x="0" y="47"/>
                </a:cxn>
                <a:cxn ang="0">
                  <a:pos x="3" y="90"/>
                </a:cxn>
                <a:cxn ang="0">
                  <a:pos x="29" y="64"/>
                </a:cxn>
                <a:cxn ang="0">
                  <a:pos x="64" y="97"/>
                </a:cxn>
                <a:cxn ang="0">
                  <a:pos x="49" y="117"/>
                </a:cxn>
                <a:cxn ang="0">
                  <a:pos x="6" y="98"/>
                </a:cxn>
                <a:cxn ang="0">
                  <a:pos x="2" y="127"/>
                </a:cxn>
                <a:cxn ang="0">
                  <a:pos x="6" y="143"/>
                </a:cxn>
                <a:cxn ang="0">
                  <a:pos x="29" y="148"/>
                </a:cxn>
                <a:cxn ang="0">
                  <a:pos x="18" y="165"/>
                </a:cxn>
                <a:cxn ang="0">
                  <a:pos x="39" y="179"/>
                </a:cxn>
                <a:cxn ang="0">
                  <a:pos x="39" y="237"/>
                </a:cxn>
                <a:cxn ang="0">
                  <a:pos x="102" y="220"/>
                </a:cxn>
                <a:cxn ang="0">
                  <a:pos x="138" y="203"/>
                </a:cxn>
                <a:cxn ang="0">
                  <a:pos x="220" y="241"/>
                </a:cxn>
                <a:cxn ang="0">
                  <a:pos x="271" y="265"/>
                </a:cxn>
                <a:cxn ang="0">
                  <a:pos x="282" y="276"/>
                </a:cxn>
                <a:cxn ang="0">
                  <a:pos x="288" y="304"/>
                </a:cxn>
                <a:cxn ang="0">
                  <a:pos x="336" y="325"/>
                </a:cxn>
                <a:cxn ang="0">
                  <a:pos x="407" y="248"/>
                </a:cxn>
                <a:cxn ang="0">
                  <a:pos x="454" y="248"/>
                </a:cxn>
                <a:cxn ang="0">
                  <a:pos x="461" y="215"/>
                </a:cxn>
                <a:cxn ang="0">
                  <a:pos x="466" y="201"/>
                </a:cxn>
                <a:cxn ang="0">
                  <a:pos x="451" y="181"/>
                </a:cxn>
                <a:cxn ang="0">
                  <a:pos x="417" y="168"/>
                </a:cxn>
                <a:cxn ang="0">
                  <a:pos x="414" y="152"/>
                </a:cxn>
                <a:cxn ang="0">
                  <a:pos x="365" y="139"/>
                </a:cxn>
                <a:cxn ang="0">
                  <a:pos x="336" y="110"/>
                </a:cxn>
                <a:cxn ang="0">
                  <a:pos x="325" y="93"/>
                </a:cxn>
                <a:cxn ang="0">
                  <a:pos x="301" y="75"/>
                </a:cxn>
                <a:cxn ang="0">
                  <a:pos x="286" y="84"/>
                </a:cxn>
                <a:cxn ang="0">
                  <a:pos x="277" y="93"/>
                </a:cxn>
                <a:cxn ang="0">
                  <a:pos x="260" y="90"/>
                </a:cxn>
                <a:cxn ang="0">
                  <a:pos x="246" y="64"/>
                </a:cxn>
                <a:cxn ang="0">
                  <a:pos x="245" y="47"/>
                </a:cxn>
                <a:cxn ang="0">
                  <a:pos x="229" y="42"/>
                </a:cxn>
                <a:cxn ang="0">
                  <a:pos x="224" y="27"/>
                </a:cxn>
                <a:cxn ang="0">
                  <a:pos x="204" y="13"/>
                </a:cxn>
                <a:cxn ang="0">
                  <a:pos x="189" y="13"/>
                </a:cxn>
                <a:cxn ang="0">
                  <a:pos x="179" y="0"/>
                </a:cxn>
                <a:cxn ang="0">
                  <a:pos x="163" y="7"/>
                </a:cxn>
                <a:cxn ang="0">
                  <a:pos x="168" y="27"/>
                </a:cxn>
                <a:cxn ang="0">
                  <a:pos x="160" y="22"/>
                </a:cxn>
                <a:cxn ang="0">
                  <a:pos x="149" y="20"/>
                </a:cxn>
                <a:cxn ang="0">
                  <a:pos x="138" y="47"/>
                </a:cxn>
                <a:cxn ang="0">
                  <a:pos x="120" y="50"/>
                </a:cxn>
                <a:cxn ang="0">
                  <a:pos x="102" y="46"/>
                </a:cxn>
                <a:cxn ang="0">
                  <a:pos x="87" y="60"/>
                </a:cxn>
                <a:cxn ang="0">
                  <a:pos x="73" y="47"/>
                </a:cxn>
                <a:cxn ang="0">
                  <a:pos x="51" y="35"/>
                </a:cxn>
                <a:cxn ang="0">
                  <a:pos x="0" y="47"/>
                </a:cxn>
              </a:cxnLst>
              <a:rect l="0" t="0" r="r" b="b"/>
              <a:pathLst>
                <a:path w="466" h="325">
                  <a:moveTo>
                    <a:pt x="0" y="47"/>
                  </a:moveTo>
                  <a:lnTo>
                    <a:pt x="3" y="90"/>
                  </a:lnTo>
                  <a:lnTo>
                    <a:pt x="29" y="64"/>
                  </a:lnTo>
                  <a:lnTo>
                    <a:pt x="64" y="97"/>
                  </a:lnTo>
                  <a:lnTo>
                    <a:pt x="49" y="117"/>
                  </a:lnTo>
                  <a:lnTo>
                    <a:pt x="6" y="98"/>
                  </a:lnTo>
                  <a:lnTo>
                    <a:pt x="2" y="127"/>
                  </a:lnTo>
                  <a:lnTo>
                    <a:pt x="6" y="143"/>
                  </a:lnTo>
                  <a:lnTo>
                    <a:pt x="29" y="148"/>
                  </a:lnTo>
                  <a:lnTo>
                    <a:pt x="18" y="165"/>
                  </a:lnTo>
                  <a:lnTo>
                    <a:pt x="39" y="179"/>
                  </a:lnTo>
                  <a:lnTo>
                    <a:pt x="39" y="237"/>
                  </a:lnTo>
                  <a:lnTo>
                    <a:pt x="102" y="220"/>
                  </a:lnTo>
                  <a:lnTo>
                    <a:pt x="138" y="203"/>
                  </a:lnTo>
                  <a:lnTo>
                    <a:pt x="220" y="241"/>
                  </a:lnTo>
                  <a:lnTo>
                    <a:pt x="271" y="265"/>
                  </a:lnTo>
                  <a:lnTo>
                    <a:pt x="282" y="276"/>
                  </a:lnTo>
                  <a:lnTo>
                    <a:pt x="288" y="304"/>
                  </a:lnTo>
                  <a:lnTo>
                    <a:pt x="336" y="325"/>
                  </a:lnTo>
                  <a:lnTo>
                    <a:pt x="407" y="248"/>
                  </a:lnTo>
                  <a:lnTo>
                    <a:pt x="454" y="248"/>
                  </a:lnTo>
                  <a:lnTo>
                    <a:pt x="461" y="215"/>
                  </a:lnTo>
                  <a:lnTo>
                    <a:pt x="466" y="201"/>
                  </a:lnTo>
                  <a:lnTo>
                    <a:pt x="451" y="181"/>
                  </a:lnTo>
                  <a:lnTo>
                    <a:pt x="417" y="168"/>
                  </a:lnTo>
                  <a:lnTo>
                    <a:pt x="414" y="152"/>
                  </a:lnTo>
                  <a:lnTo>
                    <a:pt x="365" y="139"/>
                  </a:lnTo>
                  <a:lnTo>
                    <a:pt x="336" y="110"/>
                  </a:lnTo>
                  <a:lnTo>
                    <a:pt x="325" y="93"/>
                  </a:lnTo>
                  <a:lnTo>
                    <a:pt x="301" y="75"/>
                  </a:lnTo>
                  <a:lnTo>
                    <a:pt x="286" y="84"/>
                  </a:lnTo>
                  <a:lnTo>
                    <a:pt x="277" y="93"/>
                  </a:lnTo>
                  <a:lnTo>
                    <a:pt x="260" y="90"/>
                  </a:lnTo>
                  <a:lnTo>
                    <a:pt x="246" y="64"/>
                  </a:lnTo>
                  <a:lnTo>
                    <a:pt x="245" y="47"/>
                  </a:lnTo>
                  <a:lnTo>
                    <a:pt x="229" y="42"/>
                  </a:lnTo>
                  <a:lnTo>
                    <a:pt x="224" y="27"/>
                  </a:lnTo>
                  <a:lnTo>
                    <a:pt x="204" y="13"/>
                  </a:lnTo>
                  <a:lnTo>
                    <a:pt x="189" y="13"/>
                  </a:lnTo>
                  <a:lnTo>
                    <a:pt x="179" y="0"/>
                  </a:lnTo>
                  <a:lnTo>
                    <a:pt x="163" y="7"/>
                  </a:lnTo>
                  <a:lnTo>
                    <a:pt x="168" y="27"/>
                  </a:lnTo>
                  <a:lnTo>
                    <a:pt x="160" y="22"/>
                  </a:lnTo>
                  <a:lnTo>
                    <a:pt x="149" y="20"/>
                  </a:lnTo>
                  <a:lnTo>
                    <a:pt x="138" y="47"/>
                  </a:lnTo>
                  <a:lnTo>
                    <a:pt x="120" y="50"/>
                  </a:lnTo>
                  <a:lnTo>
                    <a:pt x="102" y="46"/>
                  </a:lnTo>
                  <a:lnTo>
                    <a:pt x="87" y="60"/>
                  </a:lnTo>
                  <a:lnTo>
                    <a:pt x="73" y="47"/>
                  </a:lnTo>
                  <a:lnTo>
                    <a:pt x="51" y="35"/>
                  </a:lnTo>
                  <a:lnTo>
                    <a:pt x="0" y="47"/>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39" name="30648306.125503.259.375225">
              <a:extLst>
                <a:ext uri="{FF2B5EF4-FFF2-40B4-BE49-F238E27FC236}">
                  <a16:creationId xmlns:a16="http://schemas.microsoft.com/office/drawing/2014/main" id="{5D6C9557-9F47-4B21-BB9E-1B3448045E85}"/>
                </a:ext>
              </a:extLst>
            </p:cNvPr>
            <p:cNvSpPr>
              <a:spLocks noChangeAspect="1"/>
            </p:cNvSpPr>
            <p:nvPr/>
          </p:nvSpPr>
          <p:spPr bwMode="gray">
            <a:xfrm>
              <a:off x="7741081" y="3256208"/>
              <a:ext cx="351869" cy="151380"/>
            </a:xfrm>
            <a:custGeom>
              <a:avLst/>
              <a:gdLst/>
              <a:ahLst/>
              <a:cxnLst>
                <a:cxn ang="0">
                  <a:pos x="99" y="119"/>
                </a:cxn>
                <a:cxn ang="0">
                  <a:pos x="70" y="119"/>
                </a:cxn>
                <a:cxn ang="0">
                  <a:pos x="13" y="125"/>
                </a:cxn>
                <a:cxn ang="0">
                  <a:pos x="0" y="143"/>
                </a:cxn>
                <a:cxn ang="0">
                  <a:pos x="13" y="152"/>
                </a:cxn>
                <a:cxn ang="0">
                  <a:pos x="26" y="157"/>
                </a:cxn>
                <a:cxn ang="0">
                  <a:pos x="104" y="156"/>
                </a:cxn>
                <a:cxn ang="0">
                  <a:pos x="156" y="156"/>
                </a:cxn>
                <a:cxn ang="0">
                  <a:pos x="180" y="167"/>
                </a:cxn>
                <a:cxn ang="0">
                  <a:pos x="188" y="146"/>
                </a:cxn>
                <a:cxn ang="0">
                  <a:pos x="210" y="143"/>
                </a:cxn>
                <a:cxn ang="0">
                  <a:pos x="242" y="136"/>
                </a:cxn>
                <a:cxn ang="0">
                  <a:pos x="269" y="131"/>
                </a:cxn>
                <a:cxn ang="0">
                  <a:pos x="319" y="103"/>
                </a:cxn>
                <a:cxn ang="0">
                  <a:pos x="371" y="77"/>
                </a:cxn>
                <a:cxn ang="0">
                  <a:pos x="389" y="64"/>
                </a:cxn>
                <a:cxn ang="0">
                  <a:pos x="382" y="39"/>
                </a:cxn>
                <a:cxn ang="0">
                  <a:pos x="357" y="39"/>
                </a:cxn>
                <a:cxn ang="0">
                  <a:pos x="332" y="26"/>
                </a:cxn>
                <a:cxn ang="0">
                  <a:pos x="306" y="17"/>
                </a:cxn>
                <a:cxn ang="0">
                  <a:pos x="240" y="11"/>
                </a:cxn>
                <a:cxn ang="0">
                  <a:pos x="159" y="0"/>
                </a:cxn>
                <a:cxn ang="0">
                  <a:pos x="143" y="4"/>
                </a:cxn>
                <a:cxn ang="0">
                  <a:pos x="148" y="17"/>
                </a:cxn>
                <a:cxn ang="0">
                  <a:pos x="158" y="31"/>
                </a:cxn>
                <a:cxn ang="0">
                  <a:pos x="134" y="33"/>
                </a:cxn>
                <a:cxn ang="0">
                  <a:pos x="128" y="25"/>
                </a:cxn>
                <a:cxn ang="0">
                  <a:pos x="101" y="22"/>
                </a:cxn>
                <a:cxn ang="0">
                  <a:pos x="66" y="25"/>
                </a:cxn>
                <a:cxn ang="0">
                  <a:pos x="82" y="33"/>
                </a:cxn>
                <a:cxn ang="0">
                  <a:pos x="85" y="43"/>
                </a:cxn>
                <a:cxn ang="0">
                  <a:pos x="74" y="54"/>
                </a:cxn>
                <a:cxn ang="0">
                  <a:pos x="74" y="72"/>
                </a:cxn>
                <a:cxn ang="0">
                  <a:pos x="88" y="83"/>
                </a:cxn>
                <a:cxn ang="0">
                  <a:pos x="134" y="83"/>
                </a:cxn>
                <a:cxn ang="0">
                  <a:pos x="151" y="81"/>
                </a:cxn>
                <a:cxn ang="0">
                  <a:pos x="166" y="97"/>
                </a:cxn>
                <a:cxn ang="0">
                  <a:pos x="149" y="116"/>
                </a:cxn>
                <a:cxn ang="0">
                  <a:pos x="133" y="116"/>
                </a:cxn>
                <a:cxn ang="0">
                  <a:pos x="117" y="114"/>
                </a:cxn>
                <a:cxn ang="0">
                  <a:pos x="108" y="116"/>
                </a:cxn>
                <a:cxn ang="0">
                  <a:pos x="99" y="119"/>
                </a:cxn>
              </a:cxnLst>
              <a:rect l="0" t="0" r="r" b="b"/>
              <a:pathLst>
                <a:path w="389" h="167">
                  <a:moveTo>
                    <a:pt x="99" y="119"/>
                  </a:moveTo>
                  <a:lnTo>
                    <a:pt x="70" y="119"/>
                  </a:lnTo>
                  <a:lnTo>
                    <a:pt x="13" y="125"/>
                  </a:lnTo>
                  <a:lnTo>
                    <a:pt x="0" y="143"/>
                  </a:lnTo>
                  <a:lnTo>
                    <a:pt x="13" y="152"/>
                  </a:lnTo>
                  <a:lnTo>
                    <a:pt x="26" y="157"/>
                  </a:lnTo>
                  <a:lnTo>
                    <a:pt x="104" y="156"/>
                  </a:lnTo>
                  <a:lnTo>
                    <a:pt x="156" y="156"/>
                  </a:lnTo>
                  <a:lnTo>
                    <a:pt x="180" y="167"/>
                  </a:lnTo>
                  <a:lnTo>
                    <a:pt x="188" y="146"/>
                  </a:lnTo>
                  <a:lnTo>
                    <a:pt x="210" y="143"/>
                  </a:lnTo>
                  <a:lnTo>
                    <a:pt x="242" y="136"/>
                  </a:lnTo>
                  <a:lnTo>
                    <a:pt x="269" y="131"/>
                  </a:lnTo>
                  <a:lnTo>
                    <a:pt x="319" y="103"/>
                  </a:lnTo>
                  <a:lnTo>
                    <a:pt x="371" y="77"/>
                  </a:lnTo>
                  <a:lnTo>
                    <a:pt x="389" y="64"/>
                  </a:lnTo>
                  <a:lnTo>
                    <a:pt x="382" y="39"/>
                  </a:lnTo>
                  <a:lnTo>
                    <a:pt x="357" y="39"/>
                  </a:lnTo>
                  <a:lnTo>
                    <a:pt x="332" y="26"/>
                  </a:lnTo>
                  <a:lnTo>
                    <a:pt x="306" y="17"/>
                  </a:lnTo>
                  <a:lnTo>
                    <a:pt x="240" y="11"/>
                  </a:lnTo>
                  <a:lnTo>
                    <a:pt x="159" y="0"/>
                  </a:lnTo>
                  <a:lnTo>
                    <a:pt x="143" y="4"/>
                  </a:lnTo>
                  <a:lnTo>
                    <a:pt x="148" y="17"/>
                  </a:lnTo>
                  <a:lnTo>
                    <a:pt x="158" y="31"/>
                  </a:lnTo>
                  <a:lnTo>
                    <a:pt x="134" y="33"/>
                  </a:lnTo>
                  <a:lnTo>
                    <a:pt x="128" y="25"/>
                  </a:lnTo>
                  <a:lnTo>
                    <a:pt x="101" y="22"/>
                  </a:lnTo>
                  <a:lnTo>
                    <a:pt x="66" y="25"/>
                  </a:lnTo>
                  <a:lnTo>
                    <a:pt x="82" y="33"/>
                  </a:lnTo>
                  <a:lnTo>
                    <a:pt x="85" y="43"/>
                  </a:lnTo>
                  <a:lnTo>
                    <a:pt x="74" y="54"/>
                  </a:lnTo>
                  <a:lnTo>
                    <a:pt x="74" y="72"/>
                  </a:lnTo>
                  <a:lnTo>
                    <a:pt x="88" y="83"/>
                  </a:lnTo>
                  <a:lnTo>
                    <a:pt x="134" y="83"/>
                  </a:lnTo>
                  <a:lnTo>
                    <a:pt x="151" y="81"/>
                  </a:lnTo>
                  <a:lnTo>
                    <a:pt x="166" y="97"/>
                  </a:lnTo>
                  <a:lnTo>
                    <a:pt x="149" y="116"/>
                  </a:lnTo>
                  <a:lnTo>
                    <a:pt x="133" y="116"/>
                  </a:lnTo>
                  <a:lnTo>
                    <a:pt x="117" y="114"/>
                  </a:lnTo>
                  <a:lnTo>
                    <a:pt x="108" y="116"/>
                  </a:lnTo>
                  <a:lnTo>
                    <a:pt x="99" y="11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0" name="30649311.875501.259.625145">
              <a:extLst>
                <a:ext uri="{FF2B5EF4-FFF2-40B4-BE49-F238E27FC236}">
                  <a16:creationId xmlns:a16="http://schemas.microsoft.com/office/drawing/2014/main" id="{3CA3AE5E-CD5E-413A-A41D-6727BEB9CF03}"/>
                </a:ext>
              </a:extLst>
            </p:cNvPr>
            <p:cNvSpPr>
              <a:spLocks noChangeAspect="1"/>
            </p:cNvSpPr>
            <p:nvPr/>
          </p:nvSpPr>
          <p:spPr bwMode="gray">
            <a:xfrm>
              <a:off x="7708747" y="3350401"/>
              <a:ext cx="224436" cy="154745"/>
            </a:xfrm>
            <a:custGeom>
              <a:avLst/>
              <a:gdLst/>
              <a:ahLst/>
              <a:cxnLst>
                <a:cxn ang="0">
                  <a:pos x="0" y="146"/>
                </a:cxn>
                <a:cxn ang="0">
                  <a:pos x="3" y="152"/>
                </a:cxn>
                <a:cxn ang="0">
                  <a:pos x="21" y="155"/>
                </a:cxn>
                <a:cxn ang="0">
                  <a:pos x="65" y="157"/>
                </a:cxn>
                <a:cxn ang="0">
                  <a:pos x="117" y="103"/>
                </a:cxn>
                <a:cxn ang="0">
                  <a:pos x="129" y="137"/>
                </a:cxn>
                <a:cxn ang="0">
                  <a:pos x="144" y="172"/>
                </a:cxn>
                <a:cxn ang="0">
                  <a:pos x="176" y="158"/>
                </a:cxn>
                <a:cxn ang="0">
                  <a:pos x="210" y="144"/>
                </a:cxn>
                <a:cxn ang="0">
                  <a:pos x="245" y="155"/>
                </a:cxn>
                <a:cxn ang="0">
                  <a:pos x="247" y="104"/>
                </a:cxn>
                <a:cxn ang="0">
                  <a:pos x="223" y="95"/>
                </a:cxn>
                <a:cxn ang="0">
                  <a:pos x="209" y="96"/>
                </a:cxn>
                <a:cxn ang="0">
                  <a:pos x="218" y="64"/>
                </a:cxn>
                <a:cxn ang="0">
                  <a:pos x="190" y="57"/>
                </a:cxn>
                <a:cxn ang="0">
                  <a:pos x="165" y="55"/>
                </a:cxn>
                <a:cxn ang="0">
                  <a:pos x="131" y="55"/>
                </a:cxn>
                <a:cxn ang="0">
                  <a:pos x="103" y="55"/>
                </a:cxn>
                <a:cxn ang="0">
                  <a:pos x="70" y="55"/>
                </a:cxn>
                <a:cxn ang="0">
                  <a:pos x="41" y="49"/>
                </a:cxn>
                <a:cxn ang="0">
                  <a:pos x="37" y="45"/>
                </a:cxn>
                <a:cxn ang="0">
                  <a:pos x="43" y="33"/>
                </a:cxn>
                <a:cxn ang="0">
                  <a:pos x="55" y="24"/>
                </a:cxn>
                <a:cxn ang="0">
                  <a:pos x="102" y="16"/>
                </a:cxn>
                <a:cxn ang="0">
                  <a:pos x="99" y="0"/>
                </a:cxn>
                <a:cxn ang="0">
                  <a:pos x="63" y="5"/>
                </a:cxn>
                <a:cxn ang="0">
                  <a:pos x="33" y="4"/>
                </a:cxn>
                <a:cxn ang="0">
                  <a:pos x="14" y="20"/>
                </a:cxn>
                <a:cxn ang="0">
                  <a:pos x="7" y="55"/>
                </a:cxn>
                <a:cxn ang="0">
                  <a:pos x="8" y="63"/>
                </a:cxn>
                <a:cxn ang="0">
                  <a:pos x="5" y="66"/>
                </a:cxn>
                <a:cxn ang="0">
                  <a:pos x="27" y="73"/>
                </a:cxn>
                <a:cxn ang="0">
                  <a:pos x="38" y="92"/>
                </a:cxn>
                <a:cxn ang="0">
                  <a:pos x="32" y="114"/>
                </a:cxn>
                <a:cxn ang="0">
                  <a:pos x="26" y="117"/>
                </a:cxn>
                <a:cxn ang="0">
                  <a:pos x="18" y="126"/>
                </a:cxn>
                <a:cxn ang="0">
                  <a:pos x="0" y="146"/>
                </a:cxn>
              </a:cxnLst>
              <a:rect l="0" t="0" r="r" b="b"/>
              <a:pathLst>
                <a:path w="247" h="172">
                  <a:moveTo>
                    <a:pt x="0" y="146"/>
                  </a:moveTo>
                  <a:lnTo>
                    <a:pt x="3" y="152"/>
                  </a:lnTo>
                  <a:lnTo>
                    <a:pt x="21" y="155"/>
                  </a:lnTo>
                  <a:lnTo>
                    <a:pt x="65" y="157"/>
                  </a:lnTo>
                  <a:lnTo>
                    <a:pt x="117" y="103"/>
                  </a:lnTo>
                  <a:lnTo>
                    <a:pt x="129" y="137"/>
                  </a:lnTo>
                  <a:lnTo>
                    <a:pt x="144" y="172"/>
                  </a:lnTo>
                  <a:lnTo>
                    <a:pt x="176" y="158"/>
                  </a:lnTo>
                  <a:lnTo>
                    <a:pt x="210" y="144"/>
                  </a:lnTo>
                  <a:lnTo>
                    <a:pt x="245" y="155"/>
                  </a:lnTo>
                  <a:lnTo>
                    <a:pt x="247" y="104"/>
                  </a:lnTo>
                  <a:lnTo>
                    <a:pt x="223" y="95"/>
                  </a:lnTo>
                  <a:lnTo>
                    <a:pt x="209" y="96"/>
                  </a:lnTo>
                  <a:lnTo>
                    <a:pt x="218" y="64"/>
                  </a:lnTo>
                  <a:lnTo>
                    <a:pt x="190" y="57"/>
                  </a:lnTo>
                  <a:lnTo>
                    <a:pt x="165" y="55"/>
                  </a:lnTo>
                  <a:lnTo>
                    <a:pt x="131" y="55"/>
                  </a:lnTo>
                  <a:lnTo>
                    <a:pt x="103" y="55"/>
                  </a:lnTo>
                  <a:lnTo>
                    <a:pt x="70" y="55"/>
                  </a:lnTo>
                  <a:lnTo>
                    <a:pt x="41" y="49"/>
                  </a:lnTo>
                  <a:lnTo>
                    <a:pt x="37" y="45"/>
                  </a:lnTo>
                  <a:lnTo>
                    <a:pt x="43" y="33"/>
                  </a:lnTo>
                  <a:lnTo>
                    <a:pt x="55" y="24"/>
                  </a:lnTo>
                  <a:lnTo>
                    <a:pt x="102" y="16"/>
                  </a:lnTo>
                  <a:lnTo>
                    <a:pt x="99" y="0"/>
                  </a:lnTo>
                  <a:lnTo>
                    <a:pt x="63" y="5"/>
                  </a:lnTo>
                  <a:lnTo>
                    <a:pt x="33" y="4"/>
                  </a:lnTo>
                  <a:lnTo>
                    <a:pt x="14" y="20"/>
                  </a:lnTo>
                  <a:lnTo>
                    <a:pt x="7" y="55"/>
                  </a:lnTo>
                  <a:lnTo>
                    <a:pt x="8" y="63"/>
                  </a:lnTo>
                  <a:lnTo>
                    <a:pt x="5" y="66"/>
                  </a:lnTo>
                  <a:lnTo>
                    <a:pt x="27" y="73"/>
                  </a:lnTo>
                  <a:lnTo>
                    <a:pt x="38" y="92"/>
                  </a:lnTo>
                  <a:lnTo>
                    <a:pt x="32" y="114"/>
                  </a:lnTo>
                  <a:lnTo>
                    <a:pt x="26" y="117"/>
                  </a:lnTo>
                  <a:lnTo>
                    <a:pt x="18" y="126"/>
                  </a:lnTo>
                  <a:lnTo>
                    <a:pt x="0" y="146"/>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1" name="30650298.625400.12513.87517.6255">
              <a:extLst>
                <a:ext uri="{FF2B5EF4-FFF2-40B4-BE49-F238E27FC236}">
                  <a16:creationId xmlns:a16="http://schemas.microsoft.com/office/drawing/2014/main" id="{B40A287F-38DA-4387-BD28-2216B268F71B}"/>
                </a:ext>
              </a:extLst>
            </p:cNvPr>
            <p:cNvSpPr>
              <a:spLocks noChangeAspect="1"/>
            </p:cNvSpPr>
            <p:nvPr/>
          </p:nvSpPr>
          <p:spPr bwMode="gray">
            <a:xfrm>
              <a:off x="6088240" y="3133425"/>
              <a:ext cx="281497" cy="227071"/>
            </a:xfrm>
            <a:custGeom>
              <a:avLst/>
              <a:gdLst/>
              <a:ahLst/>
              <a:cxnLst>
                <a:cxn ang="0">
                  <a:pos x="0" y="58"/>
                </a:cxn>
                <a:cxn ang="0">
                  <a:pos x="0" y="18"/>
                </a:cxn>
                <a:cxn ang="0">
                  <a:pos x="79" y="0"/>
                </a:cxn>
                <a:cxn ang="0">
                  <a:pos x="144" y="48"/>
                </a:cxn>
                <a:cxn ang="0">
                  <a:pos x="217" y="34"/>
                </a:cxn>
                <a:cxn ang="0">
                  <a:pos x="303" y="111"/>
                </a:cxn>
                <a:cxn ang="0">
                  <a:pos x="291" y="191"/>
                </a:cxn>
                <a:cxn ang="0">
                  <a:pos x="311" y="227"/>
                </a:cxn>
                <a:cxn ang="0">
                  <a:pos x="246" y="245"/>
                </a:cxn>
                <a:cxn ang="0">
                  <a:pos x="215" y="177"/>
                </a:cxn>
                <a:cxn ang="0">
                  <a:pos x="188" y="205"/>
                </a:cxn>
                <a:cxn ang="0">
                  <a:pos x="79" y="139"/>
                </a:cxn>
                <a:cxn ang="0">
                  <a:pos x="28" y="69"/>
                </a:cxn>
                <a:cxn ang="0">
                  <a:pos x="2" y="84"/>
                </a:cxn>
                <a:cxn ang="0">
                  <a:pos x="0" y="58"/>
                </a:cxn>
              </a:cxnLst>
              <a:rect l="0" t="0" r="r" b="b"/>
              <a:pathLst>
                <a:path w="311" h="245">
                  <a:moveTo>
                    <a:pt x="0" y="58"/>
                  </a:moveTo>
                  <a:lnTo>
                    <a:pt x="0" y="18"/>
                  </a:lnTo>
                  <a:lnTo>
                    <a:pt x="79" y="0"/>
                  </a:lnTo>
                  <a:lnTo>
                    <a:pt x="144" y="48"/>
                  </a:lnTo>
                  <a:lnTo>
                    <a:pt x="217" y="34"/>
                  </a:lnTo>
                  <a:lnTo>
                    <a:pt x="303" y="111"/>
                  </a:lnTo>
                  <a:lnTo>
                    <a:pt x="291" y="191"/>
                  </a:lnTo>
                  <a:lnTo>
                    <a:pt x="311" y="227"/>
                  </a:lnTo>
                  <a:lnTo>
                    <a:pt x="246" y="245"/>
                  </a:lnTo>
                  <a:lnTo>
                    <a:pt x="215" y="177"/>
                  </a:lnTo>
                  <a:lnTo>
                    <a:pt x="188" y="205"/>
                  </a:lnTo>
                  <a:lnTo>
                    <a:pt x="79" y="139"/>
                  </a:lnTo>
                  <a:lnTo>
                    <a:pt x="28" y="69"/>
                  </a:lnTo>
                  <a:lnTo>
                    <a:pt x="2" y="84"/>
                  </a:lnTo>
                  <a:lnTo>
                    <a:pt x="0" y="58"/>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2" name="30654305416.56.62511.8755">
              <a:extLst>
                <a:ext uri="{FF2B5EF4-FFF2-40B4-BE49-F238E27FC236}">
                  <a16:creationId xmlns:a16="http://schemas.microsoft.com/office/drawing/2014/main" id="{8A33490E-E965-42FE-BCA4-0122DF4D1D8D}"/>
                </a:ext>
              </a:extLst>
            </p:cNvPr>
            <p:cNvSpPr>
              <a:spLocks noChangeAspect="1"/>
            </p:cNvSpPr>
            <p:nvPr/>
          </p:nvSpPr>
          <p:spPr bwMode="gray">
            <a:xfrm>
              <a:off x="6350715" y="3237706"/>
              <a:ext cx="190202" cy="107646"/>
            </a:xfrm>
            <a:custGeom>
              <a:avLst/>
              <a:gdLst/>
              <a:ahLst/>
              <a:cxnLst>
                <a:cxn ang="0">
                  <a:pos x="0" y="80"/>
                </a:cxn>
                <a:cxn ang="0">
                  <a:pos x="12" y="0"/>
                </a:cxn>
                <a:cxn ang="0">
                  <a:pos x="209" y="18"/>
                </a:cxn>
                <a:cxn ang="0">
                  <a:pos x="172" y="68"/>
                </a:cxn>
                <a:cxn ang="0">
                  <a:pos x="187" y="94"/>
                </a:cxn>
                <a:cxn ang="0">
                  <a:pos x="135" y="97"/>
                </a:cxn>
                <a:cxn ang="0">
                  <a:pos x="103" y="117"/>
                </a:cxn>
                <a:cxn ang="0">
                  <a:pos x="20" y="116"/>
                </a:cxn>
                <a:cxn ang="0">
                  <a:pos x="0" y="80"/>
                </a:cxn>
              </a:cxnLst>
              <a:rect l="0" t="0" r="r" b="b"/>
              <a:pathLst>
                <a:path w="209" h="117">
                  <a:moveTo>
                    <a:pt x="0" y="80"/>
                  </a:moveTo>
                  <a:lnTo>
                    <a:pt x="12" y="0"/>
                  </a:lnTo>
                  <a:lnTo>
                    <a:pt x="209" y="18"/>
                  </a:lnTo>
                  <a:lnTo>
                    <a:pt x="172" y="68"/>
                  </a:lnTo>
                  <a:lnTo>
                    <a:pt x="187" y="94"/>
                  </a:lnTo>
                  <a:lnTo>
                    <a:pt x="135" y="97"/>
                  </a:lnTo>
                  <a:lnTo>
                    <a:pt x="103" y="117"/>
                  </a:lnTo>
                  <a:lnTo>
                    <a:pt x="20" y="116"/>
                  </a:lnTo>
                  <a:lnTo>
                    <a:pt x="0" y="80"/>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3" name="30655294.75404.6256.7512.6255">
              <a:extLst>
                <a:ext uri="{FF2B5EF4-FFF2-40B4-BE49-F238E27FC236}">
                  <a16:creationId xmlns:a16="http://schemas.microsoft.com/office/drawing/2014/main" id="{BEDE95C4-D322-4EB0-8912-210B365C008B}"/>
                </a:ext>
              </a:extLst>
            </p:cNvPr>
            <p:cNvSpPr>
              <a:spLocks noChangeAspect="1"/>
            </p:cNvSpPr>
            <p:nvPr/>
          </p:nvSpPr>
          <p:spPr bwMode="gray">
            <a:xfrm>
              <a:off x="6158612" y="3071189"/>
              <a:ext cx="201614" cy="111011"/>
            </a:xfrm>
            <a:custGeom>
              <a:avLst/>
              <a:gdLst/>
              <a:ahLst/>
              <a:cxnLst>
                <a:cxn ang="0">
                  <a:pos x="0" y="69"/>
                </a:cxn>
                <a:cxn ang="0">
                  <a:pos x="35" y="19"/>
                </a:cxn>
                <a:cxn ang="0">
                  <a:pos x="80" y="33"/>
                </a:cxn>
                <a:cxn ang="0">
                  <a:pos x="157" y="0"/>
                </a:cxn>
                <a:cxn ang="0">
                  <a:pos x="202" y="7"/>
                </a:cxn>
                <a:cxn ang="0">
                  <a:pos x="224" y="25"/>
                </a:cxn>
                <a:cxn ang="0">
                  <a:pos x="138" y="103"/>
                </a:cxn>
                <a:cxn ang="0">
                  <a:pos x="65" y="117"/>
                </a:cxn>
                <a:cxn ang="0">
                  <a:pos x="0" y="69"/>
                </a:cxn>
              </a:cxnLst>
              <a:rect l="0" t="0" r="r" b="b"/>
              <a:pathLst>
                <a:path w="224" h="117">
                  <a:moveTo>
                    <a:pt x="0" y="69"/>
                  </a:moveTo>
                  <a:lnTo>
                    <a:pt x="35" y="19"/>
                  </a:lnTo>
                  <a:lnTo>
                    <a:pt x="80" y="33"/>
                  </a:lnTo>
                  <a:lnTo>
                    <a:pt x="157" y="0"/>
                  </a:lnTo>
                  <a:lnTo>
                    <a:pt x="202" y="7"/>
                  </a:lnTo>
                  <a:lnTo>
                    <a:pt x="224" y="25"/>
                  </a:lnTo>
                  <a:lnTo>
                    <a:pt x="138" y="103"/>
                  </a:lnTo>
                  <a:lnTo>
                    <a:pt x="65" y="117"/>
                  </a:lnTo>
                  <a:lnTo>
                    <a:pt x="0" y="69"/>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4" name="30656279.25400.87514.12518.755">
              <a:extLst>
                <a:ext uri="{FF2B5EF4-FFF2-40B4-BE49-F238E27FC236}">
                  <a16:creationId xmlns:a16="http://schemas.microsoft.com/office/drawing/2014/main" id="{90915B5E-B532-41E7-9885-2A5408FE6D4B}"/>
                </a:ext>
              </a:extLst>
            </p:cNvPr>
            <p:cNvSpPr>
              <a:spLocks noChangeAspect="1"/>
            </p:cNvSpPr>
            <p:nvPr/>
          </p:nvSpPr>
          <p:spPr bwMode="gray">
            <a:xfrm>
              <a:off x="6097750" y="2822255"/>
              <a:ext cx="300518" cy="228752"/>
            </a:xfrm>
            <a:custGeom>
              <a:avLst/>
              <a:gdLst/>
              <a:ahLst/>
              <a:cxnLst>
                <a:cxn ang="0">
                  <a:pos x="0" y="45"/>
                </a:cxn>
                <a:cxn ang="0">
                  <a:pos x="19" y="177"/>
                </a:cxn>
                <a:cxn ang="0">
                  <a:pos x="194" y="243"/>
                </a:cxn>
                <a:cxn ang="0">
                  <a:pos x="278" y="252"/>
                </a:cxn>
                <a:cxn ang="0">
                  <a:pos x="333" y="186"/>
                </a:cxn>
                <a:cxn ang="0">
                  <a:pos x="305" y="110"/>
                </a:cxn>
                <a:cxn ang="0">
                  <a:pos x="326" y="91"/>
                </a:cxn>
                <a:cxn ang="0">
                  <a:pos x="312" y="33"/>
                </a:cxn>
                <a:cxn ang="0">
                  <a:pos x="186" y="14"/>
                </a:cxn>
                <a:cxn ang="0">
                  <a:pos x="103" y="0"/>
                </a:cxn>
                <a:cxn ang="0">
                  <a:pos x="0" y="45"/>
                </a:cxn>
              </a:cxnLst>
              <a:rect l="0" t="0" r="r" b="b"/>
              <a:pathLst>
                <a:path w="333" h="252">
                  <a:moveTo>
                    <a:pt x="0" y="45"/>
                  </a:moveTo>
                  <a:lnTo>
                    <a:pt x="19" y="177"/>
                  </a:lnTo>
                  <a:lnTo>
                    <a:pt x="194" y="243"/>
                  </a:lnTo>
                  <a:lnTo>
                    <a:pt x="278" y="252"/>
                  </a:lnTo>
                  <a:lnTo>
                    <a:pt x="333" y="186"/>
                  </a:lnTo>
                  <a:lnTo>
                    <a:pt x="305" y="110"/>
                  </a:lnTo>
                  <a:lnTo>
                    <a:pt x="326" y="91"/>
                  </a:lnTo>
                  <a:lnTo>
                    <a:pt x="312" y="33"/>
                  </a:lnTo>
                  <a:lnTo>
                    <a:pt x="186" y="14"/>
                  </a:lnTo>
                  <a:lnTo>
                    <a:pt x="103" y="0"/>
                  </a:lnTo>
                  <a:lnTo>
                    <a:pt x="0" y="45"/>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5" name="30657295.5412.2510.5185">
              <a:extLst>
                <a:ext uri="{FF2B5EF4-FFF2-40B4-BE49-F238E27FC236}">
                  <a16:creationId xmlns:a16="http://schemas.microsoft.com/office/drawing/2014/main" id="{D16CDED1-36F2-496E-BB3E-F722702D59D1}"/>
                </a:ext>
              </a:extLst>
            </p:cNvPr>
            <p:cNvSpPr>
              <a:spLocks noChangeAspect="1"/>
            </p:cNvSpPr>
            <p:nvPr/>
          </p:nvSpPr>
          <p:spPr bwMode="gray">
            <a:xfrm>
              <a:off x="6282243" y="3082965"/>
              <a:ext cx="287202" cy="173246"/>
            </a:xfrm>
            <a:custGeom>
              <a:avLst/>
              <a:gdLst/>
              <a:ahLst/>
              <a:cxnLst>
                <a:cxn ang="0">
                  <a:pos x="0" y="91"/>
                </a:cxn>
                <a:cxn ang="0">
                  <a:pos x="86" y="168"/>
                </a:cxn>
                <a:cxn ang="0">
                  <a:pos x="283" y="186"/>
                </a:cxn>
                <a:cxn ang="0">
                  <a:pos x="317" y="122"/>
                </a:cxn>
                <a:cxn ang="0">
                  <a:pos x="268" y="117"/>
                </a:cxn>
                <a:cxn ang="0">
                  <a:pos x="262" y="61"/>
                </a:cxn>
                <a:cxn ang="0">
                  <a:pos x="218" y="0"/>
                </a:cxn>
                <a:cxn ang="0">
                  <a:pos x="86" y="13"/>
                </a:cxn>
                <a:cxn ang="0">
                  <a:pos x="0" y="91"/>
                </a:cxn>
              </a:cxnLst>
              <a:rect l="0" t="0" r="r" b="b"/>
              <a:pathLst>
                <a:path w="317" h="186">
                  <a:moveTo>
                    <a:pt x="0" y="91"/>
                  </a:moveTo>
                  <a:lnTo>
                    <a:pt x="86" y="168"/>
                  </a:lnTo>
                  <a:lnTo>
                    <a:pt x="283" y="186"/>
                  </a:lnTo>
                  <a:lnTo>
                    <a:pt x="317" y="122"/>
                  </a:lnTo>
                  <a:lnTo>
                    <a:pt x="268" y="117"/>
                  </a:lnTo>
                  <a:lnTo>
                    <a:pt x="262" y="61"/>
                  </a:lnTo>
                  <a:lnTo>
                    <a:pt x="218" y="0"/>
                  </a:lnTo>
                  <a:lnTo>
                    <a:pt x="86" y="13"/>
                  </a:lnTo>
                  <a:lnTo>
                    <a:pt x="0" y="91"/>
                  </a:lnTo>
                  <a:close/>
                </a:path>
              </a:pathLst>
            </a:custGeom>
            <a:grpFill/>
            <a:ln w="1270">
              <a:solidFill>
                <a:schemeClr val="bg1">
                  <a:lumMod val="50000"/>
                </a:schemeClr>
              </a:solidFill>
              <a:prstDash val="solid"/>
              <a:round/>
              <a:headEnd/>
              <a:tailEnd/>
            </a:ln>
          </p:spPr>
          <p:txBody>
            <a:bodyPr/>
            <a:lstStyle/>
            <a:p>
              <a:endParaRPr lang="en-US">
                <a:latin typeface="+mn-lt"/>
              </a:endParaRPr>
            </a:p>
          </p:txBody>
        </p:sp>
        <p:sp>
          <p:nvSpPr>
            <p:cNvPr id="246" name="30658288.5396.758.2519.755">
              <a:extLst>
                <a:ext uri="{FF2B5EF4-FFF2-40B4-BE49-F238E27FC236}">
                  <a16:creationId xmlns:a16="http://schemas.microsoft.com/office/drawing/2014/main" id="{BA7B7B22-9DD2-4E51-A6DB-4C6BB14A9E5D}"/>
                </a:ext>
              </a:extLst>
            </p:cNvPr>
            <p:cNvSpPr>
              <a:spLocks noChangeAspect="1"/>
            </p:cNvSpPr>
            <p:nvPr/>
          </p:nvSpPr>
          <p:spPr bwMode="gray">
            <a:xfrm>
              <a:off x="6031179" y="2970269"/>
              <a:ext cx="319535" cy="134559"/>
            </a:xfrm>
            <a:custGeom>
              <a:avLst/>
              <a:gdLst/>
              <a:ahLst/>
              <a:cxnLst>
                <a:cxn ang="0">
                  <a:pos x="0" y="35"/>
                </a:cxn>
                <a:cxn ang="0">
                  <a:pos x="61" y="101"/>
                </a:cxn>
                <a:cxn ang="0">
                  <a:pos x="160" y="100"/>
                </a:cxn>
                <a:cxn ang="0">
                  <a:pos x="174" y="130"/>
                </a:cxn>
                <a:cxn ang="0">
                  <a:pos x="219" y="144"/>
                </a:cxn>
                <a:cxn ang="0">
                  <a:pos x="296" y="111"/>
                </a:cxn>
                <a:cxn ang="0">
                  <a:pos x="341" y="118"/>
                </a:cxn>
                <a:cxn ang="0">
                  <a:pos x="351" y="88"/>
                </a:cxn>
                <a:cxn ang="0">
                  <a:pos x="267" y="79"/>
                </a:cxn>
                <a:cxn ang="0">
                  <a:pos x="92" y="13"/>
                </a:cxn>
                <a:cxn ang="0">
                  <a:pos x="75" y="0"/>
                </a:cxn>
                <a:cxn ang="0">
                  <a:pos x="0" y="35"/>
                </a:cxn>
              </a:cxnLst>
              <a:rect l="0" t="0" r="r" b="b"/>
              <a:pathLst>
                <a:path w="351" h="144">
                  <a:moveTo>
                    <a:pt x="0" y="35"/>
                  </a:moveTo>
                  <a:lnTo>
                    <a:pt x="61" y="101"/>
                  </a:lnTo>
                  <a:lnTo>
                    <a:pt x="160" y="100"/>
                  </a:lnTo>
                  <a:lnTo>
                    <a:pt x="174" y="130"/>
                  </a:lnTo>
                  <a:lnTo>
                    <a:pt x="219" y="144"/>
                  </a:lnTo>
                  <a:lnTo>
                    <a:pt x="296" y="111"/>
                  </a:lnTo>
                  <a:lnTo>
                    <a:pt x="341" y="118"/>
                  </a:lnTo>
                  <a:lnTo>
                    <a:pt x="351" y="88"/>
                  </a:lnTo>
                  <a:lnTo>
                    <a:pt x="267" y="79"/>
                  </a:lnTo>
                  <a:lnTo>
                    <a:pt x="92" y="13"/>
                  </a:lnTo>
                  <a:lnTo>
                    <a:pt x="75" y="0"/>
                  </a:lnTo>
                  <a:lnTo>
                    <a:pt x="0" y="35"/>
                  </a:lnTo>
                  <a:close/>
                </a:path>
              </a:pathLst>
            </a:custGeom>
            <a:grpFill/>
            <a:ln w="1270">
              <a:solidFill>
                <a:schemeClr val="bg1">
                  <a:lumMod val="50000"/>
                </a:schemeClr>
              </a:solidFill>
              <a:prstDash val="solid"/>
              <a:round/>
              <a:headEnd/>
              <a:tailEnd/>
            </a:ln>
          </p:spPr>
          <p:txBody>
            <a:bodyPr/>
            <a:lstStyle/>
            <a:p>
              <a:endParaRPr lang="en-US">
                <a:latin typeface="+mn-lt"/>
              </a:endParaRPr>
            </a:p>
          </p:txBody>
        </p:sp>
      </p:grpSp>
      <p:pic>
        <p:nvPicPr>
          <p:cNvPr id="247" name="Picture 246">
            <a:extLst>
              <a:ext uri="{FF2B5EF4-FFF2-40B4-BE49-F238E27FC236}">
                <a16:creationId xmlns:a16="http://schemas.microsoft.com/office/drawing/2014/main" id="{7A53AC53-DE65-46EC-A43D-C1BD57644D9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57366" y="5073049"/>
            <a:ext cx="2147234" cy="1610426"/>
          </a:xfrm>
          <a:prstGeom prst="ellipse">
            <a:avLst/>
          </a:prstGeom>
          <a:ln>
            <a:noFill/>
          </a:ln>
          <a:effectLst>
            <a:softEdge rad="112500"/>
          </a:effectLst>
        </p:spPr>
      </p:pic>
      <p:grpSp>
        <p:nvGrpSpPr>
          <p:cNvPr id="248" name="Group 247">
            <a:extLst>
              <a:ext uri="{FF2B5EF4-FFF2-40B4-BE49-F238E27FC236}">
                <a16:creationId xmlns:a16="http://schemas.microsoft.com/office/drawing/2014/main" id="{6CC9D027-9486-4256-988B-7A6D87D8890E}"/>
              </a:ext>
            </a:extLst>
          </p:cNvPr>
          <p:cNvGrpSpPr/>
          <p:nvPr/>
        </p:nvGrpSpPr>
        <p:grpSpPr>
          <a:xfrm>
            <a:off x="4473571" y="1233957"/>
            <a:ext cx="2254016" cy="1493610"/>
            <a:chOff x="4980427" y="4047039"/>
            <a:chExt cx="2254016" cy="1493610"/>
          </a:xfrm>
        </p:grpSpPr>
        <p:pic>
          <p:nvPicPr>
            <p:cNvPr id="249" name="Picture 248">
              <a:extLst>
                <a:ext uri="{FF2B5EF4-FFF2-40B4-BE49-F238E27FC236}">
                  <a16:creationId xmlns:a16="http://schemas.microsoft.com/office/drawing/2014/main" id="{C2CB9B20-8BB2-4B44-985F-52641CBC5A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80427" y="4047039"/>
              <a:ext cx="2254016" cy="1493610"/>
            </a:xfrm>
            <a:prstGeom prst="ellipse">
              <a:avLst/>
            </a:prstGeom>
            <a:ln>
              <a:noFill/>
            </a:ln>
            <a:effectLst>
              <a:softEdge rad="112500"/>
            </a:effectLst>
          </p:spPr>
        </p:pic>
        <p:sp>
          <p:nvSpPr>
            <p:cNvPr id="250" name="TextBox 249">
              <a:extLst>
                <a:ext uri="{FF2B5EF4-FFF2-40B4-BE49-F238E27FC236}">
                  <a16:creationId xmlns:a16="http://schemas.microsoft.com/office/drawing/2014/main" id="{4C49FEFC-9B99-486E-828E-15F923715AC7}"/>
                </a:ext>
              </a:extLst>
            </p:cNvPr>
            <p:cNvSpPr txBox="1"/>
            <p:nvPr/>
          </p:nvSpPr>
          <p:spPr>
            <a:xfrm>
              <a:off x="5042738" y="5314753"/>
              <a:ext cx="1250330" cy="215444"/>
            </a:xfrm>
            <a:prstGeom prst="rect">
              <a:avLst/>
            </a:prstGeom>
            <a:noFill/>
          </p:spPr>
          <p:txBody>
            <a:bodyPr wrap="square" rtlCol="0">
              <a:spAutoFit/>
            </a:bodyPr>
            <a:lstStyle/>
            <a:p>
              <a:r>
                <a:rPr lang="en-US" sz="800">
                  <a:latin typeface="Helvetica" pitchFamily="2" charset="0"/>
                </a:rPr>
                <a:t>Rod Arnold, BAS</a:t>
              </a:r>
            </a:p>
          </p:txBody>
        </p:sp>
      </p:grpSp>
      <p:pic>
        <p:nvPicPr>
          <p:cNvPr id="251" name="Picture 250">
            <a:extLst>
              <a:ext uri="{FF2B5EF4-FFF2-40B4-BE49-F238E27FC236}">
                <a16:creationId xmlns:a16="http://schemas.microsoft.com/office/drawing/2014/main" id="{22B99FF3-18CF-4B5D-BE8B-67DFC6A78FE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3867" y="3078305"/>
            <a:ext cx="2399475" cy="1349703"/>
          </a:xfrm>
          <a:prstGeom prst="ellipse">
            <a:avLst/>
          </a:prstGeom>
          <a:ln>
            <a:noFill/>
          </a:ln>
          <a:effectLst>
            <a:softEdge rad="112500"/>
          </a:effectLst>
        </p:spPr>
      </p:pic>
      <p:sp>
        <p:nvSpPr>
          <p:cNvPr id="253" name="Oval 252">
            <a:extLst>
              <a:ext uri="{FF2B5EF4-FFF2-40B4-BE49-F238E27FC236}">
                <a16:creationId xmlns:a16="http://schemas.microsoft.com/office/drawing/2014/main" id="{CCE6F322-6036-48EA-9C28-07D12594CE90}"/>
              </a:ext>
            </a:extLst>
          </p:cNvPr>
          <p:cNvSpPr/>
          <p:nvPr/>
        </p:nvSpPr>
        <p:spPr>
          <a:xfrm>
            <a:off x="3088062" y="3733387"/>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Oval 253">
            <a:extLst>
              <a:ext uri="{FF2B5EF4-FFF2-40B4-BE49-F238E27FC236}">
                <a16:creationId xmlns:a16="http://schemas.microsoft.com/office/drawing/2014/main" id="{517D5DED-142E-413C-8835-FA2C20E0EE18}"/>
              </a:ext>
            </a:extLst>
          </p:cNvPr>
          <p:cNvSpPr/>
          <p:nvPr/>
        </p:nvSpPr>
        <p:spPr>
          <a:xfrm>
            <a:off x="2933403" y="4056114"/>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Oval 254">
            <a:extLst>
              <a:ext uri="{FF2B5EF4-FFF2-40B4-BE49-F238E27FC236}">
                <a16:creationId xmlns:a16="http://schemas.microsoft.com/office/drawing/2014/main" id="{185E44C8-8274-43CF-BAE4-E2465505A65D}"/>
              </a:ext>
            </a:extLst>
          </p:cNvPr>
          <p:cNvSpPr/>
          <p:nvPr/>
        </p:nvSpPr>
        <p:spPr>
          <a:xfrm>
            <a:off x="5729563" y="2724495"/>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Oval 255">
            <a:extLst>
              <a:ext uri="{FF2B5EF4-FFF2-40B4-BE49-F238E27FC236}">
                <a16:creationId xmlns:a16="http://schemas.microsoft.com/office/drawing/2014/main" id="{8F783AE9-8382-4950-9A0D-94DC9DA12982}"/>
              </a:ext>
            </a:extLst>
          </p:cNvPr>
          <p:cNvSpPr/>
          <p:nvPr/>
        </p:nvSpPr>
        <p:spPr>
          <a:xfrm>
            <a:off x="9335281" y="5336182"/>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Oval 256">
            <a:extLst>
              <a:ext uri="{FF2B5EF4-FFF2-40B4-BE49-F238E27FC236}">
                <a16:creationId xmlns:a16="http://schemas.microsoft.com/office/drawing/2014/main" id="{C8704439-274F-47FF-B3B0-14C54988CB0F}"/>
              </a:ext>
            </a:extLst>
          </p:cNvPr>
          <p:cNvSpPr/>
          <p:nvPr/>
        </p:nvSpPr>
        <p:spPr>
          <a:xfrm>
            <a:off x="6429299" y="3234976"/>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Oval 257">
            <a:extLst>
              <a:ext uri="{FF2B5EF4-FFF2-40B4-BE49-F238E27FC236}">
                <a16:creationId xmlns:a16="http://schemas.microsoft.com/office/drawing/2014/main" id="{AA1F243E-4AEB-4466-9CA8-62A4F80920B7}"/>
              </a:ext>
            </a:extLst>
          </p:cNvPr>
          <p:cNvSpPr/>
          <p:nvPr/>
        </p:nvSpPr>
        <p:spPr>
          <a:xfrm>
            <a:off x="3139300" y="3776325"/>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Oval 258">
            <a:extLst>
              <a:ext uri="{FF2B5EF4-FFF2-40B4-BE49-F238E27FC236}">
                <a16:creationId xmlns:a16="http://schemas.microsoft.com/office/drawing/2014/main" id="{DFBF8099-3382-47EA-A200-8BE48A36A40F}"/>
              </a:ext>
            </a:extLst>
          </p:cNvPr>
          <p:cNvSpPr/>
          <p:nvPr/>
        </p:nvSpPr>
        <p:spPr>
          <a:xfrm>
            <a:off x="3240093" y="3259544"/>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Oval 259">
            <a:extLst>
              <a:ext uri="{FF2B5EF4-FFF2-40B4-BE49-F238E27FC236}">
                <a16:creationId xmlns:a16="http://schemas.microsoft.com/office/drawing/2014/main" id="{C1CF4F2F-3399-4D29-A643-4AE8767A4748}"/>
              </a:ext>
            </a:extLst>
          </p:cNvPr>
          <p:cNvSpPr/>
          <p:nvPr/>
        </p:nvSpPr>
        <p:spPr>
          <a:xfrm>
            <a:off x="5577763" y="2983330"/>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Oval 260">
            <a:extLst>
              <a:ext uri="{FF2B5EF4-FFF2-40B4-BE49-F238E27FC236}">
                <a16:creationId xmlns:a16="http://schemas.microsoft.com/office/drawing/2014/main" id="{9A9A3549-1A0C-4067-9A29-CFF568649A09}"/>
              </a:ext>
            </a:extLst>
          </p:cNvPr>
          <p:cNvSpPr/>
          <p:nvPr/>
        </p:nvSpPr>
        <p:spPr>
          <a:xfrm>
            <a:off x="5616924" y="3379159"/>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Oval 261">
            <a:extLst>
              <a:ext uri="{FF2B5EF4-FFF2-40B4-BE49-F238E27FC236}">
                <a16:creationId xmlns:a16="http://schemas.microsoft.com/office/drawing/2014/main" id="{12B45982-9671-4573-AD4A-884F3C4362BE}"/>
              </a:ext>
            </a:extLst>
          </p:cNvPr>
          <p:cNvSpPr/>
          <p:nvPr/>
        </p:nvSpPr>
        <p:spPr>
          <a:xfrm>
            <a:off x="5744203" y="3127570"/>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Oval 262">
            <a:extLst>
              <a:ext uri="{FF2B5EF4-FFF2-40B4-BE49-F238E27FC236}">
                <a16:creationId xmlns:a16="http://schemas.microsoft.com/office/drawing/2014/main" id="{00D2B1C0-AAE1-4351-B108-019B3C3A565A}"/>
              </a:ext>
            </a:extLst>
          </p:cNvPr>
          <p:cNvSpPr/>
          <p:nvPr/>
        </p:nvSpPr>
        <p:spPr>
          <a:xfrm>
            <a:off x="5889231" y="3056462"/>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Oval 263">
            <a:extLst>
              <a:ext uri="{FF2B5EF4-FFF2-40B4-BE49-F238E27FC236}">
                <a16:creationId xmlns:a16="http://schemas.microsoft.com/office/drawing/2014/main" id="{9F8DB15E-AC7C-4163-B652-0887B9EC627B}"/>
              </a:ext>
            </a:extLst>
          </p:cNvPr>
          <p:cNvSpPr/>
          <p:nvPr/>
        </p:nvSpPr>
        <p:spPr>
          <a:xfrm>
            <a:off x="6156992" y="3108552"/>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Oval 264">
            <a:extLst>
              <a:ext uri="{FF2B5EF4-FFF2-40B4-BE49-F238E27FC236}">
                <a16:creationId xmlns:a16="http://schemas.microsoft.com/office/drawing/2014/main" id="{7FAE10E3-22B8-4BD8-8DAF-1FE359991F84}"/>
              </a:ext>
            </a:extLst>
          </p:cNvPr>
          <p:cNvSpPr/>
          <p:nvPr/>
        </p:nvSpPr>
        <p:spPr>
          <a:xfrm>
            <a:off x="6479327" y="3271266"/>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Oval 265">
            <a:extLst>
              <a:ext uri="{FF2B5EF4-FFF2-40B4-BE49-F238E27FC236}">
                <a16:creationId xmlns:a16="http://schemas.microsoft.com/office/drawing/2014/main" id="{C74069AA-0270-4FF7-AB45-30AB08262E0E}"/>
              </a:ext>
            </a:extLst>
          </p:cNvPr>
          <p:cNvSpPr/>
          <p:nvPr/>
        </p:nvSpPr>
        <p:spPr>
          <a:xfrm>
            <a:off x="9363072" y="5381902"/>
            <a:ext cx="274320" cy="2743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Oval 266">
            <a:extLst>
              <a:ext uri="{FF2B5EF4-FFF2-40B4-BE49-F238E27FC236}">
                <a16:creationId xmlns:a16="http://schemas.microsoft.com/office/drawing/2014/main" id="{1F13AD8F-67EB-4173-B044-F76D84EF484B}"/>
              </a:ext>
            </a:extLst>
          </p:cNvPr>
          <p:cNvSpPr/>
          <p:nvPr/>
        </p:nvSpPr>
        <p:spPr>
          <a:xfrm flipV="1">
            <a:off x="6733585" y="3746381"/>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Oval 267">
            <a:extLst>
              <a:ext uri="{FF2B5EF4-FFF2-40B4-BE49-F238E27FC236}">
                <a16:creationId xmlns:a16="http://schemas.microsoft.com/office/drawing/2014/main" id="{7EBDE766-8155-41CB-A55C-A2FBA6DB4C99}"/>
              </a:ext>
            </a:extLst>
          </p:cNvPr>
          <p:cNvSpPr/>
          <p:nvPr/>
        </p:nvSpPr>
        <p:spPr>
          <a:xfrm flipV="1">
            <a:off x="8290145" y="3647008"/>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Oval 269">
            <a:extLst>
              <a:ext uri="{FF2B5EF4-FFF2-40B4-BE49-F238E27FC236}">
                <a16:creationId xmlns:a16="http://schemas.microsoft.com/office/drawing/2014/main" id="{48C0B2E0-08D6-4BC2-B845-FEB7D8E27460}"/>
              </a:ext>
            </a:extLst>
          </p:cNvPr>
          <p:cNvSpPr/>
          <p:nvPr/>
        </p:nvSpPr>
        <p:spPr>
          <a:xfrm flipV="1">
            <a:off x="3921770" y="4557926"/>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Oval 270">
            <a:extLst>
              <a:ext uri="{FF2B5EF4-FFF2-40B4-BE49-F238E27FC236}">
                <a16:creationId xmlns:a16="http://schemas.microsoft.com/office/drawing/2014/main" id="{BAC059AF-D69D-4E10-8CAF-95696CCF616B}"/>
              </a:ext>
            </a:extLst>
          </p:cNvPr>
          <p:cNvSpPr/>
          <p:nvPr/>
        </p:nvSpPr>
        <p:spPr>
          <a:xfrm flipV="1">
            <a:off x="8187247" y="2692948"/>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Oval 272">
            <a:extLst>
              <a:ext uri="{FF2B5EF4-FFF2-40B4-BE49-F238E27FC236}">
                <a16:creationId xmlns:a16="http://schemas.microsoft.com/office/drawing/2014/main" id="{CA7D9DD1-B35D-44DE-81BD-EFC5A40D52F5}"/>
              </a:ext>
            </a:extLst>
          </p:cNvPr>
          <p:cNvSpPr/>
          <p:nvPr/>
        </p:nvSpPr>
        <p:spPr>
          <a:xfrm flipV="1">
            <a:off x="5552404" y="3688303"/>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Oval 273">
            <a:extLst>
              <a:ext uri="{FF2B5EF4-FFF2-40B4-BE49-F238E27FC236}">
                <a16:creationId xmlns:a16="http://schemas.microsoft.com/office/drawing/2014/main" id="{ECA198B4-019F-4257-A09E-6ADC7D55A1D8}"/>
              </a:ext>
            </a:extLst>
          </p:cNvPr>
          <p:cNvSpPr/>
          <p:nvPr/>
        </p:nvSpPr>
        <p:spPr>
          <a:xfrm>
            <a:off x="5885968" y="489132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Oval 274">
            <a:extLst>
              <a:ext uri="{FF2B5EF4-FFF2-40B4-BE49-F238E27FC236}">
                <a16:creationId xmlns:a16="http://schemas.microsoft.com/office/drawing/2014/main" id="{74FFC72C-73A5-40A7-8042-5D3758B2536C}"/>
              </a:ext>
            </a:extLst>
          </p:cNvPr>
          <p:cNvSpPr/>
          <p:nvPr/>
        </p:nvSpPr>
        <p:spPr>
          <a:xfrm>
            <a:off x="6946196" y="400627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6" name="Oval 275">
            <a:extLst>
              <a:ext uri="{FF2B5EF4-FFF2-40B4-BE49-F238E27FC236}">
                <a16:creationId xmlns:a16="http://schemas.microsoft.com/office/drawing/2014/main" id="{E062BDB2-A9C6-44A1-BE5B-7F74D98B124F}"/>
              </a:ext>
            </a:extLst>
          </p:cNvPr>
          <p:cNvSpPr/>
          <p:nvPr/>
        </p:nvSpPr>
        <p:spPr>
          <a:xfrm>
            <a:off x="6983550" y="3345657"/>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a:extLst>
              <a:ext uri="{FF2B5EF4-FFF2-40B4-BE49-F238E27FC236}">
                <a16:creationId xmlns:a16="http://schemas.microsoft.com/office/drawing/2014/main" id="{BEEAA3EE-1893-4970-B1A4-5E7214CC7480}"/>
              </a:ext>
            </a:extLst>
          </p:cNvPr>
          <p:cNvSpPr/>
          <p:nvPr/>
        </p:nvSpPr>
        <p:spPr>
          <a:xfrm>
            <a:off x="460895" y="5224888"/>
            <a:ext cx="365760" cy="36576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Oval 277">
            <a:extLst>
              <a:ext uri="{FF2B5EF4-FFF2-40B4-BE49-F238E27FC236}">
                <a16:creationId xmlns:a16="http://schemas.microsoft.com/office/drawing/2014/main" id="{B9F7272D-334A-4802-A904-6BA9B840A95E}"/>
              </a:ext>
            </a:extLst>
          </p:cNvPr>
          <p:cNvSpPr/>
          <p:nvPr/>
        </p:nvSpPr>
        <p:spPr>
          <a:xfrm>
            <a:off x="460954" y="4717925"/>
            <a:ext cx="365642" cy="3656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a:extLst>
              <a:ext uri="{FF2B5EF4-FFF2-40B4-BE49-F238E27FC236}">
                <a16:creationId xmlns:a16="http://schemas.microsoft.com/office/drawing/2014/main" id="{76C13AC9-5636-4078-9CA9-47241287786E}"/>
              </a:ext>
            </a:extLst>
          </p:cNvPr>
          <p:cNvSpPr/>
          <p:nvPr/>
        </p:nvSpPr>
        <p:spPr>
          <a:xfrm flipV="1">
            <a:off x="460895" y="6239051"/>
            <a:ext cx="365760" cy="36576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Oval 279">
            <a:extLst>
              <a:ext uri="{FF2B5EF4-FFF2-40B4-BE49-F238E27FC236}">
                <a16:creationId xmlns:a16="http://schemas.microsoft.com/office/drawing/2014/main" id="{CFB99FA5-A739-4957-A02B-1F8B706F35A1}"/>
              </a:ext>
            </a:extLst>
          </p:cNvPr>
          <p:cNvSpPr/>
          <p:nvPr/>
        </p:nvSpPr>
        <p:spPr>
          <a:xfrm>
            <a:off x="460895" y="5731969"/>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13FE9053-E64F-472E-8EE7-8108813537F1}"/>
              </a:ext>
            </a:extLst>
          </p:cNvPr>
          <p:cNvSpPr/>
          <p:nvPr/>
        </p:nvSpPr>
        <p:spPr>
          <a:xfrm>
            <a:off x="928299" y="4686638"/>
            <a:ext cx="2004447" cy="395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rPr>
              <a:t>Complete - ground</a:t>
            </a:r>
          </a:p>
        </p:txBody>
      </p:sp>
      <p:sp>
        <p:nvSpPr>
          <p:cNvPr id="282" name="Rectangle 281">
            <a:extLst>
              <a:ext uri="{FF2B5EF4-FFF2-40B4-BE49-F238E27FC236}">
                <a16:creationId xmlns:a16="http://schemas.microsoft.com/office/drawing/2014/main" id="{0AD17C93-611C-4CAC-96C4-1882A60036BD}"/>
              </a:ext>
            </a:extLst>
          </p:cNvPr>
          <p:cNvSpPr/>
          <p:nvPr/>
        </p:nvSpPr>
        <p:spPr>
          <a:xfrm>
            <a:off x="928299" y="5182722"/>
            <a:ext cx="2004447" cy="395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rPr>
              <a:t>Complete - aerial</a:t>
            </a:r>
          </a:p>
        </p:txBody>
      </p:sp>
      <p:sp>
        <p:nvSpPr>
          <p:cNvPr id="283" name="Rectangle 282">
            <a:extLst>
              <a:ext uri="{FF2B5EF4-FFF2-40B4-BE49-F238E27FC236}">
                <a16:creationId xmlns:a16="http://schemas.microsoft.com/office/drawing/2014/main" id="{BD40FE5F-3034-4FA3-918D-F5E300865F9C}"/>
              </a:ext>
            </a:extLst>
          </p:cNvPr>
          <p:cNvSpPr/>
          <p:nvPr/>
        </p:nvSpPr>
        <p:spPr>
          <a:xfrm>
            <a:off x="928299" y="5678806"/>
            <a:ext cx="2004447" cy="395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rPr>
              <a:t>In progress</a:t>
            </a:r>
          </a:p>
        </p:txBody>
      </p:sp>
      <p:sp>
        <p:nvSpPr>
          <p:cNvPr id="284" name="Rectangle 283">
            <a:extLst>
              <a:ext uri="{FF2B5EF4-FFF2-40B4-BE49-F238E27FC236}">
                <a16:creationId xmlns:a16="http://schemas.microsoft.com/office/drawing/2014/main" id="{BC4A78FE-C7FC-43F8-8713-B5CAC11FB66C}"/>
              </a:ext>
            </a:extLst>
          </p:cNvPr>
          <p:cNvSpPr/>
          <p:nvPr/>
        </p:nvSpPr>
        <p:spPr>
          <a:xfrm>
            <a:off x="928299" y="6174890"/>
            <a:ext cx="2194350" cy="3952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solidFill>
                  <a:schemeClr val="tx1"/>
                </a:solidFill>
              </a:rPr>
              <a:t>Exploring possibilities</a:t>
            </a:r>
          </a:p>
        </p:txBody>
      </p:sp>
      <p:cxnSp>
        <p:nvCxnSpPr>
          <p:cNvPr id="285" name="Straight Connector 13">
            <a:extLst>
              <a:ext uri="{FF2B5EF4-FFF2-40B4-BE49-F238E27FC236}">
                <a16:creationId xmlns:a16="http://schemas.microsoft.com/office/drawing/2014/main" id="{06E8166E-8636-B74D-95A7-9422570F1187}"/>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286" name="Title 1">
            <a:extLst>
              <a:ext uri="{FF2B5EF4-FFF2-40B4-BE49-F238E27FC236}">
                <a16:creationId xmlns:a16="http://schemas.microsoft.com/office/drawing/2014/main" id="{E45FB608-7CB1-4444-BF58-E6BE1F7BCE01}"/>
              </a:ext>
            </a:extLst>
          </p:cNvPr>
          <p:cNvSpPr txBox="1">
            <a:spLocks/>
          </p:cNvSpPr>
          <p:nvPr/>
        </p:nvSpPr>
        <p:spPr>
          <a:xfrm>
            <a:off x="600370" y="372984"/>
            <a:ext cx="10117204" cy="769175"/>
          </a:xfrm>
          <a:prstGeom prst="rect">
            <a:avLst/>
          </a:prstGeom>
        </p:spPr>
        <p:txBody>
          <a:bodyPr lIns="0" rIns="9000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GB" sz="2200" b="1">
                <a:solidFill>
                  <a:srgbClr val="00B0F0"/>
                </a:solidFill>
                <a:latin typeface="Roboto" panose="02000000000000000000" pitchFamily="2" charset="0"/>
                <a:ea typeface="Roboto" panose="02000000000000000000" pitchFamily="2" charset="0"/>
              </a:rPr>
              <a:t>Direct measurement studies help better understand where and how much methane is leaking</a:t>
            </a:r>
            <a:endParaRPr kumimoji="0" lang="en-GB" sz="22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j-cs"/>
            </a:endParaRPr>
          </a:p>
        </p:txBody>
      </p:sp>
      <p:pic>
        <p:nvPicPr>
          <p:cNvPr id="288" name="Picture 287" descr="Text, logo&#10;&#10;Description automatically generated">
            <a:extLst>
              <a:ext uri="{FF2B5EF4-FFF2-40B4-BE49-F238E27FC236}">
                <a16:creationId xmlns:a16="http://schemas.microsoft.com/office/drawing/2014/main" id="{F9FC31A2-5B6E-5341-928B-1D407FCED8E6}"/>
              </a:ext>
            </a:extLst>
          </p:cNvPr>
          <p:cNvPicPr>
            <a:picLocks noChangeAspect="1"/>
          </p:cNvPicPr>
          <p:nvPr/>
        </p:nvPicPr>
        <p:blipFill>
          <a:blip r:embed="rId6">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2271466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4A1BF2B-77E9-C74F-87AD-1DA6A0CEA1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12161520" cy="6840855"/>
          </a:xfrm>
          <a:prstGeom prst="rect">
            <a:avLst/>
          </a:prstGeom>
        </p:spPr>
      </p:pic>
      <p:cxnSp>
        <p:nvCxnSpPr>
          <p:cNvPr id="7" name="Straight Connector 6">
            <a:extLst>
              <a:ext uri="{FF2B5EF4-FFF2-40B4-BE49-F238E27FC236}">
                <a16:creationId xmlns:a16="http://schemas.microsoft.com/office/drawing/2014/main" id="{6F991B94-14B8-4EC0-A112-380432642409}"/>
              </a:ext>
            </a:extLst>
          </p:cNvPr>
          <p:cNvCxnSpPr>
            <a:cxnSpLocks/>
          </p:cNvCxnSpPr>
          <p:nvPr/>
        </p:nvCxnSpPr>
        <p:spPr>
          <a:xfrm>
            <a:off x="-14084825" y="1196246"/>
            <a:ext cx="939011"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266" name="TextBox 265">
            <a:extLst>
              <a:ext uri="{FF2B5EF4-FFF2-40B4-BE49-F238E27FC236}">
                <a16:creationId xmlns:a16="http://schemas.microsoft.com/office/drawing/2014/main" id="{946FA3AB-3BAB-4740-9A45-805AA2926EFB}"/>
              </a:ext>
            </a:extLst>
          </p:cNvPr>
          <p:cNvSpPr txBox="1"/>
          <p:nvPr/>
        </p:nvSpPr>
        <p:spPr>
          <a:xfrm>
            <a:off x="-12467144" y="6102743"/>
            <a:ext cx="108716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44546A"/>
                </a:solidFill>
                <a:effectLst/>
                <a:uLnTx/>
                <a:uFillTx/>
                <a:latin typeface="Calibri" panose="020F0502020204030204"/>
                <a:ea typeface="+mn-ea"/>
                <a:cs typeface="+mn-cs"/>
              </a:rPr>
              <a:t>Source: EIA</a:t>
            </a:r>
          </a:p>
        </p:txBody>
      </p:sp>
      <p:cxnSp>
        <p:nvCxnSpPr>
          <p:cNvPr id="277" name="Straight Connector 276">
            <a:extLst>
              <a:ext uri="{FF2B5EF4-FFF2-40B4-BE49-F238E27FC236}">
                <a16:creationId xmlns:a16="http://schemas.microsoft.com/office/drawing/2014/main" id="{23726377-56B7-DC4A-B312-664DB35DCE7D}"/>
              </a:ext>
            </a:extLst>
          </p:cNvPr>
          <p:cNvCxnSpPr>
            <a:cxnSpLocks/>
          </p:cNvCxnSpPr>
          <p:nvPr/>
        </p:nvCxnSpPr>
        <p:spPr>
          <a:xfrm>
            <a:off x="-13693821" y="5567117"/>
            <a:ext cx="4749845" cy="220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5" name="Rectangle 284">
            <a:extLst>
              <a:ext uri="{FF2B5EF4-FFF2-40B4-BE49-F238E27FC236}">
                <a16:creationId xmlns:a16="http://schemas.microsoft.com/office/drawing/2014/main" id="{EE7C5256-420E-6347-B085-C018023CBBF6}"/>
              </a:ext>
            </a:extLst>
          </p:cNvPr>
          <p:cNvSpPr/>
          <p:nvPr/>
        </p:nvSpPr>
        <p:spPr>
          <a:xfrm rot="5400000">
            <a:off x="-14282319" y="2093243"/>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6,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292" name="Rectangle 291">
            <a:extLst>
              <a:ext uri="{FF2B5EF4-FFF2-40B4-BE49-F238E27FC236}">
                <a16:creationId xmlns:a16="http://schemas.microsoft.com/office/drawing/2014/main" id="{6FEF1D07-FC43-6948-8EF7-AE631F7A5936}"/>
              </a:ext>
            </a:extLst>
          </p:cNvPr>
          <p:cNvSpPr/>
          <p:nvPr/>
        </p:nvSpPr>
        <p:spPr>
          <a:xfrm>
            <a:off x="-11204304" y="3132544"/>
            <a:ext cx="1338007" cy="2422571"/>
          </a:xfrm>
          <a:prstGeom prst="rect">
            <a:avLst/>
          </a:prstGeom>
          <a:solidFill>
            <a:srgbClr val="2086C7"/>
          </a:solidFill>
          <a:ln w="19050">
            <a:solidFill>
              <a:srgbClr val="2086C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3" name="Rectangle 292">
            <a:extLst>
              <a:ext uri="{FF2B5EF4-FFF2-40B4-BE49-F238E27FC236}">
                <a16:creationId xmlns:a16="http://schemas.microsoft.com/office/drawing/2014/main" id="{B5F55ED8-539F-E740-BED9-13EED8B5C2A7}"/>
              </a:ext>
            </a:extLst>
          </p:cNvPr>
          <p:cNvSpPr/>
          <p:nvPr/>
        </p:nvSpPr>
        <p:spPr>
          <a:xfrm>
            <a:off x="-11198623" y="3694692"/>
            <a:ext cx="1338007" cy="1871786"/>
          </a:xfrm>
          <a:prstGeom prst="rect">
            <a:avLst/>
          </a:prstGeom>
          <a:solidFill>
            <a:srgbClr val="83C29D"/>
          </a:solidFill>
          <a:ln w="19050">
            <a:solidFill>
              <a:srgbClr val="83C29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2" name="Rectangle 301">
            <a:extLst>
              <a:ext uri="{FF2B5EF4-FFF2-40B4-BE49-F238E27FC236}">
                <a16:creationId xmlns:a16="http://schemas.microsoft.com/office/drawing/2014/main" id="{504A24CC-58C8-E447-8C7F-A8A28653F5FB}"/>
              </a:ext>
            </a:extLst>
          </p:cNvPr>
          <p:cNvSpPr/>
          <p:nvPr/>
        </p:nvSpPr>
        <p:spPr>
          <a:xfrm>
            <a:off x="-13259457" y="3078294"/>
            <a:ext cx="1338007" cy="2469974"/>
          </a:xfrm>
          <a:prstGeom prst="rect">
            <a:avLst/>
          </a:prstGeom>
          <a:solidFill>
            <a:srgbClr val="2086C7"/>
          </a:solidFill>
          <a:ln w="19050">
            <a:solidFill>
              <a:srgbClr val="2086C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3" name="Rectangle 302">
            <a:extLst>
              <a:ext uri="{FF2B5EF4-FFF2-40B4-BE49-F238E27FC236}">
                <a16:creationId xmlns:a16="http://schemas.microsoft.com/office/drawing/2014/main" id="{EDB20B0C-43A4-044F-94FF-769E33366897}"/>
              </a:ext>
            </a:extLst>
          </p:cNvPr>
          <p:cNvSpPr/>
          <p:nvPr/>
        </p:nvSpPr>
        <p:spPr>
          <a:xfrm>
            <a:off x="-13262092" y="3966132"/>
            <a:ext cx="1338007" cy="1599846"/>
          </a:xfrm>
          <a:prstGeom prst="rect">
            <a:avLst/>
          </a:prstGeom>
          <a:solidFill>
            <a:srgbClr val="83C29D"/>
          </a:solidFill>
          <a:ln w="19050">
            <a:solidFill>
              <a:srgbClr val="83C29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4" name="Rectangle 303">
            <a:extLst>
              <a:ext uri="{FF2B5EF4-FFF2-40B4-BE49-F238E27FC236}">
                <a16:creationId xmlns:a16="http://schemas.microsoft.com/office/drawing/2014/main" id="{6CFA68CF-452F-FD4F-A8CC-38C3163394A9}"/>
              </a:ext>
            </a:extLst>
          </p:cNvPr>
          <p:cNvSpPr/>
          <p:nvPr/>
        </p:nvSpPr>
        <p:spPr>
          <a:xfrm>
            <a:off x="-9800313" y="2149468"/>
            <a:ext cx="131188" cy="135131"/>
          </a:xfrm>
          <a:prstGeom prst="rect">
            <a:avLst/>
          </a:prstGeom>
          <a:solidFill>
            <a:srgbClr val="2086C7"/>
          </a:solidFill>
          <a:ln w="19050">
            <a:solidFill>
              <a:srgbClr val="2086C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5" name="Rectangle 304">
            <a:extLst>
              <a:ext uri="{FF2B5EF4-FFF2-40B4-BE49-F238E27FC236}">
                <a16:creationId xmlns:a16="http://schemas.microsoft.com/office/drawing/2014/main" id="{11BE47DB-46E5-E249-AD69-C9A6C62660DB}"/>
              </a:ext>
            </a:extLst>
          </p:cNvPr>
          <p:cNvSpPr/>
          <p:nvPr/>
        </p:nvSpPr>
        <p:spPr>
          <a:xfrm>
            <a:off x="-9800313" y="2563686"/>
            <a:ext cx="131188" cy="135131"/>
          </a:xfrm>
          <a:prstGeom prst="rect">
            <a:avLst/>
          </a:prstGeom>
          <a:solidFill>
            <a:srgbClr val="83C29D"/>
          </a:solidFill>
          <a:ln w="19050">
            <a:solidFill>
              <a:srgbClr val="83C29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6" name="Rectangle 305">
            <a:extLst>
              <a:ext uri="{FF2B5EF4-FFF2-40B4-BE49-F238E27FC236}">
                <a16:creationId xmlns:a16="http://schemas.microsoft.com/office/drawing/2014/main" id="{EFB62FF6-7ED3-8444-9C33-603F693D43F8}"/>
              </a:ext>
            </a:extLst>
          </p:cNvPr>
          <p:cNvSpPr/>
          <p:nvPr/>
        </p:nvSpPr>
        <p:spPr>
          <a:xfrm>
            <a:off x="-9650886" y="2023963"/>
            <a:ext cx="15290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World</a:t>
            </a:r>
            <a:r>
              <a:rPr kumimoji="0" lang="zh-CN" altLang="en-US"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 </a:t>
            </a:r>
            <a:r>
              <a:rPr kumimoji="0" lang="en-GB" sz="1200" b="0" i="1" u="none" strike="noStrike" kern="1200" cap="none" spc="0" normalizeH="0" baseline="0" noProof="0">
                <a:ln>
                  <a:noFill/>
                </a:ln>
                <a:solidFill>
                  <a:sysClr val="windowText" lastClr="000000"/>
                </a:solidFill>
                <a:effectLst/>
                <a:uLnTx/>
                <a:uFillTx/>
                <a:latin typeface="Calibri" panose="020F0502020204030204"/>
                <a:ea typeface="+mn-ea"/>
                <a:cs typeface="+mn-cs"/>
              </a:rPr>
              <a:t>Total(20</a:t>
            </a:r>
            <a:r>
              <a:rPr kumimoji="0" lang="en-US" altLang="zh-CN"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18</a:t>
            </a:r>
            <a:r>
              <a:rPr kumimoji="0" lang="en-GB" sz="1200" b="0" i="1" u="none" strike="noStrike" kern="1200" cap="none" spc="0" normalizeH="0" baseline="0" noProof="0">
                <a:ln>
                  <a:noFill/>
                </a:ln>
                <a:solidFill>
                  <a:sysClr val="windowText" lastClr="000000"/>
                </a:solidFill>
                <a:effectLst/>
                <a:uLnTx/>
                <a:uFillTx/>
                <a:latin typeface="Calibri" panose="020F0502020204030204"/>
                <a:ea typeface="+mn-ea"/>
                <a:cs typeface="+mn-cs"/>
              </a:rPr>
              <a:t>)</a:t>
            </a:r>
          </a:p>
        </p:txBody>
      </p:sp>
      <p:sp>
        <p:nvSpPr>
          <p:cNvPr id="307" name="Rectangle 306">
            <a:extLst>
              <a:ext uri="{FF2B5EF4-FFF2-40B4-BE49-F238E27FC236}">
                <a16:creationId xmlns:a16="http://schemas.microsoft.com/office/drawing/2014/main" id="{7D209353-DE6A-F94A-AE7C-24B685938DBE}"/>
              </a:ext>
            </a:extLst>
          </p:cNvPr>
          <p:cNvSpPr/>
          <p:nvPr/>
        </p:nvSpPr>
        <p:spPr>
          <a:xfrm rot="5400000">
            <a:off x="-11800277" y="-1092235"/>
            <a:ext cx="549556" cy="5397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a:ea typeface="+mn-ea"/>
                <a:cs typeface="+mn-cs"/>
              </a:rPr>
              <a:t>Oil and Gas Consumption and Production in G20 and in the Wor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400" b="1"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m</a:t>
            </a:r>
            <a:r>
              <a:rPr kumimoji="0" lang="en-GB" sz="1400" b="1" i="0" u="none" strike="noStrike" kern="1200" cap="none" spc="0" normalizeH="0" baseline="0" noProof="0" err="1">
                <a:ln>
                  <a:noFill/>
                </a:ln>
                <a:solidFill>
                  <a:prstClr val="black"/>
                </a:solidFill>
                <a:effectLst/>
                <a:uLnTx/>
                <a:uFillTx/>
                <a:latin typeface="Calibri" panose="020F0502020204030204"/>
                <a:ea typeface="+mn-ea"/>
                <a:cs typeface="+mn-cs"/>
              </a:rPr>
              <a:t>illion</a:t>
            </a:r>
            <a:r>
              <a:rPr kumimoji="0" lang="en-GB" sz="1400" b="1" i="0" u="none" strike="noStrike" kern="1200" cap="none" spc="0" normalizeH="0" baseline="0" noProof="0">
                <a:ln>
                  <a:noFill/>
                </a:ln>
                <a:solidFill>
                  <a:prstClr val="black"/>
                </a:solidFill>
                <a:effectLst/>
                <a:uLnTx/>
                <a:uFillTx/>
                <a:latin typeface="Calibri" panose="020F0502020204030204"/>
                <a:ea typeface="+mn-ea"/>
                <a:cs typeface="+mn-cs"/>
              </a:rPr>
              <a:t> tonnes oil equivalent) </a:t>
            </a:r>
          </a:p>
        </p:txBody>
      </p:sp>
      <p:sp>
        <p:nvSpPr>
          <p:cNvPr id="309" name="Rectangle 308">
            <a:extLst>
              <a:ext uri="{FF2B5EF4-FFF2-40B4-BE49-F238E27FC236}">
                <a16:creationId xmlns:a16="http://schemas.microsoft.com/office/drawing/2014/main" id="{53284A00-58C0-484C-9829-76FB492B7B43}"/>
              </a:ext>
            </a:extLst>
          </p:cNvPr>
          <p:cNvSpPr/>
          <p:nvPr/>
        </p:nvSpPr>
        <p:spPr>
          <a:xfrm rot="5400000">
            <a:off x="-14289643" y="2623191"/>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5,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310" name="Rectangle 309">
            <a:extLst>
              <a:ext uri="{FF2B5EF4-FFF2-40B4-BE49-F238E27FC236}">
                <a16:creationId xmlns:a16="http://schemas.microsoft.com/office/drawing/2014/main" id="{AAC38190-633C-8042-8D35-691C1D153340}"/>
              </a:ext>
            </a:extLst>
          </p:cNvPr>
          <p:cNvSpPr/>
          <p:nvPr/>
        </p:nvSpPr>
        <p:spPr>
          <a:xfrm rot="5400000">
            <a:off x="-14264443" y="3155122"/>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4,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311" name="Rectangle 310">
            <a:extLst>
              <a:ext uri="{FF2B5EF4-FFF2-40B4-BE49-F238E27FC236}">
                <a16:creationId xmlns:a16="http://schemas.microsoft.com/office/drawing/2014/main" id="{0F7B9FC3-9917-6F4F-BFF6-2437208FB91A}"/>
              </a:ext>
            </a:extLst>
          </p:cNvPr>
          <p:cNvSpPr/>
          <p:nvPr/>
        </p:nvSpPr>
        <p:spPr>
          <a:xfrm rot="5400000">
            <a:off x="-14256858" y="3660912"/>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3,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312" name="Rectangle 311">
            <a:extLst>
              <a:ext uri="{FF2B5EF4-FFF2-40B4-BE49-F238E27FC236}">
                <a16:creationId xmlns:a16="http://schemas.microsoft.com/office/drawing/2014/main" id="{04256503-9DAF-AF48-BAC6-E191ABA3BA46}"/>
              </a:ext>
            </a:extLst>
          </p:cNvPr>
          <p:cNvSpPr/>
          <p:nvPr/>
        </p:nvSpPr>
        <p:spPr>
          <a:xfrm rot="5400000">
            <a:off x="-14246914" y="4100919"/>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2,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313" name="Rectangle 312">
            <a:extLst>
              <a:ext uri="{FF2B5EF4-FFF2-40B4-BE49-F238E27FC236}">
                <a16:creationId xmlns:a16="http://schemas.microsoft.com/office/drawing/2014/main" id="{F74F1503-9FF6-6942-B550-B4CF379E4178}"/>
              </a:ext>
            </a:extLst>
          </p:cNvPr>
          <p:cNvSpPr/>
          <p:nvPr/>
        </p:nvSpPr>
        <p:spPr>
          <a:xfrm rot="5400000">
            <a:off x="-14249168" y="4574872"/>
            <a:ext cx="279056" cy="8609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1,00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a:t>
            </a:r>
            <a:r>
              <a:rPr kumimoji="0" lang="en-US" altLang="zh-CN" sz="1200" b="0" i="1"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0</a:t>
            </a:r>
            <a:r>
              <a:rPr kumimoji="0" lang="en-GB" sz="1200" b="0" i="1" u="none" strike="noStrike" kern="1200" cap="none" spc="0" normalizeH="0" baseline="0" noProof="0">
                <a:ln>
                  <a:noFill/>
                </a:ln>
                <a:solidFill>
                  <a:prstClr val="black"/>
                </a:solidFill>
                <a:effectLst/>
                <a:uLnTx/>
                <a:uFillTx/>
                <a:latin typeface="Calibri" panose="020F0502020204030204"/>
                <a:ea typeface="+mn-ea"/>
                <a:cs typeface="+mn-cs"/>
              </a:rPr>
              <a:t>00</a:t>
            </a:r>
          </a:p>
        </p:txBody>
      </p:sp>
      <p:sp>
        <p:nvSpPr>
          <p:cNvPr id="315" name="Rectangle 314">
            <a:extLst>
              <a:ext uri="{FF2B5EF4-FFF2-40B4-BE49-F238E27FC236}">
                <a16:creationId xmlns:a16="http://schemas.microsoft.com/office/drawing/2014/main" id="{7620BFD0-7264-1247-9AC7-8218065FA291}"/>
              </a:ext>
            </a:extLst>
          </p:cNvPr>
          <p:cNvSpPr/>
          <p:nvPr/>
        </p:nvSpPr>
        <p:spPr>
          <a:xfrm>
            <a:off x="-9650886" y="2448688"/>
            <a:ext cx="1529033" cy="365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G20</a:t>
            </a:r>
            <a:r>
              <a:rPr kumimoji="0" lang="zh-CN" altLang="en-US"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 </a:t>
            </a:r>
            <a:r>
              <a:rPr kumimoji="0" lang="en-GB" sz="1200" b="0" i="1" u="none" strike="noStrike" kern="1200" cap="none" spc="0" normalizeH="0" baseline="0" noProof="0">
                <a:ln>
                  <a:noFill/>
                </a:ln>
                <a:solidFill>
                  <a:sysClr val="windowText" lastClr="000000"/>
                </a:solidFill>
                <a:effectLst/>
                <a:uLnTx/>
                <a:uFillTx/>
                <a:latin typeface="Calibri" panose="020F0502020204030204"/>
                <a:ea typeface="+mn-ea"/>
                <a:cs typeface="+mn-cs"/>
              </a:rPr>
              <a:t>Total(20</a:t>
            </a:r>
            <a:r>
              <a:rPr kumimoji="0" lang="en-US" altLang="zh-CN" sz="1200" b="0" i="1" u="none" strike="noStrike" kern="1200" cap="none" spc="0" normalizeH="0" baseline="0" noProof="0">
                <a:ln>
                  <a:noFill/>
                </a:ln>
                <a:solidFill>
                  <a:sysClr val="windowText" lastClr="000000"/>
                </a:solidFill>
                <a:effectLst/>
                <a:uLnTx/>
                <a:uFillTx/>
                <a:latin typeface="Calibri" panose="020F0502020204030204"/>
                <a:ea typeface="等线" panose="02010600030101010101" pitchFamily="2" charset="-122"/>
                <a:cs typeface="+mn-cs"/>
              </a:rPr>
              <a:t>18</a:t>
            </a:r>
            <a:r>
              <a:rPr kumimoji="0" lang="en-GB" sz="1200" b="0" i="1" u="none" strike="noStrike" kern="1200" cap="none" spc="0" normalizeH="0" baseline="0" noProof="0">
                <a:ln>
                  <a:noFill/>
                </a:ln>
                <a:solidFill>
                  <a:sysClr val="windowText" lastClr="000000"/>
                </a:solidFill>
                <a:effectLst/>
                <a:uLnTx/>
                <a:uFillTx/>
                <a:latin typeface="Calibri" panose="020F0502020204030204"/>
                <a:ea typeface="+mn-ea"/>
                <a:cs typeface="+mn-cs"/>
              </a:rPr>
              <a:t>)</a:t>
            </a:r>
          </a:p>
        </p:txBody>
      </p:sp>
      <p:sp>
        <p:nvSpPr>
          <p:cNvPr id="318" name="TextBox 317">
            <a:extLst>
              <a:ext uri="{FF2B5EF4-FFF2-40B4-BE49-F238E27FC236}">
                <a16:creationId xmlns:a16="http://schemas.microsoft.com/office/drawing/2014/main" id="{0ACD5383-D33B-214E-96DB-6310055A28A3}"/>
              </a:ext>
            </a:extLst>
          </p:cNvPr>
          <p:cNvSpPr txBox="1"/>
          <p:nvPr/>
        </p:nvSpPr>
        <p:spPr>
          <a:xfrm>
            <a:off x="-13170522" y="5708296"/>
            <a:ext cx="12464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Production</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TextBox 320">
            <a:extLst>
              <a:ext uri="{FF2B5EF4-FFF2-40B4-BE49-F238E27FC236}">
                <a16:creationId xmlns:a16="http://schemas.microsoft.com/office/drawing/2014/main" id="{D67094C4-D674-0C4B-B82E-137CE6555C39}"/>
              </a:ext>
            </a:extLst>
          </p:cNvPr>
          <p:cNvSpPr txBox="1"/>
          <p:nvPr/>
        </p:nvSpPr>
        <p:spPr>
          <a:xfrm>
            <a:off x="-11204304" y="5737797"/>
            <a:ext cx="15534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rPr>
              <a:t>Consumption</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24" name="Table 323">
            <a:extLst>
              <a:ext uri="{FF2B5EF4-FFF2-40B4-BE49-F238E27FC236}">
                <a16:creationId xmlns:a16="http://schemas.microsoft.com/office/drawing/2014/main" id="{F3AC741F-4860-7A44-8F93-DC4E70C8753C}"/>
              </a:ext>
            </a:extLst>
          </p:cNvPr>
          <p:cNvGraphicFramePr>
            <a:graphicFrameLocks noGrp="1"/>
          </p:cNvGraphicFramePr>
          <p:nvPr/>
        </p:nvGraphicFramePr>
        <p:xfrm>
          <a:off x="-13282985" y="4064547"/>
          <a:ext cx="1358900" cy="411329"/>
        </p:xfrm>
        <a:graphic>
          <a:graphicData uri="http://schemas.openxmlformats.org/drawingml/2006/table">
            <a:tbl>
              <a:tblPr/>
              <a:tblGrid>
                <a:gridCol w="1358900">
                  <a:extLst>
                    <a:ext uri="{9D8B030D-6E8A-4147-A177-3AD203B41FA5}">
                      <a16:colId xmlns:a16="http://schemas.microsoft.com/office/drawing/2014/main" val="2492003955"/>
                    </a:ext>
                  </a:extLst>
                </a:gridCol>
              </a:tblGrid>
              <a:tr h="411329">
                <a:tc>
                  <a:txBody>
                    <a:bodyPr/>
                    <a:lstStyle/>
                    <a:p>
                      <a:pPr algn="ctr" fontAlgn="ctr"/>
                      <a:r>
                        <a:rPr lang="en-US" sz="1200" b="0" i="0" u="none" strike="noStrike">
                          <a:solidFill>
                            <a:srgbClr val="000000"/>
                          </a:solidFill>
                          <a:effectLst/>
                          <a:latin typeface="Calibri" panose="020F0502020204030204" pitchFamily="34" charset="0"/>
                        </a:rPr>
                        <a:t>3148099</a:t>
                      </a:r>
                    </a:p>
                  </a:txBody>
                  <a:tcPr marL="0" marR="0" marT="0" marB="0" anchor="ctr">
                    <a:lnL>
                      <a:noFill/>
                    </a:lnL>
                    <a:lnR>
                      <a:noFill/>
                    </a:lnR>
                    <a:lnT>
                      <a:noFill/>
                    </a:lnT>
                    <a:lnB>
                      <a:noFill/>
                    </a:lnB>
                  </a:tcPr>
                </a:tc>
                <a:extLst>
                  <a:ext uri="{0D108BD9-81ED-4DB2-BD59-A6C34878D82A}">
                    <a16:rowId xmlns:a16="http://schemas.microsoft.com/office/drawing/2014/main" val="2239411678"/>
                  </a:ext>
                </a:extLst>
              </a:tr>
            </a:tbl>
          </a:graphicData>
        </a:graphic>
      </p:graphicFrame>
      <p:graphicFrame>
        <p:nvGraphicFramePr>
          <p:cNvPr id="325" name="Table 324">
            <a:extLst>
              <a:ext uri="{FF2B5EF4-FFF2-40B4-BE49-F238E27FC236}">
                <a16:creationId xmlns:a16="http://schemas.microsoft.com/office/drawing/2014/main" id="{8C3DF766-9354-0048-A4BA-5979CE79A98B}"/>
              </a:ext>
            </a:extLst>
          </p:cNvPr>
          <p:cNvGraphicFramePr>
            <a:graphicFrameLocks noGrp="1"/>
          </p:cNvGraphicFramePr>
          <p:nvPr/>
        </p:nvGraphicFramePr>
        <p:xfrm>
          <a:off x="-13265138" y="2545066"/>
          <a:ext cx="1358900" cy="757381"/>
        </p:xfrm>
        <a:graphic>
          <a:graphicData uri="http://schemas.openxmlformats.org/drawingml/2006/table">
            <a:tbl>
              <a:tblPr/>
              <a:tblGrid>
                <a:gridCol w="1358900">
                  <a:extLst>
                    <a:ext uri="{9D8B030D-6E8A-4147-A177-3AD203B41FA5}">
                      <a16:colId xmlns:a16="http://schemas.microsoft.com/office/drawing/2014/main" val="660133636"/>
                    </a:ext>
                  </a:extLst>
                </a:gridCol>
              </a:tblGrid>
              <a:tr h="757381">
                <a:tc>
                  <a:txBody>
                    <a:bodyPr/>
                    <a:lstStyle/>
                    <a:p>
                      <a:pPr algn="ctr" fontAlgn="ctr"/>
                      <a:r>
                        <a:rPr lang="en-US" sz="1200" b="0" i="0" u="none" strike="noStrike">
                          <a:solidFill>
                            <a:srgbClr val="000000"/>
                          </a:solidFill>
                          <a:effectLst/>
                          <a:latin typeface="Calibri" panose="020F0502020204030204" pitchFamily="34" charset="0"/>
                        </a:rPr>
                        <a:t>502263</a:t>
                      </a:r>
                      <a:r>
                        <a:rPr lang="en-US" altLang="zh-CN" sz="1200" b="0" i="0" u="none" strike="noStrike">
                          <a:solidFill>
                            <a:srgbClr val="000000"/>
                          </a:solidFill>
                          <a:effectLst/>
                          <a:latin typeface="Calibri" panose="020F0502020204030204" pitchFamily="34" charset="0"/>
                        </a:rPr>
                        <a:t>2</a:t>
                      </a:r>
                      <a:endParaRPr lang="en-US" sz="12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163828557"/>
                  </a:ext>
                </a:extLst>
              </a:tr>
            </a:tbl>
          </a:graphicData>
        </a:graphic>
      </p:graphicFrame>
      <p:graphicFrame>
        <p:nvGraphicFramePr>
          <p:cNvPr id="326" name="Table 325">
            <a:extLst>
              <a:ext uri="{FF2B5EF4-FFF2-40B4-BE49-F238E27FC236}">
                <a16:creationId xmlns:a16="http://schemas.microsoft.com/office/drawing/2014/main" id="{07DCC7C0-2093-E34B-8B0A-A385CE726804}"/>
              </a:ext>
            </a:extLst>
          </p:cNvPr>
          <p:cNvGraphicFramePr>
            <a:graphicFrameLocks noGrp="1"/>
          </p:cNvGraphicFramePr>
          <p:nvPr/>
        </p:nvGraphicFramePr>
        <p:xfrm>
          <a:off x="-11163816" y="3748935"/>
          <a:ext cx="1244600" cy="411423"/>
        </p:xfrm>
        <a:graphic>
          <a:graphicData uri="http://schemas.openxmlformats.org/drawingml/2006/table">
            <a:tbl>
              <a:tblPr/>
              <a:tblGrid>
                <a:gridCol w="1244600">
                  <a:extLst>
                    <a:ext uri="{9D8B030D-6E8A-4147-A177-3AD203B41FA5}">
                      <a16:colId xmlns:a16="http://schemas.microsoft.com/office/drawing/2014/main" val="2058310406"/>
                    </a:ext>
                  </a:extLst>
                </a:gridCol>
              </a:tblGrid>
              <a:tr h="411423">
                <a:tc>
                  <a:txBody>
                    <a:bodyPr/>
                    <a:lstStyle/>
                    <a:p>
                      <a:pPr algn="ctr" fontAlgn="ctr"/>
                      <a:r>
                        <a:rPr lang="en-US" sz="1200" b="0" i="0" u="none" strike="noStrike">
                          <a:solidFill>
                            <a:srgbClr val="000000"/>
                          </a:solidFill>
                          <a:effectLst/>
                          <a:latin typeface="Calibri" panose="020F0502020204030204" pitchFamily="34" charset="0"/>
                        </a:rPr>
                        <a:t>3904112</a:t>
                      </a:r>
                    </a:p>
                  </a:txBody>
                  <a:tcPr marL="0" marR="0" marT="0" marB="0" anchor="ctr">
                    <a:lnL>
                      <a:noFill/>
                    </a:lnL>
                    <a:lnR>
                      <a:noFill/>
                    </a:lnR>
                    <a:lnT>
                      <a:noFill/>
                    </a:lnT>
                    <a:lnB>
                      <a:noFill/>
                    </a:lnB>
                  </a:tcPr>
                </a:tc>
                <a:extLst>
                  <a:ext uri="{0D108BD9-81ED-4DB2-BD59-A6C34878D82A}">
                    <a16:rowId xmlns:a16="http://schemas.microsoft.com/office/drawing/2014/main" val="811127570"/>
                  </a:ext>
                </a:extLst>
              </a:tr>
            </a:tbl>
          </a:graphicData>
        </a:graphic>
      </p:graphicFrame>
      <p:graphicFrame>
        <p:nvGraphicFramePr>
          <p:cNvPr id="327" name="Table 326">
            <a:extLst>
              <a:ext uri="{FF2B5EF4-FFF2-40B4-BE49-F238E27FC236}">
                <a16:creationId xmlns:a16="http://schemas.microsoft.com/office/drawing/2014/main" id="{93672640-D411-E44E-B507-FFFBAE84BB57}"/>
              </a:ext>
            </a:extLst>
          </p:cNvPr>
          <p:cNvGraphicFramePr>
            <a:graphicFrameLocks noGrp="1"/>
          </p:cNvGraphicFramePr>
          <p:nvPr/>
        </p:nvGraphicFramePr>
        <p:xfrm>
          <a:off x="-11166325" y="2741194"/>
          <a:ext cx="1244600" cy="365125"/>
        </p:xfrm>
        <a:graphic>
          <a:graphicData uri="http://schemas.openxmlformats.org/drawingml/2006/table">
            <a:tbl>
              <a:tblPr/>
              <a:tblGrid>
                <a:gridCol w="1244600">
                  <a:extLst>
                    <a:ext uri="{9D8B030D-6E8A-4147-A177-3AD203B41FA5}">
                      <a16:colId xmlns:a16="http://schemas.microsoft.com/office/drawing/2014/main" val="2676987432"/>
                    </a:ext>
                  </a:extLst>
                </a:gridCol>
              </a:tblGrid>
              <a:tr h="365125">
                <a:tc>
                  <a:txBody>
                    <a:bodyPr/>
                    <a:lstStyle/>
                    <a:p>
                      <a:pPr algn="ctr" fontAlgn="ctr"/>
                      <a:r>
                        <a:rPr lang="en-US" sz="1200" b="0" i="0" u="none" strike="noStrike">
                          <a:solidFill>
                            <a:srgbClr val="000000"/>
                          </a:solidFill>
                          <a:effectLst/>
                          <a:latin typeface="Calibri" panose="020F0502020204030204" pitchFamily="34" charset="0"/>
                        </a:rPr>
                        <a:t>498445</a:t>
                      </a:r>
                      <a:r>
                        <a:rPr lang="en-US" altLang="zh-CN" sz="1200" b="0" i="0" u="none" strike="noStrike">
                          <a:solidFill>
                            <a:srgbClr val="000000"/>
                          </a:solidFill>
                          <a:effectLst/>
                          <a:latin typeface="Calibri" panose="020F0502020204030204" pitchFamily="34" charset="0"/>
                        </a:rPr>
                        <a:t>9</a:t>
                      </a:r>
                      <a:endParaRPr lang="en-US" sz="12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val="1543718997"/>
                  </a:ext>
                </a:extLst>
              </a:tr>
            </a:tbl>
          </a:graphicData>
        </a:graphic>
      </p:graphicFrame>
      <p:cxnSp>
        <p:nvCxnSpPr>
          <p:cNvPr id="30" name="Straight Connector 13">
            <a:extLst>
              <a:ext uri="{FF2B5EF4-FFF2-40B4-BE49-F238E27FC236}">
                <a16:creationId xmlns:a16="http://schemas.microsoft.com/office/drawing/2014/main" id="{36AB2293-B40F-4C43-9DBC-41E3E8104F3E}"/>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32" name="Title 1">
            <a:extLst>
              <a:ext uri="{FF2B5EF4-FFF2-40B4-BE49-F238E27FC236}">
                <a16:creationId xmlns:a16="http://schemas.microsoft.com/office/drawing/2014/main" id="{C9A9B2DB-D464-1E40-AE3E-90DB7CDBB4C4}"/>
              </a:ext>
            </a:extLst>
          </p:cNvPr>
          <p:cNvSpPr txBox="1">
            <a:spLocks/>
          </p:cNvSpPr>
          <p:nvPr/>
        </p:nvSpPr>
        <p:spPr>
          <a:xfrm>
            <a:off x="600370" y="372984"/>
            <a:ext cx="10443648" cy="769175"/>
          </a:xfrm>
          <a:prstGeom prst="rect">
            <a:avLst/>
          </a:prstGeom>
        </p:spPr>
        <p:txBody>
          <a:bodyPr lIns="0" rIns="9000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j-cs"/>
              </a:rPr>
              <a:t>The International Methane Emissions Observatory will </a:t>
            </a:r>
            <a:br>
              <a:rPr kumimoji="0" lang="en-GB" sz="24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j-cs"/>
              </a:rPr>
            </a:br>
            <a:r>
              <a:rPr kumimoji="0" lang="en-GB" sz="24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j-cs"/>
              </a:rPr>
              <a:t>revolutionize the global methane emissions approach</a:t>
            </a:r>
            <a:endParaRPr kumimoji="0" lang="en-US" sz="2400" b="1" i="0" u="none" strike="noStrike" kern="1200" cap="none" spc="0" normalizeH="0" baseline="0" noProof="0">
              <a:ln>
                <a:noFill/>
              </a:ln>
              <a:solidFill>
                <a:srgbClr val="00B0F0"/>
              </a:solidFill>
              <a:effectLst/>
              <a:uLnTx/>
              <a:uFillTx/>
              <a:latin typeface="Roboto" pitchFamily="2" charset="0"/>
              <a:ea typeface="Roboto" pitchFamily="2" charset="0"/>
              <a:cs typeface="+mj-cs"/>
            </a:endParaRPr>
          </a:p>
        </p:txBody>
      </p:sp>
      <p:sp>
        <p:nvSpPr>
          <p:cNvPr id="35" name="Rechteck 34">
            <a:extLst>
              <a:ext uri="{FF2B5EF4-FFF2-40B4-BE49-F238E27FC236}">
                <a16:creationId xmlns:a16="http://schemas.microsoft.com/office/drawing/2014/main" id="{5977BC89-580B-B744-A341-064D8275D0AA}"/>
              </a:ext>
            </a:extLst>
          </p:cNvPr>
          <p:cNvSpPr/>
          <p:nvPr/>
        </p:nvSpPr>
        <p:spPr>
          <a:xfrm>
            <a:off x="570235" y="2372055"/>
            <a:ext cx="445372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Each element is necessary, but not sufficient to drive change</a:t>
            </a:r>
          </a:p>
        </p:txBody>
      </p:sp>
      <p:sp>
        <p:nvSpPr>
          <p:cNvPr id="36" name="Rechteck 35">
            <a:extLst>
              <a:ext uri="{FF2B5EF4-FFF2-40B4-BE49-F238E27FC236}">
                <a16:creationId xmlns:a16="http://schemas.microsoft.com/office/drawing/2014/main" id="{AAC122AC-4E44-6D4D-8984-065D2563EC90}"/>
              </a:ext>
            </a:extLst>
          </p:cNvPr>
          <p:cNvSpPr/>
          <p:nvPr/>
        </p:nvSpPr>
        <p:spPr>
          <a:xfrm>
            <a:off x="570235" y="3336074"/>
            <a:ext cx="421441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B0F0"/>
                </a:solidFill>
                <a:effectLst/>
                <a:uLnTx/>
                <a:uFillTx/>
                <a:latin typeface="Roboto" pitchFamily="2" charset="0"/>
                <a:ea typeface="Roboto" pitchFamily="2" charset="0"/>
                <a:cs typeface="+mn-cs"/>
              </a:rPr>
              <a:t>IMEO interconnects activities across the methane ecosystem </a:t>
            </a:r>
          </a:p>
        </p:txBody>
      </p:sp>
      <p:pic>
        <p:nvPicPr>
          <p:cNvPr id="33" name="Picture 32" descr="Text, logo&#10;&#10;Description automatically generated">
            <a:extLst>
              <a:ext uri="{FF2B5EF4-FFF2-40B4-BE49-F238E27FC236}">
                <a16:creationId xmlns:a16="http://schemas.microsoft.com/office/drawing/2014/main" id="{FE02BFCB-55C2-4A16-9B35-469D55A70E60}"/>
              </a:ext>
            </a:extLst>
          </p:cNvPr>
          <p:cNvPicPr>
            <a:picLocks noChangeAspect="1"/>
          </p:cNvPicPr>
          <p:nvPr/>
        </p:nvPicPr>
        <p:blipFill>
          <a:blip r:embed="rId5">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1762767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 name="Rectangle 1759">
            <a:extLst>
              <a:ext uri="{FF2B5EF4-FFF2-40B4-BE49-F238E27FC236}">
                <a16:creationId xmlns:a16="http://schemas.microsoft.com/office/drawing/2014/main" id="{7AEFF28C-A0FD-4AE0-90B9-8BE96EE9E995}"/>
              </a:ext>
            </a:extLst>
          </p:cNvPr>
          <p:cNvSpPr/>
          <p:nvPr/>
        </p:nvSpPr>
        <p:spPr>
          <a:xfrm>
            <a:off x="744504" y="1288318"/>
            <a:ext cx="24224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Roboto" pitchFamily="2" charset="0"/>
                <a:ea typeface="Roboto" pitchFamily="2" charset="0"/>
                <a:cs typeface="+mn-cs"/>
              </a:rPr>
              <a:t>Data flow of the IMEO</a:t>
            </a:r>
          </a:p>
        </p:txBody>
      </p:sp>
      <p:sp>
        <p:nvSpPr>
          <p:cNvPr id="1761" name="Title 1">
            <a:extLst>
              <a:ext uri="{FF2B5EF4-FFF2-40B4-BE49-F238E27FC236}">
                <a16:creationId xmlns:a16="http://schemas.microsoft.com/office/drawing/2014/main" id="{ADB495C0-C587-4754-B308-4866B6B3ED19}"/>
              </a:ext>
            </a:extLst>
          </p:cNvPr>
          <p:cNvSpPr>
            <a:spLocks noGrp="1"/>
          </p:cNvSpPr>
          <p:nvPr>
            <p:ph type="title"/>
          </p:nvPr>
        </p:nvSpPr>
        <p:spPr>
          <a:xfrm>
            <a:off x="766219" y="-75982"/>
            <a:ext cx="10443648" cy="1232664"/>
          </a:xfrm>
        </p:spPr>
        <p:txBody>
          <a:bodyPr lIns="0" rIns="90000" anchor="b">
            <a:normAutofit/>
          </a:bodyPr>
          <a:lstStyle/>
          <a:p>
            <a:r>
              <a:rPr lang="en-US" sz="2700" b="1">
                <a:solidFill>
                  <a:srgbClr val="00B0F0"/>
                </a:solidFill>
                <a:latin typeface="Roboto" pitchFamily="2" charset="0"/>
                <a:ea typeface="Roboto" pitchFamily="2" charset="0"/>
              </a:rPr>
              <a:t>How will IMEO answer the methane emissions data problem?</a:t>
            </a:r>
            <a:br>
              <a:rPr lang="en-US" sz="2700" b="1">
                <a:solidFill>
                  <a:srgbClr val="00B0F0"/>
                </a:solidFill>
                <a:latin typeface="Roboto" pitchFamily="2" charset="0"/>
                <a:ea typeface="Roboto" pitchFamily="2" charset="0"/>
              </a:rPr>
            </a:br>
            <a:endParaRPr lang="en-US" sz="2700" b="1">
              <a:solidFill>
                <a:srgbClr val="00B0F0"/>
              </a:solidFill>
              <a:latin typeface="Roboto" pitchFamily="2" charset="0"/>
              <a:ea typeface="Roboto" pitchFamily="2" charset="0"/>
            </a:endParaRPr>
          </a:p>
        </p:txBody>
      </p:sp>
      <p:sp>
        <p:nvSpPr>
          <p:cNvPr id="7" name="Forme libre : forme 6">
            <a:extLst>
              <a:ext uri="{FF2B5EF4-FFF2-40B4-BE49-F238E27FC236}">
                <a16:creationId xmlns:a16="http://schemas.microsoft.com/office/drawing/2014/main" id="{7DB3B866-21F2-4906-9194-6203CD325E78}"/>
              </a:ext>
            </a:extLst>
          </p:cNvPr>
          <p:cNvSpPr/>
          <p:nvPr/>
        </p:nvSpPr>
        <p:spPr>
          <a:xfrm rot="259444">
            <a:off x="842360" y="1155982"/>
            <a:ext cx="10481630" cy="4203281"/>
          </a:xfrm>
          <a:custGeom>
            <a:avLst/>
            <a:gdLst>
              <a:gd name="connsiteX0" fmla="*/ 7581204 w 7581203"/>
              <a:gd name="connsiteY0" fmla="*/ 0 h 3040169"/>
              <a:gd name="connsiteX1" fmla="*/ 7200023 w 7581203"/>
              <a:gd name="connsiteY1" fmla="*/ 287655 h 3040169"/>
              <a:gd name="connsiteX2" fmla="*/ 7358329 w 7581203"/>
              <a:gd name="connsiteY2" fmla="*/ 307296 h 3040169"/>
              <a:gd name="connsiteX3" fmla="*/ 5350440 w 7581203"/>
              <a:gd name="connsiteY3" fmla="*/ 2193951 h 3040169"/>
              <a:gd name="connsiteX4" fmla="*/ 3009509 w 7581203"/>
              <a:gd name="connsiteY4" fmla="*/ 2902972 h 3040169"/>
              <a:gd name="connsiteX5" fmla="*/ 285711 w 7581203"/>
              <a:gd name="connsiteY5" fmla="*/ 2803179 h 3040169"/>
              <a:gd name="connsiteX6" fmla="*/ 150466 w 7581203"/>
              <a:gd name="connsiteY6" fmla="*/ 2668324 h 3040169"/>
              <a:gd name="connsiteX7" fmla="*/ 199 w 7581203"/>
              <a:gd name="connsiteY7" fmla="*/ 2803617 h 3040169"/>
              <a:gd name="connsiteX8" fmla="*/ 135492 w 7581203"/>
              <a:gd name="connsiteY8" fmla="*/ 2953903 h 3040169"/>
              <a:gd name="connsiteX9" fmla="*/ 268928 w 7581203"/>
              <a:gd name="connsiteY9" fmla="*/ 2878436 h 3040169"/>
              <a:gd name="connsiteX10" fmla="*/ 1488757 w 7581203"/>
              <a:gd name="connsiteY10" fmla="*/ 3027179 h 3040169"/>
              <a:gd name="connsiteX11" fmla="*/ 3016348 w 7581203"/>
              <a:gd name="connsiteY11" fmla="*/ 2979801 h 3040169"/>
              <a:gd name="connsiteX12" fmla="*/ 5385644 w 7581203"/>
              <a:gd name="connsiteY12" fmla="*/ 2262540 h 3040169"/>
              <a:gd name="connsiteX13" fmla="*/ 7425166 w 7581203"/>
              <a:gd name="connsiteY13" fmla="*/ 345815 h 3040169"/>
              <a:gd name="connsiteX14" fmla="*/ 7521216 w 7581203"/>
              <a:gd name="connsiteY14" fmla="*/ 473764 h 3040169"/>
              <a:gd name="connsiteX15" fmla="*/ 7581204 w 7581203"/>
              <a:gd name="connsiteY15" fmla="*/ 0 h 3040169"/>
              <a:gd name="connsiteX16" fmla="*/ 139531 w 7581203"/>
              <a:gd name="connsiteY16" fmla="*/ 2876893 h 3040169"/>
              <a:gd name="connsiteX17" fmla="*/ 77218 w 7581203"/>
              <a:gd name="connsiteY17" fmla="*/ 2807646 h 3040169"/>
              <a:gd name="connsiteX18" fmla="*/ 146437 w 7581203"/>
              <a:gd name="connsiteY18" fmla="*/ 2745324 h 3040169"/>
              <a:gd name="connsiteX19" fmla="*/ 208768 w 7581203"/>
              <a:gd name="connsiteY19" fmla="*/ 2814542 h 3040169"/>
              <a:gd name="connsiteX20" fmla="*/ 139531 w 7581203"/>
              <a:gd name="connsiteY20" fmla="*/ 2876893 h 304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81203" h="3040169">
                <a:moveTo>
                  <a:pt x="7581204" y="0"/>
                </a:moveTo>
                <a:lnTo>
                  <a:pt x="7200023" y="287655"/>
                </a:lnTo>
                <a:lnTo>
                  <a:pt x="7358329" y="307296"/>
                </a:lnTo>
                <a:cubicBezTo>
                  <a:pt x="6854485" y="1115139"/>
                  <a:pt x="6179353" y="1749685"/>
                  <a:pt x="5350440" y="2193951"/>
                </a:cubicBezTo>
                <a:cubicBezTo>
                  <a:pt x="4668183" y="2559596"/>
                  <a:pt x="3880570" y="2798140"/>
                  <a:pt x="3009509" y="2902972"/>
                </a:cubicBezTo>
                <a:cubicBezTo>
                  <a:pt x="1559832" y="3077461"/>
                  <a:pt x="354586" y="2818438"/>
                  <a:pt x="285711" y="2803179"/>
                </a:cubicBezTo>
                <a:cubicBezTo>
                  <a:pt x="281768" y="2731246"/>
                  <a:pt x="224008" y="2672182"/>
                  <a:pt x="150466" y="2668324"/>
                </a:cubicBezTo>
                <a:cubicBezTo>
                  <a:pt x="71732" y="2664200"/>
                  <a:pt x="4333" y="2724893"/>
                  <a:pt x="199" y="2803617"/>
                </a:cubicBezTo>
                <a:cubicBezTo>
                  <a:pt x="-3935" y="2882360"/>
                  <a:pt x="56759" y="2949778"/>
                  <a:pt x="135492" y="2953903"/>
                </a:cubicBezTo>
                <a:cubicBezTo>
                  <a:pt x="192557" y="2956884"/>
                  <a:pt x="243534" y="2925737"/>
                  <a:pt x="268928" y="2878436"/>
                </a:cubicBezTo>
                <a:cubicBezTo>
                  <a:pt x="315458" y="2888752"/>
                  <a:pt x="790936" y="2990593"/>
                  <a:pt x="1488757" y="3027179"/>
                </a:cubicBezTo>
                <a:cubicBezTo>
                  <a:pt x="1927278" y="3050172"/>
                  <a:pt x="2453658" y="3047362"/>
                  <a:pt x="3016348" y="2979801"/>
                </a:cubicBezTo>
                <a:cubicBezTo>
                  <a:pt x="3897391" y="2874064"/>
                  <a:pt x="4694538" y="2632729"/>
                  <a:pt x="5385644" y="2262540"/>
                </a:cubicBezTo>
                <a:cubicBezTo>
                  <a:pt x="6227940" y="1811379"/>
                  <a:pt x="6913740" y="1166708"/>
                  <a:pt x="7425166" y="345815"/>
                </a:cubicBezTo>
                <a:lnTo>
                  <a:pt x="7521216" y="473764"/>
                </a:lnTo>
                <a:lnTo>
                  <a:pt x="7581204" y="0"/>
                </a:lnTo>
                <a:close/>
                <a:moveTo>
                  <a:pt x="139531" y="2876893"/>
                </a:moveTo>
                <a:cubicBezTo>
                  <a:pt x="103260" y="2874998"/>
                  <a:pt x="75313" y="2843918"/>
                  <a:pt x="77218" y="2807646"/>
                </a:cubicBezTo>
                <a:cubicBezTo>
                  <a:pt x="79123" y="2771375"/>
                  <a:pt x="110165" y="2743419"/>
                  <a:pt x="146437" y="2745324"/>
                </a:cubicBezTo>
                <a:cubicBezTo>
                  <a:pt x="182708" y="2747220"/>
                  <a:pt x="210673" y="2778271"/>
                  <a:pt x="208768" y="2814542"/>
                </a:cubicBezTo>
                <a:cubicBezTo>
                  <a:pt x="206854" y="2850814"/>
                  <a:pt x="175802" y="2878808"/>
                  <a:pt x="139531" y="2876893"/>
                </a:cubicBezTo>
                <a:close/>
              </a:path>
            </a:pathLst>
          </a:custGeom>
          <a:solidFill>
            <a:srgbClr val="4F7BA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1" name="Groupe 40">
            <a:extLst>
              <a:ext uri="{FF2B5EF4-FFF2-40B4-BE49-F238E27FC236}">
                <a16:creationId xmlns:a16="http://schemas.microsoft.com/office/drawing/2014/main" id="{CF5B9ED6-7C36-45BD-9F55-86E3021A9D6B}"/>
              </a:ext>
            </a:extLst>
          </p:cNvPr>
          <p:cNvGrpSpPr/>
          <p:nvPr/>
        </p:nvGrpSpPr>
        <p:grpSpPr>
          <a:xfrm>
            <a:off x="1625826" y="3124688"/>
            <a:ext cx="2912665" cy="3295224"/>
            <a:chOff x="2333113" y="3138275"/>
            <a:chExt cx="3119836" cy="3529605"/>
          </a:xfrm>
        </p:grpSpPr>
        <p:grpSp>
          <p:nvGrpSpPr>
            <p:cNvPr id="17" name="Graphique 3">
              <a:extLst>
                <a:ext uri="{FF2B5EF4-FFF2-40B4-BE49-F238E27FC236}">
                  <a16:creationId xmlns:a16="http://schemas.microsoft.com/office/drawing/2014/main" id="{E53641CA-A67E-4C2B-8530-A13BF29F5A46}"/>
                </a:ext>
              </a:extLst>
            </p:cNvPr>
            <p:cNvGrpSpPr/>
            <p:nvPr/>
          </p:nvGrpSpPr>
          <p:grpSpPr>
            <a:xfrm>
              <a:off x="2333113" y="3138275"/>
              <a:ext cx="3119836" cy="3529605"/>
              <a:chOff x="3224622" y="3489725"/>
              <a:chExt cx="1913357" cy="2164663"/>
            </a:xfrm>
            <a:solidFill>
              <a:srgbClr val="0DDBF1"/>
            </a:solidFill>
          </p:grpSpPr>
          <p:grpSp>
            <p:nvGrpSpPr>
              <p:cNvPr id="18" name="Graphique 3">
                <a:extLst>
                  <a:ext uri="{FF2B5EF4-FFF2-40B4-BE49-F238E27FC236}">
                    <a16:creationId xmlns:a16="http://schemas.microsoft.com/office/drawing/2014/main" id="{E53641CA-A67E-4C2B-8530-A13BF29F5A46}"/>
                  </a:ext>
                </a:extLst>
              </p:cNvPr>
              <p:cNvGrpSpPr/>
              <p:nvPr/>
            </p:nvGrpSpPr>
            <p:grpSpPr>
              <a:xfrm>
                <a:off x="3224622" y="3741062"/>
                <a:ext cx="1913357" cy="1913326"/>
                <a:chOff x="3224622" y="3741062"/>
                <a:chExt cx="1913357" cy="1913326"/>
              </a:xfrm>
              <a:grpFill/>
            </p:grpSpPr>
            <p:sp>
              <p:nvSpPr>
                <p:cNvPr id="19" name="Forme libre : forme 18">
                  <a:extLst>
                    <a:ext uri="{FF2B5EF4-FFF2-40B4-BE49-F238E27FC236}">
                      <a16:creationId xmlns:a16="http://schemas.microsoft.com/office/drawing/2014/main" id="{435BC26F-26E8-42DA-A502-8CBC3B4DADDE}"/>
                    </a:ext>
                  </a:extLst>
                </p:cNvPr>
                <p:cNvSpPr/>
                <p:nvPr/>
              </p:nvSpPr>
              <p:spPr>
                <a:xfrm>
                  <a:off x="3224622" y="3741062"/>
                  <a:ext cx="1913357" cy="1913326"/>
                </a:xfrm>
                <a:custGeom>
                  <a:avLst/>
                  <a:gdLst>
                    <a:gd name="connsiteX0" fmla="*/ 1758476 w 1913357"/>
                    <a:gd name="connsiteY0" fmla="*/ 1478305 h 1913326"/>
                    <a:gd name="connsiteX1" fmla="*/ 434996 w 1913357"/>
                    <a:gd name="connsiteY1" fmla="*/ 1758463 h 1913326"/>
                    <a:gd name="connsiteX2" fmla="*/ 154885 w 1913357"/>
                    <a:gd name="connsiteY2" fmla="*/ 435022 h 1913326"/>
                    <a:gd name="connsiteX3" fmla="*/ 1478336 w 1913357"/>
                    <a:gd name="connsiteY3" fmla="*/ 154872 h 1913326"/>
                    <a:gd name="connsiteX4" fmla="*/ 1758476 w 1913357"/>
                    <a:gd name="connsiteY4" fmla="*/ 1478305 h 1913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357" h="1913326">
                      <a:moveTo>
                        <a:pt x="1758476" y="1478305"/>
                      </a:moveTo>
                      <a:cubicBezTo>
                        <a:pt x="1470354" y="1921141"/>
                        <a:pt x="877833" y="2046547"/>
                        <a:pt x="434996" y="1758463"/>
                      </a:cubicBezTo>
                      <a:cubicBezTo>
                        <a:pt x="-7821" y="1470361"/>
                        <a:pt x="-133227" y="877782"/>
                        <a:pt x="154885" y="435022"/>
                      </a:cubicBezTo>
                      <a:cubicBezTo>
                        <a:pt x="442997" y="-7824"/>
                        <a:pt x="1035519" y="-133221"/>
                        <a:pt x="1478336" y="154872"/>
                      </a:cubicBezTo>
                      <a:cubicBezTo>
                        <a:pt x="1921173" y="442985"/>
                        <a:pt x="2046588" y="1035525"/>
                        <a:pt x="1758476" y="14783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orme libre : forme 19">
                  <a:extLst>
                    <a:ext uri="{FF2B5EF4-FFF2-40B4-BE49-F238E27FC236}">
                      <a16:creationId xmlns:a16="http://schemas.microsoft.com/office/drawing/2014/main" id="{A918DCB4-0712-4E10-A6DE-65636047DE67}"/>
                    </a:ext>
                  </a:extLst>
                </p:cNvPr>
                <p:cNvSpPr/>
                <p:nvPr/>
              </p:nvSpPr>
              <p:spPr>
                <a:xfrm>
                  <a:off x="3316484" y="3832890"/>
                  <a:ext cx="1729646" cy="1729629"/>
                </a:xfrm>
                <a:custGeom>
                  <a:avLst/>
                  <a:gdLst>
                    <a:gd name="connsiteX0" fmla="*/ 1570179 w 1571273"/>
                    <a:gd name="connsiteY0" fmla="*/ 826734 h 1571257"/>
                    <a:gd name="connsiteX1" fmla="*/ 744485 w 1571273"/>
                    <a:gd name="connsiteY1" fmla="*/ 1570161 h 1571257"/>
                    <a:gd name="connsiteX2" fmla="*/ 1097 w 1571273"/>
                    <a:gd name="connsiteY2" fmla="*/ 744496 h 1571257"/>
                    <a:gd name="connsiteX3" fmla="*/ 826753 w 1571273"/>
                    <a:gd name="connsiteY3" fmla="*/ 1098 h 1571257"/>
                    <a:gd name="connsiteX4" fmla="*/ 1570179 w 1571273"/>
                    <a:gd name="connsiteY4" fmla="*/ 826734 h 157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273" h="1571257">
                      <a:moveTo>
                        <a:pt x="1570179" y="826734"/>
                      </a:moveTo>
                      <a:cubicBezTo>
                        <a:pt x="1547462" y="1260074"/>
                        <a:pt x="1177778" y="1592878"/>
                        <a:pt x="744485" y="1570161"/>
                      </a:cubicBezTo>
                      <a:cubicBezTo>
                        <a:pt x="311203" y="1547434"/>
                        <a:pt x="-21620" y="1177835"/>
                        <a:pt x="1097" y="744496"/>
                      </a:cubicBezTo>
                      <a:cubicBezTo>
                        <a:pt x="23814" y="311222"/>
                        <a:pt x="393470" y="-21629"/>
                        <a:pt x="826753" y="1098"/>
                      </a:cubicBezTo>
                      <a:cubicBezTo>
                        <a:pt x="1260035" y="23806"/>
                        <a:pt x="1592867" y="393461"/>
                        <a:pt x="1570179" y="826734"/>
                      </a:cubicBezTo>
                      <a:close/>
                    </a:path>
                  </a:pathLst>
                </a:custGeom>
                <a:solidFill>
                  <a:srgbClr val="0990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Forme libre : forme 20">
                <a:extLst>
                  <a:ext uri="{FF2B5EF4-FFF2-40B4-BE49-F238E27FC236}">
                    <a16:creationId xmlns:a16="http://schemas.microsoft.com/office/drawing/2014/main" id="{C9347A88-18A2-4EC3-BDFE-6760A7D7F720}"/>
                  </a:ext>
                </a:extLst>
              </p:cNvPr>
              <p:cNvSpPr/>
              <p:nvPr/>
            </p:nvSpPr>
            <p:spPr>
              <a:xfrm>
                <a:off x="3745868" y="3489725"/>
                <a:ext cx="267890" cy="250265"/>
              </a:xfrm>
              <a:custGeom>
                <a:avLst/>
                <a:gdLst>
                  <a:gd name="connsiteX0" fmla="*/ 105032 w 267890"/>
                  <a:gd name="connsiteY0" fmla="*/ 5845 h 250265"/>
                  <a:gd name="connsiteX1" fmla="*/ 267891 w 267890"/>
                  <a:gd name="connsiteY1" fmla="*/ 183296 h 250265"/>
                  <a:gd name="connsiteX2" fmla="*/ 155886 w 267890"/>
                  <a:gd name="connsiteY2" fmla="*/ 201212 h 250265"/>
                  <a:gd name="connsiteX3" fmla="*/ 0 w 267890"/>
                  <a:gd name="connsiteY3" fmla="*/ 250266 h 250265"/>
                  <a:gd name="connsiteX4" fmla="*/ 74971 w 267890"/>
                  <a:gd name="connsiteY4" fmla="*/ 12522 h 250265"/>
                  <a:gd name="connsiteX5" fmla="*/ 105032 w 267890"/>
                  <a:gd name="connsiteY5" fmla="*/ 5845 h 25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90" h="250265">
                    <a:moveTo>
                      <a:pt x="105032" y="5845"/>
                    </a:moveTo>
                    <a:lnTo>
                      <a:pt x="267891" y="183296"/>
                    </a:lnTo>
                    <a:cubicBezTo>
                      <a:pt x="230648" y="186944"/>
                      <a:pt x="193234" y="192954"/>
                      <a:pt x="155886" y="201212"/>
                    </a:cubicBezTo>
                    <a:cubicBezTo>
                      <a:pt x="101717" y="213252"/>
                      <a:pt x="49482" y="229740"/>
                      <a:pt x="0" y="250266"/>
                    </a:cubicBezTo>
                    <a:lnTo>
                      <a:pt x="74971" y="12522"/>
                    </a:lnTo>
                    <a:cubicBezTo>
                      <a:pt x="79010" y="-651"/>
                      <a:pt x="95574" y="-4337"/>
                      <a:pt x="105032" y="58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ctangle 33">
              <a:extLst>
                <a:ext uri="{FF2B5EF4-FFF2-40B4-BE49-F238E27FC236}">
                  <a16:creationId xmlns:a16="http://schemas.microsoft.com/office/drawing/2014/main" id="{688CB79D-E15B-461F-8537-2A2908A8A115}"/>
                </a:ext>
              </a:extLst>
            </p:cNvPr>
            <p:cNvSpPr/>
            <p:nvPr/>
          </p:nvSpPr>
          <p:spPr>
            <a:xfrm>
              <a:off x="2665378" y="4590570"/>
              <a:ext cx="2706700" cy="1177245"/>
            </a:xfrm>
            <a:prstGeom prst="rect">
              <a:avLst/>
            </a:prstGeom>
          </p:spPr>
          <p:txBody>
            <a:bodyPr wrap="square">
              <a:spAutoFit/>
            </a:bodyPr>
            <a:lstStyle/>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OGMP companies’ assets data </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Science measurements studies</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Satellite data</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1"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National inventories</a:t>
              </a:r>
              <a:endParaRPr kumimoji="0" lang="en-US" sz="1400" b="0" i="1"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38" name="Rectangle 37">
              <a:extLst>
                <a:ext uri="{FF2B5EF4-FFF2-40B4-BE49-F238E27FC236}">
                  <a16:creationId xmlns:a16="http://schemas.microsoft.com/office/drawing/2014/main" id="{CADAD4EC-CB95-4ED5-8DC2-1160486A4000}"/>
                </a:ext>
              </a:extLst>
            </p:cNvPr>
            <p:cNvSpPr/>
            <p:nvPr/>
          </p:nvSpPr>
          <p:spPr>
            <a:xfrm>
              <a:off x="2507352" y="4030164"/>
              <a:ext cx="2706700" cy="420627"/>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all"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Collect data</a:t>
              </a:r>
            </a:p>
          </p:txBody>
        </p:sp>
      </p:grpSp>
      <p:grpSp>
        <p:nvGrpSpPr>
          <p:cNvPr id="27" name="Graphique 3">
            <a:extLst>
              <a:ext uri="{FF2B5EF4-FFF2-40B4-BE49-F238E27FC236}">
                <a16:creationId xmlns:a16="http://schemas.microsoft.com/office/drawing/2014/main" id="{E53641CA-A67E-4C2B-8530-A13BF29F5A46}"/>
              </a:ext>
            </a:extLst>
          </p:cNvPr>
          <p:cNvGrpSpPr/>
          <p:nvPr/>
        </p:nvGrpSpPr>
        <p:grpSpPr>
          <a:xfrm>
            <a:off x="9149048" y="1935327"/>
            <a:ext cx="2121400" cy="2065044"/>
            <a:chOff x="8524707" y="2367286"/>
            <a:chExt cx="1405371" cy="1368037"/>
          </a:xfrm>
        </p:grpSpPr>
        <p:grpSp>
          <p:nvGrpSpPr>
            <p:cNvPr id="28" name="Graphique 3">
              <a:extLst>
                <a:ext uri="{FF2B5EF4-FFF2-40B4-BE49-F238E27FC236}">
                  <a16:creationId xmlns:a16="http://schemas.microsoft.com/office/drawing/2014/main" id="{E53641CA-A67E-4C2B-8530-A13BF29F5A46}"/>
                </a:ext>
              </a:extLst>
            </p:cNvPr>
            <p:cNvGrpSpPr/>
            <p:nvPr/>
          </p:nvGrpSpPr>
          <p:grpSpPr>
            <a:xfrm>
              <a:off x="8562041" y="2367286"/>
              <a:ext cx="1368037" cy="1368037"/>
              <a:chOff x="8562041" y="2367286"/>
              <a:chExt cx="1368037" cy="1368037"/>
            </a:xfrm>
          </p:grpSpPr>
          <p:sp>
            <p:nvSpPr>
              <p:cNvPr id="29" name="Forme libre : forme 28">
                <a:extLst>
                  <a:ext uri="{FF2B5EF4-FFF2-40B4-BE49-F238E27FC236}">
                    <a16:creationId xmlns:a16="http://schemas.microsoft.com/office/drawing/2014/main" id="{9340BE01-7638-40AA-96CC-8A60661CCFCD}"/>
                  </a:ext>
                </a:extLst>
              </p:cNvPr>
              <p:cNvSpPr/>
              <p:nvPr/>
            </p:nvSpPr>
            <p:spPr>
              <a:xfrm>
                <a:off x="8562041" y="2367286"/>
                <a:ext cx="1368037" cy="1368037"/>
              </a:xfrm>
              <a:custGeom>
                <a:avLst/>
                <a:gdLst>
                  <a:gd name="connsiteX0" fmla="*/ 1368038 w 1368037"/>
                  <a:gd name="connsiteY0" fmla="*/ 684019 h 1368037"/>
                  <a:gd name="connsiteX1" fmla="*/ 684019 w 1368037"/>
                  <a:gd name="connsiteY1" fmla="*/ 1368038 h 1368037"/>
                  <a:gd name="connsiteX2" fmla="*/ 0 w 1368037"/>
                  <a:gd name="connsiteY2" fmla="*/ 684019 h 1368037"/>
                  <a:gd name="connsiteX3" fmla="*/ 684019 w 1368037"/>
                  <a:gd name="connsiteY3" fmla="*/ 0 h 1368037"/>
                  <a:gd name="connsiteX4" fmla="*/ 1368038 w 1368037"/>
                  <a:gd name="connsiteY4" fmla="*/ 684019 h 136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37" h="1368037">
                    <a:moveTo>
                      <a:pt x="1368038" y="684019"/>
                    </a:moveTo>
                    <a:cubicBezTo>
                      <a:pt x="1368038" y="1061792"/>
                      <a:pt x="1061792" y="1368038"/>
                      <a:pt x="684019" y="1368038"/>
                    </a:cubicBezTo>
                    <a:cubicBezTo>
                      <a:pt x="306246" y="1368038"/>
                      <a:pt x="0" y="1061792"/>
                      <a:pt x="0" y="684019"/>
                    </a:cubicBezTo>
                    <a:cubicBezTo>
                      <a:pt x="0" y="306246"/>
                      <a:pt x="306246" y="0"/>
                      <a:pt x="684019" y="0"/>
                    </a:cubicBezTo>
                    <a:cubicBezTo>
                      <a:pt x="1061793" y="0"/>
                      <a:pt x="1368038" y="306246"/>
                      <a:pt x="1368038" y="684019"/>
                    </a:cubicBezTo>
                    <a:close/>
                  </a:path>
                </a:pathLst>
              </a:custGeom>
              <a:solidFill>
                <a:srgbClr val="7DE314">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orme libre : forme 29">
                <a:extLst>
                  <a:ext uri="{FF2B5EF4-FFF2-40B4-BE49-F238E27FC236}">
                    <a16:creationId xmlns:a16="http://schemas.microsoft.com/office/drawing/2014/main" id="{337FA5F4-3059-4191-AC51-FE08EE200E9B}"/>
                  </a:ext>
                </a:extLst>
              </p:cNvPr>
              <p:cNvSpPr/>
              <p:nvPr/>
            </p:nvSpPr>
            <p:spPr>
              <a:xfrm>
                <a:off x="8684285" y="2489520"/>
                <a:ext cx="1123549" cy="1123549"/>
              </a:xfrm>
              <a:custGeom>
                <a:avLst/>
                <a:gdLst>
                  <a:gd name="connsiteX0" fmla="*/ 1123550 w 1123549"/>
                  <a:gd name="connsiteY0" fmla="*/ 561775 h 1123549"/>
                  <a:gd name="connsiteX1" fmla="*/ 561775 w 1123549"/>
                  <a:gd name="connsiteY1" fmla="*/ 1123550 h 1123549"/>
                  <a:gd name="connsiteX2" fmla="*/ 0 w 1123549"/>
                  <a:gd name="connsiteY2" fmla="*/ 561775 h 1123549"/>
                  <a:gd name="connsiteX3" fmla="*/ 561775 w 1123549"/>
                  <a:gd name="connsiteY3" fmla="*/ 0 h 1123549"/>
                  <a:gd name="connsiteX4" fmla="*/ 1123550 w 1123549"/>
                  <a:gd name="connsiteY4" fmla="*/ 561775 h 1123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49" h="1123549">
                    <a:moveTo>
                      <a:pt x="1123550" y="561775"/>
                    </a:moveTo>
                    <a:cubicBezTo>
                      <a:pt x="1123550" y="872035"/>
                      <a:pt x="872034" y="1123550"/>
                      <a:pt x="561775" y="1123550"/>
                    </a:cubicBezTo>
                    <a:cubicBezTo>
                      <a:pt x="251515" y="1123550"/>
                      <a:pt x="0" y="872035"/>
                      <a:pt x="0" y="561775"/>
                    </a:cubicBezTo>
                    <a:cubicBezTo>
                      <a:pt x="0" y="251515"/>
                      <a:pt x="251515" y="0"/>
                      <a:pt x="561775" y="0"/>
                    </a:cubicBezTo>
                    <a:cubicBezTo>
                      <a:pt x="872034" y="0"/>
                      <a:pt x="1123550" y="251515"/>
                      <a:pt x="1123550" y="561775"/>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Forme libre : forme 30">
              <a:extLst>
                <a:ext uri="{FF2B5EF4-FFF2-40B4-BE49-F238E27FC236}">
                  <a16:creationId xmlns:a16="http://schemas.microsoft.com/office/drawing/2014/main" id="{699808B2-A718-4F0E-AA52-F5076866B8DD}"/>
                </a:ext>
              </a:extLst>
            </p:cNvPr>
            <p:cNvSpPr/>
            <p:nvPr/>
          </p:nvSpPr>
          <p:spPr>
            <a:xfrm>
              <a:off x="8524707" y="2525645"/>
              <a:ext cx="185209" cy="182292"/>
            </a:xfrm>
            <a:custGeom>
              <a:avLst/>
              <a:gdLst>
                <a:gd name="connsiteX0" fmla="*/ 14446 w 185209"/>
                <a:gd name="connsiteY0" fmla="*/ 108 h 182292"/>
                <a:gd name="connsiteX1" fmla="*/ 185210 w 185209"/>
                <a:gd name="connsiteY1" fmla="*/ 22492 h 182292"/>
                <a:gd name="connsiteX2" fmla="*/ 132079 w 185209"/>
                <a:gd name="connsiteY2" fmla="*/ 83785 h 182292"/>
                <a:gd name="connsiteX3" fmla="*/ 69195 w 185209"/>
                <a:gd name="connsiteY3" fmla="*/ 182293 h 182292"/>
                <a:gd name="connsiteX4" fmla="*/ 1035 w 185209"/>
                <a:gd name="connsiteY4" fmla="*/ 17586 h 182292"/>
                <a:gd name="connsiteX5" fmla="*/ 14446 w 185209"/>
                <a:gd name="connsiteY5" fmla="*/ 108 h 18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209" h="182292">
                  <a:moveTo>
                    <a:pt x="14446" y="108"/>
                  </a:moveTo>
                  <a:lnTo>
                    <a:pt x="185210" y="22492"/>
                  </a:lnTo>
                  <a:cubicBezTo>
                    <a:pt x="166465" y="41589"/>
                    <a:pt x="148729" y="62068"/>
                    <a:pt x="132079" y="83785"/>
                  </a:cubicBezTo>
                  <a:cubicBezTo>
                    <a:pt x="107934" y="115275"/>
                    <a:pt x="86893" y="148307"/>
                    <a:pt x="69195" y="182293"/>
                  </a:cubicBezTo>
                  <a:lnTo>
                    <a:pt x="1035" y="17586"/>
                  </a:lnTo>
                  <a:cubicBezTo>
                    <a:pt x="-2804" y="8500"/>
                    <a:pt x="4568" y="-1130"/>
                    <a:pt x="14446" y="108"/>
                  </a:cubicBezTo>
                  <a:close/>
                </a:path>
              </a:pathLst>
            </a:custGeom>
            <a:solidFill>
              <a:srgbClr val="7DE314">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 name="Groupe 49">
            <a:extLst>
              <a:ext uri="{FF2B5EF4-FFF2-40B4-BE49-F238E27FC236}">
                <a16:creationId xmlns:a16="http://schemas.microsoft.com/office/drawing/2014/main" id="{A9D67557-2139-43B4-8304-1E9CC6C57850}"/>
              </a:ext>
            </a:extLst>
          </p:cNvPr>
          <p:cNvGrpSpPr/>
          <p:nvPr/>
        </p:nvGrpSpPr>
        <p:grpSpPr>
          <a:xfrm>
            <a:off x="2638835" y="2546287"/>
            <a:ext cx="955646" cy="691880"/>
            <a:chOff x="1472723" y="3428965"/>
            <a:chExt cx="1023619" cy="741092"/>
          </a:xfrm>
        </p:grpSpPr>
        <p:sp>
          <p:nvSpPr>
            <p:cNvPr id="51" name="bk object 240">
              <a:extLst>
                <a:ext uri="{FF2B5EF4-FFF2-40B4-BE49-F238E27FC236}">
                  <a16:creationId xmlns:a16="http://schemas.microsoft.com/office/drawing/2014/main" id="{2EBDC09B-1B3A-431B-BC12-CEDBE655CF2F}"/>
                </a:ext>
              </a:extLst>
            </p:cNvPr>
            <p:cNvSpPr/>
            <p:nvPr/>
          </p:nvSpPr>
          <p:spPr>
            <a:xfrm>
              <a:off x="1922489" y="3583482"/>
              <a:ext cx="123189" cy="124460"/>
            </a:xfrm>
            <a:custGeom>
              <a:avLst/>
              <a:gdLst/>
              <a:ahLst/>
              <a:cxnLst/>
              <a:rect l="l" t="t" r="r" b="b"/>
              <a:pathLst>
                <a:path w="123189" h="124460">
                  <a:moveTo>
                    <a:pt x="73570" y="0"/>
                  </a:moveTo>
                  <a:lnTo>
                    <a:pt x="28465" y="10652"/>
                  </a:lnTo>
                  <a:lnTo>
                    <a:pt x="3331" y="39808"/>
                  </a:lnTo>
                  <a:lnTo>
                    <a:pt x="0" y="52258"/>
                  </a:lnTo>
                  <a:lnTo>
                    <a:pt x="1176" y="68861"/>
                  </a:lnTo>
                  <a:lnTo>
                    <a:pt x="19740" y="106952"/>
                  </a:lnTo>
                  <a:lnTo>
                    <a:pt x="54388" y="123930"/>
                  </a:lnTo>
                  <a:lnTo>
                    <a:pt x="62028" y="124394"/>
                  </a:lnTo>
                  <a:lnTo>
                    <a:pt x="76441" y="122730"/>
                  </a:lnTo>
                  <a:lnTo>
                    <a:pt x="89669" y="117992"/>
                  </a:lnTo>
                  <a:lnTo>
                    <a:pt x="101332" y="110558"/>
                  </a:lnTo>
                  <a:lnTo>
                    <a:pt x="104412" y="107468"/>
                  </a:lnTo>
                  <a:lnTo>
                    <a:pt x="65425" y="107468"/>
                  </a:lnTo>
                  <a:lnTo>
                    <a:pt x="50138" y="105450"/>
                  </a:lnTo>
                  <a:lnTo>
                    <a:pt x="37080" y="99678"/>
                  </a:lnTo>
                  <a:lnTo>
                    <a:pt x="26745" y="90785"/>
                  </a:lnTo>
                  <a:lnTo>
                    <a:pt x="19624" y="79404"/>
                  </a:lnTo>
                  <a:lnTo>
                    <a:pt x="16208" y="66168"/>
                  </a:lnTo>
                  <a:lnTo>
                    <a:pt x="18120" y="50519"/>
                  </a:lnTo>
                  <a:lnTo>
                    <a:pt x="43460" y="19469"/>
                  </a:lnTo>
                  <a:lnTo>
                    <a:pt x="62028" y="15492"/>
                  </a:lnTo>
                  <a:lnTo>
                    <a:pt x="102423" y="15492"/>
                  </a:lnTo>
                  <a:lnTo>
                    <a:pt x="96382" y="9909"/>
                  </a:lnTo>
                  <a:lnTo>
                    <a:pt x="85559" y="3688"/>
                  </a:lnTo>
                  <a:lnTo>
                    <a:pt x="73570" y="0"/>
                  </a:lnTo>
                  <a:close/>
                </a:path>
                <a:path w="123189" h="124460">
                  <a:moveTo>
                    <a:pt x="102423" y="15492"/>
                  </a:moveTo>
                  <a:lnTo>
                    <a:pt x="62028" y="15492"/>
                  </a:lnTo>
                  <a:lnTo>
                    <a:pt x="76238" y="17727"/>
                  </a:lnTo>
                  <a:lnTo>
                    <a:pt x="88646" y="23964"/>
                  </a:lnTo>
                  <a:lnTo>
                    <a:pt x="98549" y="33500"/>
                  </a:lnTo>
                  <a:lnTo>
                    <a:pt x="105244" y="45632"/>
                  </a:lnTo>
                  <a:lnTo>
                    <a:pt x="108027" y="59657"/>
                  </a:lnTo>
                  <a:lnTo>
                    <a:pt x="105899" y="74478"/>
                  </a:lnTo>
                  <a:lnTo>
                    <a:pt x="99913" y="87252"/>
                  </a:lnTo>
                  <a:lnTo>
                    <a:pt x="90730" y="97397"/>
                  </a:lnTo>
                  <a:lnTo>
                    <a:pt x="79013" y="104330"/>
                  </a:lnTo>
                  <a:lnTo>
                    <a:pt x="65425" y="107468"/>
                  </a:lnTo>
                  <a:lnTo>
                    <a:pt x="104412" y="107468"/>
                  </a:lnTo>
                  <a:lnTo>
                    <a:pt x="111053" y="100807"/>
                  </a:lnTo>
                  <a:lnTo>
                    <a:pt x="118452" y="89120"/>
                  </a:lnTo>
                  <a:lnTo>
                    <a:pt x="123149" y="75876"/>
                  </a:lnTo>
                  <a:lnTo>
                    <a:pt x="122382" y="58331"/>
                  </a:lnTo>
                  <a:lnTo>
                    <a:pt x="119039" y="42873"/>
                  </a:lnTo>
                  <a:lnTo>
                    <a:pt x="113404" y="29590"/>
                  </a:lnTo>
                  <a:lnTo>
                    <a:pt x="105758" y="18573"/>
                  </a:lnTo>
                  <a:lnTo>
                    <a:pt x="102423" y="15492"/>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bk object 241">
              <a:extLst>
                <a:ext uri="{FF2B5EF4-FFF2-40B4-BE49-F238E27FC236}">
                  <a16:creationId xmlns:a16="http://schemas.microsoft.com/office/drawing/2014/main" id="{00907C0D-DF4E-4967-9F01-E213A1E8ED7B}"/>
                </a:ext>
              </a:extLst>
            </p:cNvPr>
            <p:cNvSpPr/>
            <p:nvPr/>
          </p:nvSpPr>
          <p:spPr>
            <a:xfrm>
              <a:off x="1472723" y="3428965"/>
              <a:ext cx="1023619" cy="440690"/>
            </a:xfrm>
            <a:custGeom>
              <a:avLst/>
              <a:gdLst/>
              <a:ahLst/>
              <a:cxnLst/>
              <a:rect l="l" t="t" r="r" b="b"/>
              <a:pathLst>
                <a:path w="1023619" h="440689">
                  <a:moveTo>
                    <a:pt x="160477" y="22580"/>
                  </a:moveTo>
                  <a:lnTo>
                    <a:pt x="144284" y="22580"/>
                  </a:lnTo>
                  <a:lnTo>
                    <a:pt x="144284" y="41275"/>
                  </a:lnTo>
                  <a:lnTo>
                    <a:pt x="130700" y="45005"/>
                  </a:lnTo>
                  <a:lnTo>
                    <a:pt x="101516" y="72411"/>
                  </a:lnTo>
                  <a:lnTo>
                    <a:pt x="95732" y="163728"/>
                  </a:lnTo>
                  <a:lnTo>
                    <a:pt x="348678" y="196596"/>
                  </a:lnTo>
                  <a:lnTo>
                    <a:pt x="348678" y="319709"/>
                  </a:lnTo>
                  <a:lnTo>
                    <a:pt x="435254" y="319709"/>
                  </a:lnTo>
                  <a:lnTo>
                    <a:pt x="424275" y="327464"/>
                  </a:lnTo>
                  <a:lnTo>
                    <a:pt x="414163" y="336123"/>
                  </a:lnTo>
                  <a:lnTo>
                    <a:pt x="389438" y="366779"/>
                  </a:lnTo>
                  <a:lnTo>
                    <a:pt x="373981" y="402902"/>
                  </a:lnTo>
                  <a:lnTo>
                    <a:pt x="369369" y="429035"/>
                  </a:lnTo>
                  <a:lnTo>
                    <a:pt x="391464" y="440410"/>
                  </a:lnTo>
                  <a:lnTo>
                    <a:pt x="392781" y="426038"/>
                  </a:lnTo>
                  <a:lnTo>
                    <a:pt x="395721" y="412222"/>
                  </a:lnTo>
                  <a:lnTo>
                    <a:pt x="413272" y="375058"/>
                  </a:lnTo>
                  <a:lnTo>
                    <a:pt x="441805" y="346299"/>
                  </a:lnTo>
                  <a:lnTo>
                    <a:pt x="478603" y="328490"/>
                  </a:lnTo>
                  <a:lnTo>
                    <a:pt x="506384" y="323958"/>
                  </a:lnTo>
                  <a:lnTo>
                    <a:pt x="593195" y="323958"/>
                  </a:lnTo>
                  <a:lnTo>
                    <a:pt x="588645" y="320832"/>
                  </a:lnTo>
                  <a:lnTo>
                    <a:pt x="674890" y="320319"/>
                  </a:lnTo>
                  <a:lnTo>
                    <a:pt x="674890" y="297230"/>
                  </a:lnTo>
                  <a:lnTo>
                    <a:pt x="371132" y="297230"/>
                  </a:lnTo>
                  <a:lnTo>
                    <a:pt x="371132" y="176784"/>
                  </a:lnTo>
                  <a:lnTo>
                    <a:pt x="118313" y="143916"/>
                  </a:lnTo>
                  <a:lnTo>
                    <a:pt x="118313" y="119824"/>
                  </a:lnTo>
                  <a:lnTo>
                    <a:pt x="927849" y="119824"/>
                  </a:lnTo>
                  <a:lnTo>
                    <a:pt x="927849" y="96735"/>
                  </a:lnTo>
                  <a:lnTo>
                    <a:pt x="112039" y="96735"/>
                  </a:lnTo>
                  <a:lnTo>
                    <a:pt x="114841" y="82749"/>
                  </a:lnTo>
                  <a:lnTo>
                    <a:pt x="122009" y="70977"/>
                  </a:lnTo>
                  <a:lnTo>
                    <a:pt x="132636" y="62312"/>
                  </a:lnTo>
                  <a:lnTo>
                    <a:pt x="145813" y="57645"/>
                  </a:lnTo>
                  <a:lnTo>
                    <a:pt x="152438" y="57086"/>
                  </a:lnTo>
                  <a:lnTo>
                    <a:pt x="191995" y="57086"/>
                  </a:lnTo>
                  <a:lnTo>
                    <a:pt x="183828" y="50124"/>
                  </a:lnTo>
                  <a:lnTo>
                    <a:pt x="171519" y="43975"/>
                  </a:lnTo>
                  <a:lnTo>
                    <a:pt x="160477" y="22580"/>
                  </a:lnTo>
                  <a:close/>
                </a:path>
                <a:path w="1023619" h="440689">
                  <a:moveTo>
                    <a:pt x="593195" y="323958"/>
                  </a:moveTo>
                  <a:lnTo>
                    <a:pt x="506384" y="323958"/>
                  </a:lnTo>
                  <a:lnTo>
                    <a:pt x="522195" y="325193"/>
                  </a:lnTo>
                  <a:lnTo>
                    <a:pt x="537221" y="327951"/>
                  </a:lnTo>
                  <a:lnTo>
                    <a:pt x="576931" y="344474"/>
                  </a:lnTo>
                  <a:lnTo>
                    <a:pt x="607198" y="371505"/>
                  </a:lnTo>
                  <a:lnTo>
                    <a:pt x="626239" y="406643"/>
                  </a:lnTo>
                  <a:lnTo>
                    <a:pt x="631815" y="433389"/>
                  </a:lnTo>
                  <a:lnTo>
                    <a:pt x="654824" y="440410"/>
                  </a:lnTo>
                  <a:lnTo>
                    <a:pt x="649355" y="401721"/>
                  </a:lnTo>
                  <a:lnTo>
                    <a:pt x="633712" y="366248"/>
                  </a:lnTo>
                  <a:lnTo>
                    <a:pt x="606901" y="334704"/>
                  </a:lnTo>
                  <a:lnTo>
                    <a:pt x="597432" y="326869"/>
                  </a:lnTo>
                  <a:lnTo>
                    <a:pt x="593195" y="323958"/>
                  </a:lnTo>
                  <a:close/>
                </a:path>
                <a:path w="1023619" h="440689">
                  <a:moveTo>
                    <a:pt x="927849" y="119824"/>
                  </a:moveTo>
                  <a:lnTo>
                    <a:pt x="905395" y="119824"/>
                  </a:lnTo>
                  <a:lnTo>
                    <a:pt x="905268" y="144043"/>
                  </a:lnTo>
                  <a:lnTo>
                    <a:pt x="651814" y="176911"/>
                  </a:lnTo>
                  <a:lnTo>
                    <a:pt x="651814" y="297230"/>
                  </a:lnTo>
                  <a:lnTo>
                    <a:pt x="674890" y="297230"/>
                  </a:lnTo>
                  <a:lnTo>
                    <a:pt x="674890" y="196596"/>
                  </a:lnTo>
                  <a:lnTo>
                    <a:pt x="927849" y="163728"/>
                  </a:lnTo>
                  <a:lnTo>
                    <a:pt x="927849" y="119824"/>
                  </a:lnTo>
                  <a:close/>
                </a:path>
                <a:path w="1023619" h="440689">
                  <a:moveTo>
                    <a:pt x="191995" y="57086"/>
                  </a:moveTo>
                  <a:lnTo>
                    <a:pt x="152438" y="57086"/>
                  </a:lnTo>
                  <a:lnTo>
                    <a:pt x="166492" y="59592"/>
                  </a:lnTo>
                  <a:lnTo>
                    <a:pt x="178408" y="66528"/>
                  </a:lnTo>
                  <a:lnTo>
                    <a:pt x="187272" y="76995"/>
                  </a:lnTo>
                  <a:lnTo>
                    <a:pt x="192168" y="90095"/>
                  </a:lnTo>
                  <a:lnTo>
                    <a:pt x="112039" y="96735"/>
                  </a:lnTo>
                  <a:lnTo>
                    <a:pt x="830745" y="96735"/>
                  </a:lnTo>
                  <a:lnTo>
                    <a:pt x="209156" y="96608"/>
                  </a:lnTo>
                  <a:lnTo>
                    <a:pt x="207229" y="82634"/>
                  </a:lnTo>
                  <a:lnTo>
                    <a:pt x="202094" y="69921"/>
                  </a:lnTo>
                  <a:lnTo>
                    <a:pt x="194156" y="58928"/>
                  </a:lnTo>
                  <a:lnTo>
                    <a:pt x="191995" y="57086"/>
                  </a:lnTo>
                  <a:close/>
                </a:path>
                <a:path w="1023619" h="440689">
                  <a:moveTo>
                    <a:pt x="910523" y="56974"/>
                  </a:moveTo>
                  <a:lnTo>
                    <a:pt x="863890" y="56974"/>
                  </a:lnTo>
                  <a:lnTo>
                    <a:pt x="880335" y="58753"/>
                  </a:lnTo>
                  <a:lnTo>
                    <a:pt x="893650" y="64400"/>
                  </a:lnTo>
                  <a:lnTo>
                    <a:pt x="903508" y="73197"/>
                  </a:lnTo>
                  <a:lnTo>
                    <a:pt x="909579" y="84427"/>
                  </a:lnTo>
                  <a:lnTo>
                    <a:pt x="911415" y="96735"/>
                  </a:lnTo>
                  <a:lnTo>
                    <a:pt x="927849" y="96735"/>
                  </a:lnTo>
                  <a:lnTo>
                    <a:pt x="925908" y="82634"/>
                  </a:lnTo>
                  <a:lnTo>
                    <a:pt x="920760" y="69921"/>
                  </a:lnTo>
                  <a:lnTo>
                    <a:pt x="912812" y="58928"/>
                  </a:lnTo>
                  <a:lnTo>
                    <a:pt x="910523" y="56974"/>
                  </a:lnTo>
                  <a:close/>
                </a:path>
                <a:path w="1023619" h="440689">
                  <a:moveTo>
                    <a:pt x="879297" y="22580"/>
                  </a:moveTo>
                  <a:lnTo>
                    <a:pt x="863104" y="22580"/>
                  </a:lnTo>
                  <a:lnTo>
                    <a:pt x="863104" y="41275"/>
                  </a:lnTo>
                  <a:lnTo>
                    <a:pt x="849479" y="45005"/>
                  </a:lnTo>
                  <a:lnTo>
                    <a:pt x="837551" y="51747"/>
                  </a:lnTo>
                  <a:lnTo>
                    <a:pt x="827695" y="61037"/>
                  </a:lnTo>
                  <a:lnTo>
                    <a:pt x="820311" y="72411"/>
                  </a:lnTo>
                  <a:lnTo>
                    <a:pt x="815807" y="85400"/>
                  </a:lnTo>
                  <a:lnTo>
                    <a:pt x="209156" y="96608"/>
                  </a:lnTo>
                  <a:lnTo>
                    <a:pt x="830767" y="96608"/>
                  </a:lnTo>
                  <a:lnTo>
                    <a:pt x="833273" y="82634"/>
                  </a:lnTo>
                  <a:lnTo>
                    <a:pt x="840248" y="70698"/>
                  </a:lnTo>
                  <a:lnTo>
                    <a:pt x="850758" y="61839"/>
                  </a:lnTo>
                  <a:lnTo>
                    <a:pt x="863890" y="56974"/>
                  </a:lnTo>
                  <a:lnTo>
                    <a:pt x="910523" y="56974"/>
                  </a:lnTo>
                  <a:lnTo>
                    <a:pt x="902534" y="50153"/>
                  </a:lnTo>
                  <a:lnTo>
                    <a:pt x="890231" y="43975"/>
                  </a:lnTo>
                  <a:lnTo>
                    <a:pt x="879297" y="22580"/>
                  </a:lnTo>
                  <a:close/>
                </a:path>
                <a:path w="1023619" h="440689">
                  <a:moveTo>
                    <a:pt x="304761" y="0"/>
                  </a:moveTo>
                  <a:lnTo>
                    <a:pt x="0" y="0"/>
                  </a:lnTo>
                  <a:lnTo>
                    <a:pt x="0" y="22580"/>
                  </a:lnTo>
                  <a:lnTo>
                    <a:pt x="304761" y="22580"/>
                  </a:lnTo>
                  <a:lnTo>
                    <a:pt x="304761" y="0"/>
                  </a:lnTo>
                  <a:close/>
                </a:path>
                <a:path w="1023619" h="440689">
                  <a:moveTo>
                    <a:pt x="1023594" y="0"/>
                  </a:moveTo>
                  <a:lnTo>
                    <a:pt x="718693" y="0"/>
                  </a:lnTo>
                  <a:lnTo>
                    <a:pt x="718693" y="22580"/>
                  </a:lnTo>
                  <a:lnTo>
                    <a:pt x="1023594" y="22580"/>
                  </a:lnTo>
                  <a:lnTo>
                    <a:pt x="102359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bk object 242">
              <a:extLst>
                <a:ext uri="{FF2B5EF4-FFF2-40B4-BE49-F238E27FC236}">
                  <a16:creationId xmlns:a16="http://schemas.microsoft.com/office/drawing/2014/main" id="{D7D3F128-652B-43E1-A8A7-CD8B9FC51923}"/>
                </a:ext>
              </a:extLst>
            </p:cNvPr>
            <p:cNvSpPr/>
            <p:nvPr/>
          </p:nvSpPr>
          <p:spPr>
            <a:xfrm>
              <a:off x="2073349" y="3568229"/>
              <a:ext cx="30480" cy="30480"/>
            </a:xfrm>
            <a:custGeom>
              <a:avLst/>
              <a:gdLst/>
              <a:ahLst/>
              <a:cxnLst/>
              <a:rect l="l" t="t" r="r" b="b"/>
              <a:pathLst>
                <a:path w="30480" h="30479">
                  <a:moveTo>
                    <a:pt x="23368" y="0"/>
                  </a:moveTo>
                  <a:lnTo>
                    <a:pt x="6743" y="0"/>
                  </a:lnTo>
                  <a:lnTo>
                    <a:pt x="0" y="6743"/>
                  </a:lnTo>
                  <a:lnTo>
                    <a:pt x="0" y="23380"/>
                  </a:lnTo>
                  <a:lnTo>
                    <a:pt x="6743" y="30111"/>
                  </a:lnTo>
                  <a:lnTo>
                    <a:pt x="23368" y="30111"/>
                  </a:lnTo>
                  <a:lnTo>
                    <a:pt x="30111" y="23380"/>
                  </a:lnTo>
                  <a:lnTo>
                    <a:pt x="30111" y="6743"/>
                  </a:lnTo>
                  <a:lnTo>
                    <a:pt x="23368"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bk object 243">
              <a:extLst>
                <a:ext uri="{FF2B5EF4-FFF2-40B4-BE49-F238E27FC236}">
                  <a16:creationId xmlns:a16="http://schemas.microsoft.com/office/drawing/2014/main" id="{225DADB0-DA57-4508-A79E-BE1BA0B78399}"/>
                </a:ext>
              </a:extLst>
            </p:cNvPr>
            <p:cNvSpPr/>
            <p:nvPr/>
          </p:nvSpPr>
          <p:spPr>
            <a:xfrm>
              <a:off x="1984518" y="3612965"/>
              <a:ext cx="34925" cy="67945"/>
            </a:xfrm>
            <a:custGeom>
              <a:avLst/>
              <a:gdLst/>
              <a:ahLst/>
              <a:cxnLst/>
              <a:rect l="l" t="t" r="r" b="b"/>
              <a:pathLst>
                <a:path w="34925" h="67945">
                  <a:moveTo>
                    <a:pt x="12429" y="0"/>
                  </a:moveTo>
                  <a:lnTo>
                    <a:pt x="0" y="13987"/>
                  </a:lnTo>
                  <a:lnTo>
                    <a:pt x="12827" y="19036"/>
                  </a:lnTo>
                  <a:lnTo>
                    <a:pt x="18768" y="31395"/>
                  </a:lnTo>
                  <a:lnTo>
                    <a:pt x="14107" y="45030"/>
                  </a:lnTo>
                  <a:lnTo>
                    <a:pt x="2505" y="51451"/>
                  </a:lnTo>
                  <a:lnTo>
                    <a:pt x="0" y="67937"/>
                  </a:lnTo>
                  <a:lnTo>
                    <a:pt x="13951" y="65037"/>
                  </a:lnTo>
                  <a:lnTo>
                    <a:pt x="25226" y="57153"/>
                  </a:lnTo>
                  <a:lnTo>
                    <a:pt x="32599" y="45509"/>
                  </a:lnTo>
                  <a:lnTo>
                    <a:pt x="34886" y="32554"/>
                  </a:lnTo>
                  <a:lnTo>
                    <a:pt x="31948" y="18627"/>
                  </a:lnTo>
                  <a:lnTo>
                    <a:pt x="24059" y="7373"/>
                  </a:lnTo>
                  <a:lnTo>
                    <a:pt x="1242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bk object 244">
              <a:extLst>
                <a:ext uri="{FF2B5EF4-FFF2-40B4-BE49-F238E27FC236}">
                  <a16:creationId xmlns:a16="http://schemas.microsoft.com/office/drawing/2014/main" id="{3EA38235-339A-423B-82FA-BC8DAE21C88D}"/>
                </a:ext>
              </a:extLst>
            </p:cNvPr>
            <p:cNvSpPr/>
            <p:nvPr/>
          </p:nvSpPr>
          <p:spPr>
            <a:xfrm>
              <a:off x="1952664" y="3840197"/>
              <a:ext cx="67310" cy="68580"/>
            </a:xfrm>
            <a:custGeom>
              <a:avLst/>
              <a:gdLst/>
              <a:ahLst/>
              <a:cxnLst/>
              <a:rect l="l" t="t" r="r" b="b"/>
              <a:pathLst>
                <a:path w="67310" h="68579">
                  <a:moveTo>
                    <a:pt x="24216" y="0"/>
                  </a:moveTo>
                  <a:lnTo>
                    <a:pt x="13792" y="5091"/>
                  </a:lnTo>
                  <a:lnTo>
                    <a:pt x="5736" y="14430"/>
                  </a:lnTo>
                  <a:lnTo>
                    <a:pt x="865" y="28024"/>
                  </a:lnTo>
                  <a:lnTo>
                    <a:pt x="0" y="45886"/>
                  </a:lnTo>
                  <a:lnTo>
                    <a:pt x="7325" y="57568"/>
                  </a:lnTo>
                  <a:lnTo>
                    <a:pt x="18577" y="65493"/>
                  </a:lnTo>
                  <a:lnTo>
                    <a:pt x="32510" y="68412"/>
                  </a:lnTo>
                  <a:lnTo>
                    <a:pt x="35038" y="68321"/>
                  </a:lnTo>
                  <a:lnTo>
                    <a:pt x="47643" y="64816"/>
                  </a:lnTo>
                  <a:lnTo>
                    <a:pt x="57820" y="56639"/>
                  </a:lnTo>
                  <a:lnTo>
                    <a:pt x="64556" y="44347"/>
                  </a:lnTo>
                  <a:lnTo>
                    <a:pt x="66839" y="28502"/>
                  </a:lnTo>
                  <a:lnTo>
                    <a:pt x="62598" y="16874"/>
                  </a:lnTo>
                  <a:lnTo>
                    <a:pt x="53907" y="7636"/>
                  </a:lnTo>
                  <a:lnTo>
                    <a:pt x="41027" y="1706"/>
                  </a:lnTo>
                  <a:lnTo>
                    <a:pt x="2421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bk object 245">
              <a:extLst>
                <a:ext uri="{FF2B5EF4-FFF2-40B4-BE49-F238E27FC236}">
                  <a16:creationId xmlns:a16="http://schemas.microsoft.com/office/drawing/2014/main" id="{68A73458-6D49-44D7-8092-99195EB0811F}"/>
                </a:ext>
              </a:extLst>
            </p:cNvPr>
            <p:cNvSpPr/>
            <p:nvPr/>
          </p:nvSpPr>
          <p:spPr>
            <a:xfrm>
              <a:off x="1836197" y="3996884"/>
              <a:ext cx="299085" cy="83820"/>
            </a:xfrm>
            <a:custGeom>
              <a:avLst/>
              <a:gdLst/>
              <a:ahLst/>
              <a:cxnLst/>
              <a:rect l="l" t="t" r="r" b="b"/>
              <a:pathLst>
                <a:path w="299085" h="83820">
                  <a:moveTo>
                    <a:pt x="15513" y="622"/>
                  </a:moveTo>
                  <a:lnTo>
                    <a:pt x="8541" y="622"/>
                  </a:lnTo>
                  <a:lnTo>
                    <a:pt x="5391" y="1993"/>
                  </a:lnTo>
                  <a:lnTo>
                    <a:pt x="2368" y="5457"/>
                  </a:lnTo>
                  <a:lnTo>
                    <a:pt x="0" y="14931"/>
                  </a:lnTo>
                  <a:lnTo>
                    <a:pt x="7213" y="26922"/>
                  </a:lnTo>
                  <a:lnTo>
                    <a:pt x="38108" y="51109"/>
                  </a:lnTo>
                  <a:lnTo>
                    <a:pt x="72570" y="68794"/>
                  </a:lnTo>
                  <a:lnTo>
                    <a:pt x="109795" y="79646"/>
                  </a:lnTo>
                  <a:lnTo>
                    <a:pt x="148978" y="83337"/>
                  </a:lnTo>
                  <a:lnTo>
                    <a:pt x="154758" y="83258"/>
                  </a:lnTo>
                  <a:lnTo>
                    <a:pt x="193703" y="78508"/>
                  </a:lnTo>
                  <a:lnTo>
                    <a:pt x="230576" y="66644"/>
                  </a:lnTo>
                  <a:lnTo>
                    <a:pt x="250303" y="56759"/>
                  </a:lnTo>
                  <a:lnTo>
                    <a:pt x="137638" y="56759"/>
                  </a:lnTo>
                  <a:lnTo>
                    <a:pt x="124656" y="55482"/>
                  </a:lnTo>
                  <a:lnTo>
                    <a:pt x="87055" y="46201"/>
                  </a:lnTo>
                  <a:lnTo>
                    <a:pt x="52287" y="29087"/>
                  </a:lnTo>
                  <a:lnTo>
                    <a:pt x="21406" y="4572"/>
                  </a:lnTo>
                  <a:lnTo>
                    <a:pt x="18853" y="2032"/>
                  </a:lnTo>
                  <a:lnTo>
                    <a:pt x="15513" y="622"/>
                  </a:lnTo>
                  <a:close/>
                </a:path>
                <a:path w="299085" h="83820">
                  <a:moveTo>
                    <a:pt x="288995" y="0"/>
                  </a:moveTo>
                  <a:lnTo>
                    <a:pt x="282023" y="0"/>
                  </a:lnTo>
                  <a:lnTo>
                    <a:pt x="278886" y="1371"/>
                  </a:lnTo>
                  <a:lnTo>
                    <a:pt x="270099" y="10110"/>
                  </a:lnTo>
                  <a:lnTo>
                    <a:pt x="260731" y="18049"/>
                  </a:lnTo>
                  <a:lnTo>
                    <a:pt x="218133" y="42695"/>
                  </a:lnTo>
                  <a:lnTo>
                    <a:pt x="180491" y="53314"/>
                  </a:lnTo>
                  <a:lnTo>
                    <a:pt x="137638" y="56759"/>
                  </a:lnTo>
                  <a:lnTo>
                    <a:pt x="250303" y="56759"/>
                  </a:lnTo>
                  <a:lnTo>
                    <a:pt x="285241" y="31961"/>
                  </a:lnTo>
                  <a:lnTo>
                    <a:pt x="298520" y="17411"/>
                  </a:lnTo>
                  <a:lnTo>
                    <a:pt x="298520" y="9448"/>
                  </a:lnTo>
                  <a:lnTo>
                    <a:pt x="297377" y="6426"/>
                  </a:lnTo>
                  <a:lnTo>
                    <a:pt x="292335" y="1397"/>
                  </a:lnTo>
                  <a:lnTo>
                    <a:pt x="288995"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bk object 246">
              <a:extLst>
                <a:ext uri="{FF2B5EF4-FFF2-40B4-BE49-F238E27FC236}">
                  <a16:creationId xmlns:a16="http://schemas.microsoft.com/office/drawing/2014/main" id="{875D6C94-3FEF-44CE-85AB-EF35522EB8D4}"/>
                </a:ext>
              </a:extLst>
            </p:cNvPr>
            <p:cNvSpPr/>
            <p:nvPr/>
          </p:nvSpPr>
          <p:spPr>
            <a:xfrm>
              <a:off x="1771003" y="4060202"/>
              <a:ext cx="427355" cy="109855"/>
            </a:xfrm>
            <a:custGeom>
              <a:avLst/>
              <a:gdLst/>
              <a:ahLst/>
              <a:cxnLst/>
              <a:rect l="l" t="t" r="r" b="b"/>
              <a:pathLst>
                <a:path w="427355" h="109854">
                  <a:moveTo>
                    <a:pt x="15671" y="901"/>
                  </a:moveTo>
                  <a:lnTo>
                    <a:pt x="8978" y="901"/>
                  </a:lnTo>
                  <a:lnTo>
                    <a:pt x="6057" y="2159"/>
                  </a:lnTo>
                  <a:lnTo>
                    <a:pt x="1562" y="7162"/>
                  </a:lnTo>
                  <a:lnTo>
                    <a:pt x="127" y="10744"/>
                  </a:lnTo>
                  <a:lnTo>
                    <a:pt x="0" y="17627"/>
                  </a:lnTo>
                  <a:lnTo>
                    <a:pt x="1168" y="20434"/>
                  </a:lnTo>
                  <a:lnTo>
                    <a:pt x="32232" y="47855"/>
                  </a:lnTo>
                  <a:lnTo>
                    <a:pt x="64571" y="69663"/>
                  </a:lnTo>
                  <a:lnTo>
                    <a:pt x="99262" y="86906"/>
                  </a:lnTo>
                  <a:lnTo>
                    <a:pt x="135919" y="99421"/>
                  </a:lnTo>
                  <a:lnTo>
                    <a:pt x="174153" y="107048"/>
                  </a:lnTo>
                  <a:lnTo>
                    <a:pt x="213575" y="109626"/>
                  </a:lnTo>
                  <a:lnTo>
                    <a:pt x="225391" y="109397"/>
                  </a:lnTo>
                  <a:lnTo>
                    <a:pt x="264503" y="105301"/>
                  </a:lnTo>
                  <a:lnTo>
                    <a:pt x="302310" y="96204"/>
                  </a:lnTo>
                  <a:lnTo>
                    <a:pt x="334674" y="83906"/>
                  </a:lnTo>
                  <a:lnTo>
                    <a:pt x="208850" y="83906"/>
                  </a:lnTo>
                  <a:lnTo>
                    <a:pt x="195741" y="83368"/>
                  </a:lnTo>
                  <a:lnTo>
                    <a:pt x="157121" y="78061"/>
                  </a:lnTo>
                  <a:lnTo>
                    <a:pt x="119920" y="67362"/>
                  </a:lnTo>
                  <a:lnTo>
                    <a:pt x="84603" y="51463"/>
                  </a:lnTo>
                  <a:lnTo>
                    <a:pt x="51634" y="30554"/>
                  </a:lnTo>
                  <a:lnTo>
                    <a:pt x="21475" y="4826"/>
                  </a:lnTo>
                  <a:lnTo>
                    <a:pt x="18961" y="2298"/>
                  </a:lnTo>
                  <a:lnTo>
                    <a:pt x="15671" y="901"/>
                  </a:lnTo>
                  <a:close/>
                </a:path>
                <a:path w="427355" h="109854">
                  <a:moveTo>
                    <a:pt x="417677" y="0"/>
                  </a:moveTo>
                  <a:lnTo>
                    <a:pt x="410908" y="0"/>
                  </a:lnTo>
                  <a:lnTo>
                    <a:pt x="408051" y="1295"/>
                  </a:lnTo>
                  <a:lnTo>
                    <a:pt x="398808" y="10540"/>
                  </a:lnTo>
                  <a:lnTo>
                    <a:pt x="389125" y="19178"/>
                  </a:lnTo>
                  <a:lnTo>
                    <a:pt x="358083" y="42011"/>
                  </a:lnTo>
                  <a:lnTo>
                    <a:pt x="324262" y="60083"/>
                  </a:lnTo>
                  <a:lnTo>
                    <a:pt x="287936" y="73211"/>
                  </a:lnTo>
                  <a:lnTo>
                    <a:pt x="249374" y="81213"/>
                  </a:lnTo>
                  <a:lnTo>
                    <a:pt x="208850" y="83906"/>
                  </a:lnTo>
                  <a:lnTo>
                    <a:pt x="334674" y="83906"/>
                  </a:lnTo>
                  <a:lnTo>
                    <a:pt x="372455" y="63648"/>
                  </a:lnTo>
                  <a:lnTo>
                    <a:pt x="404017" y="40512"/>
                  </a:lnTo>
                  <a:lnTo>
                    <a:pt x="426974" y="9169"/>
                  </a:lnTo>
                  <a:lnTo>
                    <a:pt x="425932" y="6362"/>
                  </a:lnTo>
                  <a:lnTo>
                    <a:pt x="420979" y="1397"/>
                  </a:lnTo>
                  <a:lnTo>
                    <a:pt x="41767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bk object 247">
              <a:extLst>
                <a:ext uri="{FF2B5EF4-FFF2-40B4-BE49-F238E27FC236}">
                  <a16:creationId xmlns:a16="http://schemas.microsoft.com/office/drawing/2014/main" id="{2390557C-E5BE-4608-A315-0CE0424BC263}"/>
                </a:ext>
              </a:extLst>
            </p:cNvPr>
            <p:cNvSpPr/>
            <p:nvPr/>
          </p:nvSpPr>
          <p:spPr>
            <a:xfrm>
              <a:off x="1896965" y="3935147"/>
              <a:ext cx="177165" cy="58419"/>
            </a:xfrm>
            <a:custGeom>
              <a:avLst/>
              <a:gdLst/>
              <a:ahLst/>
              <a:cxnLst/>
              <a:rect l="l" t="t" r="r" b="b"/>
              <a:pathLst>
                <a:path w="177164" h="58420">
                  <a:moveTo>
                    <a:pt x="16865" y="546"/>
                  </a:moveTo>
                  <a:lnTo>
                    <a:pt x="9690" y="546"/>
                  </a:lnTo>
                  <a:lnTo>
                    <a:pt x="6413" y="1955"/>
                  </a:lnTo>
                  <a:lnTo>
                    <a:pt x="4038" y="4571"/>
                  </a:lnTo>
                  <a:lnTo>
                    <a:pt x="1435" y="7175"/>
                  </a:lnTo>
                  <a:lnTo>
                    <a:pt x="0" y="10718"/>
                  </a:lnTo>
                  <a:lnTo>
                    <a:pt x="177" y="17627"/>
                  </a:lnTo>
                  <a:lnTo>
                    <a:pt x="1549" y="20662"/>
                  </a:lnTo>
                  <a:lnTo>
                    <a:pt x="38035" y="46763"/>
                  </a:lnTo>
                  <a:lnTo>
                    <a:pt x="75341" y="57161"/>
                  </a:lnTo>
                  <a:lnTo>
                    <a:pt x="88518" y="57873"/>
                  </a:lnTo>
                  <a:lnTo>
                    <a:pt x="91169" y="57845"/>
                  </a:lnTo>
                  <a:lnTo>
                    <a:pt x="129458" y="50715"/>
                  </a:lnTo>
                  <a:lnTo>
                    <a:pt x="163184" y="31703"/>
                  </a:lnTo>
                  <a:lnTo>
                    <a:pt x="164292" y="30709"/>
                  </a:lnTo>
                  <a:lnTo>
                    <a:pt x="81004" y="30709"/>
                  </a:lnTo>
                  <a:lnTo>
                    <a:pt x="68018" y="28743"/>
                  </a:lnTo>
                  <a:lnTo>
                    <a:pt x="55587" y="25035"/>
                  </a:lnTo>
                  <a:lnTo>
                    <a:pt x="43864" y="19651"/>
                  </a:lnTo>
                  <a:lnTo>
                    <a:pt x="33006" y="12660"/>
                  </a:lnTo>
                  <a:lnTo>
                    <a:pt x="23164" y="4127"/>
                  </a:lnTo>
                  <a:lnTo>
                    <a:pt x="20345" y="1816"/>
                  </a:lnTo>
                  <a:lnTo>
                    <a:pt x="16865" y="546"/>
                  </a:lnTo>
                  <a:close/>
                </a:path>
                <a:path w="177164" h="58420">
                  <a:moveTo>
                    <a:pt x="167106" y="0"/>
                  </a:moveTo>
                  <a:lnTo>
                    <a:pt x="160147" y="0"/>
                  </a:lnTo>
                  <a:lnTo>
                    <a:pt x="156997" y="1384"/>
                  </a:lnTo>
                  <a:lnTo>
                    <a:pt x="153061" y="5534"/>
                  </a:lnTo>
                  <a:lnTo>
                    <a:pt x="143933" y="13133"/>
                  </a:lnTo>
                  <a:lnTo>
                    <a:pt x="96192" y="30094"/>
                  </a:lnTo>
                  <a:lnTo>
                    <a:pt x="81004" y="30709"/>
                  </a:lnTo>
                  <a:lnTo>
                    <a:pt x="164292" y="30709"/>
                  </a:lnTo>
                  <a:lnTo>
                    <a:pt x="172999" y="22898"/>
                  </a:lnTo>
                  <a:lnTo>
                    <a:pt x="175488" y="20421"/>
                  </a:lnTo>
                  <a:lnTo>
                    <a:pt x="176556" y="17627"/>
                  </a:lnTo>
                  <a:lnTo>
                    <a:pt x="176644" y="9448"/>
                  </a:lnTo>
                  <a:lnTo>
                    <a:pt x="175488" y="6451"/>
                  </a:lnTo>
                  <a:lnTo>
                    <a:pt x="170459" y="1422"/>
                  </a:lnTo>
                  <a:lnTo>
                    <a:pt x="16710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e 59">
            <a:extLst>
              <a:ext uri="{FF2B5EF4-FFF2-40B4-BE49-F238E27FC236}">
                <a16:creationId xmlns:a16="http://schemas.microsoft.com/office/drawing/2014/main" id="{23B3071E-D249-4CFA-9C08-87B1D0152D78}"/>
              </a:ext>
            </a:extLst>
          </p:cNvPr>
          <p:cNvGrpSpPr/>
          <p:nvPr/>
        </p:nvGrpSpPr>
        <p:grpSpPr>
          <a:xfrm>
            <a:off x="3860146" y="2774314"/>
            <a:ext cx="504501" cy="696581"/>
            <a:chOff x="1714343" y="2513927"/>
            <a:chExt cx="540385" cy="746125"/>
          </a:xfrm>
        </p:grpSpPr>
        <p:sp>
          <p:nvSpPr>
            <p:cNvPr id="61" name="bk object 249">
              <a:extLst>
                <a:ext uri="{FF2B5EF4-FFF2-40B4-BE49-F238E27FC236}">
                  <a16:creationId xmlns:a16="http://schemas.microsoft.com/office/drawing/2014/main" id="{6E97483D-178F-4D27-B862-7CB12DF5F06C}"/>
                </a:ext>
              </a:extLst>
            </p:cNvPr>
            <p:cNvSpPr/>
            <p:nvPr/>
          </p:nvSpPr>
          <p:spPr>
            <a:xfrm>
              <a:off x="1714343" y="2513927"/>
              <a:ext cx="540385" cy="746125"/>
            </a:xfrm>
            <a:custGeom>
              <a:avLst/>
              <a:gdLst/>
              <a:ahLst/>
              <a:cxnLst/>
              <a:rect l="l" t="t" r="r" b="b"/>
              <a:pathLst>
                <a:path w="540385" h="746125">
                  <a:moveTo>
                    <a:pt x="5232" y="0"/>
                  </a:moveTo>
                  <a:lnTo>
                    <a:pt x="0" y="5232"/>
                  </a:lnTo>
                  <a:lnTo>
                    <a:pt x="0" y="740575"/>
                  </a:lnTo>
                  <a:lnTo>
                    <a:pt x="5232" y="745794"/>
                  </a:lnTo>
                  <a:lnTo>
                    <a:pt x="535127" y="745794"/>
                  </a:lnTo>
                  <a:lnTo>
                    <a:pt x="540346" y="740575"/>
                  </a:lnTo>
                  <a:lnTo>
                    <a:pt x="540344" y="722502"/>
                  </a:lnTo>
                  <a:lnTo>
                    <a:pt x="23291" y="722502"/>
                  </a:lnTo>
                  <a:lnTo>
                    <a:pt x="23291" y="23291"/>
                  </a:lnTo>
                  <a:lnTo>
                    <a:pt x="436966" y="23291"/>
                  </a:lnTo>
                  <a:lnTo>
                    <a:pt x="417194" y="3517"/>
                  </a:lnTo>
                  <a:lnTo>
                    <a:pt x="410514" y="139"/>
                  </a:lnTo>
                  <a:lnTo>
                    <a:pt x="5232" y="0"/>
                  </a:lnTo>
                  <a:close/>
                </a:path>
                <a:path w="540385" h="746125">
                  <a:moveTo>
                    <a:pt x="436966" y="23291"/>
                  </a:moveTo>
                  <a:lnTo>
                    <a:pt x="397217" y="23291"/>
                  </a:lnTo>
                  <a:lnTo>
                    <a:pt x="397217" y="137921"/>
                  </a:lnTo>
                  <a:lnTo>
                    <a:pt x="402437" y="143141"/>
                  </a:lnTo>
                  <a:lnTo>
                    <a:pt x="517067" y="143141"/>
                  </a:lnTo>
                  <a:lnTo>
                    <a:pt x="517067" y="722502"/>
                  </a:lnTo>
                  <a:lnTo>
                    <a:pt x="540344" y="722502"/>
                  </a:lnTo>
                  <a:lnTo>
                    <a:pt x="540257" y="130086"/>
                  </a:lnTo>
                  <a:lnTo>
                    <a:pt x="533527" y="119862"/>
                  </a:lnTo>
                  <a:lnTo>
                    <a:pt x="420496" y="119862"/>
                  </a:lnTo>
                  <a:lnTo>
                    <a:pt x="420496" y="39750"/>
                  </a:lnTo>
                  <a:lnTo>
                    <a:pt x="453424" y="39750"/>
                  </a:lnTo>
                  <a:lnTo>
                    <a:pt x="436966" y="23291"/>
                  </a:lnTo>
                  <a:close/>
                </a:path>
                <a:path w="540385" h="746125">
                  <a:moveTo>
                    <a:pt x="453424" y="39750"/>
                  </a:moveTo>
                  <a:lnTo>
                    <a:pt x="420496" y="39750"/>
                  </a:lnTo>
                  <a:lnTo>
                    <a:pt x="500583" y="119862"/>
                  </a:lnTo>
                  <a:lnTo>
                    <a:pt x="533527" y="119862"/>
                  </a:lnTo>
                  <a:lnTo>
                    <a:pt x="453424" y="3975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bk object 250">
              <a:extLst>
                <a:ext uri="{FF2B5EF4-FFF2-40B4-BE49-F238E27FC236}">
                  <a16:creationId xmlns:a16="http://schemas.microsoft.com/office/drawing/2014/main" id="{C016CDBA-D873-4566-8752-3D344542876B}"/>
                </a:ext>
              </a:extLst>
            </p:cNvPr>
            <p:cNvSpPr/>
            <p:nvPr/>
          </p:nvSpPr>
          <p:spPr>
            <a:xfrm>
              <a:off x="1826738" y="3024785"/>
              <a:ext cx="139065" cy="27305"/>
            </a:xfrm>
            <a:custGeom>
              <a:avLst/>
              <a:gdLst/>
              <a:ahLst/>
              <a:cxnLst/>
              <a:rect l="l" t="t" r="r" b="b"/>
              <a:pathLst>
                <a:path w="139064" h="27305">
                  <a:moveTo>
                    <a:pt x="133349" y="0"/>
                  </a:moveTo>
                  <a:lnTo>
                    <a:pt x="5473" y="0"/>
                  </a:lnTo>
                  <a:lnTo>
                    <a:pt x="0" y="5816"/>
                  </a:lnTo>
                  <a:lnTo>
                    <a:pt x="0" y="21628"/>
                  </a:lnTo>
                  <a:lnTo>
                    <a:pt x="5245" y="26873"/>
                  </a:lnTo>
                  <a:lnTo>
                    <a:pt x="133591" y="26873"/>
                  </a:lnTo>
                  <a:lnTo>
                    <a:pt x="138836" y="21628"/>
                  </a:lnTo>
                  <a:lnTo>
                    <a:pt x="138836" y="5816"/>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bk object 251">
              <a:extLst>
                <a:ext uri="{FF2B5EF4-FFF2-40B4-BE49-F238E27FC236}">
                  <a16:creationId xmlns:a16="http://schemas.microsoft.com/office/drawing/2014/main" id="{F0FC5553-A522-4357-A50A-993F2F8780A3}"/>
                </a:ext>
              </a:extLst>
            </p:cNvPr>
            <p:cNvSpPr/>
            <p:nvPr/>
          </p:nvSpPr>
          <p:spPr>
            <a:xfrm>
              <a:off x="1826738" y="3100465"/>
              <a:ext cx="139065" cy="27305"/>
            </a:xfrm>
            <a:custGeom>
              <a:avLst/>
              <a:gdLst/>
              <a:ahLst/>
              <a:cxnLst/>
              <a:rect l="l" t="t" r="r" b="b"/>
              <a:pathLst>
                <a:path w="139064" h="27305">
                  <a:moveTo>
                    <a:pt x="133349" y="0"/>
                  </a:moveTo>
                  <a:lnTo>
                    <a:pt x="5473" y="0"/>
                  </a:lnTo>
                  <a:lnTo>
                    <a:pt x="0" y="5803"/>
                  </a:lnTo>
                  <a:lnTo>
                    <a:pt x="0" y="21628"/>
                  </a:lnTo>
                  <a:lnTo>
                    <a:pt x="5245" y="26873"/>
                  </a:lnTo>
                  <a:lnTo>
                    <a:pt x="133591" y="26873"/>
                  </a:lnTo>
                  <a:lnTo>
                    <a:pt x="138836" y="21628"/>
                  </a:lnTo>
                  <a:lnTo>
                    <a:pt x="138836" y="5803"/>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bk object 252">
              <a:extLst>
                <a:ext uri="{FF2B5EF4-FFF2-40B4-BE49-F238E27FC236}">
                  <a16:creationId xmlns:a16="http://schemas.microsoft.com/office/drawing/2014/main" id="{69886CDB-60EF-41D0-A094-26CB5D90901A}"/>
                </a:ext>
              </a:extLst>
            </p:cNvPr>
            <p:cNvSpPr/>
            <p:nvPr/>
          </p:nvSpPr>
          <p:spPr>
            <a:xfrm>
              <a:off x="1826738" y="2962543"/>
              <a:ext cx="313055" cy="0"/>
            </a:xfrm>
            <a:custGeom>
              <a:avLst/>
              <a:gdLst/>
              <a:ahLst/>
              <a:cxnLst/>
              <a:rect l="l" t="t" r="r" b="b"/>
              <a:pathLst>
                <a:path w="313055">
                  <a:moveTo>
                    <a:pt x="0" y="0"/>
                  </a:moveTo>
                  <a:lnTo>
                    <a:pt x="312889" y="0"/>
                  </a:lnTo>
                </a:path>
              </a:pathLst>
            </a:custGeom>
            <a:ln w="2815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bk object 253">
              <a:extLst>
                <a:ext uri="{FF2B5EF4-FFF2-40B4-BE49-F238E27FC236}">
                  <a16:creationId xmlns:a16="http://schemas.microsoft.com/office/drawing/2014/main" id="{4C27145C-916C-4EA3-BE99-ED990D362DE3}"/>
                </a:ext>
              </a:extLst>
            </p:cNvPr>
            <p:cNvSpPr/>
            <p:nvPr/>
          </p:nvSpPr>
          <p:spPr>
            <a:xfrm>
              <a:off x="2000780" y="3024785"/>
              <a:ext cx="139065" cy="27305"/>
            </a:xfrm>
            <a:custGeom>
              <a:avLst/>
              <a:gdLst/>
              <a:ahLst/>
              <a:cxnLst/>
              <a:rect l="l" t="t" r="r" b="b"/>
              <a:pathLst>
                <a:path w="139064" h="27305">
                  <a:moveTo>
                    <a:pt x="133362" y="0"/>
                  </a:moveTo>
                  <a:lnTo>
                    <a:pt x="5486" y="0"/>
                  </a:lnTo>
                  <a:lnTo>
                    <a:pt x="0" y="5816"/>
                  </a:lnTo>
                  <a:lnTo>
                    <a:pt x="0" y="21628"/>
                  </a:lnTo>
                  <a:lnTo>
                    <a:pt x="5245" y="26873"/>
                  </a:lnTo>
                  <a:lnTo>
                    <a:pt x="133603" y="26873"/>
                  </a:lnTo>
                  <a:lnTo>
                    <a:pt x="138849" y="21628"/>
                  </a:lnTo>
                  <a:lnTo>
                    <a:pt x="138849" y="5816"/>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bk object 254">
              <a:extLst>
                <a:ext uri="{FF2B5EF4-FFF2-40B4-BE49-F238E27FC236}">
                  <a16:creationId xmlns:a16="http://schemas.microsoft.com/office/drawing/2014/main" id="{92E1E97C-16BE-46BF-A52A-A4486D2C987D}"/>
                </a:ext>
              </a:extLst>
            </p:cNvPr>
            <p:cNvSpPr/>
            <p:nvPr/>
          </p:nvSpPr>
          <p:spPr>
            <a:xfrm>
              <a:off x="2000780" y="3100465"/>
              <a:ext cx="139065" cy="27305"/>
            </a:xfrm>
            <a:custGeom>
              <a:avLst/>
              <a:gdLst/>
              <a:ahLst/>
              <a:cxnLst/>
              <a:rect l="l" t="t" r="r" b="b"/>
              <a:pathLst>
                <a:path w="139064" h="27305">
                  <a:moveTo>
                    <a:pt x="133362" y="0"/>
                  </a:moveTo>
                  <a:lnTo>
                    <a:pt x="5486" y="0"/>
                  </a:lnTo>
                  <a:lnTo>
                    <a:pt x="0" y="5803"/>
                  </a:lnTo>
                  <a:lnTo>
                    <a:pt x="0" y="21628"/>
                  </a:lnTo>
                  <a:lnTo>
                    <a:pt x="5245" y="26873"/>
                  </a:lnTo>
                  <a:lnTo>
                    <a:pt x="133603" y="26873"/>
                  </a:lnTo>
                  <a:lnTo>
                    <a:pt x="138849" y="21628"/>
                  </a:lnTo>
                  <a:lnTo>
                    <a:pt x="138849" y="5803"/>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bk object 255">
              <a:extLst>
                <a:ext uri="{FF2B5EF4-FFF2-40B4-BE49-F238E27FC236}">
                  <a16:creationId xmlns:a16="http://schemas.microsoft.com/office/drawing/2014/main" id="{A3A4C5B9-CCC7-44F2-A33C-F6A01AA8E7A3}"/>
                </a:ext>
              </a:extLst>
            </p:cNvPr>
            <p:cNvSpPr/>
            <p:nvPr/>
          </p:nvSpPr>
          <p:spPr>
            <a:xfrm>
              <a:off x="1813520" y="2633369"/>
              <a:ext cx="338455" cy="257810"/>
            </a:xfrm>
            <a:custGeom>
              <a:avLst/>
              <a:gdLst/>
              <a:ahLst/>
              <a:cxnLst/>
              <a:rect l="l" t="t" r="r" b="b"/>
              <a:pathLst>
                <a:path w="338455" h="257810">
                  <a:moveTo>
                    <a:pt x="74218" y="182740"/>
                  </a:moveTo>
                  <a:lnTo>
                    <a:pt x="0" y="182740"/>
                  </a:lnTo>
                  <a:lnTo>
                    <a:pt x="0" y="257263"/>
                  </a:lnTo>
                  <a:lnTo>
                    <a:pt x="74218" y="257263"/>
                  </a:lnTo>
                  <a:lnTo>
                    <a:pt x="74218" y="182740"/>
                  </a:lnTo>
                  <a:close/>
                </a:path>
                <a:path w="338455" h="257810">
                  <a:moveTo>
                    <a:pt x="206336" y="182740"/>
                  </a:moveTo>
                  <a:lnTo>
                    <a:pt x="132118" y="182740"/>
                  </a:lnTo>
                  <a:lnTo>
                    <a:pt x="132118" y="257263"/>
                  </a:lnTo>
                  <a:lnTo>
                    <a:pt x="206336" y="257263"/>
                  </a:lnTo>
                  <a:lnTo>
                    <a:pt x="206336" y="182740"/>
                  </a:lnTo>
                  <a:close/>
                </a:path>
                <a:path w="338455" h="257810">
                  <a:moveTo>
                    <a:pt x="338442" y="182740"/>
                  </a:moveTo>
                  <a:lnTo>
                    <a:pt x="264248" y="182740"/>
                  </a:lnTo>
                  <a:lnTo>
                    <a:pt x="264248" y="257263"/>
                  </a:lnTo>
                  <a:lnTo>
                    <a:pt x="338442" y="257263"/>
                  </a:lnTo>
                  <a:lnTo>
                    <a:pt x="338442" y="182740"/>
                  </a:lnTo>
                  <a:close/>
                </a:path>
                <a:path w="338455" h="257810">
                  <a:moveTo>
                    <a:pt x="305841" y="120484"/>
                  </a:moveTo>
                  <a:lnTo>
                    <a:pt x="32626" y="120484"/>
                  </a:lnTo>
                  <a:lnTo>
                    <a:pt x="28968" y="124167"/>
                  </a:lnTo>
                  <a:lnTo>
                    <a:pt x="28968" y="182740"/>
                  </a:lnTo>
                  <a:lnTo>
                    <a:pt x="45300" y="182740"/>
                  </a:lnTo>
                  <a:lnTo>
                    <a:pt x="45300" y="136880"/>
                  </a:lnTo>
                  <a:lnTo>
                    <a:pt x="309501" y="136880"/>
                  </a:lnTo>
                  <a:lnTo>
                    <a:pt x="309499" y="124167"/>
                  </a:lnTo>
                  <a:lnTo>
                    <a:pt x="305841" y="120484"/>
                  </a:lnTo>
                  <a:close/>
                </a:path>
                <a:path w="338455" h="257810">
                  <a:moveTo>
                    <a:pt x="177406" y="136880"/>
                  </a:moveTo>
                  <a:lnTo>
                    <a:pt x="161061" y="136880"/>
                  </a:lnTo>
                  <a:lnTo>
                    <a:pt x="161061" y="182740"/>
                  </a:lnTo>
                  <a:lnTo>
                    <a:pt x="177406" y="182740"/>
                  </a:lnTo>
                  <a:lnTo>
                    <a:pt x="177406" y="136880"/>
                  </a:lnTo>
                  <a:close/>
                </a:path>
                <a:path w="338455" h="257810">
                  <a:moveTo>
                    <a:pt x="309501" y="136880"/>
                  </a:moveTo>
                  <a:lnTo>
                    <a:pt x="293166" y="136880"/>
                  </a:lnTo>
                  <a:lnTo>
                    <a:pt x="293166" y="182740"/>
                  </a:lnTo>
                  <a:lnTo>
                    <a:pt x="309511" y="182740"/>
                  </a:lnTo>
                  <a:lnTo>
                    <a:pt x="309501" y="136880"/>
                  </a:lnTo>
                  <a:close/>
                </a:path>
                <a:path w="338455" h="257810">
                  <a:moveTo>
                    <a:pt x="177406" y="74498"/>
                  </a:moveTo>
                  <a:lnTo>
                    <a:pt x="161061" y="74498"/>
                  </a:lnTo>
                  <a:lnTo>
                    <a:pt x="161061" y="120484"/>
                  </a:lnTo>
                  <a:lnTo>
                    <a:pt x="177406" y="120484"/>
                  </a:lnTo>
                  <a:lnTo>
                    <a:pt x="177406" y="74498"/>
                  </a:lnTo>
                  <a:close/>
                </a:path>
                <a:path w="338455" h="257810">
                  <a:moveTo>
                    <a:pt x="206336" y="0"/>
                  </a:moveTo>
                  <a:lnTo>
                    <a:pt x="132118" y="0"/>
                  </a:lnTo>
                  <a:lnTo>
                    <a:pt x="132118" y="74498"/>
                  </a:lnTo>
                  <a:lnTo>
                    <a:pt x="206336" y="74498"/>
                  </a:lnTo>
                  <a:lnTo>
                    <a:pt x="20633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1" name="Graphique 70">
            <a:extLst>
              <a:ext uri="{FF2B5EF4-FFF2-40B4-BE49-F238E27FC236}">
                <a16:creationId xmlns:a16="http://schemas.microsoft.com/office/drawing/2014/main" id="{C36D436D-6C94-4190-A7E6-B02FFF1474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72" y="3560164"/>
            <a:ext cx="778538" cy="778538"/>
          </a:xfrm>
          <a:prstGeom prst="rect">
            <a:avLst/>
          </a:prstGeom>
        </p:spPr>
      </p:pic>
      <p:pic>
        <p:nvPicPr>
          <p:cNvPr id="72" name="Graphique 71">
            <a:extLst>
              <a:ext uri="{FF2B5EF4-FFF2-40B4-BE49-F238E27FC236}">
                <a16:creationId xmlns:a16="http://schemas.microsoft.com/office/drawing/2014/main" id="{A6242D98-B60E-4996-B423-6BF373FA44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620915" y="2727718"/>
            <a:ext cx="618861" cy="704644"/>
          </a:xfrm>
          <a:prstGeom prst="rect">
            <a:avLst/>
          </a:prstGeom>
        </p:spPr>
      </p:pic>
      <p:pic>
        <p:nvPicPr>
          <p:cNvPr id="1613" name="Graphique 1612">
            <a:extLst>
              <a:ext uri="{FF2B5EF4-FFF2-40B4-BE49-F238E27FC236}">
                <a16:creationId xmlns:a16="http://schemas.microsoft.com/office/drawing/2014/main" id="{7F0FC21A-42D9-4A83-981B-0CA8C5FF4D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7672" y="5248807"/>
            <a:ext cx="1573166" cy="1609192"/>
          </a:xfrm>
          <a:prstGeom prst="rect">
            <a:avLst/>
          </a:prstGeom>
        </p:spPr>
      </p:pic>
      <p:grpSp>
        <p:nvGrpSpPr>
          <p:cNvPr id="1614" name="Image 6">
            <a:extLst>
              <a:ext uri="{FF2B5EF4-FFF2-40B4-BE49-F238E27FC236}">
                <a16:creationId xmlns:a16="http://schemas.microsoft.com/office/drawing/2014/main" id="{63B2189B-F160-4FE8-893C-7F475FF904F9}"/>
              </a:ext>
            </a:extLst>
          </p:cNvPr>
          <p:cNvGrpSpPr/>
          <p:nvPr/>
        </p:nvGrpSpPr>
        <p:grpSpPr>
          <a:xfrm>
            <a:off x="3842127" y="5526790"/>
            <a:ext cx="731784" cy="722554"/>
            <a:chOff x="3049395" y="3134538"/>
            <a:chExt cx="943527" cy="931627"/>
          </a:xfrm>
          <a:solidFill>
            <a:srgbClr val="000000"/>
          </a:solidFill>
        </p:grpSpPr>
        <p:sp>
          <p:nvSpPr>
            <p:cNvPr id="1615" name="Forme libre : forme 1614">
              <a:extLst>
                <a:ext uri="{FF2B5EF4-FFF2-40B4-BE49-F238E27FC236}">
                  <a16:creationId xmlns:a16="http://schemas.microsoft.com/office/drawing/2014/main" id="{B9F25A05-47B4-4295-A315-307B5C2E6A3B}"/>
                </a:ext>
              </a:extLst>
            </p:cNvPr>
            <p:cNvSpPr/>
            <p:nvPr/>
          </p:nvSpPr>
          <p:spPr>
            <a:xfrm>
              <a:off x="3049395" y="3134538"/>
              <a:ext cx="514496" cy="432828"/>
            </a:xfrm>
            <a:custGeom>
              <a:avLst/>
              <a:gdLst>
                <a:gd name="connsiteX0" fmla="*/ 37281 w 514496"/>
                <a:gd name="connsiteY0" fmla="*/ 432829 h 432828"/>
                <a:gd name="connsiteX1" fmla="*/ 0 w 514496"/>
                <a:gd name="connsiteY1" fmla="*/ 395554 h 432828"/>
                <a:gd name="connsiteX2" fmla="*/ 0 w 514496"/>
                <a:gd name="connsiteY2" fmla="*/ 37287 h 432828"/>
                <a:gd name="connsiteX3" fmla="*/ 39256 w 514496"/>
                <a:gd name="connsiteY3" fmla="*/ 0 h 432828"/>
                <a:gd name="connsiteX4" fmla="*/ 197612 w 514496"/>
                <a:gd name="connsiteY4" fmla="*/ 0 h 432828"/>
                <a:gd name="connsiteX5" fmla="*/ 231648 w 514496"/>
                <a:gd name="connsiteY5" fmla="*/ 22816 h 432828"/>
                <a:gd name="connsiteX6" fmla="*/ 236360 w 514496"/>
                <a:gd name="connsiteY6" fmla="*/ 32271 h 432828"/>
                <a:gd name="connsiteX7" fmla="*/ 237306 w 514496"/>
                <a:gd name="connsiteY7" fmla="*/ 33217 h 432828"/>
                <a:gd name="connsiteX8" fmla="*/ 249079 w 514496"/>
                <a:gd name="connsiteY8" fmla="*/ 39586 h 432828"/>
                <a:gd name="connsiteX9" fmla="*/ 441084 w 514496"/>
                <a:gd name="connsiteY9" fmla="*/ 39586 h 432828"/>
                <a:gd name="connsiteX10" fmla="*/ 480339 w 514496"/>
                <a:gd name="connsiteY10" fmla="*/ 76860 h 432828"/>
                <a:gd name="connsiteX11" fmla="*/ 480339 w 514496"/>
                <a:gd name="connsiteY11" fmla="*/ 172695 h 432828"/>
                <a:gd name="connsiteX12" fmla="*/ 486969 w 514496"/>
                <a:gd name="connsiteY12" fmla="*/ 174015 h 432828"/>
                <a:gd name="connsiteX13" fmla="*/ 506501 w 514496"/>
                <a:gd name="connsiteY13" fmla="*/ 185636 h 432828"/>
                <a:gd name="connsiteX14" fmla="*/ 514103 w 514496"/>
                <a:gd name="connsiteY14" fmla="*/ 212090 h 432828"/>
                <a:gd name="connsiteX15" fmla="*/ 513988 w 514496"/>
                <a:gd name="connsiteY15" fmla="*/ 212770 h 432828"/>
                <a:gd name="connsiteX16" fmla="*/ 513988 w 514496"/>
                <a:gd name="connsiteY16" fmla="*/ 214719 h 432828"/>
                <a:gd name="connsiteX17" fmla="*/ 482441 w 514496"/>
                <a:gd name="connsiteY17" fmla="*/ 396126 h 432828"/>
                <a:gd name="connsiteX18" fmla="*/ 441078 w 514496"/>
                <a:gd name="connsiteY18" fmla="*/ 432829 h 432828"/>
                <a:gd name="connsiteX19" fmla="*/ 37281 w 514496"/>
                <a:gd name="connsiteY19" fmla="*/ 432829 h 432828"/>
                <a:gd name="connsiteX20" fmla="*/ 27953 w 514496"/>
                <a:gd name="connsiteY20" fmla="*/ 403822 h 432828"/>
                <a:gd name="connsiteX21" fmla="*/ 37287 w 514496"/>
                <a:gd name="connsiteY21" fmla="*/ 409734 h 432828"/>
                <a:gd name="connsiteX22" fmla="*/ 441090 w 514496"/>
                <a:gd name="connsiteY22" fmla="*/ 409734 h 432828"/>
                <a:gd name="connsiteX23" fmla="*/ 459200 w 514496"/>
                <a:gd name="connsiteY23" fmla="*/ 394488 h 432828"/>
                <a:gd name="connsiteX24" fmla="*/ 490899 w 514496"/>
                <a:gd name="connsiteY24" fmla="*/ 212173 h 432828"/>
                <a:gd name="connsiteX25" fmla="*/ 490899 w 514496"/>
                <a:gd name="connsiteY25" fmla="*/ 204108 h 432828"/>
                <a:gd name="connsiteX26" fmla="*/ 488499 w 514496"/>
                <a:gd name="connsiteY26" fmla="*/ 201682 h 432828"/>
                <a:gd name="connsiteX27" fmla="*/ 478701 w 514496"/>
                <a:gd name="connsiteY27" fmla="*/ 197288 h 432828"/>
                <a:gd name="connsiteX28" fmla="*/ 74905 w 514496"/>
                <a:gd name="connsiteY28" fmla="*/ 197288 h 432828"/>
                <a:gd name="connsiteX29" fmla="*/ 56794 w 514496"/>
                <a:gd name="connsiteY29" fmla="*/ 212547 h 432828"/>
                <a:gd name="connsiteX30" fmla="*/ 24486 w 514496"/>
                <a:gd name="connsiteY30" fmla="*/ 400342 h 432828"/>
                <a:gd name="connsiteX31" fmla="*/ 27953 w 514496"/>
                <a:gd name="connsiteY31" fmla="*/ 403822 h 432828"/>
                <a:gd name="connsiteX32" fmla="*/ 37281 w 514496"/>
                <a:gd name="connsiteY32" fmla="*/ 23095 h 432828"/>
                <a:gd name="connsiteX33" fmla="*/ 23552 w 514496"/>
                <a:gd name="connsiteY33" fmla="*/ 31426 h 432828"/>
                <a:gd name="connsiteX34" fmla="*/ 21133 w 514496"/>
                <a:gd name="connsiteY34" fmla="*/ 33839 h 432828"/>
                <a:gd name="connsiteX35" fmla="*/ 21114 w 514496"/>
                <a:gd name="connsiteY35" fmla="*/ 37281 h 432828"/>
                <a:gd name="connsiteX36" fmla="*/ 21114 w 514496"/>
                <a:gd name="connsiteY36" fmla="*/ 218389 h 432828"/>
                <a:gd name="connsiteX37" fmla="*/ 35960 w 514496"/>
                <a:gd name="connsiteY37" fmla="*/ 198603 h 432828"/>
                <a:gd name="connsiteX38" fmla="*/ 52838 w 514496"/>
                <a:gd name="connsiteY38" fmla="*/ 181235 h 432828"/>
                <a:gd name="connsiteX39" fmla="*/ 57404 w 514496"/>
                <a:gd name="connsiteY39" fmla="*/ 178962 h 432828"/>
                <a:gd name="connsiteX40" fmla="*/ 57404 w 514496"/>
                <a:gd name="connsiteY40" fmla="*/ 122396 h 432828"/>
                <a:gd name="connsiteX41" fmla="*/ 82804 w 514496"/>
                <a:gd name="connsiteY41" fmla="*/ 96996 h 432828"/>
                <a:gd name="connsiteX42" fmla="*/ 393573 w 514496"/>
                <a:gd name="connsiteY42" fmla="*/ 96996 h 432828"/>
                <a:gd name="connsiteX43" fmla="*/ 418973 w 514496"/>
                <a:gd name="connsiteY43" fmla="*/ 122396 h 432828"/>
                <a:gd name="connsiteX44" fmla="*/ 418973 w 514496"/>
                <a:gd name="connsiteY44" fmla="*/ 174187 h 432828"/>
                <a:gd name="connsiteX45" fmla="*/ 455270 w 514496"/>
                <a:gd name="connsiteY45" fmla="*/ 174187 h 432828"/>
                <a:gd name="connsiteX46" fmla="*/ 455270 w 514496"/>
                <a:gd name="connsiteY46" fmla="*/ 76867 h 432828"/>
                <a:gd name="connsiteX47" fmla="*/ 441084 w 514496"/>
                <a:gd name="connsiteY47" fmla="*/ 62687 h 432828"/>
                <a:gd name="connsiteX48" fmla="*/ 249079 w 514496"/>
                <a:gd name="connsiteY48" fmla="*/ 62687 h 432828"/>
                <a:gd name="connsiteX49" fmla="*/ 212909 w 514496"/>
                <a:gd name="connsiteY49" fmla="*/ 39541 h 432828"/>
                <a:gd name="connsiteX50" fmla="*/ 212001 w 514496"/>
                <a:gd name="connsiteY50" fmla="*/ 37465 h 432828"/>
                <a:gd name="connsiteX51" fmla="*/ 195637 w 514496"/>
                <a:gd name="connsiteY51" fmla="*/ 23095 h 432828"/>
                <a:gd name="connsiteX52" fmla="*/ 37281 w 514496"/>
                <a:gd name="connsiteY52" fmla="*/ 23095 h 432828"/>
                <a:gd name="connsiteX53" fmla="*/ 82480 w 514496"/>
                <a:gd name="connsiteY53" fmla="*/ 174187 h 432828"/>
                <a:gd name="connsiteX54" fmla="*/ 397859 w 514496"/>
                <a:gd name="connsiteY54" fmla="*/ 174187 h 432828"/>
                <a:gd name="connsiteX55" fmla="*/ 397859 w 514496"/>
                <a:gd name="connsiteY55" fmla="*/ 118110 h 432828"/>
                <a:gd name="connsiteX56" fmla="*/ 82480 w 514496"/>
                <a:gd name="connsiteY56" fmla="*/ 118110 h 432828"/>
                <a:gd name="connsiteX57" fmla="*/ 82480 w 514496"/>
                <a:gd name="connsiteY57" fmla="*/ 174187 h 43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4496" h="432828">
                  <a:moveTo>
                    <a:pt x="37281" y="432829"/>
                  </a:moveTo>
                  <a:cubicBezTo>
                    <a:pt x="17075" y="432829"/>
                    <a:pt x="0" y="415760"/>
                    <a:pt x="0" y="395554"/>
                  </a:cubicBezTo>
                  <a:lnTo>
                    <a:pt x="0" y="37287"/>
                  </a:lnTo>
                  <a:cubicBezTo>
                    <a:pt x="0" y="17774"/>
                    <a:pt x="18713" y="0"/>
                    <a:pt x="39256" y="0"/>
                  </a:cubicBezTo>
                  <a:lnTo>
                    <a:pt x="197612" y="0"/>
                  </a:lnTo>
                  <a:cubicBezTo>
                    <a:pt x="212572" y="0"/>
                    <a:pt x="225298" y="8534"/>
                    <a:pt x="231648" y="22816"/>
                  </a:cubicBezTo>
                  <a:lnTo>
                    <a:pt x="236360" y="32271"/>
                  </a:lnTo>
                  <a:lnTo>
                    <a:pt x="237306" y="33217"/>
                  </a:lnTo>
                  <a:cubicBezTo>
                    <a:pt x="239992" y="35903"/>
                    <a:pt x="243675" y="39586"/>
                    <a:pt x="249079" y="39586"/>
                  </a:cubicBezTo>
                  <a:lnTo>
                    <a:pt x="441084" y="39586"/>
                  </a:lnTo>
                  <a:cubicBezTo>
                    <a:pt x="462725" y="39586"/>
                    <a:pt x="480339" y="56305"/>
                    <a:pt x="480339" y="76860"/>
                  </a:cubicBezTo>
                  <a:lnTo>
                    <a:pt x="480339" y="172695"/>
                  </a:lnTo>
                  <a:lnTo>
                    <a:pt x="486969" y="174015"/>
                  </a:lnTo>
                  <a:cubicBezTo>
                    <a:pt x="493643" y="175355"/>
                    <a:pt x="500031" y="179153"/>
                    <a:pt x="506501" y="185636"/>
                  </a:cubicBezTo>
                  <a:cubicBezTo>
                    <a:pt x="512464" y="191592"/>
                    <a:pt x="515664" y="202717"/>
                    <a:pt x="514103" y="212090"/>
                  </a:cubicBezTo>
                  <a:lnTo>
                    <a:pt x="513988" y="212770"/>
                  </a:lnTo>
                  <a:lnTo>
                    <a:pt x="513988" y="214719"/>
                  </a:lnTo>
                  <a:lnTo>
                    <a:pt x="482441" y="396126"/>
                  </a:lnTo>
                  <a:cubicBezTo>
                    <a:pt x="478879" y="417424"/>
                    <a:pt x="461499" y="432829"/>
                    <a:pt x="441078" y="432829"/>
                  </a:cubicBezTo>
                  <a:lnTo>
                    <a:pt x="37281" y="432829"/>
                  </a:lnTo>
                  <a:close/>
                  <a:moveTo>
                    <a:pt x="27953" y="403822"/>
                  </a:moveTo>
                  <a:cubicBezTo>
                    <a:pt x="29661" y="407594"/>
                    <a:pt x="33522" y="409734"/>
                    <a:pt x="37287" y="409734"/>
                  </a:cubicBezTo>
                  <a:lnTo>
                    <a:pt x="441090" y="409734"/>
                  </a:lnTo>
                  <a:cubicBezTo>
                    <a:pt x="449027" y="409734"/>
                    <a:pt x="458552" y="403003"/>
                    <a:pt x="459200" y="394488"/>
                  </a:cubicBezTo>
                  <a:lnTo>
                    <a:pt x="490899" y="212173"/>
                  </a:lnTo>
                  <a:lnTo>
                    <a:pt x="490899" y="204108"/>
                  </a:lnTo>
                  <a:lnTo>
                    <a:pt x="488499" y="201682"/>
                  </a:lnTo>
                  <a:cubicBezTo>
                    <a:pt x="485508" y="198691"/>
                    <a:pt x="483571" y="197288"/>
                    <a:pt x="478701" y="197288"/>
                  </a:cubicBezTo>
                  <a:lnTo>
                    <a:pt x="74905" y="197288"/>
                  </a:lnTo>
                  <a:cubicBezTo>
                    <a:pt x="66961" y="197288"/>
                    <a:pt x="57423" y="204019"/>
                    <a:pt x="56794" y="212547"/>
                  </a:cubicBezTo>
                  <a:lnTo>
                    <a:pt x="24486" y="400342"/>
                  </a:lnTo>
                  <a:lnTo>
                    <a:pt x="27953" y="403822"/>
                  </a:lnTo>
                  <a:close/>
                  <a:moveTo>
                    <a:pt x="37281" y="23095"/>
                  </a:moveTo>
                  <a:cubicBezTo>
                    <a:pt x="32296" y="23095"/>
                    <a:pt x="28118" y="26867"/>
                    <a:pt x="23552" y="31426"/>
                  </a:cubicBezTo>
                  <a:lnTo>
                    <a:pt x="21133" y="33839"/>
                  </a:lnTo>
                  <a:lnTo>
                    <a:pt x="21114" y="37281"/>
                  </a:lnTo>
                  <a:lnTo>
                    <a:pt x="21114" y="218389"/>
                  </a:lnTo>
                  <a:lnTo>
                    <a:pt x="35960" y="198603"/>
                  </a:lnTo>
                  <a:cubicBezTo>
                    <a:pt x="41478" y="191249"/>
                    <a:pt x="46673" y="184315"/>
                    <a:pt x="52838" y="181235"/>
                  </a:cubicBezTo>
                  <a:lnTo>
                    <a:pt x="57404" y="178962"/>
                  </a:lnTo>
                  <a:lnTo>
                    <a:pt x="57404" y="122396"/>
                  </a:lnTo>
                  <a:cubicBezTo>
                    <a:pt x="57404" y="109106"/>
                    <a:pt x="69513" y="96996"/>
                    <a:pt x="82804" y="96996"/>
                  </a:cubicBezTo>
                  <a:lnTo>
                    <a:pt x="393573" y="96996"/>
                  </a:lnTo>
                  <a:cubicBezTo>
                    <a:pt x="406864" y="96996"/>
                    <a:pt x="418973" y="109106"/>
                    <a:pt x="418973" y="122396"/>
                  </a:cubicBezTo>
                  <a:lnTo>
                    <a:pt x="418973" y="174187"/>
                  </a:lnTo>
                  <a:lnTo>
                    <a:pt x="455270" y="174187"/>
                  </a:lnTo>
                  <a:lnTo>
                    <a:pt x="455270" y="76867"/>
                  </a:lnTo>
                  <a:cubicBezTo>
                    <a:pt x="455270" y="68383"/>
                    <a:pt x="449567" y="62687"/>
                    <a:pt x="441084" y="62687"/>
                  </a:cubicBezTo>
                  <a:lnTo>
                    <a:pt x="249079" y="62687"/>
                  </a:lnTo>
                  <a:cubicBezTo>
                    <a:pt x="234823" y="62687"/>
                    <a:pt x="219615" y="52959"/>
                    <a:pt x="212909" y="39541"/>
                  </a:cubicBezTo>
                  <a:cubicBezTo>
                    <a:pt x="212611" y="38938"/>
                    <a:pt x="212319" y="38221"/>
                    <a:pt x="212001" y="37465"/>
                  </a:cubicBezTo>
                  <a:cubicBezTo>
                    <a:pt x="210033" y="32810"/>
                    <a:pt x="205937" y="23095"/>
                    <a:pt x="195637" y="23095"/>
                  </a:cubicBezTo>
                  <a:lnTo>
                    <a:pt x="37281" y="23095"/>
                  </a:lnTo>
                  <a:close/>
                  <a:moveTo>
                    <a:pt x="82480" y="174187"/>
                  </a:moveTo>
                  <a:lnTo>
                    <a:pt x="397859" y="174187"/>
                  </a:lnTo>
                  <a:lnTo>
                    <a:pt x="397859" y="118110"/>
                  </a:lnTo>
                  <a:lnTo>
                    <a:pt x="82480" y="118110"/>
                  </a:lnTo>
                  <a:lnTo>
                    <a:pt x="82480" y="174187"/>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6" name="Forme libre : forme 1615">
              <a:extLst>
                <a:ext uri="{FF2B5EF4-FFF2-40B4-BE49-F238E27FC236}">
                  <a16:creationId xmlns:a16="http://schemas.microsoft.com/office/drawing/2014/main" id="{9EB9049C-051F-4D54-BFFA-A1E5F43A2F4A}"/>
                </a:ext>
              </a:extLst>
            </p:cNvPr>
            <p:cNvSpPr/>
            <p:nvPr/>
          </p:nvSpPr>
          <p:spPr>
            <a:xfrm>
              <a:off x="3478922" y="3633344"/>
              <a:ext cx="514000" cy="432822"/>
            </a:xfrm>
            <a:custGeom>
              <a:avLst/>
              <a:gdLst>
                <a:gd name="connsiteX0" fmla="*/ 37281 w 514000"/>
                <a:gd name="connsiteY0" fmla="*/ 432822 h 432822"/>
                <a:gd name="connsiteX1" fmla="*/ 0 w 514000"/>
                <a:gd name="connsiteY1" fmla="*/ 395548 h 432822"/>
                <a:gd name="connsiteX2" fmla="*/ 0 w 514000"/>
                <a:gd name="connsiteY2" fmla="*/ 37274 h 432822"/>
                <a:gd name="connsiteX3" fmla="*/ 37281 w 514000"/>
                <a:gd name="connsiteY3" fmla="*/ 0 h 432822"/>
                <a:gd name="connsiteX4" fmla="*/ 195637 w 514000"/>
                <a:gd name="connsiteY4" fmla="*/ 0 h 432822"/>
                <a:gd name="connsiteX5" fmla="*/ 229826 w 514000"/>
                <a:gd name="connsiteY5" fmla="*/ 23152 h 432822"/>
                <a:gd name="connsiteX6" fmla="*/ 234391 w 514000"/>
                <a:gd name="connsiteY6" fmla="*/ 32277 h 432822"/>
                <a:gd name="connsiteX7" fmla="*/ 235338 w 514000"/>
                <a:gd name="connsiteY7" fmla="*/ 33230 h 432822"/>
                <a:gd name="connsiteX8" fmla="*/ 247104 w 514000"/>
                <a:gd name="connsiteY8" fmla="*/ 39592 h 432822"/>
                <a:gd name="connsiteX9" fmla="*/ 439109 w 514000"/>
                <a:gd name="connsiteY9" fmla="*/ 39592 h 432822"/>
                <a:gd name="connsiteX10" fmla="*/ 476383 w 514000"/>
                <a:gd name="connsiteY10" fmla="*/ 76879 h 432822"/>
                <a:gd name="connsiteX11" fmla="*/ 476383 w 514000"/>
                <a:gd name="connsiteY11" fmla="*/ 174682 h 432822"/>
                <a:gd name="connsiteX12" fmla="*/ 483019 w 514000"/>
                <a:gd name="connsiteY12" fmla="*/ 176009 h 432822"/>
                <a:gd name="connsiteX13" fmla="*/ 502228 w 514000"/>
                <a:gd name="connsiteY13" fmla="*/ 187280 h 432822"/>
                <a:gd name="connsiteX14" fmla="*/ 514001 w 514000"/>
                <a:gd name="connsiteY14" fmla="*/ 214281 h 432822"/>
                <a:gd name="connsiteX15" fmla="*/ 514001 w 514000"/>
                <a:gd name="connsiteY15" fmla="*/ 214712 h 432822"/>
                <a:gd name="connsiteX16" fmla="*/ 482454 w 514000"/>
                <a:gd name="connsiteY16" fmla="*/ 396113 h 432822"/>
                <a:gd name="connsiteX17" fmla="*/ 441090 w 514000"/>
                <a:gd name="connsiteY17" fmla="*/ 432816 h 432822"/>
                <a:gd name="connsiteX18" fmla="*/ 37281 w 514000"/>
                <a:gd name="connsiteY18" fmla="*/ 432816 h 432822"/>
                <a:gd name="connsiteX19" fmla="*/ 20517 w 514000"/>
                <a:gd name="connsiteY19" fmla="*/ 402317 h 432822"/>
                <a:gd name="connsiteX20" fmla="*/ 25514 w 514000"/>
                <a:gd name="connsiteY20" fmla="*/ 407314 h 432822"/>
                <a:gd name="connsiteX21" fmla="*/ 35306 w 514000"/>
                <a:gd name="connsiteY21" fmla="*/ 411715 h 432822"/>
                <a:gd name="connsiteX22" fmla="*/ 439103 w 514000"/>
                <a:gd name="connsiteY22" fmla="*/ 411715 h 432822"/>
                <a:gd name="connsiteX23" fmla="*/ 457213 w 514000"/>
                <a:gd name="connsiteY23" fmla="*/ 396462 h 432822"/>
                <a:gd name="connsiteX24" fmla="*/ 488918 w 514000"/>
                <a:gd name="connsiteY24" fmla="*/ 214160 h 432822"/>
                <a:gd name="connsiteX25" fmla="*/ 488918 w 514000"/>
                <a:gd name="connsiteY25" fmla="*/ 206089 h 432822"/>
                <a:gd name="connsiteX26" fmla="*/ 486505 w 514000"/>
                <a:gd name="connsiteY26" fmla="*/ 203657 h 432822"/>
                <a:gd name="connsiteX27" fmla="*/ 476714 w 514000"/>
                <a:gd name="connsiteY27" fmla="*/ 199269 h 432822"/>
                <a:gd name="connsiteX28" fmla="*/ 70942 w 514000"/>
                <a:gd name="connsiteY28" fmla="*/ 199269 h 432822"/>
                <a:gd name="connsiteX29" fmla="*/ 52826 w 514000"/>
                <a:gd name="connsiteY29" fmla="*/ 214535 h 432822"/>
                <a:gd name="connsiteX30" fmla="*/ 20517 w 514000"/>
                <a:gd name="connsiteY30" fmla="*/ 402317 h 432822"/>
                <a:gd name="connsiteX31" fmla="*/ 37281 w 514000"/>
                <a:gd name="connsiteY31" fmla="*/ 25070 h 432822"/>
                <a:gd name="connsiteX32" fmla="*/ 21114 w 514000"/>
                <a:gd name="connsiteY32" fmla="*/ 39256 h 432822"/>
                <a:gd name="connsiteX33" fmla="*/ 21114 w 514000"/>
                <a:gd name="connsiteY33" fmla="*/ 218396 h 432822"/>
                <a:gd name="connsiteX34" fmla="*/ 35966 w 514000"/>
                <a:gd name="connsiteY34" fmla="*/ 198603 h 432822"/>
                <a:gd name="connsiteX35" fmla="*/ 52851 w 514000"/>
                <a:gd name="connsiteY35" fmla="*/ 181235 h 432822"/>
                <a:gd name="connsiteX36" fmla="*/ 57410 w 514000"/>
                <a:gd name="connsiteY36" fmla="*/ 178956 h 432822"/>
                <a:gd name="connsiteX37" fmla="*/ 57410 w 514000"/>
                <a:gd name="connsiteY37" fmla="*/ 122396 h 432822"/>
                <a:gd name="connsiteX38" fmla="*/ 82810 w 514000"/>
                <a:gd name="connsiteY38" fmla="*/ 96990 h 432822"/>
                <a:gd name="connsiteX39" fmla="*/ 391592 w 514000"/>
                <a:gd name="connsiteY39" fmla="*/ 96990 h 432822"/>
                <a:gd name="connsiteX40" fmla="*/ 416992 w 514000"/>
                <a:gd name="connsiteY40" fmla="*/ 122396 h 432822"/>
                <a:gd name="connsiteX41" fmla="*/ 416992 w 514000"/>
                <a:gd name="connsiteY41" fmla="*/ 176168 h 432822"/>
                <a:gd name="connsiteX42" fmla="*/ 453282 w 514000"/>
                <a:gd name="connsiteY42" fmla="*/ 176168 h 432822"/>
                <a:gd name="connsiteX43" fmla="*/ 453282 w 514000"/>
                <a:gd name="connsiteY43" fmla="*/ 78848 h 432822"/>
                <a:gd name="connsiteX44" fmla="*/ 439096 w 514000"/>
                <a:gd name="connsiteY44" fmla="*/ 64662 h 432822"/>
                <a:gd name="connsiteX45" fmla="*/ 247091 w 514000"/>
                <a:gd name="connsiteY45" fmla="*/ 64662 h 432822"/>
                <a:gd name="connsiteX46" fmla="*/ 212909 w 514000"/>
                <a:gd name="connsiteY46" fmla="*/ 41510 h 432822"/>
                <a:gd name="connsiteX47" fmla="*/ 209429 w 514000"/>
                <a:gd name="connsiteY47" fmla="*/ 34550 h 432822"/>
                <a:gd name="connsiteX48" fmla="*/ 195631 w 514000"/>
                <a:gd name="connsiteY48" fmla="*/ 25070 h 432822"/>
                <a:gd name="connsiteX49" fmla="*/ 37281 w 514000"/>
                <a:gd name="connsiteY49" fmla="*/ 25070 h 432822"/>
                <a:gd name="connsiteX50" fmla="*/ 80505 w 514000"/>
                <a:gd name="connsiteY50" fmla="*/ 176162 h 432822"/>
                <a:gd name="connsiteX51" fmla="*/ 395891 w 514000"/>
                <a:gd name="connsiteY51" fmla="*/ 176162 h 432822"/>
                <a:gd name="connsiteX52" fmla="*/ 395891 w 514000"/>
                <a:gd name="connsiteY52" fmla="*/ 120085 h 432822"/>
                <a:gd name="connsiteX53" fmla="*/ 80505 w 514000"/>
                <a:gd name="connsiteY53" fmla="*/ 120085 h 432822"/>
                <a:gd name="connsiteX54" fmla="*/ 80505 w 514000"/>
                <a:gd name="connsiteY54" fmla="*/ 176162 h 43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4000" h="432822">
                  <a:moveTo>
                    <a:pt x="37281" y="432822"/>
                  </a:moveTo>
                  <a:cubicBezTo>
                    <a:pt x="17075" y="432822"/>
                    <a:pt x="0" y="415754"/>
                    <a:pt x="0" y="395548"/>
                  </a:cubicBezTo>
                  <a:lnTo>
                    <a:pt x="0" y="37274"/>
                  </a:lnTo>
                  <a:cubicBezTo>
                    <a:pt x="0" y="17069"/>
                    <a:pt x="17069" y="0"/>
                    <a:pt x="37281" y="0"/>
                  </a:cubicBezTo>
                  <a:lnTo>
                    <a:pt x="195637" y="0"/>
                  </a:lnTo>
                  <a:cubicBezTo>
                    <a:pt x="209385" y="0"/>
                    <a:pt x="222803" y="9093"/>
                    <a:pt x="229826" y="23152"/>
                  </a:cubicBezTo>
                  <a:lnTo>
                    <a:pt x="234391" y="32277"/>
                  </a:lnTo>
                  <a:lnTo>
                    <a:pt x="235338" y="33230"/>
                  </a:lnTo>
                  <a:cubicBezTo>
                    <a:pt x="238049" y="35928"/>
                    <a:pt x="241726" y="39592"/>
                    <a:pt x="247104" y="39592"/>
                  </a:cubicBezTo>
                  <a:lnTo>
                    <a:pt x="439109" y="39592"/>
                  </a:lnTo>
                  <a:cubicBezTo>
                    <a:pt x="459315" y="39592"/>
                    <a:pt x="476383" y="56667"/>
                    <a:pt x="476383" y="76879"/>
                  </a:cubicBezTo>
                  <a:lnTo>
                    <a:pt x="476383" y="174682"/>
                  </a:lnTo>
                  <a:lnTo>
                    <a:pt x="483019" y="176009"/>
                  </a:lnTo>
                  <a:cubicBezTo>
                    <a:pt x="489591" y="177324"/>
                    <a:pt x="495878" y="181013"/>
                    <a:pt x="502228" y="187280"/>
                  </a:cubicBezTo>
                  <a:cubicBezTo>
                    <a:pt x="507771" y="194348"/>
                    <a:pt x="511728" y="203416"/>
                    <a:pt x="514001" y="214281"/>
                  </a:cubicBezTo>
                  <a:lnTo>
                    <a:pt x="514001" y="214712"/>
                  </a:lnTo>
                  <a:lnTo>
                    <a:pt x="482454" y="396113"/>
                  </a:lnTo>
                  <a:cubicBezTo>
                    <a:pt x="479076" y="416382"/>
                    <a:pt x="460521" y="432816"/>
                    <a:pt x="441090" y="432816"/>
                  </a:cubicBezTo>
                  <a:lnTo>
                    <a:pt x="37281" y="432816"/>
                  </a:lnTo>
                  <a:close/>
                  <a:moveTo>
                    <a:pt x="20517" y="402317"/>
                  </a:moveTo>
                  <a:lnTo>
                    <a:pt x="25514" y="407314"/>
                  </a:lnTo>
                  <a:cubicBezTo>
                    <a:pt x="28505" y="410305"/>
                    <a:pt x="30442" y="411715"/>
                    <a:pt x="35306" y="411715"/>
                  </a:cubicBezTo>
                  <a:lnTo>
                    <a:pt x="439103" y="411715"/>
                  </a:lnTo>
                  <a:cubicBezTo>
                    <a:pt x="447040" y="411715"/>
                    <a:pt x="456578" y="404984"/>
                    <a:pt x="457213" y="396462"/>
                  </a:cubicBezTo>
                  <a:lnTo>
                    <a:pt x="488918" y="214160"/>
                  </a:lnTo>
                  <a:lnTo>
                    <a:pt x="488918" y="206089"/>
                  </a:lnTo>
                  <a:lnTo>
                    <a:pt x="486505" y="203657"/>
                  </a:lnTo>
                  <a:cubicBezTo>
                    <a:pt x="483521" y="200673"/>
                    <a:pt x="481578" y="199269"/>
                    <a:pt x="476714" y="199269"/>
                  </a:cubicBezTo>
                  <a:lnTo>
                    <a:pt x="70942" y="199269"/>
                  </a:lnTo>
                  <a:cubicBezTo>
                    <a:pt x="62998" y="199269"/>
                    <a:pt x="53461" y="206007"/>
                    <a:pt x="52826" y="214535"/>
                  </a:cubicBezTo>
                  <a:lnTo>
                    <a:pt x="20517" y="402317"/>
                  </a:lnTo>
                  <a:close/>
                  <a:moveTo>
                    <a:pt x="37281" y="25070"/>
                  </a:moveTo>
                  <a:cubicBezTo>
                    <a:pt x="28067" y="25070"/>
                    <a:pt x="21114" y="31172"/>
                    <a:pt x="21114" y="39256"/>
                  </a:cubicBezTo>
                  <a:lnTo>
                    <a:pt x="21114" y="218396"/>
                  </a:lnTo>
                  <a:lnTo>
                    <a:pt x="35966" y="198603"/>
                  </a:lnTo>
                  <a:cubicBezTo>
                    <a:pt x="41472" y="191262"/>
                    <a:pt x="46666" y="184328"/>
                    <a:pt x="52851" y="181235"/>
                  </a:cubicBezTo>
                  <a:lnTo>
                    <a:pt x="57410" y="178956"/>
                  </a:lnTo>
                  <a:lnTo>
                    <a:pt x="57410" y="122396"/>
                  </a:lnTo>
                  <a:cubicBezTo>
                    <a:pt x="57410" y="109093"/>
                    <a:pt x="69520" y="96990"/>
                    <a:pt x="82810" y="96990"/>
                  </a:cubicBezTo>
                  <a:lnTo>
                    <a:pt x="391592" y="96990"/>
                  </a:lnTo>
                  <a:cubicBezTo>
                    <a:pt x="404889" y="96990"/>
                    <a:pt x="416992" y="109093"/>
                    <a:pt x="416992" y="122396"/>
                  </a:cubicBezTo>
                  <a:lnTo>
                    <a:pt x="416992" y="176168"/>
                  </a:lnTo>
                  <a:lnTo>
                    <a:pt x="453282" y="176168"/>
                  </a:lnTo>
                  <a:lnTo>
                    <a:pt x="453282" y="78848"/>
                  </a:lnTo>
                  <a:cubicBezTo>
                    <a:pt x="453282" y="70358"/>
                    <a:pt x="447580" y="64662"/>
                    <a:pt x="439096" y="64662"/>
                  </a:cubicBezTo>
                  <a:lnTo>
                    <a:pt x="247091" y="64662"/>
                  </a:lnTo>
                  <a:cubicBezTo>
                    <a:pt x="233356" y="64662"/>
                    <a:pt x="219939" y="55581"/>
                    <a:pt x="212909" y="41510"/>
                  </a:cubicBezTo>
                  <a:lnTo>
                    <a:pt x="209429" y="34550"/>
                  </a:lnTo>
                  <a:cubicBezTo>
                    <a:pt x="207702" y="28689"/>
                    <a:pt x="200673" y="25070"/>
                    <a:pt x="195631" y="25070"/>
                  </a:cubicBezTo>
                  <a:lnTo>
                    <a:pt x="37281" y="25070"/>
                  </a:lnTo>
                  <a:close/>
                  <a:moveTo>
                    <a:pt x="80505" y="176162"/>
                  </a:moveTo>
                  <a:lnTo>
                    <a:pt x="395891" y="176162"/>
                  </a:lnTo>
                  <a:lnTo>
                    <a:pt x="395891" y="120085"/>
                  </a:lnTo>
                  <a:lnTo>
                    <a:pt x="80505" y="120085"/>
                  </a:lnTo>
                  <a:lnTo>
                    <a:pt x="80505" y="17616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7" name="Forme libre : forme 1616">
              <a:extLst>
                <a:ext uri="{FF2B5EF4-FFF2-40B4-BE49-F238E27FC236}">
                  <a16:creationId xmlns:a16="http://schemas.microsoft.com/office/drawing/2014/main" id="{DFA42AB8-EB0F-4409-91BA-CF3A901B2721}"/>
                </a:ext>
              </a:extLst>
            </p:cNvPr>
            <p:cNvSpPr/>
            <p:nvPr/>
          </p:nvSpPr>
          <p:spPr>
            <a:xfrm>
              <a:off x="3613536" y="3293409"/>
              <a:ext cx="238848" cy="341255"/>
            </a:xfrm>
            <a:custGeom>
              <a:avLst/>
              <a:gdLst>
                <a:gd name="connsiteX0" fmla="*/ 227292 w 238848"/>
                <a:gd name="connsiteY0" fmla="*/ 341256 h 341255"/>
                <a:gd name="connsiteX1" fmla="*/ 215747 w 238848"/>
                <a:gd name="connsiteY1" fmla="*/ 329711 h 341255"/>
                <a:gd name="connsiteX2" fmla="*/ 215747 w 238848"/>
                <a:gd name="connsiteY2" fmla="*/ 98120 h 341255"/>
                <a:gd name="connsiteX3" fmla="*/ 187706 w 238848"/>
                <a:gd name="connsiteY3" fmla="*/ 70079 h 341255"/>
                <a:gd name="connsiteX4" fmla="*/ 46183 w 238848"/>
                <a:gd name="connsiteY4" fmla="*/ 70079 h 341255"/>
                <a:gd name="connsiteX5" fmla="*/ 82156 w 238848"/>
                <a:gd name="connsiteY5" fmla="*/ 97066 h 341255"/>
                <a:gd name="connsiteX6" fmla="*/ 82524 w 238848"/>
                <a:gd name="connsiteY6" fmla="*/ 97282 h 341255"/>
                <a:gd name="connsiteX7" fmla="*/ 86309 w 238848"/>
                <a:gd name="connsiteY7" fmla="*/ 102965 h 341255"/>
                <a:gd name="connsiteX8" fmla="*/ 84125 w 238848"/>
                <a:gd name="connsiteY8" fmla="*/ 112960 h 341255"/>
                <a:gd name="connsiteX9" fmla="*/ 83864 w 238848"/>
                <a:gd name="connsiteY9" fmla="*/ 113309 h 341255"/>
                <a:gd name="connsiteX10" fmla="*/ 83655 w 238848"/>
                <a:gd name="connsiteY10" fmla="*/ 113678 h 341255"/>
                <a:gd name="connsiteX11" fmla="*/ 75616 w 238848"/>
                <a:gd name="connsiteY11" fmla="*/ 117685 h 341255"/>
                <a:gd name="connsiteX12" fmla="*/ 75616 w 238848"/>
                <a:gd name="connsiteY12" fmla="*/ 117685 h 341255"/>
                <a:gd name="connsiteX13" fmla="*/ 67957 w 238848"/>
                <a:gd name="connsiteY13" fmla="*/ 115278 h 341255"/>
                <a:gd name="connsiteX14" fmla="*/ 4438 w 238848"/>
                <a:gd name="connsiteY14" fmla="*/ 67640 h 341255"/>
                <a:gd name="connsiteX15" fmla="*/ 4248 w 238848"/>
                <a:gd name="connsiteY15" fmla="*/ 67513 h 341255"/>
                <a:gd name="connsiteX16" fmla="*/ 0 w 238848"/>
                <a:gd name="connsiteY16" fmla="*/ 58547 h 341255"/>
                <a:gd name="connsiteX17" fmla="*/ 5118 w 238848"/>
                <a:gd name="connsiteY17" fmla="*/ 48927 h 341255"/>
                <a:gd name="connsiteX18" fmla="*/ 67957 w 238848"/>
                <a:gd name="connsiteY18" fmla="*/ 1803 h 341255"/>
                <a:gd name="connsiteX19" fmla="*/ 74307 w 238848"/>
                <a:gd name="connsiteY19" fmla="*/ 0 h 341255"/>
                <a:gd name="connsiteX20" fmla="*/ 84125 w 238848"/>
                <a:gd name="connsiteY20" fmla="*/ 4102 h 341255"/>
                <a:gd name="connsiteX21" fmla="*/ 81813 w 238848"/>
                <a:gd name="connsiteY21" fmla="*/ 20276 h 341255"/>
                <a:gd name="connsiteX22" fmla="*/ 46183 w 238848"/>
                <a:gd name="connsiteY22" fmla="*/ 46996 h 341255"/>
                <a:gd name="connsiteX23" fmla="*/ 187712 w 238848"/>
                <a:gd name="connsiteY23" fmla="*/ 46996 h 341255"/>
                <a:gd name="connsiteX24" fmla="*/ 238849 w 238848"/>
                <a:gd name="connsiteY24" fmla="*/ 98127 h 341255"/>
                <a:gd name="connsiteX25" fmla="*/ 238849 w 238848"/>
                <a:gd name="connsiteY25" fmla="*/ 329717 h 341255"/>
                <a:gd name="connsiteX26" fmla="*/ 227292 w 238848"/>
                <a:gd name="connsiteY26" fmla="*/ 341256 h 3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8848" h="341255">
                  <a:moveTo>
                    <a:pt x="227292" y="341256"/>
                  </a:moveTo>
                  <a:cubicBezTo>
                    <a:pt x="219951" y="341256"/>
                    <a:pt x="215747" y="337052"/>
                    <a:pt x="215747" y="329711"/>
                  </a:cubicBezTo>
                  <a:lnTo>
                    <a:pt x="215747" y="98120"/>
                  </a:lnTo>
                  <a:cubicBezTo>
                    <a:pt x="215747" y="84639"/>
                    <a:pt x="205029" y="70079"/>
                    <a:pt x="187706" y="70079"/>
                  </a:cubicBezTo>
                  <a:lnTo>
                    <a:pt x="46183" y="70079"/>
                  </a:lnTo>
                  <a:lnTo>
                    <a:pt x="82156" y="97066"/>
                  </a:lnTo>
                  <a:lnTo>
                    <a:pt x="82524" y="97282"/>
                  </a:lnTo>
                  <a:cubicBezTo>
                    <a:pt x="84525" y="98476"/>
                    <a:pt x="85801" y="100400"/>
                    <a:pt x="86309" y="102965"/>
                  </a:cubicBezTo>
                  <a:cubicBezTo>
                    <a:pt x="86970" y="106325"/>
                    <a:pt x="86093" y="110351"/>
                    <a:pt x="84125" y="112960"/>
                  </a:cubicBezTo>
                  <a:lnTo>
                    <a:pt x="83864" y="113309"/>
                  </a:lnTo>
                  <a:lnTo>
                    <a:pt x="83655" y="113678"/>
                  </a:lnTo>
                  <a:cubicBezTo>
                    <a:pt x="81559" y="117164"/>
                    <a:pt x="77724" y="117685"/>
                    <a:pt x="75616" y="117685"/>
                  </a:cubicBezTo>
                  <a:lnTo>
                    <a:pt x="75616" y="117685"/>
                  </a:lnTo>
                  <a:cubicBezTo>
                    <a:pt x="72834" y="117685"/>
                    <a:pt x="69958" y="116789"/>
                    <a:pt x="67957" y="115278"/>
                  </a:cubicBezTo>
                  <a:lnTo>
                    <a:pt x="4438" y="67640"/>
                  </a:lnTo>
                  <a:lnTo>
                    <a:pt x="4248" y="67513"/>
                  </a:lnTo>
                  <a:cubicBezTo>
                    <a:pt x="2419" y="66294"/>
                    <a:pt x="0" y="64053"/>
                    <a:pt x="0" y="58547"/>
                  </a:cubicBezTo>
                  <a:cubicBezTo>
                    <a:pt x="0" y="55918"/>
                    <a:pt x="2000" y="52178"/>
                    <a:pt x="5118" y="48927"/>
                  </a:cubicBezTo>
                  <a:lnTo>
                    <a:pt x="67957" y="1803"/>
                  </a:lnTo>
                  <a:cubicBezTo>
                    <a:pt x="69507" y="641"/>
                    <a:pt x="71767" y="0"/>
                    <a:pt x="74307" y="0"/>
                  </a:cubicBezTo>
                  <a:cubicBezTo>
                    <a:pt x="78334" y="0"/>
                    <a:pt x="82283" y="1645"/>
                    <a:pt x="84125" y="4102"/>
                  </a:cubicBezTo>
                  <a:cubicBezTo>
                    <a:pt x="87357" y="8427"/>
                    <a:pt x="86131" y="17037"/>
                    <a:pt x="81813" y="20276"/>
                  </a:cubicBezTo>
                  <a:lnTo>
                    <a:pt x="46183" y="46996"/>
                  </a:lnTo>
                  <a:lnTo>
                    <a:pt x="187712" y="46996"/>
                  </a:lnTo>
                  <a:cubicBezTo>
                    <a:pt x="215906" y="46996"/>
                    <a:pt x="238849" y="69939"/>
                    <a:pt x="238849" y="98127"/>
                  </a:cubicBezTo>
                  <a:lnTo>
                    <a:pt x="238849" y="329717"/>
                  </a:lnTo>
                  <a:cubicBezTo>
                    <a:pt x="238842" y="337052"/>
                    <a:pt x="234632" y="341256"/>
                    <a:pt x="227292" y="341256"/>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8" name="Forme libre : forme 1617">
              <a:extLst>
                <a:ext uri="{FF2B5EF4-FFF2-40B4-BE49-F238E27FC236}">
                  <a16:creationId xmlns:a16="http://schemas.microsoft.com/office/drawing/2014/main" id="{282F114C-EF20-4A80-A6B2-B0FB1DDDE4AA}"/>
                </a:ext>
              </a:extLst>
            </p:cNvPr>
            <p:cNvSpPr/>
            <p:nvPr/>
          </p:nvSpPr>
          <p:spPr>
            <a:xfrm>
              <a:off x="3199833" y="3635325"/>
              <a:ext cx="238848" cy="341267"/>
            </a:xfrm>
            <a:custGeom>
              <a:avLst/>
              <a:gdLst>
                <a:gd name="connsiteX0" fmla="*/ 164548 w 238848"/>
                <a:gd name="connsiteY0" fmla="*/ 341268 h 341267"/>
                <a:gd name="connsiteX1" fmla="*/ 154730 w 238848"/>
                <a:gd name="connsiteY1" fmla="*/ 337160 h 341267"/>
                <a:gd name="connsiteX2" fmla="*/ 157042 w 238848"/>
                <a:gd name="connsiteY2" fmla="*/ 320999 h 341267"/>
                <a:gd name="connsiteX3" fmla="*/ 192665 w 238848"/>
                <a:gd name="connsiteY3" fmla="*/ 294272 h 341267"/>
                <a:gd name="connsiteX4" fmla="*/ 51143 w 238848"/>
                <a:gd name="connsiteY4" fmla="*/ 294272 h 341267"/>
                <a:gd name="connsiteX5" fmla="*/ 0 w 238848"/>
                <a:gd name="connsiteY5" fmla="*/ 243135 h 341267"/>
                <a:gd name="connsiteX6" fmla="*/ 0 w 238848"/>
                <a:gd name="connsiteY6" fmla="*/ 11544 h 341267"/>
                <a:gd name="connsiteX7" fmla="*/ 11551 w 238848"/>
                <a:gd name="connsiteY7" fmla="*/ 0 h 341267"/>
                <a:gd name="connsiteX8" fmla="*/ 23095 w 238848"/>
                <a:gd name="connsiteY8" fmla="*/ 11544 h 341267"/>
                <a:gd name="connsiteX9" fmla="*/ 23095 w 238848"/>
                <a:gd name="connsiteY9" fmla="*/ 243135 h 341267"/>
                <a:gd name="connsiteX10" fmla="*/ 51137 w 238848"/>
                <a:gd name="connsiteY10" fmla="*/ 271177 h 341267"/>
                <a:gd name="connsiteX11" fmla="*/ 192665 w 238848"/>
                <a:gd name="connsiteY11" fmla="*/ 271177 h 341267"/>
                <a:gd name="connsiteX12" fmla="*/ 156692 w 238848"/>
                <a:gd name="connsiteY12" fmla="*/ 244202 h 341267"/>
                <a:gd name="connsiteX13" fmla="*/ 156331 w 238848"/>
                <a:gd name="connsiteY13" fmla="*/ 243980 h 341267"/>
                <a:gd name="connsiteX14" fmla="*/ 152540 w 238848"/>
                <a:gd name="connsiteY14" fmla="*/ 238296 h 341267"/>
                <a:gd name="connsiteX15" fmla="*/ 154724 w 238848"/>
                <a:gd name="connsiteY15" fmla="*/ 228289 h 341267"/>
                <a:gd name="connsiteX16" fmla="*/ 154978 w 238848"/>
                <a:gd name="connsiteY16" fmla="*/ 227952 h 341267"/>
                <a:gd name="connsiteX17" fmla="*/ 155194 w 238848"/>
                <a:gd name="connsiteY17" fmla="*/ 227578 h 341267"/>
                <a:gd name="connsiteX18" fmla="*/ 163227 w 238848"/>
                <a:gd name="connsiteY18" fmla="*/ 223571 h 341267"/>
                <a:gd name="connsiteX19" fmla="*/ 170891 w 238848"/>
                <a:gd name="connsiteY19" fmla="*/ 225977 h 341267"/>
                <a:gd name="connsiteX20" fmla="*/ 234607 w 238848"/>
                <a:gd name="connsiteY20" fmla="*/ 273748 h 341267"/>
                <a:gd name="connsiteX21" fmla="*/ 238849 w 238848"/>
                <a:gd name="connsiteY21" fmla="*/ 282727 h 341267"/>
                <a:gd name="connsiteX22" fmla="*/ 233731 w 238848"/>
                <a:gd name="connsiteY22" fmla="*/ 292335 h 341267"/>
                <a:gd name="connsiteX23" fmla="*/ 170891 w 238848"/>
                <a:gd name="connsiteY23" fmla="*/ 339452 h 341267"/>
                <a:gd name="connsiteX24" fmla="*/ 164548 w 238848"/>
                <a:gd name="connsiteY24" fmla="*/ 341268 h 341267"/>
                <a:gd name="connsiteX25" fmla="*/ 164548 w 238848"/>
                <a:gd name="connsiteY25" fmla="*/ 341268 h 34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848" h="341267">
                  <a:moveTo>
                    <a:pt x="164548" y="341268"/>
                  </a:moveTo>
                  <a:cubicBezTo>
                    <a:pt x="160522" y="341268"/>
                    <a:pt x="156566" y="339617"/>
                    <a:pt x="154730" y="337160"/>
                  </a:cubicBezTo>
                  <a:cubicBezTo>
                    <a:pt x="151498" y="332842"/>
                    <a:pt x="152724" y="324237"/>
                    <a:pt x="157042" y="320999"/>
                  </a:cubicBezTo>
                  <a:lnTo>
                    <a:pt x="192665" y="294272"/>
                  </a:lnTo>
                  <a:lnTo>
                    <a:pt x="51143" y="294272"/>
                  </a:lnTo>
                  <a:cubicBezTo>
                    <a:pt x="22949" y="294272"/>
                    <a:pt x="0" y="271342"/>
                    <a:pt x="0" y="243135"/>
                  </a:cubicBezTo>
                  <a:lnTo>
                    <a:pt x="0" y="11544"/>
                  </a:lnTo>
                  <a:cubicBezTo>
                    <a:pt x="0" y="4216"/>
                    <a:pt x="4223" y="0"/>
                    <a:pt x="11551" y="0"/>
                  </a:cubicBezTo>
                  <a:cubicBezTo>
                    <a:pt x="18891" y="0"/>
                    <a:pt x="23095" y="4216"/>
                    <a:pt x="23095" y="11544"/>
                  </a:cubicBezTo>
                  <a:lnTo>
                    <a:pt x="23095" y="243135"/>
                  </a:lnTo>
                  <a:cubicBezTo>
                    <a:pt x="23095" y="256629"/>
                    <a:pt x="33814" y="271177"/>
                    <a:pt x="51137" y="271177"/>
                  </a:cubicBezTo>
                  <a:lnTo>
                    <a:pt x="192665" y="271177"/>
                  </a:lnTo>
                  <a:lnTo>
                    <a:pt x="156692" y="244202"/>
                  </a:lnTo>
                  <a:lnTo>
                    <a:pt x="156331" y="243980"/>
                  </a:lnTo>
                  <a:cubicBezTo>
                    <a:pt x="154324" y="242779"/>
                    <a:pt x="153048" y="240868"/>
                    <a:pt x="152540" y="238296"/>
                  </a:cubicBezTo>
                  <a:cubicBezTo>
                    <a:pt x="151879" y="234937"/>
                    <a:pt x="152755" y="230905"/>
                    <a:pt x="154724" y="228289"/>
                  </a:cubicBezTo>
                  <a:lnTo>
                    <a:pt x="154978" y="227952"/>
                  </a:lnTo>
                  <a:lnTo>
                    <a:pt x="155194" y="227578"/>
                  </a:lnTo>
                  <a:cubicBezTo>
                    <a:pt x="157283" y="224091"/>
                    <a:pt x="161125" y="223571"/>
                    <a:pt x="163227" y="223571"/>
                  </a:cubicBezTo>
                  <a:cubicBezTo>
                    <a:pt x="166014" y="223571"/>
                    <a:pt x="168885" y="224479"/>
                    <a:pt x="170891" y="225977"/>
                  </a:cubicBezTo>
                  <a:lnTo>
                    <a:pt x="234607" y="273748"/>
                  </a:lnTo>
                  <a:cubicBezTo>
                    <a:pt x="236429" y="274961"/>
                    <a:pt x="238849" y="277209"/>
                    <a:pt x="238849" y="282727"/>
                  </a:cubicBezTo>
                  <a:cubicBezTo>
                    <a:pt x="238849" y="285343"/>
                    <a:pt x="236861" y="289071"/>
                    <a:pt x="233731" y="292335"/>
                  </a:cubicBezTo>
                  <a:lnTo>
                    <a:pt x="170891" y="339452"/>
                  </a:lnTo>
                  <a:cubicBezTo>
                    <a:pt x="169335" y="340627"/>
                    <a:pt x="167087" y="341268"/>
                    <a:pt x="164548" y="341268"/>
                  </a:cubicBezTo>
                  <a:lnTo>
                    <a:pt x="164548" y="341268"/>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2" name="Graphique 3">
            <a:extLst>
              <a:ext uri="{FF2B5EF4-FFF2-40B4-BE49-F238E27FC236}">
                <a16:creationId xmlns:a16="http://schemas.microsoft.com/office/drawing/2014/main" id="{E53641CA-A67E-4C2B-8530-A13BF29F5A46}"/>
              </a:ext>
            </a:extLst>
          </p:cNvPr>
          <p:cNvGrpSpPr/>
          <p:nvPr/>
        </p:nvGrpSpPr>
        <p:grpSpPr>
          <a:xfrm>
            <a:off x="7165246" y="3239561"/>
            <a:ext cx="2065016" cy="2097615"/>
            <a:chOff x="7157446" y="3318452"/>
            <a:chExt cx="1368018" cy="1389614"/>
          </a:xfrm>
        </p:grpSpPr>
        <p:grpSp>
          <p:nvGrpSpPr>
            <p:cNvPr id="23" name="Graphique 3">
              <a:extLst>
                <a:ext uri="{FF2B5EF4-FFF2-40B4-BE49-F238E27FC236}">
                  <a16:creationId xmlns:a16="http://schemas.microsoft.com/office/drawing/2014/main" id="{E53641CA-A67E-4C2B-8530-A13BF29F5A46}"/>
                </a:ext>
              </a:extLst>
            </p:cNvPr>
            <p:cNvGrpSpPr/>
            <p:nvPr/>
          </p:nvGrpSpPr>
          <p:grpSpPr>
            <a:xfrm>
              <a:off x="7157446" y="3318452"/>
              <a:ext cx="1368018" cy="1368018"/>
              <a:chOff x="7157446" y="3318452"/>
              <a:chExt cx="1368018" cy="1368018"/>
            </a:xfrm>
          </p:grpSpPr>
          <p:sp>
            <p:nvSpPr>
              <p:cNvPr id="24" name="Forme libre : forme 23">
                <a:extLst>
                  <a:ext uri="{FF2B5EF4-FFF2-40B4-BE49-F238E27FC236}">
                    <a16:creationId xmlns:a16="http://schemas.microsoft.com/office/drawing/2014/main" id="{F2699CF2-2632-4BBB-ADFB-9EA49A6F7003}"/>
                  </a:ext>
                </a:extLst>
              </p:cNvPr>
              <p:cNvSpPr/>
              <p:nvPr/>
            </p:nvSpPr>
            <p:spPr>
              <a:xfrm>
                <a:off x="7157446" y="3318452"/>
                <a:ext cx="1368018" cy="1368018"/>
              </a:xfrm>
              <a:custGeom>
                <a:avLst/>
                <a:gdLst>
                  <a:gd name="connsiteX0" fmla="*/ 1368019 w 1368018"/>
                  <a:gd name="connsiteY0" fmla="*/ 684009 h 1368018"/>
                  <a:gd name="connsiteX1" fmla="*/ 684009 w 1368018"/>
                  <a:gd name="connsiteY1" fmla="*/ 1368019 h 1368018"/>
                  <a:gd name="connsiteX2" fmla="*/ 0 w 1368018"/>
                  <a:gd name="connsiteY2" fmla="*/ 684009 h 1368018"/>
                  <a:gd name="connsiteX3" fmla="*/ 684009 w 1368018"/>
                  <a:gd name="connsiteY3" fmla="*/ 0 h 1368018"/>
                  <a:gd name="connsiteX4" fmla="*/ 1368019 w 1368018"/>
                  <a:gd name="connsiteY4" fmla="*/ 684009 h 136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18" h="1368018">
                    <a:moveTo>
                      <a:pt x="1368019" y="684009"/>
                    </a:moveTo>
                    <a:cubicBezTo>
                      <a:pt x="1368019" y="1061777"/>
                      <a:pt x="1061778" y="1368019"/>
                      <a:pt x="684009" y="1368019"/>
                    </a:cubicBezTo>
                    <a:cubicBezTo>
                      <a:pt x="306242" y="1368019"/>
                      <a:pt x="0" y="1061777"/>
                      <a:pt x="0" y="684009"/>
                    </a:cubicBezTo>
                    <a:cubicBezTo>
                      <a:pt x="0" y="306241"/>
                      <a:pt x="306241" y="0"/>
                      <a:pt x="684009" y="0"/>
                    </a:cubicBezTo>
                    <a:cubicBezTo>
                      <a:pt x="1061777" y="0"/>
                      <a:pt x="1368019" y="306241"/>
                      <a:pt x="1368019" y="684009"/>
                    </a:cubicBezTo>
                    <a:close/>
                  </a:path>
                </a:pathLst>
              </a:custGeom>
              <a:solidFill>
                <a:srgbClr val="01CC9B">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orme libre : forme 24">
                <a:extLst>
                  <a:ext uri="{FF2B5EF4-FFF2-40B4-BE49-F238E27FC236}">
                    <a16:creationId xmlns:a16="http://schemas.microsoft.com/office/drawing/2014/main" id="{ED4DEB45-8445-4E4E-8170-E931C5A4C180}"/>
                  </a:ext>
                </a:extLst>
              </p:cNvPr>
              <p:cNvSpPr/>
              <p:nvPr/>
            </p:nvSpPr>
            <p:spPr>
              <a:xfrm>
                <a:off x="7279667" y="3440692"/>
                <a:ext cx="1123567" cy="1123566"/>
              </a:xfrm>
              <a:custGeom>
                <a:avLst/>
                <a:gdLst>
                  <a:gd name="connsiteX0" fmla="*/ 1122782 w 1123567"/>
                  <a:gd name="connsiteY0" fmla="*/ 591183 h 1123566"/>
                  <a:gd name="connsiteX1" fmla="*/ 532375 w 1123567"/>
                  <a:gd name="connsiteY1" fmla="*/ 1122782 h 1123566"/>
                  <a:gd name="connsiteX2" fmla="*/ 785 w 1123567"/>
                  <a:gd name="connsiteY2" fmla="*/ 532366 h 1123566"/>
                  <a:gd name="connsiteX3" fmla="*/ 591202 w 1123567"/>
                  <a:gd name="connsiteY3" fmla="*/ 785 h 1123566"/>
                  <a:gd name="connsiteX4" fmla="*/ 1122782 w 1123567"/>
                  <a:gd name="connsiteY4" fmla="*/ 591183 h 1123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67" h="1123566">
                    <a:moveTo>
                      <a:pt x="1122782" y="591183"/>
                    </a:moveTo>
                    <a:cubicBezTo>
                      <a:pt x="1106542" y="901040"/>
                      <a:pt x="842205" y="1139022"/>
                      <a:pt x="532375" y="1122782"/>
                    </a:cubicBezTo>
                    <a:cubicBezTo>
                      <a:pt x="222556" y="1106542"/>
                      <a:pt x="-15465" y="842223"/>
                      <a:pt x="785" y="532366"/>
                    </a:cubicBezTo>
                    <a:cubicBezTo>
                      <a:pt x="17016" y="222555"/>
                      <a:pt x="281382" y="-15465"/>
                      <a:pt x="591202" y="785"/>
                    </a:cubicBezTo>
                    <a:cubicBezTo>
                      <a:pt x="901031" y="17025"/>
                      <a:pt x="1139042" y="281382"/>
                      <a:pt x="1122782" y="591183"/>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Forme libre : forme 25">
              <a:extLst>
                <a:ext uri="{FF2B5EF4-FFF2-40B4-BE49-F238E27FC236}">
                  <a16:creationId xmlns:a16="http://schemas.microsoft.com/office/drawing/2014/main" id="{2886892B-F784-4106-8BEE-57A6CB78B7AB}"/>
                </a:ext>
              </a:extLst>
            </p:cNvPr>
            <p:cNvSpPr/>
            <p:nvPr/>
          </p:nvSpPr>
          <p:spPr>
            <a:xfrm>
              <a:off x="8212874" y="4516707"/>
              <a:ext cx="175315" cy="191359"/>
            </a:xfrm>
            <a:custGeom>
              <a:avLst/>
              <a:gdLst>
                <a:gd name="connsiteX0" fmla="*/ 157410 w 175315"/>
                <a:gd name="connsiteY0" fmla="*/ 190233 h 191359"/>
                <a:gd name="connsiteX1" fmla="*/ 0 w 175315"/>
                <a:gd name="connsiteY1" fmla="*/ 120358 h 191359"/>
                <a:gd name="connsiteX2" fmla="*/ 68332 w 175315"/>
                <a:gd name="connsiteY2" fmla="*/ 76638 h 191359"/>
                <a:gd name="connsiteX3" fmla="*/ 156581 w 175315"/>
                <a:gd name="connsiteY3" fmla="*/ 0 h 191359"/>
                <a:gd name="connsiteX4" fmla="*/ 175231 w 175315"/>
                <a:gd name="connsiteY4" fmla="*/ 177279 h 191359"/>
                <a:gd name="connsiteX5" fmla="*/ 157410 w 175315"/>
                <a:gd name="connsiteY5" fmla="*/ 190233 h 19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315" h="191359">
                  <a:moveTo>
                    <a:pt x="157410" y="190233"/>
                  </a:moveTo>
                  <a:lnTo>
                    <a:pt x="0" y="120358"/>
                  </a:lnTo>
                  <a:cubicBezTo>
                    <a:pt x="23393" y="107356"/>
                    <a:pt x="46205" y="92755"/>
                    <a:pt x="68332" y="76638"/>
                  </a:cubicBezTo>
                  <a:cubicBezTo>
                    <a:pt x="100412" y="53273"/>
                    <a:pt x="129968" y="27603"/>
                    <a:pt x="156581" y="0"/>
                  </a:cubicBezTo>
                  <a:lnTo>
                    <a:pt x="175231" y="177279"/>
                  </a:lnTo>
                  <a:cubicBezTo>
                    <a:pt x="176326" y="187071"/>
                    <a:pt x="166525" y="194224"/>
                    <a:pt x="157410" y="190233"/>
                  </a:cubicBezTo>
                  <a:close/>
                </a:path>
              </a:pathLst>
            </a:custGeom>
            <a:solidFill>
              <a:srgbClr val="01CC9B">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42" name="Graphique 3">
            <a:extLst>
              <a:ext uri="{FF2B5EF4-FFF2-40B4-BE49-F238E27FC236}">
                <a16:creationId xmlns:a16="http://schemas.microsoft.com/office/drawing/2014/main" id="{67B712EF-F998-4AC7-9E9A-EDCA2C8DA325}"/>
              </a:ext>
            </a:extLst>
          </p:cNvPr>
          <p:cNvGrpSpPr/>
          <p:nvPr/>
        </p:nvGrpSpPr>
        <p:grpSpPr>
          <a:xfrm>
            <a:off x="4876133" y="3932129"/>
            <a:ext cx="2064981" cy="2083631"/>
            <a:chOff x="5517235" y="3903992"/>
            <a:chExt cx="1367995" cy="1380350"/>
          </a:xfrm>
        </p:grpSpPr>
        <p:grpSp>
          <p:nvGrpSpPr>
            <p:cNvPr id="1744" name="Graphique 3">
              <a:extLst>
                <a:ext uri="{FF2B5EF4-FFF2-40B4-BE49-F238E27FC236}">
                  <a16:creationId xmlns:a16="http://schemas.microsoft.com/office/drawing/2014/main" id="{ACC04A07-F4FF-415A-BCE8-51850C83443D}"/>
                </a:ext>
              </a:extLst>
            </p:cNvPr>
            <p:cNvGrpSpPr/>
            <p:nvPr/>
          </p:nvGrpSpPr>
          <p:grpSpPr>
            <a:xfrm>
              <a:off x="5517235" y="3916397"/>
              <a:ext cx="1367995" cy="1367946"/>
              <a:chOff x="5517235" y="3916397"/>
              <a:chExt cx="1367995" cy="1367946"/>
            </a:xfrm>
          </p:grpSpPr>
          <p:sp>
            <p:nvSpPr>
              <p:cNvPr id="1746" name="Forme libre : forme 1745">
                <a:extLst>
                  <a:ext uri="{FF2B5EF4-FFF2-40B4-BE49-F238E27FC236}">
                    <a16:creationId xmlns:a16="http://schemas.microsoft.com/office/drawing/2014/main" id="{E2BA6516-6B01-48A2-BE64-8A72A818ABEA}"/>
                  </a:ext>
                </a:extLst>
              </p:cNvPr>
              <p:cNvSpPr/>
              <p:nvPr/>
            </p:nvSpPr>
            <p:spPr>
              <a:xfrm>
                <a:off x="5517235" y="3916397"/>
                <a:ext cx="1367995" cy="1367946"/>
              </a:xfrm>
              <a:custGeom>
                <a:avLst/>
                <a:gdLst>
                  <a:gd name="connsiteX0" fmla="*/ 120764 w 1367995"/>
                  <a:gd name="connsiteY0" fmla="*/ 296025 h 1367946"/>
                  <a:gd name="connsiteX1" fmla="*/ 1071969 w 1367995"/>
                  <a:gd name="connsiteY1" fmla="*/ 120736 h 1367946"/>
                  <a:gd name="connsiteX2" fmla="*/ 1247267 w 1367995"/>
                  <a:gd name="connsiteY2" fmla="*/ 1071922 h 1367946"/>
                  <a:gd name="connsiteX3" fmla="*/ 296062 w 1367995"/>
                  <a:gd name="connsiteY3" fmla="*/ 1247191 h 1367946"/>
                  <a:gd name="connsiteX4" fmla="*/ 120764 w 1367995"/>
                  <a:gd name="connsiteY4" fmla="*/ 296025 h 1367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995" h="1367946">
                    <a:moveTo>
                      <a:pt x="120764" y="296025"/>
                    </a:moveTo>
                    <a:cubicBezTo>
                      <a:pt x="335010" y="-15043"/>
                      <a:pt x="760882" y="-93510"/>
                      <a:pt x="1071969" y="120736"/>
                    </a:cubicBezTo>
                    <a:cubicBezTo>
                      <a:pt x="1383036" y="334973"/>
                      <a:pt x="1461504" y="760854"/>
                      <a:pt x="1247267" y="1071922"/>
                    </a:cubicBezTo>
                    <a:cubicBezTo>
                      <a:pt x="1033012" y="1382989"/>
                      <a:pt x="607120" y="1461466"/>
                      <a:pt x="296062" y="1247191"/>
                    </a:cubicBezTo>
                    <a:cubicBezTo>
                      <a:pt x="-15043" y="1032955"/>
                      <a:pt x="-93529" y="607102"/>
                      <a:pt x="120764" y="296025"/>
                    </a:cubicBezTo>
                    <a:close/>
                  </a:path>
                </a:pathLst>
              </a:custGeom>
              <a:solidFill>
                <a:srgbClr val="14A0C0">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7" name="Forme libre : forme 1746">
                <a:extLst>
                  <a:ext uri="{FF2B5EF4-FFF2-40B4-BE49-F238E27FC236}">
                    <a16:creationId xmlns:a16="http://schemas.microsoft.com/office/drawing/2014/main" id="{D53B6E6A-95B2-479D-BA2D-877A0439A3A2}"/>
                  </a:ext>
                </a:extLst>
              </p:cNvPr>
              <p:cNvSpPr/>
              <p:nvPr/>
            </p:nvSpPr>
            <p:spPr>
              <a:xfrm>
                <a:off x="5639466" y="4038638"/>
                <a:ext cx="1123530" cy="1123530"/>
              </a:xfrm>
              <a:custGeom>
                <a:avLst/>
                <a:gdLst>
                  <a:gd name="connsiteX0" fmla="*/ 1123531 w 1123530"/>
                  <a:gd name="connsiteY0" fmla="*/ 561765 h 1123530"/>
                  <a:gd name="connsiteX1" fmla="*/ 561766 w 1123530"/>
                  <a:gd name="connsiteY1" fmla="*/ 1123531 h 1123530"/>
                  <a:gd name="connsiteX2" fmla="*/ 0 w 1123530"/>
                  <a:gd name="connsiteY2" fmla="*/ 561765 h 1123530"/>
                  <a:gd name="connsiteX3" fmla="*/ 561766 w 1123530"/>
                  <a:gd name="connsiteY3" fmla="*/ 0 h 1123530"/>
                  <a:gd name="connsiteX4" fmla="*/ 1123531 w 1123530"/>
                  <a:gd name="connsiteY4" fmla="*/ 561765 h 1123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30" h="1123530">
                    <a:moveTo>
                      <a:pt x="1123531" y="561765"/>
                    </a:moveTo>
                    <a:cubicBezTo>
                      <a:pt x="1123531" y="872020"/>
                      <a:pt x="872020" y="1123531"/>
                      <a:pt x="561766" y="1123531"/>
                    </a:cubicBezTo>
                    <a:cubicBezTo>
                      <a:pt x="251511" y="1123531"/>
                      <a:pt x="0" y="872020"/>
                      <a:pt x="0" y="561765"/>
                    </a:cubicBezTo>
                    <a:cubicBezTo>
                      <a:pt x="0" y="251511"/>
                      <a:pt x="251511" y="0"/>
                      <a:pt x="561766" y="0"/>
                    </a:cubicBezTo>
                    <a:cubicBezTo>
                      <a:pt x="872020" y="0"/>
                      <a:pt x="1123531" y="251511"/>
                      <a:pt x="1123531" y="561765"/>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5" name="Forme libre : forme 1744">
              <a:extLst>
                <a:ext uri="{FF2B5EF4-FFF2-40B4-BE49-F238E27FC236}">
                  <a16:creationId xmlns:a16="http://schemas.microsoft.com/office/drawing/2014/main" id="{483ABA36-1D7C-40FB-B7BD-32968F9343CE}"/>
                </a:ext>
              </a:extLst>
            </p:cNvPr>
            <p:cNvSpPr/>
            <p:nvPr/>
          </p:nvSpPr>
          <p:spPr>
            <a:xfrm>
              <a:off x="5649404" y="3903992"/>
              <a:ext cx="176437" cy="191195"/>
            </a:xfrm>
            <a:custGeom>
              <a:avLst/>
              <a:gdLst>
                <a:gd name="connsiteX0" fmla="*/ 17675 w 176437"/>
                <a:gd name="connsiteY0" fmla="*/ 1020 h 191195"/>
                <a:gd name="connsiteX1" fmla="*/ 176438 w 176437"/>
                <a:gd name="connsiteY1" fmla="*/ 67752 h 191195"/>
                <a:gd name="connsiteX2" fmla="*/ 109010 w 176437"/>
                <a:gd name="connsiteY2" fmla="*/ 112833 h 191195"/>
                <a:gd name="connsiteX3" fmla="*/ 22333 w 176437"/>
                <a:gd name="connsiteY3" fmla="*/ 191196 h 191195"/>
                <a:gd name="connsiteX4" fmla="*/ 120 w 176437"/>
                <a:gd name="connsiteY4" fmla="*/ 14335 h 191195"/>
                <a:gd name="connsiteX5" fmla="*/ 17675 w 176437"/>
                <a:gd name="connsiteY5" fmla="*/ 1020 h 19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37" h="191195">
                  <a:moveTo>
                    <a:pt x="17675" y="1020"/>
                  </a:moveTo>
                  <a:lnTo>
                    <a:pt x="176438" y="67752"/>
                  </a:lnTo>
                  <a:cubicBezTo>
                    <a:pt x="153330" y="81201"/>
                    <a:pt x="130803" y="96270"/>
                    <a:pt x="109010" y="112833"/>
                  </a:cubicBezTo>
                  <a:cubicBezTo>
                    <a:pt x="77406" y="136789"/>
                    <a:pt x="48384" y="163097"/>
                    <a:pt x="22333" y="191196"/>
                  </a:cubicBezTo>
                  <a:lnTo>
                    <a:pt x="120" y="14335"/>
                  </a:lnTo>
                  <a:cubicBezTo>
                    <a:pt x="-1194" y="4572"/>
                    <a:pt x="8483" y="-2781"/>
                    <a:pt x="17675" y="1020"/>
                  </a:cubicBezTo>
                  <a:close/>
                </a:path>
              </a:pathLst>
            </a:custGeom>
            <a:solidFill>
              <a:srgbClr val="14A0C0">
                <a:alpha val="6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705" name="Graphique 1704">
            <a:extLst>
              <a:ext uri="{FF2B5EF4-FFF2-40B4-BE49-F238E27FC236}">
                <a16:creationId xmlns:a16="http://schemas.microsoft.com/office/drawing/2014/main" id="{6C3A2FCB-068E-4A79-B01A-94B98CAB2D0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50446" y="3227604"/>
            <a:ext cx="1571459" cy="1548000"/>
          </a:xfrm>
          <a:prstGeom prst="rect">
            <a:avLst/>
          </a:prstGeom>
        </p:spPr>
      </p:pic>
      <p:grpSp>
        <p:nvGrpSpPr>
          <p:cNvPr id="1706" name="Image 6">
            <a:extLst>
              <a:ext uri="{FF2B5EF4-FFF2-40B4-BE49-F238E27FC236}">
                <a16:creationId xmlns:a16="http://schemas.microsoft.com/office/drawing/2014/main" id="{58B06D36-6603-41AB-9749-F51C7FAC1B75}"/>
              </a:ext>
            </a:extLst>
          </p:cNvPr>
          <p:cNvGrpSpPr/>
          <p:nvPr/>
        </p:nvGrpSpPr>
        <p:grpSpPr>
          <a:xfrm>
            <a:off x="5752357" y="3610017"/>
            <a:ext cx="650375" cy="636400"/>
            <a:chOff x="5086831" y="3158423"/>
            <a:chExt cx="926369" cy="925846"/>
          </a:xfrm>
          <a:solidFill>
            <a:srgbClr val="000000"/>
          </a:solidFill>
        </p:grpSpPr>
        <p:sp>
          <p:nvSpPr>
            <p:cNvPr id="1707" name="Forme libre : forme 1706">
              <a:extLst>
                <a:ext uri="{FF2B5EF4-FFF2-40B4-BE49-F238E27FC236}">
                  <a16:creationId xmlns:a16="http://schemas.microsoft.com/office/drawing/2014/main" id="{6F3908D6-A469-4551-9B58-65BF3889A5BB}"/>
                </a:ext>
              </a:extLst>
            </p:cNvPr>
            <p:cNvSpPr/>
            <p:nvPr/>
          </p:nvSpPr>
          <p:spPr>
            <a:xfrm>
              <a:off x="5385433" y="3403531"/>
              <a:ext cx="202984" cy="83546"/>
            </a:xfrm>
            <a:custGeom>
              <a:avLst/>
              <a:gdLst>
                <a:gd name="connsiteX0" fmla="*/ 11913 w 202984"/>
                <a:gd name="connsiteY0" fmla="*/ 83547 h 83546"/>
                <a:gd name="connsiteX1" fmla="*/ 0 w 202984"/>
                <a:gd name="connsiteY1" fmla="*/ 71628 h 83546"/>
                <a:gd name="connsiteX2" fmla="*/ 0 w 202984"/>
                <a:gd name="connsiteY2" fmla="*/ 11912 h 83546"/>
                <a:gd name="connsiteX3" fmla="*/ 11913 w 202984"/>
                <a:gd name="connsiteY3" fmla="*/ 0 h 83546"/>
                <a:gd name="connsiteX4" fmla="*/ 191072 w 202984"/>
                <a:gd name="connsiteY4" fmla="*/ 0 h 83546"/>
                <a:gd name="connsiteX5" fmla="*/ 202984 w 202984"/>
                <a:gd name="connsiteY5" fmla="*/ 11912 h 83546"/>
                <a:gd name="connsiteX6" fmla="*/ 202984 w 202984"/>
                <a:gd name="connsiteY6" fmla="*/ 71628 h 83546"/>
                <a:gd name="connsiteX7" fmla="*/ 191072 w 202984"/>
                <a:gd name="connsiteY7" fmla="*/ 83547 h 83546"/>
                <a:gd name="connsiteX8" fmla="*/ 11913 w 202984"/>
                <a:gd name="connsiteY8" fmla="*/ 83547 h 83546"/>
                <a:gd name="connsiteX9" fmla="*/ 23819 w 202984"/>
                <a:gd name="connsiteY9" fmla="*/ 59722 h 83546"/>
                <a:gd name="connsiteX10" fmla="*/ 179146 w 202984"/>
                <a:gd name="connsiteY10" fmla="*/ 59722 h 83546"/>
                <a:gd name="connsiteX11" fmla="*/ 179146 w 202984"/>
                <a:gd name="connsiteY11" fmla="*/ 23825 h 83546"/>
                <a:gd name="connsiteX12" fmla="*/ 23819 w 202984"/>
                <a:gd name="connsiteY12" fmla="*/ 23825 h 83546"/>
                <a:gd name="connsiteX13" fmla="*/ 23819 w 202984"/>
                <a:gd name="connsiteY13" fmla="*/ 59722 h 8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6">
                  <a:moveTo>
                    <a:pt x="11913" y="83547"/>
                  </a:moveTo>
                  <a:cubicBezTo>
                    <a:pt x="5347" y="83547"/>
                    <a:pt x="0" y="78200"/>
                    <a:pt x="0" y="71628"/>
                  </a:cubicBezTo>
                  <a:lnTo>
                    <a:pt x="0" y="11912"/>
                  </a:lnTo>
                  <a:cubicBezTo>
                    <a:pt x="0" y="5347"/>
                    <a:pt x="5347" y="0"/>
                    <a:pt x="11913" y="0"/>
                  </a:cubicBezTo>
                  <a:lnTo>
                    <a:pt x="191072" y="0"/>
                  </a:lnTo>
                  <a:cubicBezTo>
                    <a:pt x="197638" y="0"/>
                    <a:pt x="202984" y="5347"/>
                    <a:pt x="202984" y="11912"/>
                  </a:cubicBezTo>
                  <a:lnTo>
                    <a:pt x="202984" y="71628"/>
                  </a:lnTo>
                  <a:cubicBezTo>
                    <a:pt x="202984" y="78200"/>
                    <a:pt x="197638" y="83547"/>
                    <a:pt x="191072" y="83547"/>
                  </a:cubicBezTo>
                  <a:lnTo>
                    <a:pt x="11913" y="83547"/>
                  </a:lnTo>
                  <a:close/>
                  <a:moveTo>
                    <a:pt x="23819" y="59722"/>
                  </a:moveTo>
                  <a:lnTo>
                    <a:pt x="179146" y="59722"/>
                  </a:lnTo>
                  <a:lnTo>
                    <a:pt x="179146" y="23825"/>
                  </a:lnTo>
                  <a:lnTo>
                    <a:pt x="23819" y="23825"/>
                  </a:lnTo>
                  <a:lnTo>
                    <a:pt x="23819" y="5972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8" name="Forme libre : forme 1707">
              <a:extLst>
                <a:ext uri="{FF2B5EF4-FFF2-40B4-BE49-F238E27FC236}">
                  <a16:creationId xmlns:a16="http://schemas.microsoft.com/office/drawing/2014/main" id="{85DAC786-CFD4-4133-BB60-B6E213E411DB}"/>
                </a:ext>
              </a:extLst>
            </p:cNvPr>
            <p:cNvSpPr/>
            <p:nvPr/>
          </p:nvSpPr>
          <p:spPr>
            <a:xfrm>
              <a:off x="532571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9" name="Forme libre : forme 1708">
              <a:extLst>
                <a:ext uri="{FF2B5EF4-FFF2-40B4-BE49-F238E27FC236}">
                  <a16:creationId xmlns:a16="http://schemas.microsoft.com/office/drawing/2014/main" id="{DDF7BD0B-1136-4643-BAC0-D098AE5B258C}"/>
                </a:ext>
              </a:extLst>
            </p:cNvPr>
            <p:cNvSpPr/>
            <p:nvPr/>
          </p:nvSpPr>
          <p:spPr>
            <a:xfrm>
              <a:off x="5280919"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0" name="Forme libre : forme 1709">
              <a:extLst>
                <a:ext uri="{FF2B5EF4-FFF2-40B4-BE49-F238E27FC236}">
                  <a16:creationId xmlns:a16="http://schemas.microsoft.com/office/drawing/2014/main" id="{3139043C-6E96-4379-8207-DC1A47D27232}"/>
                </a:ext>
              </a:extLst>
            </p:cNvPr>
            <p:cNvSpPr/>
            <p:nvPr/>
          </p:nvSpPr>
          <p:spPr>
            <a:xfrm>
              <a:off x="523613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1" name="Forme libre : forme 1710">
              <a:extLst>
                <a:ext uri="{FF2B5EF4-FFF2-40B4-BE49-F238E27FC236}">
                  <a16:creationId xmlns:a16="http://schemas.microsoft.com/office/drawing/2014/main" id="{5F08B32F-D9FB-4DB9-BA8E-94DFD1560313}"/>
                </a:ext>
              </a:extLst>
            </p:cNvPr>
            <p:cNvSpPr/>
            <p:nvPr/>
          </p:nvSpPr>
          <p:spPr>
            <a:xfrm>
              <a:off x="5191346"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2" name="Forme libre : forme 1711">
              <a:extLst>
                <a:ext uri="{FF2B5EF4-FFF2-40B4-BE49-F238E27FC236}">
                  <a16:creationId xmlns:a16="http://schemas.microsoft.com/office/drawing/2014/main" id="{79F45D0B-6BA5-481D-A0F3-C95E56C9A749}"/>
                </a:ext>
              </a:extLst>
            </p:cNvPr>
            <p:cNvSpPr/>
            <p:nvPr/>
          </p:nvSpPr>
          <p:spPr>
            <a:xfrm>
              <a:off x="5146553"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3" name="Forme libre : forme 1712">
              <a:extLst>
                <a:ext uri="{FF2B5EF4-FFF2-40B4-BE49-F238E27FC236}">
                  <a16:creationId xmlns:a16="http://schemas.microsoft.com/office/drawing/2014/main" id="{EA0469DA-E792-4802-8421-8A6C87D51C9A}"/>
                </a:ext>
              </a:extLst>
            </p:cNvPr>
            <p:cNvSpPr/>
            <p:nvPr/>
          </p:nvSpPr>
          <p:spPr>
            <a:xfrm>
              <a:off x="532571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4" name="Forme libre : forme 1713">
              <a:extLst>
                <a:ext uri="{FF2B5EF4-FFF2-40B4-BE49-F238E27FC236}">
                  <a16:creationId xmlns:a16="http://schemas.microsoft.com/office/drawing/2014/main" id="{3AEAF17A-A6BB-43B5-AF5C-C52835A73AE5}"/>
                </a:ext>
              </a:extLst>
            </p:cNvPr>
            <p:cNvSpPr/>
            <p:nvPr/>
          </p:nvSpPr>
          <p:spPr>
            <a:xfrm>
              <a:off x="5280919"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5" name="Forme libre : forme 1714">
              <a:extLst>
                <a:ext uri="{FF2B5EF4-FFF2-40B4-BE49-F238E27FC236}">
                  <a16:creationId xmlns:a16="http://schemas.microsoft.com/office/drawing/2014/main" id="{CFA48721-E56B-4323-8F55-FA6E4D26340E}"/>
                </a:ext>
              </a:extLst>
            </p:cNvPr>
            <p:cNvSpPr/>
            <p:nvPr/>
          </p:nvSpPr>
          <p:spPr>
            <a:xfrm>
              <a:off x="523613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6" name="Forme libre : forme 1715">
              <a:extLst>
                <a:ext uri="{FF2B5EF4-FFF2-40B4-BE49-F238E27FC236}">
                  <a16:creationId xmlns:a16="http://schemas.microsoft.com/office/drawing/2014/main" id="{09ABF3FE-8EF1-4796-BF50-C10D7B4C54C3}"/>
                </a:ext>
              </a:extLst>
            </p:cNvPr>
            <p:cNvSpPr/>
            <p:nvPr/>
          </p:nvSpPr>
          <p:spPr>
            <a:xfrm>
              <a:off x="5191346"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7" name="Forme libre : forme 1716">
              <a:extLst>
                <a:ext uri="{FF2B5EF4-FFF2-40B4-BE49-F238E27FC236}">
                  <a16:creationId xmlns:a16="http://schemas.microsoft.com/office/drawing/2014/main" id="{317A50D2-82F3-4521-AAFF-670F14E7AC56}"/>
                </a:ext>
              </a:extLst>
            </p:cNvPr>
            <p:cNvSpPr/>
            <p:nvPr/>
          </p:nvSpPr>
          <p:spPr>
            <a:xfrm>
              <a:off x="5146553"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8" name="Forme libre : forme 1717">
              <a:extLst>
                <a:ext uri="{FF2B5EF4-FFF2-40B4-BE49-F238E27FC236}">
                  <a16:creationId xmlns:a16="http://schemas.microsoft.com/office/drawing/2014/main" id="{B59F5CB8-63FC-48F8-90B9-A0920860E125}"/>
                </a:ext>
              </a:extLst>
            </p:cNvPr>
            <p:cNvSpPr/>
            <p:nvPr/>
          </p:nvSpPr>
          <p:spPr>
            <a:xfrm>
              <a:off x="532571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9" name="Forme libre : forme 1718">
              <a:extLst>
                <a:ext uri="{FF2B5EF4-FFF2-40B4-BE49-F238E27FC236}">
                  <a16:creationId xmlns:a16="http://schemas.microsoft.com/office/drawing/2014/main" id="{402ED34F-1A92-45D2-93A1-272EEC1A4399}"/>
                </a:ext>
              </a:extLst>
            </p:cNvPr>
            <p:cNvSpPr/>
            <p:nvPr/>
          </p:nvSpPr>
          <p:spPr>
            <a:xfrm>
              <a:off x="5280919"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0" name="Forme libre : forme 1719">
              <a:extLst>
                <a:ext uri="{FF2B5EF4-FFF2-40B4-BE49-F238E27FC236}">
                  <a16:creationId xmlns:a16="http://schemas.microsoft.com/office/drawing/2014/main" id="{2DC17A82-8635-4489-89C7-32D26267597E}"/>
                </a:ext>
              </a:extLst>
            </p:cNvPr>
            <p:cNvSpPr/>
            <p:nvPr/>
          </p:nvSpPr>
          <p:spPr>
            <a:xfrm>
              <a:off x="523613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1" name="Forme libre : forme 1720">
              <a:extLst>
                <a:ext uri="{FF2B5EF4-FFF2-40B4-BE49-F238E27FC236}">
                  <a16:creationId xmlns:a16="http://schemas.microsoft.com/office/drawing/2014/main" id="{85D5BF15-1879-4F48-960E-1055D6864B6A}"/>
                </a:ext>
              </a:extLst>
            </p:cNvPr>
            <p:cNvSpPr/>
            <p:nvPr/>
          </p:nvSpPr>
          <p:spPr>
            <a:xfrm>
              <a:off x="5191346"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2" name="Forme libre : forme 1721">
              <a:extLst>
                <a:ext uri="{FF2B5EF4-FFF2-40B4-BE49-F238E27FC236}">
                  <a16:creationId xmlns:a16="http://schemas.microsoft.com/office/drawing/2014/main" id="{BAE43302-430D-4233-AC66-0930B599D26A}"/>
                </a:ext>
              </a:extLst>
            </p:cNvPr>
            <p:cNvSpPr/>
            <p:nvPr/>
          </p:nvSpPr>
          <p:spPr>
            <a:xfrm>
              <a:off x="5146553"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3" name="Forme libre : forme 1722">
              <a:extLst>
                <a:ext uri="{FF2B5EF4-FFF2-40B4-BE49-F238E27FC236}">
                  <a16:creationId xmlns:a16="http://schemas.microsoft.com/office/drawing/2014/main" id="{35B46D98-2590-4A35-B3D4-371BA2C725C1}"/>
                </a:ext>
              </a:extLst>
            </p:cNvPr>
            <p:cNvSpPr/>
            <p:nvPr/>
          </p:nvSpPr>
          <p:spPr>
            <a:xfrm>
              <a:off x="532571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4" name="Forme libre : forme 1723">
              <a:extLst>
                <a:ext uri="{FF2B5EF4-FFF2-40B4-BE49-F238E27FC236}">
                  <a16:creationId xmlns:a16="http://schemas.microsoft.com/office/drawing/2014/main" id="{E5DCDF64-875E-4EB3-AD42-39D803E67C18}"/>
                </a:ext>
              </a:extLst>
            </p:cNvPr>
            <p:cNvSpPr/>
            <p:nvPr/>
          </p:nvSpPr>
          <p:spPr>
            <a:xfrm>
              <a:off x="5280919"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5" name="Forme libre : forme 1724">
              <a:extLst>
                <a:ext uri="{FF2B5EF4-FFF2-40B4-BE49-F238E27FC236}">
                  <a16:creationId xmlns:a16="http://schemas.microsoft.com/office/drawing/2014/main" id="{26A4809D-A006-4357-96FA-1B8B18B032A2}"/>
                </a:ext>
              </a:extLst>
            </p:cNvPr>
            <p:cNvSpPr/>
            <p:nvPr/>
          </p:nvSpPr>
          <p:spPr>
            <a:xfrm>
              <a:off x="523613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6" name="Forme libre : forme 1725">
              <a:extLst>
                <a:ext uri="{FF2B5EF4-FFF2-40B4-BE49-F238E27FC236}">
                  <a16:creationId xmlns:a16="http://schemas.microsoft.com/office/drawing/2014/main" id="{39964BD3-A931-486C-8D31-9CA62139FB5C}"/>
                </a:ext>
              </a:extLst>
            </p:cNvPr>
            <p:cNvSpPr/>
            <p:nvPr/>
          </p:nvSpPr>
          <p:spPr>
            <a:xfrm>
              <a:off x="5191346"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7" name="Forme libre : forme 1726">
              <a:extLst>
                <a:ext uri="{FF2B5EF4-FFF2-40B4-BE49-F238E27FC236}">
                  <a16:creationId xmlns:a16="http://schemas.microsoft.com/office/drawing/2014/main" id="{D9F2F6F7-7BF2-4B8E-A4E2-E6BCDD70FB7B}"/>
                </a:ext>
              </a:extLst>
            </p:cNvPr>
            <p:cNvSpPr/>
            <p:nvPr/>
          </p:nvSpPr>
          <p:spPr>
            <a:xfrm>
              <a:off x="5146553"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8" name="Forme libre : forme 1727">
              <a:extLst>
                <a:ext uri="{FF2B5EF4-FFF2-40B4-BE49-F238E27FC236}">
                  <a16:creationId xmlns:a16="http://schemas.microsoft.com/office/drawing/2014/main" id="{06CD8055-DBB8-4436-AC27-F78262EBDA80}"/>
                </a:ext>
              </a:extLst>
            </p:cNvPr>
            <p:cNvSpPr/>
            <p:nvPr/>
          </p:nvSpPr>
          <p:spPr>
            <a:xfrm>
              <a:off x="532571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9" name="Forme libre : forme 1728">
              <a:extLst>
                <a:ext uri="{FF2B5EF4-FFF2-40B4-BE49-F238E27FC236}">
                  <a16:creationId xmlns:a16="http://schemas.microsoft.com/office/drawing/2014/main" id="{98756102-E80F-4F94-A710-4E0552AA4D27}"/>
                </a:ext>
              </a:extLst>
            </p:cNvPr>
            <p:cNvSpPr/>
            <p:nvPr/>
          </p:nvSpPr>
          <p:spPr>
            <a:xfrm>
              <a:off x="5280919"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0" name="Forme libre : forme 1729">
              <a:extLst>
                <a:ext uri="{FF2B5EF4-FFF2-40B4-BE49-F238E27FC236}">
                  <a16:creationId xmlns:a16="http://schemas.microsoft.com/office/drawing/2014/main" id="{2AE44B97-DC4E-4F6A-843E-E2244629DAB2}"/>
                </a:ext>
              </a:extLst>
            </p:cNvPr>
            <p:cNvSpPr/>
            <p:nvPr/>
          </p:nvSpPr>
          <p:spPr>
            <a:xfrm>
              <a:off x="523613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1" name="Forme libre : forme 1730">
              <a:extLst>
                <a:ext uri="{FF2B5EF4-FFF2-40B4-BE49-F238E27FC236}">
                  <a16:creationId xmlns:a16="http://schemas.microsoft.com/office/drawing/2014/main" id="{D61FF6C7-8032-4FB6-9A09-99F8C67D433A}"/>
                </a:ext>
              </a:extLst>
            </p:cNvPr>
            <p:cNvSpPr/>
            <p:nvPr/>
          </p:nvSpPr>
          <p:spPr>
            <a:xfrm>
              <a:off x="5191346"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2" name="Forme libre : forme 1731">
              <a:extLst>
                <a:ext uri="{FF2B5EF4-FFF2-40B4-BE49-F238E27FC236}">
                  <a16:creationId xmlns:a16="http://schemas.microsoft.com/office/drawing/2014/main" id="{F472D706-BD40-4A2B-820A-CB983A7B7512}"/>
                </a:ext>
              </a:extLst>
            </p:cNvPr>
            <p:cNvSpPr/>
            <p:nvPr/>
          </p:nvSpPr>
          <p:spPr>
            <a:xfrm>
              <a:off x="5146553"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3" name="Forme libre : forme 1732">
              <a:extLst>
                <a:ext uri="{FF2B5EF4-FFF2-40B4-BE49-F238E27FC236}">
                  <a16:creationId xmlns:a16="http://schemas.microsoft.com/office/drawing/2014/main" id="{A9A57FDB-CC03-4C09-83D3-F5422FFBEC98}"/>
                </a:ext>
              </a:extLst>
            </p:cNvPr>
            <p:cNvSpPr/>
            <p:nvPr/>
          </p:nvSpPr>
          <p:spPr>
            <a:xfrm>
              <a:off x="532571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4" name="Forme libre : forme 1733">
              <a:extLst>
                <a:ext uri="{FF2B5EF4-FFF2-40B4-BE49-F238E27FC236}">
                  <a16:creationId xmlns:a16="http://schemas.microsoft.com/office/drawing/2014/main" id="{A699A87F-A17B-4335-9336-F1D1155E7BD6}"/>
                </a:ext>
              </a:extLst>
            </p:cNvPr>
            <p:cNvSpPr/>
            <p:nvPr/>
          </p:nvSpPr>
          <p:spPr>
            <a:xfrm>
              <a:off x="5280919"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5" name="Forme libre : forme 1734">
              <a:extLst>
                <a:ext uri="{FF2B5EF4-FFF2-40B4-BE49-F238E27FC236}">
                  <a16:creationId xmlns:a16="http://schemas.microsoft.com/office/drawing/2014/main" id="{6F8D22AA-C2FB-4B48-9477-75CD4081939C}"/>
                </a:ext>
              </a:extLst>
            </p:cNvPr>
            <p:cNvSpPr/>
            <p:nvPr/>
          </p:nvSpPr>
          <p:spPr>
            <a:xfrm>
              <a:off x="523613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6" name="Forme libre : forme 1735">
              <a:extLst>
                <a:ext uri="{FF2B5EF4-FFF2-40B4-BE49-F238E27FC236}">
                  <a16:creationId xmlns:a16="http://schemas.microsoft.com/office/drawing/2014/main" id="{B83F56BE-DA1F-4B41-9DED-E1D093805688}"/>
                </a:ext>
              </a:extLst>
            </p:cNvPr>
            <p:cNvSpPr/>
            <p:nvPr/>
          </p:nvSpPr>
          <p:spPr>
            <a:xfrm>
              <a:off x="5191346"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7" name="Forme libre : forme 1736">
              <a:extLst>
                <a:ext uri="{FF2B5EF4-FFF2-40B4-BE49-F238E27FC236}">
                  <a16:creationId xmlns:a16="http://schemas.microsoft.com/office/drawing/2014/main" id="{54841A4C-8CE6-4A38-A823-0123108D4855}"/>
                </a:ext>
              </a:extLst>
            </p:cNvPr>
            <p:cNvSpPr/>
            <p:nvPr/>
          </p:nvSpPr>
          <p:spPr>
            <a:xfrm>
              <a:off x="5146553"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8" name="Forme libre : forme 1737">
              <a:extLst>
                <a:ext uri="{FF2B5EF4-FFF2-40B4-BE49-F238E27FC236}">
                  <a16:creationId xmlns:a16="http://schemas.microsoft.com/office/drawing/2014/main" id="{6E83C1B3-3D53-40FC-9509-8AA4F31E7359}"/>
                </a:ext>
              </a:extLst>
            </p:cNvPr>
            <p:cNvSpPr/>
            <p:nvPr/>
          </p:nvSpPr>
          <p:spPr>
            <a:xfrm>
              <a:off x="5385433" y="3761855"/>
              <a:ext cx="202984" cy="83540"/>
            </a:xfrm>
            <a:custGeom>
              <a:avLst/>
              <a:gdLst>
                <a:gd name="connsiteX0" fmla="*/ 11913 w 202984"/>
                <a:gd name="connsiteY0" fmla="*/ 83541 h 83540"/>
                <a:gd name="connsiteX1" fmla="*/ 0 w 202984"/>
                <a:gd name="connsiteY1" fmla="*/ 71622 h 83540"/>
                <a:gd name="connsiteX2" fmla="*/ 0 w 202984"/>
                <a:gd name="connsiteY2" fmla="*/ 11906 h 83540"/>
                <a:gd name="connsiteX3" fmla="*/ 11913 w 202984"/>
                <a:gd name="connsiteY3" fmla="*/ 0 h 83540"/>
                <a:gd name="connsiteX4" fmla="*/ 191072 w 202984"/>
                <a:gd name="connsiteY4" fmla="*/ 0 h 83540"/>
                <a:gd name="connsiteX5" fmla="*/ 202984 w 202984"/>
                <a:gd name="connsiteY5" fmla="*/ 11906 h 83540"/>
                <a:gd name="connsiteX6" fmla="*/ 202984 w 202984"/>
                <a:gd name="connsiteY6" fmla="*/ 71622 h 83540"/>
                <a:gd name="connsiteX7" fmla="*/ 191072 w 202984"/>
                <a:gd name="connsiteY7" fmla="*/ 83541 h 83540"/>
                <a:gd name="connsiteX8" fmla="*/ 11913 w 202984"/>
                <a:gd name="connsiteY8" fmla="*/ 83541 h 83540"/>
                <a:gd name="connsiteX9" fmla="*/ 23819 w 202984"/>
                <a:gd name="connsiteY9" fmla="*/ 59716 h 83540"/>
                <a:gd name="connsiteX10" fmla="*/ 179146 w 202984"/>
                <a:gd name="connsiteY10" fmla="*/ 59716 h 83540"/>
                <a:gd name="connsiteX11" fmla="*/ 179146 w 202984"/>
                <a:gd name="connsiteY11" fmla="*/ 23825 h 83540"/>
                <a:gd name="connsiteX12" fmla="*/ 23819 w 202984"/>
                <a:gd name="connsiteY12" fmla="*/ 23825 h 83540"/>
                <a:gd name="connsiteX13" fmla="*/ 23819 w 202984"/>
                <a:gd name="connsiteY13" fmla="*/ 59716 h 8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0">
                  <a:moveTo>
                    <a:pt x="11913" y="83541"/>
                  </a:moveTo>
                  <a:cubicBezTo>
                    <a:pt x="5347" y="83541"/>
                    <a:pt x="0" y="78194"/>
                    <a:pt x="0" y="71622"/>
                  </a:cubicBezTo>
                  <a:lnTo>
                    <a:pt x="0" y="11906"/>
                  </a:lnTo>
                  <a:cubicBezTo>
                    <a:pt x="0" y="5340"/>
                    <a:pt x="5347" y="0"/>
                    <a:pt x="11913" y="0"/>
                  </a:cubicBezTo>
                  <a:lnTo>
                    <a:pt x="191072" y="0"/>
                  </a:lnTo>
                  <a:cubicBezTo>
                    <a:pt x="197638" y="0"/>
                    <a:pt x="202984" y="5340"/>
                    <a:pt x="202984" y="11906"/>
                  </a:cubicBezTo>
                  <a:lnTo>
                    <a:pt x="202984" y="71622"/>
                  </a:lnTo>
                  <a:cubicBezTo>
                    <a:pt x="202984" y="78194"/>
                    <a:pt x="197638" y="83541"/>
                    <a:pt x="191072" y="83541"/>
                  </a:cubicBezTo>
                  <a:lnTo>
                    <a:pt x="11913" y="83541"/>
                  </a:lnTo>
                  <a:close/>
                  <a:moveTo>
                    <a:pt x="23819" y="59716"/>
                  </a:moveTo>
                  <a:lnTo>
                    <a:pt x="179146" y="59716"/>
                  </a:lnTo>
                  <a:lnTo>
                    <a:pt x="179146" y="23825"/>
                  </a:lnTo>
                  <a:lnTo>
                    <a:pt x="23819" y="23825"/>
                  </a:lnTo>
                  <a:lnTo>
                    <a:pt x="23819" y="5971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9" name="Forme libre : forme 1738">
              <a:extLst>
                <a:ext uri="{FF2B5EF4-FFF2-40B4-BE49-F238E27FC236}">
                  <a16:creationId xmlns:a16="http://schemas.microsoft.com/office/drawing/2014/main" id="{36A8E5FE-EA65-4EE5-A5C2-5B23CAE3473A}"/>
                </a:ext>
              </a:extLst>
            </p:cNvPr>
            <p:cNvSpPr/>
            <p:nvPr/>
          </p:nvSpPr>
          <p:spPr>
            <a:xfrm>
              <a:off x="5086831" y="3158423"/>
              <a:ext cx="926369" cy="925846"/>
            </a:xfrm>
            <a:custGeom>
              <a:avLst/>
              <a:gdLst>
                <a:gd name="connsiteX0" fmla="*/ 280607 w 890239"/>
                <a:gd name="connsiteY0" fmla="*/ 889737 h 889736"/>
                <a:gd name="connsiteX1" fmla="*/ 225978 w 890239"/>
                <a:gd name="connsiteY1" fmla="*/ 847224 h 889736"/>
                <a:gd name="connsiteX2" fmla="*/ 225400 w 890239"/>
                <a:gd name="connsiteY2" fmla="*/ 844950 h 889736"/>
                <a:gd name="connsiteX3" fmla="*/ 11913 w 890239"/>
                <a:gd name="connsiteY3" fmla="*/ 844950 h 889736"/>
                <a:gd name="connsiteX4" fmla="*/ 0 w 890239"/>
                <a:gd name="connsiteY4" fmla="*/ 833038 h 889736"/>
                <a:gd name="connsiteX5" fmla="*/ 11913 w 890239"/>
                <a:gd name="connsiteY5" fmla="*/ 821125 h 889736"/>
                <a:gd name="connsiteX6" fmla="*/ 225381 w 890239"/>
                <a:gd name="connsiteY6" fmla="*/ 821125 h 889736"/>
                <a:gd name="connsiteX7" fmla="*/ 225971 w 890239"/>
                <a:gd name="connsiteY7" fmla="*/ 818877 h 889736"/>
                <a:gd name="connsiteX8" fmla="*/ 266484 w 890239"/>
                <a:gd name="connsiteY8" fmla="*/ 778358 h 889736"/>
                <a:gd name="connsiteX9" fmla="*/ 268732 w 890239"/>
                <a:gd name="connsiteY9" fmla="*/ 777761 h 889736"/>
                <a:gd name="connsiteX10" fmla="*/ 268732 w 890239"/>
                <a:gd name="connsiteY10" fmla="*/ 710578 h 889736"/>
                <a:gd name="connsiteX11" fmla="*/ 71628 w 890239"/>
                <a:gd name="connsiteY11" fmla="*/ 710578 h 889736"/>
                <a:gd name="connsiteX12" fmla="*/ 0 w 890239"/>
                <a:gd name="connsiteY12" fmla="*/ 638944 h 889736"/>
                <a:gd name="connsiteX13" fmla="*/ 0 w 890239"/>
                <a:gd name="connsiteY13" fmla="*/ 579228 h 889736"/>
                <a:gd name="connsiteX14" fmla="*/ 29077 w 890239"/>
                <a:gd name="connsiteY14" fmla="*/ 521945 h 889736"/>
                <a:gd name="connsiteX15" fmla="*/ 32373 w 890239"/>
                <a:gd name="connsiteY15" fmla="*/ 519512 h 889736"/>
                <a:gd name="connsiteX16" fmla="*/ 29077 w 890239"/>
                <a:gd name="connsiteY16" fmla="*/ 517087 h 889736"/>
                <a:gd name="connsiteX17" fmla="*/ 0 w 890239"/>
                <a:gd name="connsiteY17" fmla="*/ 459784 h 889736"/>
                <a:gd name="connsiteX18" fmla="*/ 0 w 890239"/>
                <a:gd name="connsiteY18" fmla="*/ 400082 h 889736"/>
                <a:gd name="connsiteX19" fmla="*/ 29077 w 890239"/>
                <a:gd name="connsiteY19" fmla="*/ 342786 h 889736"/>
                <a:gd name="connsiteX20" fmla="*/ 32373 w 890239"/>
                <a:gd name="connsiteY20" fmla="*/ 340360 h 889736"/>
                <a:gd name="connsiteX21" fmla="*/ 29077 w 890239"/>
                <a:gd name="connsiteY21" fmla="*/ 337934 h 889736"/>
                <a:gd name="connsiteX22" fmla="*/ 0 w 890239"/>
                <a:gd name="connsiteY22" fmla="*/ 280626 h 889736"/>
                <a:gd name="connsiteX23" fmla="*/ 0 w 890239"/>
                <a:gd name="connsiteY23" fmla="*/ 219132 h 889736"/>
                <a:gd name="connsiteX24" fmla="*/ 6585 w 890239"/>
                <a:gd name="connsiteY24" fmla="*/ 189205 h 889736"/>
                <a:gd name="connsiteX25" fmla="*/ 74676 w 890239"/>
                <a:gd name="connsiteY25" fmla="*/ 41542 h 889736"/>
                <a:gd name="connsiteX26" fmla="*/ 139726 w 890239"/>
                <a:gd name="connsiteY26" fmla="*/ 0 h 889736"/>
                <a:gd name="connsiteX27" fmla="*/ 421596 w 890239"/>
                <a:gd name="connsiteY27" fmla="*/ 0 h 889736"/>
                <a:gd name="connsiteX28" fmla="*/ 486652 w 890239"/>
                <a:gd name="connsiteY28" fmla="*/ 41548 h 889736"/>
                <a:gd name="connsiteX29" fmla="*/ 554717 w 890239"/>
                <a:gd name="connsiteY29" fmla="*/ 189052 h 889736"/>
                <a:gd name="connsiteX30" fmla="*/ 561309 w 890239"/>
                <a:gd name="connsiteY30" fmla="*/ 219132 h 889736"/>
                <a:gd name="connsiteX31" fmla="*/ 561309 w 890239"/>
                <a:gd name="connsiteY31" fmla="*/ 264497 h 889736"/>
                <a:gd name="connsiteX32" fmla="*/ 566052 w 890239"/>
                <a:gd name="connsiteY32" fmla="*/ 261176 h 889736"/>
                <a:gd name="connsiteX33" fmla="*/ 684175 w 890239"/>
                <a:gd name="connsiteY33" fmla="*/ 223952 h 889736"/>
                <a:gd name="connsiteX34" fmla="*/ 802297 w 890239"/>
                <a:gd name="connsiteY34" fmla="*/ 261176 h 889736"/>
                <a:gd name="connsiteX35" fmla="*/ 887051 w 890239"/>
                <a:gd name="connsiteY35" fmla="*/ 394132 h 889736"/>
                <a:gd name="connsiteX36" fmla="*/ 852951 w 890239"/>
                <a:gd name="connsiteY36" fmla="*/ 548069 h 889736"/>
                <a:gd name="connsiteX37" fmla="*/ 683997 w 890239"/>
                <a:gd name="connsiteY37" fmla="*/ 635972 h 889736"/>
                <a:gd name="connsiteX38" fmla="*/ 566058 w 890239"/>
                <a:gd name="connsiteY38" fmla="*/ 598729 h 889736"/>
                <a:gd name="connsiteX39" fmla="*/ 561315 w 890239"/>
                <a:gd name="connsiteY39" fmla="*/ 595408 h 889736"/>
                <a:gd name="connsiteX40" fmla="*/ 561315 w 890239"/>
                <a:gd name="connsiteY40" fmla="*/ 638969 h 889736"/>
                <a:gd name="connsiteX41" fmla="*/ 489687 w 890239"/>
                <a:gd name="connsiteY41" fmla="*/ 710603 h 889736"/>
                <a:gd name="connsiteX42" fmla="*/ 292577 w 890239"/>
                <a:gd name="connsiteY42" fmla="*/ 710603 h 889736"/>
                <a:gd name="connsiteX43" fmla="*/ 292577 w 890239"/>
                <a:gd name="connsiteY43" fmla="*/ 777786 h 889736"/>
                <a:gd name="connsiteX44" fmla="*/ 294831 w 890239"/>
                <a:gd name="connsiteY44" fmla="*/ 778383 h 889736"/>
                <a:gd name="connsiteX45" fmla="*/ 335350 w 890239"/>
                <a:gd name="connsiteY45" fmla="*/ 818902 h 889736"/>
                <a:gd name="connsiteX46" fmla="*/ 335941 w 890239"/>
                <a:gd name="connsiteY46" fmla="*/ 821150 h 889736"/>
                <a:gd name="connsiteX47" fmla="*/ 554914 w 890239"/>
                <a:gd name="connsiteY47" fmla="*/ 821150 h 889736"/>
                <a:gd name="connsiteX48" fmla="*/ 566833 w 890239"/>
                <a:gd name="connsiteY48" fmla="*/ 833063 h 889736"/>
                <a:gd name="connsiteX49" fmla="*/ 554914 w 890239"/>
                <a:gd name="connsiteY49" fmla="*/ 844976 h 889736"/>
                <a:gd name="connsiteX50" fmla="*/ 335922 w 890239"/>
                <a:gd name="connsiteY50" fmla="*/ 844976 h 889736"/>
                <a:gd name="connsiteX51" fmla="*/ 335344 w 890239"/>
                <a:gd name="connsiteY51" fmla="*/ 847249 h 889736"/>
                <a:gd name="connsiteX52" fmla="*/ 294583 w 890239"/>
                <a:gd name="connsiteY52" fmla="*/ 888009 h 889736"/>
                <a:gd name="connsiteX53" fmla="*/ 280607 w 890239"/>
                <a:gd name="connsiteY53" fmla="*/ 889737 h 889736"/>
                <a:gd name="connsiteX54" fmla="*/ 280651 w 890239"/>
                <a:gd name="connsiteY54" fmla="*/ 800164 h 889736"/>
                <a:gd name="connsiteX55" fmla="*/ 247777 w 890239"/>
                <a:gd name="connsiteY55" fmla="*/ 833038 h 889736"/>
                <a:gd name="connsiteX56" fmla="*/ 280651 w 890239"/>
                <a:gd name="connsiteY56" fmla="*/ 865918 h 889736"/>
                <a:gd name="connsiteX57" fmla="*/ 313525 w 890239"/>
                <a:gd name="connsiteY57" fmla="*/ 833038 h 889736"/>
                <a:gd name="connsiteX58" fmla="*/ 280651 w 890239"/>
                <a:gd name="connsiteY58" fmla="*/ 800164 h 889736"/>
                <a:gd name="connsiteX59" fmla="*/ 71622 w 890239"/>
                <a:gd name="connsiteY59" fmla="*/ 531419 h 889736"/>
                <a:gd name="connsiteX60" fmla="*/ 23832 w 890239"/>
                <a:gd name="connsiteY60" fmla="*/ 579209 h 889736"/>
                <a:gd name="connsiteX61" fmla="*/ 23832 w 890239"/>
                <a:gd name="connsiteY61" fmla="*/ 638937 h 889736"/>
                <a:gd name="connsiteX62" fmla="*/ 71622 w 890239"/>
                <a:gd name="connsiteY62" fmla="*/ 686746 h 889736"/>
                <a:gd name="connsiteX63" fmla="*/ 489668 w 890239"/>
                <a:gd name="connsiteY63" fmla="*/ 686746 h 889736"/>
                <a:gd name="connsiteX64" fmla="*/ 537471 w 890239"/>
                <a:gd name="connsiteY64" fmla="*/ 638950 h 889736"/>
                <a:gd name="connsiteX65" fmla="*/ 537471 w 890239"/>
                <a:gd name="connsiteY65" fmla="*/ 579222 h 889736"/>
                <a:gd name="connsiteX66" fmla="*/ 537153 w 890239"/>
                <a:gd name="connsiteY66" fmla="*/ 575215 h 889736"/>
                <a:gd name="connsiteX67" fmla="*/ 537014 w 890239"/>
                <a:gd name="connsiteY67" fmla="*/ 574249 h 889736"/>
                <a:gd name="connsiteX68" fmla="*/ 536334 w 890239"/>
                <a:gd name="connsiteY68" fmla="*/ 573545 h 889736"/>
                <a:gd name="connsiteX69" fmla="*/ 507493 w 890239"/>
                <a:gd name="connsiteY69" fmla="*/ 535877 h 889736"/>
                <a:gd name="connsiteX70" fmla="*/ 506965 w 890239"/>
                <a:gd name="connsiteY70" fmla="*/ 534988 h 889736"/>
                <a:gd name="connsiteX71" fmla="*/ 506007 w 890239"/>
                <a:gd name="connsiteY71" fmla="*/ 534607 h 889736"/>
                <a:gd name="connsiteX72" fmla="*/ 489712 w 890239"/>
                <a:gd name="connsiteY72" fmla="*/ 531413 h 889736"/>
                <a:gd name="connsiteX73" fmla="*/ 71622 w 890239"/>
                <a:gd name="connsiteY73" fmla="*/ 531413 h 889736"/>
                <a:gd name="connsiteX74" fmla="*/ 683749 w 890239"/>
                <a:gd name="connsiteY74" fmla="*/ 247745 h 889736"/>
                <a:gd name="connsiteX75" fmla="*/ 501580 w 890239"/>
                <a:gd name="connsiteY75" fmla="*/ 429920 h 889736"/>
                <a:gd name="connsiteX76" fmla="*/ 683749 w 890239"/>
                <a:gd name="connsiteY76" fmla="*/ 612096 h 889736"/>
                <a:gd name="connsiteX77" fmla="*/ 865925 w 890239"/>
                <a:gd name="connsiteY77" fmla="*/ 429920 h 889736"/>
                <a:gd name="connsiteX78" fmla="*/ 683749 w 890239"/>
                <a:gd name="connsiteY78" fmla="*/ 247745 h 889736"/>
                <a:gd name="connsiteX79" fmla="*/ 683749 w 890239"/>
                <a:gd name="connsiteY79" fmla="*/ 247745 h 889736"/>
                <a:gd name="connsiteX80" fmla="*/ 71622 w 890239"/>
                <a:gd name="connsiteY80" fmla="*/ 352260 h 889736"/>
                <a:gd name="connsiteX81" fmla="*/ 23832 w 890239"/>
                <a:gd name="connsiteY81" fmla="*/ 400056 h 889736"/>
                <a:gd name="connsiteX82" fmla="*/ 23832 w 890239"/>
                <a:gd name="connsiteY82" fmla="*/ 459784 h 889736"/>
                <a:gd name="connsiteX83" fmla="*/ 71622 w 890239"/>
                <a:gd name="connsiteY83" fmla="*/ 507594 h 889736"/>
                <a:gd name="connsiteX84" fmla="*/ 493192 w 890239"/>
                <a:gd name="connsiteY84" fmla="*/ 507594 h 889736"/>
                <a:gd name="connsiteX85" fmla="*/ 491579 w 890239"/>
                <a:gd name="connsiteY85" fmla="*/ 503479 h 889736"/>
                <a:gd name="connsiteX86" fmla="*/ 482607 w 890239"/>
                <a:gd name="connsiteY86" fmla="*/ 474059 h 889736"/>
                <a:gd name="connsiteX87" fmla="*/ 482080 w 890239"/>
                <a:gd name="connsiteY87" fmla="*/ 471697 h 889736"/>
                <a:gd name="connsiteX88" fmla="*/ 310503 w 890239"/>
                <a:gd name="connsiteY88" fmla="*/ 471697 h 889736"/>
                <a:gd name="connsiteX89" fmla="*/ 298590 w 890239"/>
                <a:gd name="connsiteY89" fmla="*/ 459784 h 889736"/>
                <a:gd name="connsiteX90" fmla="*/ 298590 w 890239"/>
                <a:gd name="connsiteY90" fmla="*/ 400069 h 889736"/>
                <a:gd name="connsiteX91" fmla="*/ 310503 w 890239"/>
                <a:gd name="connsiteY91" fmla="*/ 388157 h 889736"/>
                <a:gd name="connsiteX92" fmla="*/ 482080 w 890239"/>
                <a:gd name="connsiteY92" fmla="*/ 388157 h 889736"/>
                <a:gd name="connsiteX93" fmla="*/ 482607 w 890239"/>
                <a:gd name="connsiteY93" fmla="*/ 385794 h 889736"/>
                <a:gd name="connsiteX94" fmla="*/ 491579 w 890239"/>
                <a:gd name="connsiteY94" fmla="*/ 356369 h 889736"/>
                <a:gd name="connsiteX95" fmla="*/ 493192 w 890239"/>
                <a:gd name="connsiteY95" fmla="*/ 352260 h 889736"/>
                <a:gd name="connsiteX96" fmla="*/ 71622 w 890239"/>
                <a:gd name="connsiteY96" fmla="*/ 352260 h 889736"/>
                <a:gd name="connsiteX97" fmla="*/ 322422 w 890239"/>
                <a:gd name="connsiteY97" fmla="*/ 447872 h 889736"/>
                <a:gd name="connsiteX98" fmla="*/ 477749 w 890239"/>
                <a:gd name="connsiteY98" fmla="*/ 447872 h 889736"/>
                <a:gd name="connsiteX99" fmla="*/ 477749 w 890239"/>
                <a:gd name="connsiteY99" fmla="*/ 411988 h 889736"/>
                <a:gd name="connsiteX100" fmla="*/ 322422 w 890239"/>
                <a:gd name="connsiteY100" fmla="*/ 411988 h 889736"/>
                <a:gd name="connsiteX101" fmla="*/ 322422 w 890239"/>
                <a:gd name="connsiteY101" fmla="*/ 447872 h 889736"/>
                <a:gd name="connsiteX102" fmla="*/ 71622 w 890239"/>
                <a:gd name="connsiteY102" fmla="*/ 173107 h 889736"/>
                <a:gd name="connsiteX103" fmla="*/ 23832 w 890239"/>
                <a:gd name="connsiteY103" fmla="*/ 220897 h 889736"/>
                <a:gd name="connsiteX104" fmla="*/ 23832 w 890239"/>
                <a:gd name="connsiteY104" fmla="*/ 280626 h 889736"/>
                <a:gd name="connsiteX105" fmla="*/ 71622 w 890239"/>
                <a:gd name="connsiteY105" fmla="*/ 328435 h 889736"/>
                <a:gd name="connsiteX106" fmla="*/ 489668 w 890239"/>
                <a:gd name="connsiteY106" fmla="*/ 328435 h 889736"/>
                <a:gd name="connsiteX107" fmla="*/ 506000 w 890239"/>
                <a:gd name="connsiteY107" fmla="*/ 325241 h 889736"/>
                <a:gd name="connsiteX108" fmla="*/ 506959 w 890239"/>
                <a:gd name="connsiteY108" fmla="*/ 324860 h 889736"/>
                <a:gd name="connsiteX109" fmla="*/ 507486 w 890239"/>
                <a:gd name="connsiteY109" fmla="*/ 323964 h 889736"/>
                <a:gd name="connsiteX110" fmla="*/ 536328 w 890239"/>
                <a:gd name="connsiteY110" fmla="*/ 286309 h 889736"/>
                <a:gd name="connsiteX111" fmla="*/ 537007 w 890239"/>
                <a:gd name="connsiteY111" fmla="*/ 285604 h 889736"/>
                <a:gd name="connsiteX112" fmla="*/ 537147 w 890239"/>
                <a:gd name="connsiteY112" fmla="*/ 284639 h 889736"/>
                <a:gd name="connsiteX113" fmla="*/ 537464 w 890239"/>
                <a:gd name="connsiteY113" fmla="*/ 280676 h 889736"/>
                <a:gd name="connsiteX114" fmla="*/ 537464 w 890239"/>
                <a:gd name="connsiteY114" fmla="*/ 220904 h 889736"/>
                <a:gd name="connsiteX115" fmla="*/ 489668 w 890239"/>
                <a:gd name="connsiteY115" fmla="*/ 173101 h 889736"/>
                <a:gd name="connsiteX116" fmla="*/ 71622 w 890239"/>
                <a:gd name="connsiteY116" fmla="*/ 173101 h 889736"/>
                <a:gd name="connsiteX117" fmla="*/ 489674 w 890239"/>
                <a:gd name="connsiteY117" fmla="*/ 149276 h 889736"/>
                <a:gd name="connsiteX118" fmla="*/ 505505 w 890239"/>
                <a:gd name="connsiteY118" fmla="*/ 151270 h 889736"/>
                <a:gd name="connsiteX119" fmla="*/ 511633 w 890239"/>
                <a:gd name="connsiteY119" fmla="*/ 152826 h 889736"/>
                <a:gd name="connsiteX120" fmla="*/ 464947 w 890239"/>
                <a:gd name="connsiteY120" fmla="*/ 51537 h 889736"/>
                <a:gd name="connsiteX121" fmla="*/ 421602 w 890239"/>
                <a:gd name="connsiteY121" fmla="*/ 23800 h 889736"/>
                <a:gd name="connsiteX122" fmla="*/ 139719 w 890239"/>
                <a:gd name="connsiteY122" fmla="*/ 23800 h 889736"/>
                <a:gd name="connsiteX123" fmla="*/ 96374 w 890239"/>
                <a:gd name="connsiteY123" fmla="*/ 51530 h 889736"/>
                <a:gd name="connsiteX124" fmla="*/ 49683 w 890239"/>
                <a:gd name="connsiteY124" fmla="*/ 152826 h 889736"/>
                <a:gd name="connsiteX125" fmla="*/ 55810 w 890239"/>
                <a:gd name="connsiteY125" fmla="*/ 151270 h 889736"/>
                <a:gd name="connsiteX126" fmla="*/ 71647 w 890239"/>
                <a:gd name="connsiteY126" fmla="*/ 149276 h 889736"/>
                <a:gd name="connsiteX127" fmla="*/ 71641 w 890239"/>
                <a:gd name="connsiteY127" fmla="*/ 149276 h 889736"/>
                <a:gd name="connsiteX128" fmla="*/ 489674 w 890239"/>
                <a:gd name="connsiteY128" fmla="*/ 149276 h 88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90239" h="889736">
                  <a:moveTo>
                    <a:pt x="280607" y="889737"/>
                  </a:moveTo>
                  <a:cubicBezTo>
                    <a:pt x="254813" y="889737"/>
                    <a:pt x="232347" y="872255"/>
                    <a:pt x="225978" y="847224"/>
                  </a:cubicBezTo>
                  <a:lnTo>
                    <a:pt x="225400" y="844950"/>
                  </a:lnTo>
                  <a:lnTo>
                    <a:pt x="11913" y="844950"/>
                  </a:lnTo>
                  <a:cubicBezTo>
                    <a:pt x="5341" y="844950"/>
                    <a:pt x="0" y="839603"/>
                    <a:pt x="0" y="833038"/>
                  </a:cubicBezTo>
                  <a:cubicBezTo>
                    <a:pt x="0" y="826472"/>
                    <a:pt x="5341" y="821125"/>
                    <a:pt x="11913" y="821125"/>
                  </a:cubicBezTo>
                  <a:lnTo>
                    <a:pt x="225381" y="821125"/>
                  </a:lnTo>
                  <a:lnTo>
                    <a:pt x="225971" y="818877"/>
                  </a:lnTo>
                  <a:cubicBezTo>
                    <a:pt x="231147" y="799059"/>
                    <a:pt x="246672" y="783533"/>
                    <a:pt x="266484" y="778358"/>
                  </a:cubicBezTo>
                  <a:lnTo>
                    <a:pt x="268732" y="777761"/>
                  </a:lnTo>
                  <a:lnTo>
                    <a:pt x="268732" y="710578"/>
                  </a:lnTo>
                  <a:lnTo>
                    <a:pt x="71628" y="710578"/>
                  </a:lnTo>
                  <a:cubicBezTo>
                    <a:pt x="32131" y="710578"/>
                    <a:pt x="0" y="678440"/>
                    <a:pt x="0" y="638944"/>
                  </a:cubicBezTo>
                  <a:lnTo>
                    <a:pt x="0" y="579228"/>
                  </a:lnTo>
                  <a:cubicBezTo>
                    <a:pt x="89" y="556730"/>
                    <a:pt x="10960" y="535305"/>
                    <a:pt x="29077" y="521945"/>
                  </a:cubicBezTo>
                  <a:lnTo>
                    <a:pt x="32373" y="519512"/>
                  </a:lnTo>
                  <a:lnTo>
                    <a:pt x="29077" y="517087"/>
                  </a:lnTo>
                  <a:cubicBezTo>
                    <a:pt x="10954" y="503720"/>
                    <a:pt x="89" y="482295"/>
                    <a:pt x="0" y="459784"/>
                  </a:cubicBezTo>
                  <a:lnTo>
                    <a:pt x="0" y="400082"/>
                  </a:lnTo>
                  <a:cubicBezTo>
                    <a:pt x="89" y="377577"/>
                    <a:pt x="10960" y="356153"/>
                    <a:pt x="29077" y="342786"/>
                  </a:cubicBezTo>
                  <a:lnTo>
                    <a:pt x="32373" y="340360"/>
                  </a:lnTo>
                  <a:lnTo>
                    <a:pt x="29077" y="337934"/>
                  </a:lnTo>
                  <a:cubicBezTo>
                    <a:pt x="10954" y="324574"/>
                    <a:pt x="89" y="303143"/>
                    <a:pt x="0" y="280626"/>
                  </a:cubicBezTo>
                  <a:lnTo>
                    <a:pt x="0" y="219132"/>
                  </a:lnTo>
                  <a:cubicBezTo>
                    <a:pt x="-25" y="208864"/>
                    <a:pt x="2248" y="198520"/>
                    <a:pt x="6585" y="189205"/>
                  </a:cubicBezTo>
                  <a:lnTo>
                    <a:pt x="74676" y="41542"/>
                  </a:lnTo>
                  <a:cubicBezTo>
                    <a:pt x="86398" y="16351"/>
                    <a:pt x="111932" y="45"/>
                    <a:pt x="139726" y="0"/>
                  </a:cubicBezTo>
                  <a:lnTo>
                    <a:pt x="421596" y="0"/>
                  </a:lnTo>
                  <a:cubicBezTo>
                    <a:pt x="449384" y="45"/>
                    <a:pt x="474917" y="16358"/>
                    <a:pt x="486652" y="41548"/>
                  </a:cubicBezTo>
                  <a:lnTo>
                    <a:pt x="554717" y="189052"/>
                  </a:lnTo>
                  <a:cubicBezTo>
                    <a:pt x="559042" y="198419"/>
                    <a:pt x="561321" y="208826"/>
                    <a:pt x="561309" y="219132"/>
                  </a:cubicBezTo>
                  <a:lnTo>
                    <a:pt x="561309" y="264497"/>
                  </a:lnTo>
                  <a:lnTo>
                    <a:pt x="566052" y="261176"/>
                  </a:lnTo>
                  <a:cubicBezTo>
                    <a:pt x="600857" y="236817"/>
                    <a:pt x="641693" y="223952"/>
                    <a:pt x="684175" y="223952"/>
                  </a:cubicBezTo>
                  <a:cubicBezTo>
                    <a:pt x="726650" y="223952"/>
                    <a:pt x="767493" y="236817"/>
                    <a:pt x="802297" y="261176"/>
                  </a:cubicBezTo>
                  <a:cubicBezTo>
                    <a:pt x="847376" y="292729"/>
                    <a:pt x="877463" y="339941"/>
                    <a:pt x="887051" y="394132"/>
                  </a:cubicBezTo>
                  <a:cubicBezTo>
                    <a:pt x="896614" y="448316"/>
                    <a:pt x="884504" y="502990"/>
                    <a:pt x="852951" y="548069"/>
                  </a:cubicBezTo>
                  <a:cubicBezTo>
                    <a:pt x="814432" y="603111"/>
                    <a:pt x="751269" y="635972"/>
                    <a:pt x="683997" y="635972"/>
                  </a:cubicBezTo>
                  <a:cubicBezTo>
                    <a:pt x="641661" y="635972"/>
                    <a:pt x="600876" y="623094"/>
                    <a:pt x="566058" y="598729"/>
                  </a:cubicBezTo>
                  <a:lnTo>
                    <a:pt x="561315" y="595408"/>
                  </a:lnTo>
                  <a:lnTo>
                    <a:pt x="561315" y="638969"/>
                  </a:lnTo>
                  <a:cubicBezTo>
                    <a:pt x="561315" y="678472"/>
                    <a:pt x="529178" y="710603"/>
                    <a:pt x="489687" y="710603"/>
                  </a:cubicBezTo>
                  <a:lnTo>
                    <a:pt x="292577" y="710603"/>
                  </a:lnTo>
                  <a:lnTo>
                    <a:pt x="292577" y="777786"/>
                  </a:lnTo>
                  <a:lnTo>
                    <a:pt x="294831" y="778383"/>
                  </a:lnTo>
                  <a:cubicBezTo>
                    <a:pt x="314636" y="783552"/>
                    <a:pt x="330162" y="799084"/>
                    <a:pt x="335350" y="818902"/>
                  </a:cubicBezTo>
                  <a:lnTo>
                    <a:pt x="335941" y="821150"/>
                  </a:lnTo>
                  <a:lnTo>
                    <a:pt x="554914" y="821150"/>
                  </a:lnTo>
                  <a:cubicBezTo>
                    <a:pt x="561487" y="821150"/>
                    <a:pt x="566833" y="826497"/>
                    <a:pt x="566833" y="833063"/>
                  </a:cubicBezTo>
                  <a:cubicBezTo>
                    <a:pt x="566833" y="839629"/>
                    <a:pt x="561487" y="844976"/>
                    <a:pt x="554914" y="844976"/>
                  </a:cubicBezTo>
                  <a:lnTo>
                    <a:pt x="335922" y="844976"/>
                  </a:lnTo>
                  <a:lnTo>
                    <a:pt x="335344" y="847249"/>
                  </a:lnTo>
                  <a:cubicBezTo>
                    <a:pt x="330245" y="867283"/>
                    <a:pt x="314624" y="882904"/>
                    <a:pt x="294583" y="888009"/>
                  </a:cubicBezTo>
                  <a:cubicBezTo>
                    <a:pt x="289992" y="889146"/>
                    <a:pt x="285287" y="889737"/>
                    <a:pt x="280607" y="889737"/>
                  </a:cubicBezTo>
                  <a:close/>
                  <a:moveTo>
                    <a:pt x="280651" y="800164"/>
                  </a:moveTo>
                  <a:cubicBezTo>
                    <a:pt x="262528" y="800164"/>
                    <a:pt x="247777" y="814908"/>
                    <a:pt x="247777" y="833038"/>
                  </a:cubicBezTo>
                  <a:cubicBezTo>
                    <a:pt x="247777" y="851167"/>
                    <a:pt x="262528" y="865918"/>
                    <a:pt x="280651" y="865918"/>
                  </a:cubicBezTo>
                  <a:cubicBezTo>
                    <a:pt x="298774" y="865918"/>
                    <a:pt x="313525" y="851167"/>
                    <a:pt x="313525" y="833038"/>
                  </a:cubicBezTo>
                  <a:cubicBezTo>
                    <a:pt x="313525" y="814908"/>
                    <a:pt x="298780" y="800164"/>
                    <a:pt x="280651" y="800164"/>
                  </a:cubicBezTo>
                  <a:close/>
                  <a:moveTo>
                    <a:pt x="71622" y="531419"/>
                  </a:moveTo>
                  <a:cubicBezTo>
                    <a:pt x="45346" y="531501"/>
                    <a:pt x="23908" y="552945"/>
                    <a:pt x="23832" y="579209"/>
                  </a:cubicBezTo>
                  <a:lnTo>
                    <a:pt x="23832" y="638937"/>
                  </a:lnTo>
                  <a:cubicBezTo>
                    <a:pt x="23908" y="665220"/>
                    <a:pt x="45346" y="686664"/>
                    <a:pt x="71622" y="686746"/>
                  </a:cubicBezTo>
                  <a:lnTo>
                    <a:pt x="489668" y="686746"/>
                  </a:lnTo>
                  <a:cubicBezTo>
                    <a:pt x="515957" y="686657"/>
                    <a:pt x="537401" y="665213"/>
                    <a:pt x="537471" y="638950"/>
                  </a:cubicBezTo>
                  <a:lnTo>
                    <a:pt x="537471" y="579222"/>
                  </a:lnTo>
                  <a:cubicBezTo>
                    <a:pt x="537445" y="577850"/>
                    <a:pt x="537337" y="576516"/>
                    <a:pt x="537153" y="575215"/>
                  </a:cubicBezTo>
                  <a:lnTo>
                    <a:pt x="537014" y="574249"/>
                  </a:lnTo>
                  <a:lnTo>
                    <a:pt x="536334" y="573545"/>
                  </a:lnTo>
                  <a:cubicBezTo>
                    <a:pt x="525304" y="562146"/>
                    <a:pt x="515601" y="549472"/>
                    <a:pt x="507493" y="535877"/>
                  </a:cubicBezTo>
                  <a:lnTo>
                    <a:pt x="506965" y="534988"/>
                  </a:lnTo>
                  <a:lnTo>
                    <a:pt x="506007" y="534607"/>
                  </a:lnTo>
                  <a:cubicBezTo>
                    <a:pt x="500806" y="532562"/>
                    <a:pt x="495319" y="531495"/>
                    <a:pt x="489712" y="531413"/>
                  </a:cubicBezTo>
                  <a:lnTo>
                    <a:pt x="71622" y="531413"/>
                  </a:lnTo>
                  <a:close/>
                  <a:moveTo>
                    <a:pt x="683749" y="247745"/>
                  </a:moveTo>
                  <a:cubicBezTo>
                    <a:pt x="583387" y="247834"/>
                    <a:pt x="501663" y="329552"/>
                    <a:pt x="501580" y="429920"/>
                  </a:cubicBezTo>
                  <a:cubicBezTo>
                    <a:pt x="501580" y="530377"/>
                    <a:pt x="583305" y="612096"/>
                    <a:pt x="683749" y="612096"/>
                  </a:cubicBezTo>
                  <a:cubicBezTo>
                    <a:pt x="784193" y="612096"/>
                    <a:pt x="865925" y="530377"/>
                    <a:pt x="865925" y="429920"/>
                  </a:cubicBezTo>
                  <a:cubicBezTo>
                    <a:pt x="865937" y="329470"/>
                    <a:pt x="784206" y="247745"/>
                    <a:pt x="683749" y="247745"/>
                  </a:cubicBezTo>
                  <a:lnTo>
                    <a:pt x="683749" y="247745"/>
                  </a:lnTo>
                  <a:close/>
                  <a:moveTo>
                    <a:pt x="71622" y="352260"/>
                  </a:moveTo>
                  <a:cubicBezTo>
                    <a:pt x="45346" y="352342"/>
                    <a:pt x="23908" y="373787"/>
                    <a:pt x="23832" y="400056"/>
                  </a:cubicBezTo>
                  <a:lnTo>
                    <a:pt x="23832" y="459784"/>
                  </a:lnTo>
                  <a:cubicBezTo>
                    <a:pt x="23908" y="486067"/>
                    <a:pt x="45346" y="507511"/>
                    <a:pt x="71622" y="507594"/>
                  </a:cubicBezTo>
                  <a:lnTo>
                    <a:pt x="493192" y="507594"/>
                  </a:lnTo>
                  <a:lnTo>
                    <a:pt x="491579" y="503479"/>
                  </a:lnTo>
                  <a:cubicBezTo>
                    <a:pt x="487858" y="493947"/>
                    <a:pt x="484835" y="484048"/>
                    <a:pt x="482607" y="474059"/>
                  </a:cubicBezTo>
                  <a:lnTo>
                    <a:pt x="482080" y="471697"/>
                  </a:lnTo>
                  <a:lnTo>
                    <a:pt x="310503" y="471697"/>
                  </a:lnTo>
                  <a:cubicBezTo>
                    <a:pt x="303937" y="471697"/>
                    <a:pt x="298590" y="466357"/>
                    <a:pt x="298590" y="459784"/>
                  </a:cubicBezTo>
                  <a:lnTo>
                    <a:pt x="298590" y="400069"/>
                  </a:lnTo>
                  <a:cubicBezTo>
                    <a:pt x="298590" y="393497"/>
                    <a:pt x="303937" y="388157"/>
                    <a:pt x="310503" y="388157"/>
                  </a:cubicBezTo>
                  <a:lnTo>
                    <a:pt x="482080" y="388157"/>
                  </a:lnTo>
                  <a:lnTo>
                    <a:pt x="482607" y="385794"/>
                  </a:lnTo>
                  <a:cubicBezTo>
                    <a:pt x="484842" y="375806"/>
                    <a:pt x="487858" y="365900"/>
                    <a:pt x="491579" y="356369"/>
                  </a:cubicBezTo>
                  <a:lnTo>
                    <a:pt x="493192" y="352260"/>
                  </a:lnTo>
                  <a:lnTo>
                    <a:pt x="71622" y="352260"/>
                  </a:lnTo>
                  <a:close/>
                  <a:moveTo>
                    <a:pt x="322422" y="447872"/>
                  </a:moveTo>
                  <a:lnTo>
                    <a:pt x="477749" y="447872"/>
                  </a:lnTo>
                  <a:lnTo>
                    <a:pt x="477749" y="411988"/>
                  </a:lnTo>
                  <a:lnTo>
                    <a:pt x="322422" y="411988"/>
                  </a:lnTo>
                  <a:lnTo>
                    <a:pt x="322422" y="447872"/>
                  </a:lnTo>
                  <a:close/>
                  <a:moveTo>
                    <a:pt x="71622" y="173107"/>
                  </a:moveTo>
                  <a:cubicBezTo>
                    <a:pt x="45346" y="173190"/>
                    <a:pt x="23908" y="194628"/>
                    <a:pt x="23832" y="220897"/>
                  </a:cubicBezTo>
                  <a:lnTo>
                    <a:pt x="23832" y="280626"/>
                  </a:lnTo>
                  <a:cubicBezTo>
                    <a:pt x="23908" y="306921"/>
                    <a:pt x="45352" y="328365"/>
                    <a:pt x="71622" y="328435"/>
                  </a:cubicBezTo>
                  <a:lnTo>
                    <a:pt x="489668" y="328435"/>
                  </a:lnTo>
                  <a:cubicBezTo>
                    <a:pt x="495313" y="328359"/>
                    <a:pt x="500793" y="327279"/>
                    <a:pt x="506000" y="325241"/>
                  </a:cubicBezTo>
                  <a:lnTo>
                    <a:pt x="506959" y="324860"/>
                  </a:lnTo>
                  <a:lnTo>
                    <a:pt x="507486" y="323964"/>
                  </a:lnTo>
                  <a:cubicBezTo>
                    <a:pt x="515601" y="310375"/>
                    <a:pt x="525304" y="297707"/>
                    <a:pt x="536328" y="286309"/>
                  </a:cubicBezTo>
                  <a:lnTo>
                    <a:pt x="537007" y="285604"/>
                  </a:lnTo>
                  <a:lnTo>
                    <a:pt x="537147" y="284639"/>
                  </a:lnTo>
                  <a:cubicBezTo>
                    <a:pt x="537337" y="283324"/>
                    <a:pt x="537439" y="281997"/>
                    <a:pt x="537464" y="280676"/>
                  </a:cubicBezTo>
                  <a:lnTo>
                    <a:pt x="537464" y="220904"/>
                  </a:lnTo>
                  <a:cubicBezTo>
                    <a:pt x="537395" y="194621"/>
                    <a:pt x="515951" y="173177"/>
                    <a:pt x="489668" y="173101"/>
                  </a:cubicBezTo>
                  <a:lnTo>
                    <a:pt x="71622" y="173101"/>
                  </a:lnTo>
                  <a:close/>
                  <a:moveTo>
                    <a:pt x="489674" y="149276"/>
                  </a:moveTo>
                  <a:cubicBezTo>
                    <a:pt x="495008" y="149295"/>
                    <a:pt x="500336" y="149962"/>
                    <a:pt x="505505" y="151270"/>
                  </a:cubicBezTo>
                  <a:lnTo>
                    <a:pt x="511633" y="152826"/>
                  </a:lnTo>
                  <a:lnTo>
                    <a:pt x="464947" y="51537"/>
                  </a:lnTo>
                  <a:cubicBezTo>
                    <a:pt x="457149" y="34703"/>
                    <a:pt x="440138" y="23813"/>
                    <a:pt x="421602" y="23800"/>
                  </a:cubicBezTo>
                  <a:lnTo>
                    <a:pt x="139719" y="23800"/>
                  </a:lnTo>
                  <a:cubicBezTo>
                    <a:pt x="121171" y="23813"/>
                    <a:pt x="104159" y="34697"/>
                    <a:pt x="96374" y="51530"/>
                  </a:cubicBezTo>
                  <a:lnTo>
                    <a:pt x="49683" y="152826"/>
                  </a:lnTo>
                  <a:lnTo>
                    <a:pt x="55810" y="151270"/>
                  </a:lnTo>
                  <a:cubicBezTo>
                    <a:pt x="60973" y="149962"/>
                    <a:pt x="66307" y="149289"/>
                    <a:pt x="71647" y="149276"/>
                  </a:cubicBezTo>
                  <a:lnTo>
                    <a:pt x="71641" y="149276"/>
                  </a:lnTo>
                  <a:lnTo>
                    <a:pt x="489674" y="14927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0" name="Forme libre : forme 1739">
              <a:extLst>
                <a:ext uri="{FF2B5EF4-FFF2-40B4-BE49-F238E27FC236}">
                  <a16:creationId xmlns:a16="http://schemas.microsoft.com/office/drawing/2014/main" id="{FE4BD07E-3875-4FB2-9551-70979195912B}"/>
                </a:ext>
              </a:extLst>
            </p:cNvPr>
            <p:cNvSpPr/>
            <p:nvPr/>
          </p:nvSpPr>
          <p:spPr>
            <a:xfrm>
              <a:off x="5758674" y="3493116"/>
              <a:ext cx="23825" cy="173120"/>
            </a:xfrm>
            <a:custGeom>
              <a:avLst/>
              <a:gdLst>
                <a:gd name="connsiteX0" fmla="*/ 11913 w 23825"/>
                <a:gd name="connsiteY0" fmla="*/ 173120 h 173120"/>
                <a:gd name="connsiteX1" fmla="*/ 0 w 23825"/>
                <a:gd name="connsiteY1" fmla="*/ 161208 h 173120"/>
                <a:gd name="connsiteX2" fmla="*/ 0 w 23825"/>
                <a:gd name="connsiteY2" fmla="*/ 11906 h 173120"/>
                <a:gd name="connsiteX3" fmla="*/ 11913 w 23825"/>
                <a:gd name="connsiteY3" fmla="*/ 0 h 173120"/>
                <a:gd name="connsiteX4" fmla="*/ 23825 w 23825"/>
                <a:gd name="connsiteY4" fmla="*/ 11906 h 173120"/>
                <a:gd name="connsiteX5" fmla="*/ 23825 w 23825"/>
                <a:gd name="connsiteY5" fmla="*/ 161208 h 173120"/>
                <a:gd name="connsiteX6" fmla="*/ 11913 w 23825"/>
                <a:gd name="connsiteY6" fmla="*/ 173120 h 17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173120">
                  <a:moveTo>
                    <a:pt x="11913" y="173120"/>
                  </a:moveTo>
                  <a:cubicBezTo>
                    <a:pt x="5340" y="173120"/>
                    <a:pt x="0" y="167780"/>
                    <a:pt x="0" y="161208"/>
                  </a:cubicBezTo>
                  <a:lnTo>
                    <a:pt x="0" y="11906"/>
                  </a:lnTo>
                  <a:cubicBezTo>
                    <a:pt x="0" y="5340"/>
                    <a:pt x="5340" y="0"/>
                    <a:pt x="11913" y="0"/>
                  </a:cubicBezTo>
                  <a:cubicBezTo>
                    <a:pt x="18479" y="0"/>
                    <a:pt x="23825" y="5340"/>
                    <a:pt x="23825" y="11906"/>
                  </a:cubicBezTo>
                  <a:lnTo>
                    <a:pt x="23825" y="161208"/>
                  </a:lnTo>
                  <a:cubicBezTo>
                    <a:pt x="23831" y="167780"/>
                    <a:pt x="18485" y="173120"/>
                    <a:pt x="11913" y="17312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 name="Forme libre : forme 1740">
              <a:extLst>
                <a:ext uri="{FF2B5EF4-FFF2-40B4-BE49-F238E27FC236}">
                  <a16:creationId xmlns:a16="http://schemas.microsoft.com/office/drawing/2014/main" id="{322F12A3-4087-4A42-BFE4-4600226C94E4}"/>
                </a:ext>
              </a:extLst>
            </p:cNvPr>
            <p:cNvSpPr/>
            <p:nvPr/>
          </p:nvSpPr>
          <p:spPr>
            <a:xfrm>
              <a:off x="5758674" y="3702133"/>
              <a:ext cx="23825" cy="38747"/>
            </a:xfrm>
            <a:custGeom>
              <a:avLst/>
              <a:gdLst>
                <a:gd name="connsiteX0" fmla="*/ 11913 w 23825"/>
                <a:gd name="connsiteY0" fmla="*/ 38748 h 38747"/>
                <a:gd name="connsiteX1" fmla="*/ 0 w 23825"/>
                <a:gd name="connsiteY1" fmla="*/ 26841 h 38747"/>
                <a:gd name="connsiteX2" fmla="*/ 0 w 23825"/>
                <a:gd name="connsiteY2" fmla="*/ 11906 h 38747"/>
                <a:gd name="connsiteX3" fmla="*/ 11913 w 23825"/>
                <a:gd name="connsiteY3" fmla="*/ 0 h 38747"/>
                <a:gd name="connsiteX4" fmla="*/ 23825 w 23825"/>
                <a:gd name="connsiteY4" fmla="*/ 11906 h 38747"/>
                <a:gd name="connsiteX5" fmla="*/ 23825 w 23825"/>
                <a:gd name="connsiteY5" fmla="*/ 26841 h 38747"/>
                <a:gd name="connsiteX6" fmla="*/ 11913 w 23825"/>
                <a:gd name="connsiteY6" fmla="*/ 38748 h 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38747">
                  <a:moveTo>
                    <a:pt x="11913" y="38748"/>
                  </a:moveTo>
                  <a:cubicBezTo>
                    <a:pt x="5340" y="38748"/>
                    <a:pt x="0" y="33401"/>
                    <a:pt x="0" y="26841"/>
                  </a:cubicBezTo>
                  <a:lnTo>
                    <a:pt x="0" y="11906"/>
                  </a:lnTo>
                  <a:cubicBezTo>
                    <a:pt x="0" y="5340"/>
                    <a:pt x="5340" y="0"/>
                    <a:pt x="11913" y="0"/>
                  </a:cubicBezTo>
                  <a:cubicBezTo>
                    <a:pt x="18479" y="0"/>
                    <a:pt x="23825" y="5340"/>
                    <a:pt x="23825" y="11906"/>
                  </a:cubicBezTo>
                  <a:lnTo>
                    <a:pt x="23825" y="26841"/>
                  </a:lnTo>
                  <a:cubicBezTo>
                    <a:pt x="23831" y="33401"/>
                    <a:pt x="18485" y="38748"/>
                    <a:pt x="11913" y="38748"/>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751" name="Graphique 1750">
            <a:extLst>
              <a:ext uri="{FF2B5EF4-FFF2-40B4-BE49-F238E27FC236}">
                <a16:creationId xmlns:a16="http://schemas.microsoft.com/office/drawing/2014/main" id="{0A42F493-A9D0-4D19-A756-AC61D1C933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25333" y="3212008"/>
            <a:ext cx="1538562" cy="1548000"/>
          </a:xfrm>
          <a:prstGeom prst="rect">
            <a:avLst/>
          </a:prstGeom>
        </p:spPr>
      </p:pic>
      <p:grpSp>
        <p:nvGrpSpPr>
          <p:cNvPr id="1753" name="Image 6">
            <a:extLst>
              <a:ext uri="{FF2B5EF4-FFF2-40B4-BE49-F238E27FC236}">
                <a16:creationId xmlns:a16="http://schemas.microsoft.com/office/drawing/2014/main" id="{8065FFE2-8D8A-43BF-B8CE-24A2F5F00C38}"/>
              </a:ext>
            </a:extLst>
          </p:cNvPr>
          <p:cNvGrpSpPr/>
          <p:nvPr/>
        </p:nvGrpSpPr>
        <p:grpSpPr>
          <a:xfrm>
            <a:off x="10149413" y="3502174"/>
            <a:ext cx="632785" cy="730912"/>
            <a:chOff x="8814870" y="3042013"/>
            <a:chExt cx="938888" cy="1084484"/>
          </a:xfrm>
          <a:solidFill>
            <a:srgbClr val="000000"/>
          </a:solidFill>
        </p:grpSpPr>
        <p:sp>
          <p:nvSpPr>
            <p:cNvPr id="1754" name="Forme libre : forme 1753">
              <a:extLst>
                <a:ext uri="{FF2B5EF4-FFF2-40B4-BE49-F238E27FC236}">
                  <a16:creationId xmlns:a16="http://schemas.microsoft.com/office/drawing/2014/main" id="{56666520-1A81-4955-85A0-C487FFF95199}"/>
                </a:ext>
              </a:extLst>
            </p:cNvPr>
            <p:cNvSpPr/>
            <p:nvPr/>
          </p:nvSpPr>
          <p:spPr>
            <a:xfrm>
              <a:off x="8814870" y="3475286"/>
              <a:ext cx="938888" cy="651211"/>
            </a:xfrm>
            <a:custGeom>
              <a:avLst/>
              <a:gdLst>
                <a:gd name="connsiteX0" fmla="*/ 276951 w 938888"/>
                <a:gd name="connsiteY0" fmla="*/ 252235 h 651211"/>
                <a:gd name="connsiteX1" fmla="*/ 297081 w 938888"/>
                <a:gd name="connsiteY1" fmla="*/ 273405 h 651211"/>
                <a:gd name="connsiteX2" fmla="*/ 324830 w 938888"/>
                <a:gd name="connsiteY2" fmla="*/ 264027 h 651211"/>
                <a:gd name="connsiteX3" fmla="*/ 338229 w 938888"/>
                <a:gd name="connsiteY3" fmla="*/ 270650 h 651211"/>
                <a:gd name="connsiteX4" fmla="*/ 338356 w 938888"/>
                <a:gd name="connsiteY4" fmla="*/ 271145 h 651211"/>
                <a:gd name="connsiteX5" fmla="*/ 338356 w 938888"/>
                <a:gd name="connsiteY5" fmla="*/ 271145 h 651211"/>
                <a:gd name="connsiteX6" fmla="*/ 346356 w 938888"/>
                <a:gd name="connsiteY6" fmla="*/ 299288 h 651211"/>
                <a:gd name="connsiteX7" fmla="*/ 375185 w 938888"/>
                <a:gd name="connsiteY7" fmla="*/ 303841 h 651211"/>
                <a:gd name="connsiteX8" fmla="*/ 384012 w 938888"/>
                <a:gd name="connsiteY8" fmla="*/ 315894 h 651211"/>
                <a:gd name="connsiteX9" fmla="*/ 383948 w 938888"/>
                <a:gd name="connsiteY9" fmla="*/ 316427 h 651211"/>
                <a:gd name="connsiteX10" fmla="*/ 383948 w 938888"/>
                <a:gd name="connsiteY10" fmla="*/ 316427 h 651211"/>
                <a:gd name="connsiteX11" fmla="*/ 377980 w 938888"/>
                <a:gd name="connsiteY11" fmla="*/ 345072 h 651211"/>
                <a:gd name="connsiteX12" fmla="*/ 401411 w 938888"/>
                <a:gd name="connsiteY12" fmla="*/ 362515 h 651211"/>
                <a:gd name="connsiteX13" fmla="*/ 403633 w 938888"/>
                <a:gd name="connsiteY13" fmla="*/ 377304 h 651211"/>
                <a:gd name="connsiteX14" fmla="*/ 403062 w 938888"/>
                <a:gd name="connsiteY14" fmla="*/ 378009 h 651211"/>
                <a:gd name="connsiteX15" fmla="*/ 384647 w 938888"/>
                <a:gd name="connsiteY15" fmla="*/ 400304 h 651211"/>
                <a:gd name="connsiteX16" fmla="*/ 397347 w 938888"/>
                <a:gd name="connsiteY16" fmla="*/ 426682 h 651211"/>
                <a:gd name="connsiteX17" fmla="*/ 392331 w 938888"/>
                <a:gd name="connsiteY17" fmla="*/ 440760 h 651211"/>
                <a:gd name="connsiteX18" fmla="*/ 391886 w 938888"/>
                <a:gd name="connsiteY18" fmla="*/ 440963 h 651211"/>
                <a:gd name="connsiteX19" fmla="*/ 364962 w 938888"/>
                <a:gd name="connsiteY19" fmla="*/ 452317 h 651211"/>
                <a:gd name="connsiteX20" fmla="*/ 363882 w 938888"/>
                <a:gd name="connsiteY20" fmla="*/ 481552 h 651211"/>
                <a:gd name="connsiteX21" fmla="*/ 352960 w 938888"/>
                <a:gd name="connsiteY21" fmla="*/ 491737 h 651211"/>
                <a:gd name="connsiteX22" fmla="*/ 352453 w 938888"/>
                <a:gd name="connsiteY22" fmla="*/ 491699 h 651211"/>
                <a:gd name="connsiteX23" fmla="*/ 352453 w 938888"/>
                <a:gd name="connsiteY23" fmla="*/ 491737 h 651211"/>
                <a:gd name="connsiteX24" fmla="*/ 323305 w 938888"/>
                <a:gd name="connsiteY24" fmla="*/ 489255 h 651211"/>
                <a:gd name="connsiteX25" fmla="*/ 308828 w 938888"/>
                <a:gd name="connsiteY25" fmla="*/ 514629 h 651211"/>
                <a:gd name="connsiteX26" fmla="*/ 294350 w 938888"/>
                <a:gd name="connsiteY26" fmla="*/ 518560 h 651211"/>
                <a:gd name="connsiteX27" fmla="*/ 293207 w 938888"/>
                <a:gd name="connsiteY27" fmla="*/ 517804 h 651211"/>
                <a:gd name="connsiteX28" fmla="*/ 269268 w 938888"/>
                <a:gd name="connsiteY28" fmla="*/ 502526 h 651211"/>
                <a:gd name="connsiteX29" fmla="*/ 244630 w 938888"/>
                <a:gd name="connsiteY29" fmla="*/ 518274 h 651211"/>
                <a:gd name="connsiteX30" fmla="*/ 230024 w 938888"/>
                <a:gd name="connsiteY30" fmla="*/ 515042 h 651211"/>
                <a:gd name="connsiteX31" fmla="*/ 229770 w 938888"/>
                <a:gd name="connsiteY31" fmla="*/ 514617 h 651211"/>
                <a:gd name="connsiteX32" fmla="*/ 229707 w 938888"/>
                <a:gd name="connsiteY32" fmla="*/ 514629 h 651211"/>
                <a:gd name="connsiteX33" fmla="*/ 215229 w 938888"/>
                <a:gd name="connsiteY33" fmla="*/ 489255 h 651211"/>
                <a:gd name="connsiteX34" fmla="*/ 186082 w 938888"/>
                <a:gd name="connsiteY34" fmla="*/ 491737 h 651211"/>
                <a:gd name="connsiteX35" fmla="*/ 174653 w 938888"/>
                <a:gd name="connsiteY35" fmla="*/ 482054 h 651211"/>
                <a:gd name="connsiteX36" fmla="*/ 174653 w 938888"/>
                <a:gd name="connsiteY36" fmla="*/ 480771 h 651211"/>
                <a:gd name="connsiteX37" fmla="*/ 173573 w 938888"/>
                <a:gd name="connsiteY37" fmla="*/ 452329 h 651211"/>
                <a:gd name="connsiteX38" fmla="*/ 146649 w 938888"/>
                <a:gd name="connsiteY38" fmla="*/ 440982 h 651211"/>
                <a:gd name="connsiteX39" fmla="*/ 140997 w 938888"/>
                <a:gd name="connsiteY39" fmla="*/ 427152 h 651211"/>
                <a:gd name="connsiteX40" fmla="*/ 153888 w 938888"/>
                <a:gd name="connsiteY40" fmla="*/ 400310 h 651211"/>
                <a:gd name="connsiteX41" fmla="*/ 135282 w 938888"/>
                <a:gd name="connsiteY41" fmla="*/ 377723 h 651211"/>
                <a:gd name="connsiteX42" fmla="*/ 136743 w 938888"/>
                <a:gd name="connsiteY42" fmla="*/ 362858 h 651211"/>
                <a:gd name="connsiteX43" fmla="*/ 137124 w 938888"/>
                <a:gd name="connsiteY43" fmla="*/ 362528 h 651211"/>
                <a:gd name="connsiteX44" fmla="*/ 160556 w 938888"/>
                <a:gd name="connsiteY44" fmla="*/ 345072 h 651211"/>
                <a:gd name="connsiteX45" fmla="*/ 154586 w 938888"/>
                <a:gd name="connsiteY45" fmla="*/ 316427 h 651211"/>
                <a:gd name="connsiteX46" fmla="*/ 162778 w 938888"/>
                <a:gd name="connsiteY46" fmla="*/ 303924 h 651211"/>
                <a:gd name="connsiteX47" fmla="*/ 163857 w 938888"/>
                <a:gd name="connsiteY47" fmla="*/ 303765 h 651211"/>
                <a:gd name="connsiteX48" fmla="*/ 192179 w 938888"/>
                <a:gd name="connsiteY48" fmla="*/ 299288 h 651211"/>
                <a:gd name="connsiteX49" fmla="*/ 200180 w 938888"/>
                <a:gd name="connsiteY49" fmla="*/ 271145 h 651211"/>
                <a:gd name="connsiteX50" fmla="*/ 213260 w 938888"/>
                <a:gd name="connsiteY50" fmla="*/ 263861 h 651211"/>
                <a:gd name="connsiteX51" fmla="*/ 214213 w 938888"/>
                <a:gd name="connsiteY51" fmla="*/ 264179 h 651211"/>
                <a:gd name="connsiteX52" fmla="*/ 241455 w 938888"/>
                <a:gd name="connsiteY52" fmla="*/ 273405 h 651211"/>
                <a:gd name="connsiteX53" fmla="*/ 261584 w 938888"/>
                <a:gd name="connsiteY53" fmla="*/ 252235 h 651211"/>
                <a:gd name="connsiteX54" fmla="*/ 276570 w 938888"/>
                <a:gd name="connsiteY54" fmla="*/ 251866 h 651211"/>
                <a:gd name="connsiteX55" fmla="*/ 276951 w 938888"/>
                <a:gd name="connsiteY55" fmla="*/ 252235 h 651211"/>
                <a:gd name="connsiteX56" fmla="*/ 276951 w 938888"/>
                <a:gd name="connsiteY56" fmla="*/ 252235 h 651211"/>
                <a:gd name="connsiteX57" fmla="*/ 286412 w 938888"/>
                <a:gd name="connsiteY57" fmla="*/ 292881 h 651211"/>
                <a:gd name="connsiteX58" fmla="*/ 269268 w 938888"/>
                <a:gd name="connsiteY58" fmla="*/ 274853 h 651211"/>
                <a:gd name="connsiteX59" fmla="*/ 252440 w 938888"/>
                <a:gd name="connsiteY59" fmla="*/ 292570 h 651211"/>
                <a:gd name="connsiteX60" fmla="*/ 241073 w 938888"/>
                <a:gd name="connsiteY60" fmla="*/ 295611 h 651211"/>
                <a:gd name="connsiteX61" fmla="*/ 217515 w 938888"/>
                <a:gd name="connsiteY61" fmla="*/ 287623 h 651211"/>
                <a:gd name="connsiteX62" fmla="*/ 210657 w 938888"/>
                <a:gd name="connsiteY62" fmla="*/ 311563 h 651211"/>
                <a:gd name="connsiteX63" fmla="*/ 210657 w 938888"/>
                <a:gd name="connsiteY63" fmla="*/ 311563 h 651211"/>
                <a:gd name="connsiteX64" fmla="*/ 202084 w 938888"/>
                <a:gd name="connsiteY64" fmla="*/ 319107 h 651211"/>
                <a:gd name="connsiteX65" fmla="*/ 177573 w 938888"/>
                <a:gd name="connsiteY65" fmla="*/ 322974 h 651211"/>
                <a:gd name="connsiteX66" fmla="*/ 182654 w 938888"/>
                <a:gd name="connsiteY66" fmla="*/ 347370 h 651211"/>
                <a:gd name="connsiteX67" fmla="*/ 178590 w 938888"/>
                <a:gd name="connsiteY67" fmla="*/ 358006 h 651211"/>
                <a:gd name="connsiteX68" fmla="*/ 158650 w 938888"/>
                <a:gd name="connsiteY68" fmla="*/ 372872 h 651211"/>
                <a:gd name="connsiteX69" fmla="*/ 174462 w 938888"/>
                <a:gd name="connsiteY69" fmla="*/ 392100 h 651211"/>
                <a:gd name="connsiteX70" fmla="*/ 175859 w 938888"/>
                <a:gd name="connsiteY70" fmla="*/ 403352 h 651211"/>
                <a:gd name="connsiteX71" fmla="*/ 165064 w 938888"/>
                <a:gd name="connsiteY71" fmla="*/ 425825 h 651211"/>
                <a:gd name="connsiteX72" fmla="*/ 187606 w 938888"/>
                <a:gd name="connsiteY72" fmla="*/ 435318 h 651211"/>
                <a:gd name="connsiteX73" fmla="*/ 194465 w 938888"/>
                <a:gd name="connsiteY73" fmla="*/ 444836 h 651211"/>
                <a:gd name="connsiteX74" fmla="*/ 195354 w 938888"/>
                <a:gd name="connsiteY74" fmla="*/ 469690 h 651211"/>
                <a:gd name="connsiteX75" fmla="*/ 220245 w 938888"/>
                <a:gd name="connsiteY75" fmla="*/ 467576 h 651211"/>
                <a:gd name="connsiteX76" fmla="*/ 230279 w 938888"/>
                <a:gd name="connsiteY76" fmla="*/ 472878 h 651211"/>
                <a:gd name="connsiteX77" fmla="*/ 242597 w 938888"/>
                <a:gd name="connsiteY77" fmla="*/ 494506 h 651211"/>
                <a:gd name="connsiteX78" fmla="*/ 263425 w 938888"/>
                <a:gd name="connsiteY78" fmla="*/ 481222 h 651211"/>
                <a:gd name="connsiteX79" fmla="*/ 274919 w 938888"/>
                <a:gd name="connsiteY79" fmla="*/ 481108 h 651211"/>
                <a:gd name="connsiteX80" fmla="*/ 295937 w 938888"/>
                <a:gd name="connsiteY80" fmla="*/ 494500 h 651211"/>
                <a:gd name="connsiteX81" fmla="*/ 308066 w 938888"/>
                <a:gd name="connsiteY81" fmla="*/ 473221 h 651211"/>
                <a:gd name="connsiteX82" fmla="*/ 318353 w 938888"/>
                <a:gd name="connsiteY82" fmla="*/ 467563 h 651211"/>
                <a:gd name="connsiteX83" fmla="*/ 343181 w 938888"/>
                <a:gd name="connsiteY83" fmla="*/ 469678 h 651211"/>
                <a:gd name="connsiteX84" fmla="*/ 344070 w 938888"/>
                <a:gd name="connsiteY84" fmla="*/ 444824 h 651211"/>
                <a:gd name="connsiteX85" fmla="*/ 350547 w 938888"/>
                <a:gd name="connsiteY85" fmla="*/ 435470 h 651211"/>
                <a:gd name="connsiteX86" fmla="*/ 373471 w 938888"/>
                <a:gd name="connsiteY86" fmla="*/ 425812 h 651211"/>
                <a:gd name="connsiteX87" fmla="*/ 362930 w 938888"/>
                <a:gd name="connsiteY87" fmla="*/ 403695 h 651211"/>
                <a:gd name="connsiteX88" fmla="*/ 364073 w 938888"/>
                <a:gd name="connsiteY88" fmla="*/ 392081 h 651211"/>
                <a:gd name="connsiteX89" fmla="*/ 379948 w 938888"/>
                <a:gd name="connsiteY89" fmla="*/ 372859 h 651211"/>
                <a:gd name="connsiteX90" fmla="*/ 360263 w 938888"/>
                <a:gd name="connsiteY90" fmla="*/ 358229 h 651211"/>
                <a:gd name="connsiteX91" fmla="*/ 355881 w 938888"/>
                <a:gd name="connsiteY91" fmla="*/ 347357 h 651211"/>
                <a:gd name="connsiteX92" fmla="*/ 361025 w 938888"/>
                <a:gd name="connsiteY92" fmla="*/ 322961 h 651211"/>
                <a:gd name="connsiteX93" fmla="*/ 337276 w 938888"/>
                <a:gd name="connsiteY93" fmla="*/ 319215 h 651211"/>
                <a:gd name="connsiteX94" fmla="*/ 327878 w 938888"/>
                <a:gd name="connsiteY94" fmla="*/ 311550 h 651211"/>
                <a:gd name="connsiteX95" fmla="*/ 321020 w 938888"/>
                <a:gd name="connsiteY95" fmla="*/ 287610 h 651211"/>
                <a:gd name="connsiteX96" fmla="*/ 297525 w 938888"/>
                <a:gd name="connsiteY96" fmla="*/ 295599 h 651211"/>
                <a:gd name="connsiteX97" fmla="*/ 286412 w 938888"/>
                <a:gd name="connsiteY97" fmla="*/ 292881 h 651211"/>
                <a:gd name="connsiteX98" fmla="*/ 286412 w 938888"/>
                <a:gd name="connsiteY98" fmla="*/ 292881 h 651211"/>
                <a:gd name="connsiteX99" fmla="*/ 298223 w 938888"/>
                <a:gd name="connsiteY99" fmla="*/ 323736 h 651211"/>
                <a:gd name="connsiteX100" fmla="*/ 305462 w 938888"/>
                <a:gd name="connsiteY100" fmla="*/ 321812 h 651211"/>
                <a:gd name="connsiteX101" fmla="*/ 307368 w 938888"/>
                <a:gd name="connsiteY101" fmla="*/ 329038 h 651211"/>
                <a:gd name="connsiteX102" fmla="*/ 240311 w 938888"/>
                <a:gd name="connsiteY102" fmla="*/ 445167 h 651211"/>
                <a:gd name="connsiteX103" fmla="*/ 233072 w 938888"/>
                <a:gd name="connsiteY103" fmla="*/ 447091 h 651211"/>
                <a:gd name="connsiteX104" fmla="*/ 231168 w 938888"/>
                <a:gd name="connsiteY104" fmla="*/ 439871 h 651211"/>
                <a:gd name="connsiteX105" fmla="*/ 298223 w 938888"/>
                <a:gd name="connsiteY105" fmla="*/ 323736 h 651211"/>
                <a:gd name="connsiteX106" fmla="*/ 299493 w 938888"/>
                <a:gd name="connsiteY106" fmla="*/ 386759 h 651211"/>
                <a:gd name="connsiteX107" fmla="*/ 318734 w 938888"/>
                <a:gd name="connsiteY107" fmla="*/ 394748 h 651211"/>
                <a:gd name="connsiteX108" fmla="*/ 319179 w 938888"/>
                <a:gd name="connsiteY108" fmla="*/ 395199 h 651211"/>
                <a:gd name="connsiteX109" fmla="*/ 326735 w 938888"/>
                <a:gd name="connsiteY109" fmla="*/ 414014 h 651211"/>
                <a:gd name="connsiteX110" fmla="*/ 318734 w 938888"/>
                <a:gd name="connsiteY110" fmla="*/ 433260 h 651211"/>
                <a:gd name="connsiteX111" fmla="*/ 318734 w 938888"/>
                <a:gd name="connsiteY111" fmla="*/ 433279 h 651211"/>
                <a:gd name="connsiteX112" fmla="*/ 299493 w 938888"/>
                <a:gd name="connsiteY112" fmla="*/ 441261 h 651211"/>
                <a:gd name="connsiteX113" fmla="*/ 280190 w 938888"/>
                <a:gd name="connsiteY113" fmla="*/ 433279 h 651211"/>
                <a:gd name="connsiteX114" fmla="*/ 279808 w 938888"/>
                <a:gd name="connsiteY114" fmla="*/ 432829 h 651211"/>
                <a:gd name="connsiteX115" fmla="*/ 272252 w 938888"/>
                <a:gd name="connsiteY115" fmla="*/ 414014 h 651211"/>
                <a:gd name="connsiteX116" fmla="*/ 280253 w 938888"/>
                <a:gd name="connsiteY116" fmla="*/ 394760 h 651211"/>
                <a:gd name="connsiteX117" fmla="*/ 280190 w 938888"/>
                <a:gd name="connsiteY117" fmla="*/ 394748 h 651211"/>
                <a:gd name="connsiteX118" fmla="*/ 299493 w 938888"/>
                <a:gd name="connsiteY118" fmla="*/ 386759 h 651211"/>
                <a:gd name="connsiteX119" fmla="*/ 308765 w 938888"/>
                <a:gd name="connsiteY119" fmla="*/ 404736 h 651211"/>
                <a:gd name="connsiteX120" fmla="*/ 299493 w 938888"/>
                <a:gd name="connsiteY120" fmla="*/ 400888 h 651211"/>
                <a:gd name="connsiteX121" fmla="*/ 290222 w 938888"/>
                <a:gd name="connsiteY121" fmla="*/ 404736 h 651211"/>
                <a:gd name="connsiteX122" fmla="*/ 290159 w 938888"/>
                <a:gd name="connsiteY122" fmla="*/ 404711 h 651211"/>
                <a:gd name="connsiteX123" fmla="*/ 290159 w 938888"/>
                <a:gd name="connsiteY123" fmla="*/ 404736 h 651211"/>
                <a:gd name="connsiteX124" fmla="*/ 286349 w 938888"/>
                <a:gd name="connsiteY124" fmla="*/ 414014 h 651211"/>
                <a:gd name="connsiteX125" fmla="*/ 289905 w 938888"/>
                <a:gd name="connsiteY125" fmla="*/ 423005 h 651211"/>
                <a:gd name="connsiteX126" fmla="*/ 290222 w 938888"/>
                <a:gd name="connsiteY126" fmla="*/ 423285 h 651211"/>
                <a:gd name="connsiteX127" fmla="*/ 299493 w 938888"/>
                <a:gd name="connsiteY127" fmla="*/ 427120 h 651211"/>
                <a:gd name="connsiteX128" fmla="*/ 308765 w 938888"/>
                <a:gd name="connsiteY128" fmla="*/ 423285 h 651211"/>
                <a:gd name="connsiteX129" fmla="*/ 308765 w 938888"/>
                <a:gd name="connsiteY129" fmla="*/ 423304 h 651211"/>
                <a:gd name="connsiteX130" fmla="*/ 308765 w 938888"/>
                <a:gd name="connsiteY130" fmla="*/ 423285 h 651211"/>
                <a:gd name="connsiteX131" fmla="*/ 312574 w 938888"/>
                <a:gd name="connsiteY131" fmla="*/ 414014 h 651211"/>
                <a:gd name="connsiteX132" fmla="*/ 309082 w 938888"/>
                <a:gd name="connsiteY132" fmla="*/ 405022 h 651211"/>
                <a:gd name="connsiteX133" fmla="*/ 308765 w 938888"/>
                <a:gd name="connsiteY133" fmla="*/ 404736 h 651211"/>
                <a:gd name="connsiteX134" fmla="*/ 308765 w 938888"/>
                <a:gd name="connsiteY134" fmla="*/ 404736 h 651211"/>
                <a:gd name="connsiteX135" fmla="*/ 239042 w 938888"/>
                <a:gd name="connsiteY135" fmla="*/ 327641 h 651211"/>
                <a:gd name="connsiteX136" fmla="*/ 258282 w 938888"/>
                <a:gd name="connsiteY136" fmla="*/ 335623 h 651211"/>
                <a:gd name="connsiteX137" fmla="*/ 258345 w 938888"/>
                <a:gd name="connsiteY137" fmla="*/ 335668 h 651211"/>
                <a:gd name="connsiteX138" fmla="*/ 266346 w 938888"/>
                <a:gd name="connsiteY138" fmla="*/ 354889 h 651211"/>
                <a:gd name="connsiteX139" fmla="*/ 258345 w 938888"/>
                <a:gd name="connsiteY139" fmla="*/ 374129 h 651211"/>
                <a:gd name="connsiteX140" fmla="*/ 258282 w 938888"/>
                <a:gd name="connsiteY140" fmla="*/ 374174 h 651211"/>
                <a:gd name="connsiteX141" fmla="*/ 239042 w 938888"/>
                <a:gd name="connsiteY141" fmla="*/ 382137 h 651211"/>
                <a:gd name="connsiteX142" fmla="*/ 219801 w 938888"/>
                <a:gd name="connsiteY142" fmla="*/ 374155 h 651211"/>
                <a:gd name="connsiteX143" fmla="*/ 219420 w 938888"/>
                <a:gd name="connsiteY143" fmla="*/ 373710 h 651211"/>
                <a:gd name="connsiteX144" fmla="*/ 211863 w 938888"/>
                <a:gd name="connsiteY144" fmla="*/ 354889 h 651211"/>
                <a:gd name="connsiteX145" fmla="*/ 219801 w 938888"/>
                <a:gd name="connsiteY145" fmla="*/ 335648 h 651211"/>
                <a:gd name="connsiteX146" fmla="*/ 219865 w 938888"/>
                <a:gd name="connsiteY146" fmla="*/ 335610 h 651211"/>
                <a:gd name="connsiteX147" fmla="*/ 239042 w 938888"/>
                <a:gd name="connsiteY147" fmla="*/ 327641 h 651211"/>
                <a:gd name="connsiteX148" fmla="*/ 239042 w 938888"/>
                <a:gd name="connsiteY148" fmla="*/ 327641 h 651211"/>
                <a:gd name="connsiteX149" fmla="*/ 248376 w 938888"/>
                <a:gd name="connsiteY149" fmla="*/ 345586 h 651211"/>
                <a:gd name="connsiteX150" fmla="*/ 239042 w 938888"/>
                <a:gd name="connsiteY150" fmla="*/ 341770 h 651211"/>
                <a:gd name="connsiteX151" fmla="*/ 229770 w 938888"/>
                <a:gd name="connsiteY151" fmla="*/ 345586 h 651211"/>
                <a:gd name="connsiteX152" fmla="*/ 229770 w 938888"/>
                <a:gd name="connsiteY152" fmla="*/ 345611 h 651211"/>
                <a:gd name="connsiteX153" fmla="*/ 225960 w 938888"/>
                <a:gd name="connsiteY153" fmla="*/ 354889 h 651211"/>
                <a:gd name="connsiteX154" fmla="*/ 229517 w 938888"/>
                <a:gd name="connsiteY154" fmla="*/ 363881 h 651211"/>
                <a:gd name="connsiteX155" fmla="*/ 229770 w 938888"/>
                <a:gd name="connsiteY155" fmla="*/ 364166 h 651211"/>
                <a:gd name="connsiteX156" fmla="*/ 239042 w 938888"/>
                <a:gd name="connsiteY156" fmla="*/ 368008 h 651211"/>
                <a:gd name="connsiteX157" fmla="*/ 248376 w 938888"/>
                <a:gd name="connsiteY157" fmla="*/ 364185 h 651211"/>
                <a:gd name="connsiteX158" fmla="*/ 248376 w 938888"/>
                <a:gd name="connsiteY158" fmla="*/ 364160 h 651211"/>
                <a:gd name="connsiteX159" fmla="*/ 252186 w 938888"/>
                <a:gd name="connsiteY159" fmla="*/ 354882 h 651211"/>
                <a:gd name="connsiteX160" fmla="*/ 248376 w 938888"/>
                <a:gd name="connsiteY160" fmla="*/ 345605 h 651211"/>
                <a:gd name="connsiteX161" fmla="*/ 248376 w 938888"/>
                <a:gd name="connsiteY161" fmla="*/ 345586 h 651211"/>
                <a:gd name="connsiteX162" fmla="*/ 248376 w 938888"/>
                <a:gd name="connsiteY162" fmla="*/ 345586 h 651211"/>
                <a:gd name="connsiteX163" fmla="*/ 691923 w 938888"/>
                <a:gd name="connsiteY163" fmla="*/ 530308 h 651211"/>
                <a:gd name="connsiteX164" fmla="*/ 685573 w 938888"/>
                <a:gd name="connsiteY164" fmla="*/ 526358 h 651211"/>
                <a:gd name="connsiteX165" fmla="*/ 689510 w 938888"/>
                <a:gd name="connsiteY165" fmla="*/ 520002 h 651211"/>
                <a:gd name="connsiteX166" fmla="*/ 765710 w 938888"/>
                <a:gd name="connsiteY166" fmla="*/ 502069 h 651211"/>
                <a:gd name="connsiteX167" fmla="*/ 772060 w 938888"/>
                <a:gd name="connsiteY167" fmla="*/ 506025 h 651211"/>
                <a:gd name="connsiteX168" fmla="*/ 768123 w 938888"/>
                <a:gd name="connsiteY168" fmla="*/ 512388 h 651211"/>
                <a:gd name="connsiteX169" fmla="*/ 691923 w 938888"/>
                <a:gd name="connsiteY169" fmla="*/ 530308 h 651211"/>
                <a:gd name="connsiteX170" fmla="*/ 691860 w 938888"/>
                <a:gd name="connsiteY170" fmla="*/ 480339 h 651211"/>
                <a:gd name="connsiteX171" fmla="*/ 685573 w 938888"/>
                <a:gd name="connsiteY171" fmla="*/ 476269 h 651211"/>
                <a:gd name="connsiteX172" fmla="*/ 689637 w 938888"/>
                <a:gd name="connsiteY172" fmla="*/ 469995 h 651211"/>
                <a:gd name="connsiteX173" fmla="*/ 795492 w 938888"/>
                <a:gd name="connsiteY173" fmla="*/ 447249 h 651211"/>
                <a:gd name="connsiteX174" fmla="*/ 801779 w 938888"/>
                <a:gd name="connsiteY174" fmla="*/ 451326 h 651211"/>
                <a:gd name="connsiteX175" fmla="*/ 797715 w 938888"/>
                <a:gd name="connsiteY175" fmla="*/ 457600 h 651211"/>
                <a:gd name="connsiteX176" fmla="*/ 691860 w 938888"/>
                <a:gd name="connsiteY176" fmla="*/ 480339 h 651211"/>
                <a:gd name="connsiteX177" fmla="*/ 93245 w 938888"/>
                <a:gd name="connsiteY177" fmla="*/ 21196 h 651211"/>
                <a:gd name="connsiteX178" fmla="*/ 26824 w 938888"/>
                <a:gd name="connsiteY178" fmla="*/ 139649 h 651211"/>
                <a:gd name="connsiteX179" fmla="*/ 88610 w 938888"/>
                <a:gd name="connsiteY179" fmla="*/ 152794 h 651211"/>
                <a:gd name="connsiteX180" fmla="*/ 89880 w 938888"/>
                <a:gd name="connsiteY180" fmla="*/ 153079 h 651211"/>
                <a:gd name="connsiteX181" fmla="*/ 370359 w 938888"/>
                <a:gd name="connsiteY181" fmla="*/ 212795 h 651211"/>
                <a:gd name="connsiteX182" fmla="*/ 453354 w 938888"/>
                <a:gd name="connsiteY182" fmla="*/ 21190 h 651211"/>
                <a:gd name="connsiteX183" fmla="*/ 93245 w 938888"/>
                <a:gd name="connsiteY183" fmla="*/ 21190 h 651211"/>
                <a:gd name="connsiteX184" fmla="*/ 93245 w 938888"/>
                <a:gd name="connsiteY184" fmla="*/ 21196 h 651211"/>
                <a:gd name="connsiteX185" fmla="*/ 1361 w 938888"/>
                <a:gd name="connsiteY185" fmla="*/ 141827 h 651211"/>
                <a:gd name="connsiteX186" fmla="*/ 77497 w 938888"/>
                <a:gd name="connsiteY186" fmla="*/ 5937 h 651211"/>
                <a:gd name="connsiteX187" fmla="*/ 87022 w 938888"/>
                <a:gd name="connsiteY187" fmla="*/ 0 h 651211"/>
                <a:gd name="connsiteX188" fmla="*/ 469419 w 938888"/>
                <a:gd name="connsiteY188" fmla="*/ 0 h 651211"/>
                <a:gd name="connsiteX189" fmla="*/ 851817 w 938888"/>
                <a:gd name="connsiteY189" fmla="*/ 0 h 651211"/>
                <a:gd name="connsiteX190" fmla="*/ 861342 w 938888"/>
                <a:gd name="connsiteY190" fmla="*/ 5937 h 651211"/>
                <a:gd name="connsiteX191" fmla="*/ 937542 w 938888"/>
                <a:gd name="connsiteY191" fmla="*/ 141827 h 651211"/>
                <a:gd name="connsiteX192" fmla="*/ 933478 w 938888"/>
                <a:gd name="connsiteY192" fmla="*/ 156223 h 651211"/>
                <a:gd name="connsiteX193" fmla="*/ 930175 w 938888"/>
                <a:gd name="connsiteY193" fmla="*/ 157416 h 651211"/>
                <a:gd name="connsiteX194" fmla="*/ 862421 w 938888"/>
                <a:gd name="connsiteY194" fmla="*/ 171844 h 651211"/>
                <a:gd name="connsiteX195" fmla="*/ 862421 w 938888"/>
                <a:gd name="connsiteY195" fmla="*/ 542182 h 651211"/>
                <a:gd name="connsiteX196" fmla="*/ 862421 w 938888"/>
                <a:gd name="connsiteY196" fmla="*/ 542182 h 651211"/>
                <a:gd name="connsiteX197" fmla="*/ 854420 w 938888"/>
                <a:gd name="connsiteY197" fmla="*/ 552405 h 651211"/>
                <a:gd name="connsiteX198" fmla="*/ 473039 w 938888"/>
                <a:gd name="connsiteY198" fmla="*/ 650583 h 651211"/>
                <a:gd name="connsiteX199" fmla="*/ 469419 w 938888"/>
                <a:gd name="connsiteY199" fmla="*/ 651211 h 651211"/>
                <a:gd name="connsiteX200" fmla="*/ 465863 w 938888"/>
                <a:gd name="connsiteY200" fmla="*/ 650583 h 651211"/>
                <a:gd name="connsiteX201" fmla="*/ 84419 w 938888"/>
                <a:gd name="connsiteY201" fmla="*/ 552405 h 651211"/>
                <a:gd name="connsiteX202" fmla="*/ 76481 w 938888"/>
                <a:gd name="connsiteY202" fmla="*/ 542182 h 651211"/>
                <a:gd name="connsiteX203" fmla="*/ 76418 w 938888"/>
                <a:gd name="connsiteY203" fmla="*/ 542182 h 651211"/>
                <a:gd name="connsiteX204" fmla="*/ 76418 w 938888"/>
                <a:gd name="connsiteY204" fmla="*/ 171844 h 651211"/>
                <a:gd name="connsiteX205" fmla="*/ 8727 w 938888"/>
                <a:gd name="connsiteY205" fmla="*/ 157416 h 651211"/>
                <a:gd name="connsiteX206" fmla="*/ 5425 w 938888"/>
                <a:gd name="connsiteY206" fmla="*/ 156223 h 651211"/>
                <a:gd name="connsiteX207" fmla="*/ 1361 w 938888"/>
                <a:gd name="connsiteY207" fmla="*/ 141827 h 651211"/>
                <a:gd name="connsiteX208" fmla="*/ 1361 w 938888"/>
                <a:gd name="connsiteY208" fmla="*/ 141827 h 651211"/>
                <a:gd name="connsiteX209" fmla="*/ 458879 w 938888"/>
                <a:gd name="connsiteY209" fmla="*/ 61601 h 651211"/>
                <a:gd name="connsiteX210" fmla="*/ 386552 w 938888"/>
                <a:gd name="connsiteY210" fmla="*/ 228416 h 651211"/>
                <a:gd name="connsiteX211" fmla="*/ 374360 w 938888"/>
                <a:gd name="connsiteY211" fmla="*/ 235286 h 651211"/>
                <a:gd name="connsiteX212" fmla="*/ 97627 w 938888"/>
                <a:gd name="connsiteY212" fmla="*/ 176365 h 651211"/>
                <a:gd name="connsiteX213" fmla="*/ 97627 w 938888"/>
                <a:gd name="connsiteY213" fmla="*/ 534016 h 651211"/>
                <a:gd name="connsiteX214" fmla="*/ 458879 w 938888"/>
                <a:gd name="connsiteY214" fmla="*/ 626999 h 651211"/>
                <a:gd name="connsiteX215" fmla="*/ 458879 w 938888"/>
                <a:gd name="connsiteY215" fmla="*/ 61601 h 651211"/>
                <a:gd name="connsiteX216" fmla="*/ 841275 w 938888"/>
                <a:gd name="connsiteY216" fmla="*/ 176359 h 651211"/>
                <a:gd name="connsiteX217" fmla="*/ 564479 w 938888"/>
                <a:gd name="connsiteY217" fmla="*/ 235280 h 651211"/>
                <a:gd name="connsiteX218" fmla="*/ 552350 w 938888"/>
                <a:gd name="connsiteY218" fmla="*/ 228409 h 651211"/>
                <a:gd name="connsiteX219" fmla="*/ 480024 w 938888"/>
                <a:gd name="connsiteY219" fmla="*/ 61595 h 651211"/>
                <a:gd name="connsiteX220" fmla="*/ 480024 w 938888"/>
                <a:gd name="connsiteY220" fmla="*/ 626980 h 651211"/>
                <a:gd name="connsiteX221" fmla="*/ 841275 w 938888"/>
                <a:gd name="connsiteY221" fmla="*/ 534003 h 651211"/>
                <a:gd name="connsiteX222" fmla="*/ 841275 w 938888"/>
                <a:gd name="connsiteY222" fmla="*/ 176359 h 651211"/>
                <a:gd name="connsiteX223" fmla="*/ 912078 w 938888"/>
                <a:gd name="connsiteY223" fmla="*/ 139649 h 651211"/>
                <a:gd name="connsiteX224" fmla="*/ 845657 w 938888"/>
                <a:gd name="connsiteY224" fmla="*/ 21196 h 651211"/>
                <a:gd name="connsiteX225" fmla="*/ 485548 w 938888"/>
                <a:gd name="connsiteY225" fmla="*/ 21196 h 651211"/>
                <a:gd name="connsiteX226" fmla="*/ 568543 w 938888"/>
                <a:gd name="connsiteY226" fmla="*/ 212801 h 651211"/>
                <a:gd name="connsiteX227" fmla="*/ 848959 w 938888"/>
                <a:gd name="connsiteY227" fmla="*/ 153086 h 651211"/>
                <a:gd name="connsiteX228" fmla="*/ 850293 w 938888"/>
                <a:gd name="connsiteY228" fmla="*/ 152800 h 651211"/>
                <a:gd name="connsiteX229" fmla="*/ 912078 w 938888"/>
                <a:gd name="connsiteY229" fmla="*/ 139649 h 651211"/>
                <a:gd name="connsiteX230" fmla="*/ 912078 w 938888"/>
                <a:gd name="connsiteY230" fmla="*/ 139649 h 65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938888" h="651211">
                  <a:moveTo>
                    <a:pt x="276951" y="252235"/>
                  </a:moveTo>
                  <a:lnTo>
                    <a:pt x="297081" y="273405"/>
                  </a:lnTo>
                  <a:lnTo>
                    <a:pt x="324830" y="264027"/>
                  </a:lnTo>
                  <a:cubicBezTo>
                    <a:pt x="330355" y="262153"/>
                    <a:pt x="336323" y="265119"/>
                    <a:pt x="338229" y="270650"/>
                  </a:cubicBezTo>
                  <a:lnTo>
                    <a:pt x="338356" y="271145"/>
                  </a:lnTo>
                  <a:lnTo>
                    <a:pt x="338356" y="271145"/>
                  </a:lnTo>
                  <a:lnTo>
                    <a:pt x="346356" y="299288"/>
                  </a:lnTo>
                  <a:lnTo>
                    <a:pt x="375185" y="303841"/>
                  </a:lnTo>
                  <a:cubicBezTo>
                    <a:pt x="380964" y="304743"/>
                    <a:pt x="384901" y="310128"/>
                    <a:pt x="384012" y="315894"/>
                  </a:cubicBezTo>
                  <a:lnTo>
                    <a:pt x="383948" y="316427"/>
                  </a:lnTo>
                  <a:lnTo>
                    <a:pt x="383948" y="316427"/>
                  </a:lnTo>
                  <a:lnTo>
                    <a:pt x="377980" y="345072"/>
                  </a:lnTo>
                  <a:lnTo>
                    <a:pt x="401411" y="362515"/>
                  </a:lnTo>
                  <a:cubicBezTo>
                    <a:pt x="406110" y="366001"/>
                    <a:pt x="407062" y="372618"/>
                    <a:pt x="403633" y="377304"/>
                  </a:cubicBezTo>
                  <a:cubicBezTo>
                    <a:pt x="403443" y="377539"/>
                    <a:pt x="403253" y="377780"/>
                    <a:pt x="403062" y="378009"/>
                  </a:cubicBezTo>
                  <a:lnTo>
                    <a:pt x="384647" y="400304"/>
                  </a:lnTo>
                  <a:lnTo>
                    <a:pt x="397347" y="426682"/>
                  </a:lnTo>
                  <a:cubicBezTo>
                    <a:pt x="399823" y="431952"/>
                    <a:pt x="397601" y="438245"/>
                    <a:pt x="392331" y="440760"/>
                  </a:cubicBezTo>
                  <a:lnTo>
                    <a:pt x="391886" y="440963"/>
                  </a:lnTo>
                  <a:lnTo>
                    <a:pt x="364962" y="452317"/>
                  </a:lnTo>
                  <a:lnTo>
                    <a:pt x="363882" y="481552"/>
                  </a:lnTo>
                  <a:cubicBezTo>
                    <a:pt x="363692" y="487375"/>
                    <a:pt x="358803" y="491934"/>
                    <a:pt x="352960" y="491737"/>
                  </a:cubicBezTo>
                  <a:lnTo>
                    <a:pt x="352453" y="491699"/>
                  </a:lnTo>
                  <a:lnTo>
                    <a:pt x="352453" y="491737"/>
                  </a:lnTo>
                  <a:lnTo>
                    <a:pt x="323305" y="489255"/>
                  </a:lnTo>
                  <a:lnTo>
                    <a:pt x="308828" y="514629"/>
                  </a:lnTo>
                  <a:cubicBezTo>
                    <a:pt x="305907" y="519703"/>
                    <a:pt x="299430" y="521462"/>
                    <a:pt x="294350" y="518560"/>
                  </a:cubicBezTo>
                  <a:cubicBezTo>
                    <a:pt x="293969" y="518338"/>
                    <a:pt x="293588" y="518077"/>
                    <a:pt x="293207" y="517804"/>
                  </a:cubicBezTo>
                  <a:lnTo>
                    <a:pt x="269268" y="502526"/>
                  </a:lnTo>
                  <a:lnTo>
                    <a:pt x="244630" y="518274"/>
                  </a:lnTo>
                  <a:cubicBezTo>
                    <a:pt x="239676" y="521405"/>
                    <a:pt x="233199" y="519963"/>
                    <a:pt x="230024" y="515042"/>
                  </a:cubicBezTo>
                  <a:lnTo>
                    <a:pt x="229770" y="514617"/>
                  </a:lnTo>
                  <a:lnTo>
                    <a:pt x="229707" y="514629"/>
                  </a:lnTo>
                  <a:lnTo>
                    <a:pt x="215229" y="489255"/>
                  </a:lnTo>
                  <a:lnTo>
                    <a:pt x="186082" y="491737"/>
                  </a:lnTo>
                  <a:cubicBezTo>
                    <a:pt x="180241" y="492214"/>
                    <a:pt x="175097" y="487883"/>
                    <a:pt x="174653" y="482054"/>
                  </a:cubicBezTo>
                  <a:cubicBezTo>
                    <a:pt x="174653" y="481622"/>
                    <a:pt x="174589" y="481197"/>
                    <a:pt x="174653" y="480771"/>
                  </a:cubicBezTo>
                  <a:lnTo>
                    <a:pt x="173573" y="452329"/>
                  </a:lnTo>
                  <a:lnTo>
                    <a:pt x="146649" y="440982"/>
                  </a:lnTo>
                  <a:cubicBezTo>
                    <a:pt x="141251" y="438721"/>
                    <a:pt x="138775" y="432524"/>
                    <a:pt x="140997" y="427152"/>
                  </a:cubicBezTo>
                  <a:lnTo>
                    <a:pt x="153888" y="400310"/>
                  </a:lnTo>
                  <a:lnTo>
                    <a:pt x="135282" y="377723"/>
                  </a:lnTo>
                  <a:cubicBezTo>
                    <a:pt x="131536" y="373215"/>
                    <a:pt x="132234" y="366560"/>
                    <a:pt x="136743" y="362858"/>
                  </a:cubicBezTo>
                  <a:lnTo>
                    <a:pt x="137124" y="362528"/>
                  </a:lnTo>
                  <a:lnTo>
                    <a:pt x="160556" y="345072"/>
                  </a:lnTo>
                  <a:lnTo>
                    <a:pt x="154586" y="316427"/>
                  </a:lnTo>
                  <a:cubicBezTo>
                    <a:pt x="153380" y="310712"/>
                    <a:pt x="157063" y="305117"/>
                    <a:pt x="162778" y="303924"/>
                  </a:cubicBezTo>
                  <a:cubicBezTo>
                    <a:pt x="163159" y="303847"/>
                    <a:pt x="163476" y="303790"/>
                    <a:pt x="163857" y="303765"/>
                  </a:cubicBezTo>
                  <a:lnTo>
                    <a:pt x="192179" y="299288"/>
                  </a:lnTo>
                  <a:lnTo>
                    <a:pt x="200180" y="271145"/>
                  </a:lnTo>
                  <a:cubicBezTo>
                    <a:pt x="201767" y="265519"/>
                    <a:pt x="207609" y="262255"/>
                    <a:pt x="213260" y="263861"/>
                  </a:cubicBezTo>
                  <a:cubicBezTo>
                    <a:pt x="213578" y="263957"/>
                    <a:pt x="213895" y="264065"/>
                    <a:pt x="214213" y="264179"/>
                  </a:cubicBezTo>
                  <a:lnTo>
                    <a:pt x="241455" y="273405"/>
                  </a:lnTo>
                  <a:lnTo>
                    <a:pt x="261584" y="252235"/>
                  </a:lnTo>
                  <a:cubicBezTo>
                    <a:pt x="265648" y="248005"/>
                    <a:pt x="272316" y="247840"/>
                    <a:pt x="276570" y="251866"/>
                  </a:cubicBezTo>
                  <a:lnTo>
                    <a:pt x="276951" y="252235"/>
                  </a:lnTo>
                  <a:lnTo>
                    <a:pt x="276951" y="252235"/>
                  </a:lnTo>
                  <a:close/>
                  <a:moveTo>
                    <a:pt x="286412" y="292881"/>
                  </a:moveTo>
                  <a:lnTo>
                    <a:pt x="269268" y="274853"/>
                  </a:lnTo>
                  <a:lnTo>
                    <a:pt x="252440" y="292570"/>
                  </a:lnTo>
                  <a:cubicBezTo>
                    <a:pt x="249646" y="295681"/>
                    <a:pt x="245265" y="297021"/>
                    <a:pt x="241073" y="295611"/>
                  </a:cubicBezTo>
                  <a:lnTo>
                    <a:pt x="217515" y="287623"/>
                  </a:lnTo>
                  <a:lnTo>
                    <a:pt x="210657" y="311563"/>
                  </a:lnTo>
                  <a:lnTo>
                    <a:pt x="210657" y="311563"/>
                  </a:lnTo>
                  <a:cubicBezTo>
                    <a:pt x="209578" y="315398"/>
                    <a:pt x="206339" y="318446"/>
                    <a:pt x="202084" y="319107"/>
                  </a:cubicBezTo>
                  <a:lnTo>
                    <a:pt x="177573" y="322974"/>
                  </a:lnTo>
                  <a:lnTo>
                    <a:pt x="182654" y="347370"/>
                  </a:lnTo>
                  <a:cubicBezTo>
                    <a:pt x="183479" y="351275"/>
                    <a:pt x="182018" y="355467"/>
                    <a:pt x="178590" y="358006"/>
                  </a:cubicBezTo>
                  <a:lnTo>
                    <a:pt x="158650" y="372872"/>
                  </a:lnTo>
                  <a:lnTo>
                    <a:pt x="174462" y="392100"/>
                  </a:lnTo>
                  <a:cubicBezTo>
                    <a:pt x="177002" y="395167"/>
                    <a:pt x="177637" y="399536"/>
                    <a:pt x="175859" y="403352"/>
                  </a:cubicBezTo>
                  <a:lnTo>
                    <a:pt x="165064" y="425825"/>
                  </a:lnTo>
                  <a:lnTo>
                    <a:pt x="187606" y="435318"/>
                  </a:lnTo>
                  <a:cubicBezTo>
                    <a:pt x="191480" y="436772"/>
                    <a:pt x="194337" y="440449"/>
                    <a:pt x="194465" y="444836"/>
                  </a:cubicBezTo>
                  <a:lnTo>
                    <a:pt x="195354" y="469690"/>
                  </a:lnTo>
                  <a:lnTo>
                    <a:pt x="220245" y="467576"/>
                  </a:lnTo>
                  <a:cubicBezTo>
                    <a:pt x="224182" y="467258"/>
                    <a:pt x="228183" y="469195"/>
                    <a:pt x="230279" y="472878"/>
                  </a:cubicBezTo>
                  <a:lnTo>
                    <a:pt x="242597" y="494506"/>
                  </a:lnTo>
                  <a:lnTo>
                    <a:pt x="263425" y="481222"/>
                  </a:lnTo>
                  <a:cubicBezTo>
                    <a:pt x="266791" y="478974"/>
                    <a:pt x="271299" y="478796"/>
                    <a:pt x="274919" y="481108"/>
                  </a:cubicBezTo>
                  <a:lnTo>
                    <a:pt x="295937" y="494500"/>
                  </a:lnTo>
                  <a:lnTo>
                    <a:pt x="308066" y="473221"/>
                  </a:lnTo>
                  <a:cubicBezTo>
                    <a:pt x="309971" y="469557"/>
                    <a:pt x="313971" y="467201"/>
                    <a:pt x="318353" y="467563"/>
                  </a:cubicBezTo>
                  <a:lnTo>
                    <a:pt x="343181" y="469678"/>
                  </a:lnTo>
                  <a:lnTo>
                    <a:pt x="344070" y="444824"/>
                  </a:lnTo>
                  <a:cubicBezTo>
                    <a:pt x="344197" y="440855"/>
                    <a:pt x="346610" y="437121"/>
                    <a:pt x="350547" y="435470"/>
                  </a:cubicBezTo>
                  <a:lnTo>
                    <a:pt x="373471" y="425812"/>
                  </a:lnTo>
                  <a:lnTo>
                    <a:pt x="362930" y="403695"/>
                  </a:lnTo>
                  <a:cubicBezTo>
                    <a:pt x="360961" y="400056"/>
                    <a:pt x="361343" y="395459"/>
                    <a:pt x="364073" y="392081"/>
                  </a:cubicBezTo>
                  <a:lnTo>
                    <a:pt x="379948" y="372859"/>
                  </a:lnTo>
                  <a:lnTo>
                    <a:pt x="360263" y="358229"/>
                  </a:lnTo>
                  <a:cubicBezTo>
                    <a:pt x="356897" y="355886"/>
                    <a:pt x="354993" y="351656"/>
                    <a:pt x="355881" y="347357"/>
                  </a:cubicBezTo>
                  <a:lnTo>
                    <a:pt x="361025" y="322961"/>
                  </a:lnTo>
                  <a:lnTo>
                    <a:pt x="337276" y="319215"/>
                  </a:lnTo>
                  <a:cubicBezTo>
                    <a:pt x="332958" y="318884"/>
                    <a:pt x="329148" y="315932"/>
                    <a:pt x="327878" y="311550"/>
                  </a:cubicBezTo>
                  <a:lnTo>
                    <a:pt x="321020" y="287610"/>
                  </a:lnTo>
                  <a:lnTo>
                    <a:pt x="297525" y="295599"/>
                  </a:lnTo>
                  <a:cubicBezTo>
                    <a:pt x="293715" y="296882"/>
                    <a:pt x="289333" y="295954"/>
                    <a:pt x="286412" y="292881"/>
                  </a:cubicBezTo>
                  <a:lnTo>
                    <a:pt x="286412" y="292881"/>
                  </a:lnTo>
                  <a:close/>
                  <a:moveTo>
                    <a:pt x="298223" y="323736"/>
                  </a:moveTo>
                  <a:cubicBezTo>
                    <a:pt x="299684" y="321221"/>
                    <a:pt x="302922" y="320351"/>
                    <a:pt x="305462" y="321812"/>
                  </a:cubicBezTo>
                  <a:cubicBezTo>
                    <a:pt x="308003" y="323272"/>
                    <a:pt x="308828" y="326511"/>
                    <a:pt x="307368" y="329038"/>
                  </a:cubicBezTo>
                  <a:lnTo>
                    <a:pt x="240311" y="445167"/>
                  </a:lnTo>
                  <a:cubicBezTo>
                    <a:pt x="238851" y="447694"/>
                    <a:pt x="235612" y="448551"/>
                    <a:pt x="233072" y="447091"/>
                  </a:cubicBezTo>
                  <a:cubicBezTo>
                    <a:pt x="230596" y="445630"/>
                    <a:pt x="229707" y="442398"/>
                    <a:pt x="231168" y="439871"/>
                  </a:cubicBezTo>
                  <a:lnTo>
                    <a:pt x="298223" y="323736"/>
                  </a:lnTo>
                  <a:close/>
                  <a:moveTo>
                    <a:pt x="299493" y="386759"/>
                  </a:moveTo>
                  <a:cubicBezTo>
                    <a:pt x="306986" y="386759"/>
                    <a:pt x="313844" y="389807"/>
                    <a:pt x="318734" y="394748"/>
                  </a:cubicBezTo>
                  <a:lnTo>
                    <a:pt x="319179" y="395199"/>
                  </a:lnTo>
                  <a:cubicBezTo>
                    <a:pt x="323878" y="400095"/>
                    <a:pt x="326735" y="406730"/>
                    <a:pt x="326735" y="414014"/>
                  </a:cubicBezTo>
                  <a:cubicBezTo>
                    <a:pt x="326735" y="421506"/>
                    <a:pt x="323687" y="428314"/>
                    <a:pt x="318734" y="433260"/>
                  </a:cubicBezTo>
                  <a:lnTo>
                    <a:pt x="318734" y="433279"/>
                  </a:lnTo>
                  <a:cubicBezTo>
                    <a:pt x="313780" y="438207"/>
                    <a:pt x="306986" y="441261"/>
                    <a:pt x="299493" y="441261"/>
                  </a:cubicBezTo>
                  <a:cubicBezTo>
                    <a:pt x="291937" y="441261"/>
                    <a:pt x="285143" y="438214"/>
                    <a:pt x="280190" y="433279"/>
                  </a:cubicBezTo>
                  <a:lnTo>
                    <a:pt x="279808" y="432829"/>
                  </a:lnTo>
                  <a:cubicBezTo>
                    <a:pt x="275109" y="427933"/>
                    <a:pt x="272252" y="421297"/>
                    <a:pt x="272252" y="414014"/>
                  </a:cubicBezTo>
                  <a:cubicBezTo>
                    <a:pt x="272252" y="406508"/>
                    <a:pt x="275300" y="399701"/>
                    <a:pt x="280253" y="394760"/>
                  </a:cubicBezTo>
                  <a:lnTo>
                    <a:pt x="280190" y="394748"/>
                  </a:lnTo>
                  <a:cubicBezTo>
                    <a:pt x="285143" y="389807"/>
                    <a:pt x="291937" y="386759"/>
                    <a:pt x="299493" y="386759"/>
                  </a:cubicBezTo>
                  <a:close/>
                  <a:moveTo>
                    <a:pt x="308765" y="404736"/>
                  </a:moveTo>
                  <a:cubicBezTo>
                    <a:pt x="306415" y="402355"/>
                    <a:pt x="303113" y="400888"/>
                    <a:pt x="299493" y="400888"/>
                  </a:cubicBezTo>
                  <a:cubicBezTo>
                    <a:pt x="295874" y="400888"/>
                    <a:pt x="292572" y="402355"/>
                    <a:pt x="290222" y="404736"/>
                  </a:cubicBezTo>
                  <a:lnTo>
                    <a:pt x="290159" y="404711"/>
                  </a:lnTo>
                  <a:lnTo>
                    <a:pt x="290159" y="404736"/>
                  </a:lnTo>
                  <a:cubicBezTo>
                    <a:pt x="287809" y="407079"/>
                    <a:pt x="286349" y="410369"/>
                    <a:pt x="286349" y="414014"/>
                  </a:cubicBezTo>
                  <a:cubicBezTo>
                    <a:pt x="286349" y="417506"/>
                    <a:pt x="287682" y="420669"/>
                    <a:pt x="289905" y="423005"/>
                  </a:cubicBezTo>
                  <a:lnTo>
                    <a:pt x="290222" y="423285"/>
                  </a:lnTo>
                  <a:cubicBezTo>
                    <a:pt x="292572" y="425660"/>
                    <a:pt x="295874" y="427120"/>
                    <a:pt x="299493" y="427120"/>
                  </a:cubicBezTo>
                  <a:cubicBezTo>
                    <a:pt x="303113" y="427120"/>
                    <a:pt x="306415" y="425660"/>
                    <a:pt x="308765" y="423285"/>
                  </a:cubicBezTo>
                  <a:lnTo>
                    <a:pt x="308765" y="423304"/>
                  </a:lnTo>
                  <a:lnTo>
                    <a:pt x="308765" y="423285"/>
                  </a:lnTo>
                  <a:cubicBezTo>
                    <a:pt x="311178" y="420935"/>
                    <a:pt x="312574" y="417652"/>
                    <a:pt x="312574" y="414014"/>
                  </a:cubicBezTo>
                  <a:cubicBezTo>
                    <a:pt x="312574" y="410515"/>
                    <a:pt x="311241" y="407352"/>
                    <a:pt x="309082" y="405022"/>
                  </a:cubicBezTo>
                  <a:lnTo>
                    <a:pt x="308765" y="404736"/>
                  </a:lnTo>
                  <a:lnTo>
                    <a:pt x="308765" y="404736"/>
                  </a:lnTo>
                  <a:close/>
                  <a:moveTo>
                    <a:pt x="239042" y="327641"/>
                  </a:moveTo>
                  <a:cubicBezTo>
                    <a:pt x="246598" y="327641"/>
                    <a:pt x="253393" y="330689"/>
                    <a:pt x="258282" y="335623"/>
                  </a:cubicBezTo>
                  <a:lnTo>
                    <a:pt x="258345" y="335668"/>
                  </a:lnTo>
                  <a:cubicBezTo>
                    <a:pt x="263298" y="340601"/>
                    <a:pt x="266346" y="347415"/>
                    <a:pt x="266346" y="354889"/>
                  </a:cubicBezTo>
                  <a:cubicBezTo>
                    <a:pt x="266346" y="362382"/>
                    <a:pt x="263298" y="369189"/>
                    <a:pt x="258345" y="374129"/>
                  </a:cubicBezTo>
                  <a:lnTo>
                    <a:pt x="258282" y="374174"/>
                  </a:lnTo>
                  <a:cubicBezTo>
                    <a:pt x="253329" y="379095"/>
                    <a:pt x="246534" y="382137"/>
                    <a:pt x="239042" y="382137"/>
                  </a:cubicBezTo>
                  <a:cubicBezTo>
                    <a:pt x="231548" y="382137"/>
                    <a:pt x="224754" y="379089"/>
                    <a:pt x="219801" y="374155"/>
                  </a:cubicBezTo>
                  <a:lnTo>
                    <a:pt x="219420" y="373710"/>
                  </a:lnTo>
                  <a:cubicBezTo>
                    <a:pt x="214721" y="368808"/>
                    <a:pt x="211863" y="362172"/>
                    <a:pt x="211863" y="354889"/>
                  </a:cubicBezTo>
                  <a:cubicBezTo>
                    <a:pt x="211863" y="347396"/>
                    <a:pt x="214911" y="340595"/>
                    <a:pt x="219801" y="335648"/>
                  </a:cubicBezTo>
                  <a:lnTo>
                    <a:pt x="219865" y="335610"/>
                  </a:lnTo>
                  <a:cubicBezTo>
                    <a:pt x="224818" y="330689"/>
                    <a:pt x="231612" y="327641"/>
                    <a:pt x="239042" y="327641"/>
                  </a:cubicBezTo>
                  <a:lnTo>
                    <a:pt x="239042" y="327641"/>
                  </a:lnTo>
                  <a:close/>
                  <a:moveTo>
                    <a:pt x="248376" y="345586"/>
                  </a:moveTo>
                  <a:cubicBezTo>
                    <a:pt x="246026" y="343230"/>
                    <a:pt x="242724" y="341770"/>
                    <a:pt x="239042" y="341770"/>
                  </a:cubicBezTo>
                  <a:cubicBezTo>
                    <a:pt x="235422" y="341770"/>
                    <a:pt x="232120" y="343224"/>
                    <a:pt x="229770" y="345586"/>
                  </a:cubicBezTo>
                  <a:lnTo>
                    <a:pt x="229770" y="345611"/>
                  </a:lnTo>
                  <a:cubicBezTo>
                    <a:pt x="227421" y="347967"/>
                    <a:pt x="225960" y="351256"/>
                    <a:pt x="225960" y="354889"/>
                  </a:cubicBezTo>
                  <a:cubicBezTo>
                    <a:pt x="225960" y="358387"/>
                    <a:pt x="227294" y="361550"/>
                    <a:pt x="229517" y="363881"/>
                  </a:cubicBezTo>
                  <a:lnTo>
                    <a:pt x="229770" y="364166"/>
                  </a:lnTo>
                  <a:cubicBezTo>
                    <a:pt x="232183" y="366535"/>
                    <a:pt x="235422" y="368008"/>
                    <a:pt x="239042" y="368008"/>
                  </a:cubicBezTo>
                  <a:cubicBezTo>
                    <a:pt x="242724" y="368008"/>
                    <a:pt x="246026" y="366547"/>
                    <a:pt x="248376" y="364185"/>
                  </a:cubicBezTo>
                  <a:lnTo>
                    <a:pt x="248376" y="364160"/>
                  </a:lnTo>
                  <a:cubicBezTo>
                    <a:pt x="250725" y="361804"/>
                    <a:pt x="252186" y="358527"/>
                    <a:pt x="252186" y="354882"/>
                  </a:cubicBezTo>
                  <a:cubicBezTo>
                    <a:pt x="252186" y="351250"/>
                    <a:pt x="250725" y="347961"/>
                    <a:pt x="248376" y="345605"/>
                  </a:cubicBezTo>
                  <a:lnTo>
                    <a:pt x="248376" y="345586"/>
                  </a:lnTo>
                  <a:lnTo>
                    <a:pt x="248376" y="345586"/>
                  </a:lnTo>
                  <a:close/>
                  <a:moveTo>
                    <a:pt x="691923" y="530308"/>
                  </a:moveTo>
                  <a:cubicBezTo>
                    <a:pt x="689130" y="530968"/>
                    <a:pt x="686272" y="529203"/>
                    <a:pt x="685573" y="526358"/>
                  </a:cubicBezTo>
                  <a:cubicBezTo>
                    <a:pt x="684938" y="523513"/>
                    <a:pt x="686717" y="520662"/>
                    <a:pt x="689510" y="520002"/>
                  </a:cubicBezTo>
                  <a:lnTo>
                    <a:pt x="765710" y="502069"/>
                  </a:lnTo>
                  <a:cubicBezTo>
                    <a:pt x="768568" y="501409"/>
                    <a:pt x="771425" y="503180"/>
                    <a:pt x="772060" y="506025"/>
                  </a:cubicBezTo>
                  <a:cubicBezTo>
                    <a:pt x="772759" y="508864"/>
                    <a:pt x="770981" y="511715"/>
                    <a:pt x="768123" y="512388"/>
                  </a:cubicBezTo>
                  <a:lnTo>
                    <a:pt x="691923" y="530308"/>
                  </a:lnTo>
                  <a:close/>
                  <a:moveTo>
                    <a:pt x="691860" y="480339"/>
                  </a:moveTo>
                  <a:cubicBezTo>
                    <a:pt x="689003" y="480949"/>
                    <a:pt x="686145" y="479120"/>
                    <a:pt x="685573" y="476269"/>
                  </a:cubicBezTo>
                  <a:cubicBezTo>
                    <a:pt x="684938" y="473405"/>
                    <a:pt x="686780" y="470598"/>
                    <a:pt x="689637" y="469995"/>
                  </a:cubicBezTo>
                  <a:lnTo>
                    <a:pt x="795492" y="447249"/>
                  </a:lnTo>
                  <a:cubicBezTo>
                    <a:pt x="798349" y="446640"/>
                    <a:pt x="801143" y="448469"/>
                    <a:pt x="801779" y="451326"/>
                  </a:cubicBezTo>
                  <a:cubicBezTo>
                    <a:pt x="802350" y="454184"/>
                    <a:pt x="800508" y="456997"/>
                    <a:pt x="797715" y="457600"/>
                  </a:cubicBezTo>
                  <a:lnTo>
                    <a:pt x="691860" y="480339"/>
                  </a:lnTo>
                  <a:close/>
                  <a:moveTo>
                    <a:pt x="93245" y="21196"/>
                  </a:moveTo>
                  <a:lnTo>
                    <a:pt x="26824" y="139649"/>
                  </a:lnTo>
                  <a:lnTo>
                    <a:pt x="88610" y="152794"/>
                  </a:lnTo>
                  <a:cubicBezTo>
                    <a:pt x="89055" y="152864"/>
                    <a:pt x="89499" y="152952"/>
                    <a:pt x="89880" y="153079"/>
                  </a:cubicBezTo>
                  <a:lnTo>
                    <a:pt x="370359" y="212795"/>
                  </a:lnTo>
                  <a:lnTo>
                    <a:pt x="453354" y="21190"/>
                  </a:lnTo>
                  <a:lnTo>
                    <a:pt x="93245" y="21190"/>
                  </a:lnTo>
                  <a:lnTo>
                    <a:pt x="93245" y="21196"/>
                  </a:lnTo>
                  <a:close/>
                  <a:moveTo>
                    <a:pt x="1361" y="141827"/>
                  </a:moveTo>
                  <a:lnTo>
                    <a:pt x="77497" y="5937"/>
                  </a:lnTo>
                  <a:cubicBezTo>
                    <a:pt x="79275" y="2426"/>
                    <a:pt x="82895" y="0"/>
                    <a:pt x="87022" y="0"/>
                  </a:cubicBezTo>
                  <a:lnTo>
                    <a:pt x="469419" y="0"/>
                  </a:lnTo>
                  <a:lnTo>
                    <a:pt x="851817" y="0"/>
                  </a:lnTo>
                  <a:cubicBezTo>
                    <a:pt x="856007" y="0"/>
                    <a:pt x="859627" y="2426"/>
                    <a:pt x="861342" y="5937"/>
                  </a:cubicBezTo>
                  <a:lnTo>
                    <a:pt x="937542" y="141827"/>
                  </a:lnTo>
                  <a:cubicBezTo>
                    <a:pt x="940399" y="146920"/>
                    <a:pt x="938557" y="153372"/>
                    <a:pt x="933478" y="156223"/>
                  </a:cubicBezTo>
                  <a:cubicBezTo>
                    <a:pt x="932398" y="156832"/>
                    <a:pt x="931318" y="157213"/>
                    <a:pt x="930175" y="157416"/>
                  </a:cubicBezTo>
                  <a:lnTo>
                    <a:pt x="862421" y="171844"/>
                  </a:lnTo>
                  <a:lnTo>
                    <a:pt x="862421" y="542182"/>
                  </a:lnTo>
                  <a:lnTo>
                    <a:pt x="862421" y="542182"/>
                  </a:lnTo>
                  <a:cubicBezTo>
                    <a:pt x="862421" y="546894"/>
                    <a:pt x="859246" y="551199"/>
                    <a:pt x="854420" y="552405"/>
                  </a:cubicBezTo>
                  <a:lnTo>
                    <a:pt x="473039" y="650583"/>
                  </a:lnTo>
                  <a:cubicBezTo>
                    <a:pt x="471896" y="650983"/>
                    <a:pt x="470690" y="651211"/>
                    <a:pt x="469419" y="651211"/>
                  </a:cubicBezTo>
                  <a:cubicBezTo>
                    <a:pt x="468213" y="651211"/>
                    <a:pt x="466943" y="650989"/>
                    <a:pt x="465863" y="650583"/>
                  </a:cubicBezTo>
                  <a:lnTo>
                    <a:pt x="84419" y="552405"/>
                  </a:lnTo>
                  <a:cubicBezTo>
                    <a:pt x="79656" y="551199"/>
                    <a:pt x="76481" y="546894"/>
                    <a:pt x="76481" y="542182"/>
                  </a:cubicBezTo>
                  <a:lnTo>
                    <a:pt x="76418" y="542182"/>
                  </a:lnTo>
                  <a:lnTo>
                    <a:pt x="76418" y="171844"/>
                  </a:lnTo>
                  <a:lnTo>
                    <a:pt x="8727" y="157416"/>
                  </a:lnTo>
                  <a:cubicBezTo>
                    <a:pt x="7584" y="157219"/>
                    <a:pt x="6441" y="156832"/>
                    <a:pt x="5425" y="156223"/>
                  </a:cubicBezTo>
                  <a:cubicBezTo>
                    <a:pt x="281" y="153372"/>
                    <a:pt x="-1496" y="146914"/>
                    <a:pt x="1361" y="141827"/>
                  </a:cubicBezTo>
                  <a:lnTo>
                    <a:pt x="1361" y="141827"/>
                  </a:lnTo>
                  <a:close/>
                  <a:moveTo>
                    <a:pt x="458879" y="61601"/>
                  </a:moveTo>
                  <a:lnTo>
                    <a:pt x="386552" y="228416"/>
                  </a:lnTo>
                  <a:cubicBezTo>
                    <a:pt x="384837" y="233381"/>
                    <a:pt x="379631" y="236410"/>
                    <a:pt x="374360" y="235286"/>
                  </a:cubicBezTo>
                  <a:lnTo>
                    <a:pt x="97627" y="176365"/>
                  </a:lnTo>
                  <a:lnTo>
                    <a:pt x="97627" y="534016"/>
                  </a:lnTo>
                  <a:lnTo>
                    <a:pt x="458879" y="626999"/>
                  </a:lnTo>
                  <a:lnTo>
                    <a:pt x="458879" y="61601"/>
                  </a:lnTo>
                  <a:close/>
                  <a:moveTo>
                    <a:pt x="841275" y="176359"/>
                  </a:moveTo>
                  <a:lnTo>
                    <a:pt x="564479" y="235280"/>
                  </a:lnTo>
                  <a:cubicBezTo>
                    <a:pt x="559208" y="236404"/>
                    <a:pt x="554065" y="233375"/>
                    <a:pt x="552350" y="228409"/>
                  </a:cubicBezTo>
                  <a:lnTo>
                    <a:pt x="480024" y="61595"/>
                  </a:lnTo>
                  <a:lnTo>
                    <a:pt x="480024" y="626980"/>
                  </a:lnTo>
                  <a:lnTo>
                    <a:pt x="841275" y="534003"/>
                  </a:lnTo>
                  <a:lnTo>
                    <a:pt x="841275" y="176359"/>
                  </a:lnTo>
                  <a:close/>
                  <a:moveTo>
                    <a:pt x="912078" y="139649"/>
                  </a:moveTo>
                  <a:lnTo>
                    <a:pt x="845657" y="21196"/>
                  </a:lnTo>
                  <a:lnTo>
                    <a:pt x="485548" y="21196"/>
                  </a:lnTo>
                  <a:lnTo>
                    <a:pt x="568543" y="212801"/>
                  </a:lnTo>
                  <a:lnTo>
                    <a:pt x="848959" y="153086"/>
                  </a:lnTo>
                  <a:cubicBezTo>
                    <a:pt x="849404" y="152959"/>
                    <a:pt x="849848" y="152870"/>
                    <a:pt x="850293" y="152800"/>
                  </a:cubicBezTo>
                  <a:lnTo>
                    <a:pt x="912078" y="139649"/>
                  </a:lnTo>
                  <a:lnTo>
                    <a:pt x="912078" y="139649"/>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5" name="Forme libre : forme 1754">
              <a:extLst>
                <a:ext uri="{FF2B5EF4-FFF2-40B4-BE49-F238E27FC236}">
                  <a16:creationId xmlns:a16="http://schemas.microsoft.com/office/drawing/2014/main" id="{BB3B126B-6F92-47D5-A01A-7CD5A484EB87}"/>
                </a:ext>
              </a:extLst>
            </p:cNvPr>
            <p:cNvSpPr/>
            <p:nvPr/>
          </p:nvSpPr>
          <p:spPr>
            <a:xfrm>
              <a:off x="9153416" y="3042013"/>
              <a:ext cx="261778" cy="325964"/>
            </a:xfrm>
            <a:custGeom>
              <a:avLst/>
              <a:gdLst>
                <a:gd name="connsiteX0" fmla="*/ 123253 w 261778"/>
                <a:gd name="connsiteY0" fmla="*/ 7626 h 325964"/>
                <a:gd name="connsiteX1" fmla="*/ 130873 w 261778"/>
                <a:gd name="connsiteY1" fmla="*/ 0 h 325964"/>
                <a:gd name="connsiteX2" fmla="*/ 138494 w 261778"/>
                <a:gd name="connsiteY2" fmla="*/ 7626 h 325964"/>
                <a:gd name="connsiteX3" fmla="*/ 138494 w 261778"/>
                <a:gd name="connsiteY3" fmla="*/ 301098 h 325964"/>
                <a:gd name="connsiteX4" fmla="*/ 249047 w 261778"/>
                <a:gd name="connsiteY4" fmla="*/ 200615 h 325964"/>
                <a:gd name="connsiteX5" fmla="*/ 259778 w 261778"/>
                <a:gd name="connsiteY5" fmla="*/ 201123 h 325964"/>
                <a:gd name="connsiteX6" fmla="*/ 259334 w 261778"/>
                <a:gd name="connsiteY6" fmla="*/ 211880 h 325964"/>
                <a:gd name="connsiteX7" fmla="*/ 136335 w 261778"/>
                <a:gd name="connsiteY7" fmla="*/ 323666 h 325964"/>
                <a:gd name="connsiteX8" fmla="*/ 130873 w 261778"/>
                <a:gd name="connsiteY8" fmla="*/ 325965 h 325964"/>
                <a:gd name="connsiteX9" fmla="*/ 125412 w 261778"/>
                <a:gd name="connsiteY9" fmla="*/ 323666 h 325964"/>
                <a:gd name="connsiteX10" fmla="*/ 2476 w 261778"/>
                <a:gd name="connsiteY10" fmla="*/ 211880 h 325964"/>
                <a:gd name="connsiteX11" fmla="*/ 1969 w 261778"/>
                <a:gd name="connsiteY11" fmla="*/ 201123 h 325964"/>
                <a:gd name="connsiteX12" fmla="*/ 12763 w 261778"/>
                <a:gd name="connsiteY12" fmla="*/ 200615 h 325964"/>
                <a:gd name="connsiteX13" fmla="*/ 123253 w 261778"/>
                <a:gd name="connsiteY13" fmla="*/ 301098 h 325964"/>
                <a:gd name="connsiteX14" fmla="*/ 123253 w 261778"/>
                <a:gd name="connsiteY14" fmla="*/ 7626 h 325964"/>
                <a:gd name="connsiteX15" fmla="*/ 123253 w 261778"/>
                <a:gd name="connsiteY15" fmla="*/ 7626 h 3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1778" h="325964">
                  <a:moveTo>
                    <a:pt x="123253" y="7626"/>
                  </a:moveTo>
                  <a:cubicBezTo>
                    <a:pt x="123253" y="3410"/>
                    <a:pt x="126683" y="0"/>
                    <a:pt x="130873" y="0"/>
                  </a:cubicBezTo>
                  <a:cubicBezTo>
                    <a:pt x="135128" y="0"/>
                    <a:pt x="138494" y="3410"/>
                    <a:pt x="138494" y="7626"/>
                  </a:cubicBezTo>
                  <a:lnTo>
                    <a:pt x="138494" y="301098"/>
                  </a:lnTo>
                  <a:lnTo>
                    <a:pt x="249047" y="200615"/>
                  </a:lnTo>
                  <a:cubicBezTo>
                    <a:pt x="252159" y="197783"/>
                    <a:pt x="256985" y="198012"/>
                    <a:pt x="259778" y="201123"/>
                  </a:cubicBezTo>
                  <a:cubicBezTo>
                    <a:pt x="262636" y="204235"/>
                    <a:pt x="262382" y="209055"/>
                    <a:pt x="259334" y="211880"/>
                  </a:cubicBezTo>
                  <a:lnTo>
                    <a:pt x="136335" y="323666"/>
                  </a:lnTo>
                  <a:cubicBezTo>
                    <a:pt x="134937" y="325082"/>
                    <a:pt x="133033" y="325965"/>
                    <a:pt x="130873" y="325965"/>
                  </a:cubicBezTo>
                  <a:cubicBezTo>
                    <a:pt x="128778" y="325965"/>
                    <a:pt x="126810" y="325082"/>
                    <a:pt x="125412" y="323666"/>
                  </a:cubicBezTo>
                  <a:lnTo>
                    <a:pt x="2476" y="211880"/>
                  </a:lnTo>
                  <a:cubicBezTo>
                    <a:pt x="-635" y="209055"/>
                    <a:pt x="-826" y="204235"/>
                    <a:pt x="1969" y="201123"/>
                  </a:cubicBezTo>
                  <a:cubicBezTo>
                    <a:pt x="4826" y="198018"/>
                    <a:pt x="9652" y="197790"/>
                    <a:pt x="12763" y="200615"/>
                  </a:cubicBezTo>
                  <a:lnTo>
                    <a:pt x="123253" y="301098"/>
                  </a:lnTo>
                  <a:lnTo>
                    <a:pt x="123253" y="7626"/>
                  </a:lnTo>
                  <a:lnTo>
                    <a:pt x="123253" y="7626"/>
                  </a:lnTo>
                  <a:close/>
                </a:path>
              </a:pathLst>
            </a:custGeom>
            <a:solidFill>
              <a:srgbClr val="000000"/>
            </a:solidFill>
            <a:ln w="57697"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cxnSp>
        <p:nvCxnSpPr>
          <p:cNvPr id="1762" name="Straight Connector 13">
            <a:extLst>
              <a:ext uri="{FF2B5EF4-FFF2-40B4-BE49-F238E27FC236}">
                <a16:creationId xmlns:a16="http://schemas.microsoft.com/office/drawing/2014/main" id="{1FF65E2B-B980-45EA-B820-85E64ADD9035}"/>
              </a:ext>
            </a:extLst>
          </p:cNvPr>
          <p:cNvCxnSpPr>
            <a:cxnSpLocks/>
          </p:cNvCxnSpPr>
          <p:nvPr/>
        </p:nvCxnSpPr>
        <p:spPr>
          <a:xfrm>
            <a:off x="766219" y="867271"/>
            <a:ext cx="939011"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1765" name="Graphique 1764">
            <a:extLst>
              <a:ext uri="{FF2B5EF4-FFF2-40B4-BE49-F238E27FC236}">
                <a16:creationId xmlns:a16="http://schemas.microsoft.com/office/drawing/2014/main" id="{A64B7B39-1B3A-409C-B201-66C11C36A0F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96765" y="4570066"/>
            <a:ext cx="1538556" cy="1548000"/>
          </a:xfrm>
          <a:prstGeom prst="rect">
            <a:avLst/>
          </a:prstGeom>
        </p:spPr>
      </p:pic>
      <p:grpSp>
        <p:nvGrpSpPr>
          <p:cNvPr id="1766" name="Image 6">
            <a:extLst>
              <a:ext uri="{FF2B5EF4-FFF2-40B4-BE49-F238E27FC236}">
                <a16:creationId xmlns:a16="http://schemas.microsoft.com/office/drawing/2014/main" id="{F4A86155-AF4C-4758-AC8C-9B4DDBD875EB}"/>
              </a:ext>
            </a:extLst>
          </p:cNvPr>
          <p:cNvGrpSpPr/>
          <p:nvPr/>
        </p:nvGrpSpPr>
        <p:grpSpPr>
          <a:xfrm>
            <a:off x="7796793" y="4989255"/>
            <a:ext cx="451953" cy="537535"/>
            <a:chOff x="6967111" y="3171435"/>
            <a:chExt cx="643635" cy="792173"/>
          </a:xfrm>
          <a:solidFill>
            <a:srgbClr val="000000"/>
          </a:solidFill>
        </p:grpSpPr>
        <p:sp>
          <p:nvSpPr>
            <p:cNvPr id="1767" name="Forme libre : forme 1766">
              <a:extLst>
                <a:ext uri="{FF2B5EF4-FFF2-40B4-BE49-F238E27FC236}">
                  <a16:creationId xmlns:a16="http://schemas.microsoft.com/office/drawing/2014/main" id="{80651E88-2082-4587-8248-A0DD2B7E1FC1}"/>
                </a:ext>
              </a:extLst>
            </p:cNvPr>
            <p:cNvSpPr/>
            <p:nvPr/>
          </p:nvSpPr>
          <p:spPr>
            <a:xfrm>
              <a:off x="6967111" y="3171435"/>
              <a:ext cx="643635" cy="792173"/>
            </a:xfrm>
            <a:custGeom>
              <a:avLst/>
              <a:gdLst>
                <a:gd name="connsiteX0" fmla="*/ 643191 w 643635"/>
                <a:gd name="connsiteY0" fmla="*/ 133176 h 792173"/>
                <a:gd name="connsiteX1" fmla="*/ 639445 w 643635"/>
                <a:gd name="connsiteY1" fmla="*/ 126876 h 792173"/>
                <a:gd name="connsiteX2" fmla="*/ 498792 w 643635"/>
                <a:gd name="connsiteY2" fmla="*/ 3109 h 792173"/>
                <a:gd name="connsiteX3" fmla="*/ 490601 w 643635"/>
                <a:gd name="connsiteY3" fmla="*/ 22 h 792173"/>
                <a:gd name="connsiteX4" fmla="*/ 40513 w 643635"/>
                <a:gd name="connsiteY4" fmla="*/ 22 h 792173"/>
                <a:gd name="connsiteX5" fmla="*/ 64 w 643635"/>
                <a:gd name="connsiteY5" fmla="*/ 37887 h 792173"/>
                <a:gd name="connsiteX6" fmla="*/ 0 w 643635"/>
                <a:gd name="connsiteY6" fmla="*/ 38694 h 792173"/>
                <a:gd name="connsiteX7" fmla="*/ 0 w 643635"/>
                <a:gd name="connsiteY7" fmla="*/ 756555 h 792173"/>
                <a:gd name="connsiteX8" fmla="*/ 40513 w 643635"/>
                <a:gd name="connsiteY8" fmla="*/ 792140 h 792173"/>
                <a:gd name="connsiteX9" fmla="*/ 603123 w 643635"/>
                <a:gd name="connsiteY9" fmla="*/ 792140 h 792173"/>
                <a:gd name="connsiteX10" fmla="*/ 643636 w 643635"/>
                <a:gd name="connsiteY10" fmla="*/ 755012 h 792173"/>
                <a:gd name="connsiteX11" fmla="*/ 643636 w 643635"/>
                <a:gd name="connsiteY11" fmla="*/ 136160 h 792173"/>
                <a:gd name="connsiteX12" fmla="*/ 643191 w 643635"/>
                <a:gd name="connsiteY12" fmla="*/ 133176 h 792173"/>
                <a:gd name="connsiteX13" fmla="*/ 597027 w 643635"/>
                <a:gd name="connsiteY13" fmla="*/ 123797 h 792173"/>
                <a:gd name="connsiteX14" fmla="*/ 512445 w 643635"/>
                <a:gd name="connsiteY14" fmla="*/ 123797 h 792173"/>
                <a:gd name="connsiteX15" fmla="*/ 495109 w 643635"/>
                <a:gd name="connsiteY15" fmla="*/ 111420 h 792173"/>
                <a:gd name="connsiteX16" fmla="*/ 495109 w 643635"/>
                <a:gd name="connsiteY16" fmla="*/ 38827 h 792173"/>
                <a:gd name="connsiteX17" fmla="*/ 597027 w 643635"/>
                <a:gd name="connsiteY17" fmla="*/ 123797 h 792173"/>
                <a:gd name="connsiteX18" fmla="*/ 603123 w 643635"/>
                <a:gd name="connsiteY18" fmla="*/ 767401 h 792173"/>
                <a:gd name="connsiteX19" fmla="*/ 40513 w 643635"/>
                <a:gd name="connsiteY19" fmla="*/ 767401 h 792173"/>
                <a:gd name="connsiteX20" fmla="*/ 24764 w 643635"/>
                <a:gd name="connsiteY20" fmla="*/ 756568 h 792173"/>
                <a:gd name="connsiteX21" fmla="*/ 24764 w 643635"/>
                <a:gd name="connsiteY21" fmla="*/ 38700 h 792173"/>
                <a:gd name="connsiteX22" fmla="*/ 40005 w 643635"/>
                <a:gd name="connsiteY22" fmla="*/ 24743 h 792173"/>
                <a:gd name="connsiteX23" fmla="*/ 40513 w 643635"/>
                <a:gd name="connsiteY23" fmla="*/ 24775 h 792173"/>
                <a:gd name="connsiteX24" fmla="*/ 470344 w 643635"/>
                <a:gd name="connsiteY24" fmla="*/ 24775 h 792173"/>
                <a:gd name="connsiteX25" fmla="*/ 470344 w 643635"/>
                <a:gd name="connsiteY25" fmla="*/ 111414 h 792173"/>
                <a:gd name="connsiteX26" fmla="*/ 512445 w 643635"/>
                <a:gd name="connsiteY26" fmla="*/ 148543 h 792173"/>
                <a:gd name="connsiteX27" fmla="*/ 618871 w 643635"/>
                <a:gd name="connsiteY27" fmla="*/ 148543 h 792173"/>
                <a:gd name="connsiteX28" fmla="*/ 618871 w 643635"/>
                <a:gd name="connsiteY28" fmla="*/ 755018 h 792173"/>
                <a:gd name="connsiteX29" fmla="*/ 603123 w 643635"/>
                <a:gd name="connsiteY29" fmla="*/ 767401 h 792173"/>
                <a:gd name="connsiteX30" fmla="*/ 603123 w 643635"/>
                <a:gd name="connsiteY30" fmla="*/ 767401 h 7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43635" h="792173">
                  <a:moveTo>
                    <a:pt x="643191" y="133176"/>
                  </a:moveTo>
                  <a:cubicBezTo>
                    <a:pt x="642620" y="130750"/>
                    <a:pt x="641286" y="128565"/>
                    <a:pt x="639445" y="126876"/>
                  </a:cubicBezTo>
                  <a:lnTo>
                    <a:pt x="498792" y="3109"/>
                  </a:lnTo>
                  <a:cubicBezTo>
                    <a:pt x="496506" y="1121"/>
                    <a:pt x="493585" y="22"/>
                    <a:pt x="490601" y="22"/>
                  </a:cubicBezTo>
                  <a:lnTo>
                    <a:pt x="40513" y="22"/>
                  </a:lnTo>
                  <a:cubicBezTo>
                    <a:pt x="18923" y="-701"/>
                    <a:pt x="762" y="16253"/>
                    <a:pt x="64" y="37887"/>
                  </a:cubicBezTo>
                  <a:cubicBezTo>
                    <a:pt x="64" y="38154"/>
                    <a:pt x="0" y="38421"/>
                    <a:pt x="0" y="38694"/>
                  </a:cubicBezTo>
                  <a:lnTo>
                    <a:pt x="0" y="756555"/>
                  </a:lnTo>
                  <a:cubicBezTo>
                    <a:pt x="0" y="775847"/>
                    <a:pt x="18605" y="792140"/>
                    <a:pt x="40513" y="792140"/>
                  </a:cubicBezTo>
                  <a:lnTo>
                    <a:pt x="603123" y="792140"/>
                  </a:lnTo>
                  <a:cubicBezTo>
                    <a:pt x="624522" y="793011"/>
                    <a:pt x="642620" y="776418"/>
                    <a:pt x="643636" y="755012"/>
                  </a:cubicBezTo>
                  <a:lnTo>
                    <a:pt x="643636" y="136160"/>
                  </a:lnTo>
                  <a:cubicBezTo>
                    <a:pt x="643636" y="135163"/>
                    <a:pt x="643509" y="134154"/>
                    <a:pt x="643191" y="133176"/>
                  </a:cubicBezTo>
                  <a:close/>
                  <a:moveTo>
                    <a:pt x="597027" y="123797"/>
                  </a:moveTo>
                  <a:lnTo>
                    <a:pt x="512445" y="123797"/>
                  </a:lnTo>
                  <a:cubicBezTo>
                    <a:pt x="503047" y="123797"/>
                    <a:pt x="495109" y="118126"/>
                    <a:pt x="495109" y="111420"/>
                  </a:cubicBezTo>
                  <a:lnTo>
                    <a:pt x="495109" y="38827"/>
                  </a:lnTo>
                  <a:lnTo>
                    <a:pt x="597027" y="123797"/>
                  </a:lnTo>
                  <a:close/>
                  <a:moveTo>
                    <a:pt x="603123" y="767401"/>
                  </a:moveTo>
                  <a:lnTo>
                    <a:pt x="40513" y="767401"/>
                  </a:lnTo>
                  <a:cubicBezTo>
                    <a:pt x="31814" y="767401"/>
                    <a:pt x="24764" y="761470"/>
                    <a:pt x="24764" y="756568"/>
                  </a:cubicBezTo>
                  <a:lnTo>
                    <a:pt x="24764" y="38700"/>
                  </a:lnTo>
                  <a:cubicBezTo>
                    <a:pt x="25146" y="30648"/>
                    <a:pt x="31940" y="24400"/>
                    <a:pt x="40005" y="24743"/>
                  </a:cubicBezTo>
                  <a:cubicBezTo>
                    <a:pt x="40195" y="24749"/>
                    <a:pt x="40386" y="24762"/>
                    <a:pt x="40513" y="24775"/>
                  </a:cubicBezTo>
                  <a:lnTo>
                    <a:pt x="470344" y="24775"/>
                  </a:lnTo>
                  <a:lnTo>
                    <a:pt x="470344" y="111414"/>
                  </a:lnTo>
                  <a:cubicBezTo>
                    <a:pt x="470344" y="131893"/>
                    <a:pt x="489267" y="148543"/>
                    <a:pt x="512445" y="148543"/>
                  </a:cubicBezTo>
                  <a:lnTo>
                    <a:pt x="618871" y="148543"/>
                  </a:lnTo>
                  <a:lnTo>
                    <a:pt x="618871" y="755018"/>
                  </a:lnTo>
                  <a:cubicBezTo>
                    <a:pt x="617727" y="762676"/>
                    <a:pt x="610806" y="768106"/>
                    <a:pt x="603123" y="767401"/>
                  </a:cubicBezTo>
                  <a:lnTo>
                    <a:pt x="603123" y="76740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8" name="Forme libre : forme 1767">
              <a:extLst>
                <a:ext uri="{FF2B5EF4-FFF2-40B4-BE49-F238E27FC236}">
                  <a16:creationId xmlns:a16="http://schemas.microsoft.com/office/drawing/2014/main" id="{EDF5F572-37B2-4F91-9B75-164394F426C6}"/>
                </a:ext>
              </a:extLst>
            </p:cNvPr>
            <p:cNvSpPr/>
            <p:nvPr/>
          </p:nvSpPr>
          <p:spPr>
            <a:xfrm>
              <a:off x="7041405" y="3251912"/>
              <a:ext cx="297053" cy="24752"/>
            </a:xfrm>
            <a:custGeom>
              <a:avLst/>
              <a:gdLst>
                <a:gd name="connsiteX0" fmla="*/ 12382 w 297053"/>
                <a:gd name="connsiteY0" fmla="*/ 24752 h 24752"/>
                <a:gd name="connsiteX1" fmla="*/ 284670 w 297053"/>
                <a:gd name="connsiteY1" fmla="*/ 24752 h 24752"/>
                <a:gd name="connsiteX2" fmla="*/ 297053 w 297053"/>
                <a:gd name="connsiteY2" fmla="*/ 12376 h 24752"/>
                <a:gd name="connsiteX3" fmla="*/ 284670 w 297053"/>
                <a:gd name="connsiteY3" fmla="*/ 0 h 24752"/>
                <a:gd name="connsiteX4" fmla="*/ 12382 w 297053"/>
                <a:gd name="connsiteY4" fmla="*/ 0 h 24752"/>
                <a:gd name="connsiteX5" fmla="*/ 0 w 297053"/>
                <a:gd name="connsiteY5" fmla="*/ 12376 h 24752"/>
                <a:gd name="connsiteX6" fmla="*/ 12382 w 297053"/>
                <a:gd name="connsiteY6"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053" h="24752">
                  <a:moveTo>
                    <a:pt x="12382" y="24752"/>
                  </a:moveTo>
                  <a:lnTo>
                    <a:pt x="284670" y="24752"/>
                  </a:lnTo>
                  <a:cubicBezTo>
                    <a:pt x="291529" y="24752"/>
                    <a:pt x="297053" y="19215"/>
                    <a:pt x="297053" y="12376"/>
                  </a:cubicBezTo>
                  <a:cubicBezTo>
                    <a:pt x="297053" y="5537"/>
                    <a:pt x="291529" y="0"/>
                    <a:pt x="284670" y="0"/>
                  </a:cubicBezTo>
                  <a:lnTo>
                    <a:pt x="12382" y="0"/>
                  </a:lnTo>
                  <a:cubicBezTo>
                    <a:pt x="5524" y="0"/>
                    <a:pt x="0" y="5537"/>
                    <a:pt x="0" y="12376"/>
                  </a:cubicBezTo>
                  <a:cubicBezTo>
                    <a:pt x="0" y="19215"/>
                    <a:pt x="5524" y="24752"/>
                    <a:pt x="12382"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9" name="Forme libre : forme 1768">
              <a:extLst>
                <a:ext uri="{FF2B5EF4-FFF2-40B4-BE49-F238E27FC236}">
                  <a16:creationId xmlns:a16="http://schemas.microsoft.com/office/drawing/2014/main" id="{D6CD0179-8B74-4134-AF64-37ADFCAAAEB6}"/>
                </a:ext>
              </a:extLst>
            </p:cNvPr>
            <p:cNvSpPr/>
            <p:nvPr/>
          </p:nvSpPr>
          <p:spPr>
            <a:xfrm>
              <a:off x="7041406" y="3623214"/>
              <a:ext cx="86612" cy="61770"/>
            </a:xfrm>
            <a:custGeom>
              <a:avLst/>
              <a:gdLst>
                <a:gd name="connsiteX0" fmla="*/ 66420 w 86612"/>
                <a:gd name="connsiteY0" fmla="*/ 2783 h 61770"/>
                <a:gd name="connsiteX1" fmla="*/ 30607 w 86612"/>
                <a:gd name="connsiteY1" fmla="*/ 31980 h 61770"/>
                <a:gd name="connsiteX2" fmla="*/ 22034 w 86612"/>
                <a:gd name="connsiteY2" fmla="*/ 21210 h 61770"/>
                <a:gd name="connsiteX3" fmla="*/ 4698 w 86612"/>
                <a:gd name="connsiteY3" fmla="*/ 19185 h 61770"/>
                <a:gd name="connsiteX4" fmla="*/ 2667 w 86612"/>
                <a:gd name="connsiteY4" fmla="*/ 36565 h 61770"/>
                <a:gd name="connsiteX5" fmla="*/ 18986 w 86612"/>
                <a:gd name="connsiteY5" fmla="*/ 57196 h 61770"/>
                <a:gd name="connsiteX6" fmla="*/ 36512 w 86612"/>
                <a:gd name="connsiteY6" fmla="*/ 59107 h 61770"/>
                <a:gd name="connsiteX7" fmla="*/ 82042 w 86612"/>
                <a:gd name="connsiteY7" fmla="*/ 21972 h 61770"/>
                <a:gd name="connsiteX8" fmla="*/ 83819 w 86612"/>
                <a:gd name="connsiteY8" fmla="*/ 4561 h 61770"/>
                <a:gd name="connsiteX9" fmla="*/ 66420 w 86612"/>
                <a:gd name="connsiteY9" fmla="*/ 2783 h 61770"/>
                <a:gd name="connsiteX10" fmla="*/ 66420 w 86612"/>
                <a:gd name="connsiteY10" fmla="*/ 2783 h 61770"/>
                <a:gd name="connsiteX11" fmla="*/ 66420 w 86612"/>
                <a:gd name="connsiteY11" fmla="*/ 2783 h 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612" h="61770">
                  <a:moveTo>
                    <a:pt x="66420" y="2783"/>
                  </a:moveTo>
                  <a:lnTo>
                    <a:pt x="30607" y="31980"/>
                  </a:lnTo>
                  <a:lnTo>
                    <a:pt x="22034" y="21210"/>
                  </a:lnTo>
                  <a:cubicBezTo>
                    <a:pt x="17843" y="15845"/>
                    <a:pt x="10032" y="14943"/>
                    <a:pt x="4698" y="19185"/>
                  </a:cubicBezTo>
                  <a:cubicBezTo>
                    <a:pt x="-636" y="23427"/>
                    <a:pt x="-1588" y="31206"/>
                    <a:pt x="2667" y="36565"/>
                  </a:cubicBezTo>
                  <a:lnTo>
                    <a:pt x="18986" y="57196"/>
                  </a:lnTo>
                  <a:cubicBezTo>
                    <a:pt x="23368" y="62447"/>
                    <a:pt x="31114" y="63305"/>
                    <a:pt x="36512" y="59107"/>
                  </a:cubicBezTo>
                  <a:lnTo>
                    <a:pt x="82042" y="21972"/>
                  </a:lnTo>
                  <a:cubicBezTo>
                    <a:pt x="87375" y="17654"/>
                    <a:pt x="88137" y="9869"/>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0" name="Forme libre : forme 1769">
              <a:extLst>
                <a:ext uri="{FF2B5EF4-FFF2-40B4-BE49-F238E27FC236}">
                  <a16:creationId xmlns:a16="http://schemas.microsoft.com/office/drawing/2014/main" id="{0E07EDF1-93B4-48CB-8E54-BACF31D177C4}"/>
                </a:ext>
              </a:extLst>
            </p:cNvPr>
            <p:cNvSpPr/>
            <p:nvPr/>
          </p:nvSpPr>
          <p:spPr>
            <a:xfrm>
              <a:off x="7041406" y="3722236"/>
              <a:ext cx="86612" cy="61799"/>
            </a:xfrm>
            <a:custGeom>
              <a:avLst/>
              <a:gdLst>
                <a:gd name="connsiteX0" fmla="*/ 66420 w 86612"/>
                <a:gd name="connsiteY0" fmla="*/ 2783 h 61799"/>
                <a:gd name="connsiteX1" fmla="*/ 30607 w 86612"/>
                <a:gd name="connsiteY1" fmla="*/ 31980 h 61799"/>
                <a:gd name="connsiteX2" fmla="*/ 22034 w 86612"/>
                <a:gd name="connsiteY2" fmla="*/ 21204 h 61799"/>
                <a:gd name="connsiteX3" fmla="*/ 4698 w 86612"/>
                <a:gd name="connsiteY3" fmla="*/ 19178 h 61799"/>
                <a:gd name="connsiteX4" fmla="*/ 2667 w 86612"/>
                <a:gd name="connsiteY4" fmla="*/ 36558 h 61799"/>
                <a:gd name="connsiteX5" fmla="*/ 2667 w 86612"/>
                <a:gd name="connsiteY5" fmla="*/ 36558 h 61799"/>
                <a:gd name="connsiteX6" fmla="*/ 18986 w 86612"/>
                <a:gd name="connsiteY6" fmla="*/ 57183 h 61799"/>
                <a:gd name="connsiteX7" fmla="*/ 36512 w 86612"/>
                <a:gd name="connsiteY7" fmla="*/ 59107 h 61799"/>
                <a:gd name="connsiteX8" fmla="*/ 82042 w 86612"/>
                <a:gd name="connsiteY8" fmla="*/ 21972 h 61799"/>
                <a:gd name="connsiteX9" fmla="*/ 83819 w 86612"/>
                <a:gd name="connsiteY9" fmla="*/ 4561 h 61799"/>
                <a:gd name="connsiteX10" fmla="*/ 66420 w 86612"/>
                <a:gd name="connsiteY10" fmla="*/ 2783 h 61799"/>
                <a:gd name="connsiteX11" fmla="*/ 66420 w 86612"/>
                <a:gd name="connsiteY11" fmla="*/ 2783 h 61799"/>
                <a:gd name="connsiteX12" fmla="*/ 66420 w 86612"/>
                <a:gd name="connsiteY12" fmla="*/ 2783 h 6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612" h="61799">
                  <a:moveTo>
                    <a:pt x="66420" y="2783"/>
                  </a:moveTo>
                  <a:lnTo>
                    <a:pt x="30607" y="31980"/>
                  </a:lnTo>
                  <a:lnTo>
                    <a:pt x="22034" y="21204"/>
                  </a:lnTo>
                  <a:cubicBezTo>
                    <a:pt x="17843" y="15845"/>
                    <a:pt x="10032" y="14943"/>
                    <a:pt x="4698" y="19178"/>
                  </a:cubicBezTo>
                  <a:cubicBezTo>
                    <a:pt x="-636" y="23414"/>
                    <a:pt x="-1588" y="31206"/>
                    <a:pt x="2667" y="36558"/>
                  </a:cubicBezTo>
                  <a:lnTo>
                    <a:pt x="2667" y="36558"/>
                  </a:lnTo>
                  <a:lnTo>
                    <a:pt x="18986" y="57183"/>
                  </a:lnTo>
                  <a:cubicBezTo>
                    <a:pt x="23304" y="62492"/>
                    <a:pt x="31114" y="63343"/>
                    <a:pt x="36512" y="59107"/>
                  </a:cubicBezTo>
                  <a:lnTo>
                    <a:pt x="82042" y="21972"/>
                  </a:lnTo>
                  <a:cubicBezTo>
                    <a:pt x="87375" y="17654"/>
                    <a:pt x="88137" y="9863"/>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1" name="Forme libre : forme 1770">
              <a:extLst>
                <a:ext uri="{FF2B5EF4-FFF2-40B4-BE49-F238E27FC236}">
                  <a16:creationId xmlns:a16="http://schemas.microsoft.com/office/drawing/2014/main" id="{7771C7C2-928D-4A12-A207-CD23D8E932F6}"/>
                </a:ext>
              </a:extLst>
            </p:cNvPr>
            <p:cNvSpPr/>
            <p:nvPr/>
          </p:nvSpPr>
          <p:spPr>
            <a:xfrm>
              <a:off x="7165167" y="3821246"/>
              <a:ext cx="371284" cy="24752"/>
            </a:xfrm>
            <a:custGeom>
              <a:avLst/>
              <a:gdLst>
                <a:gd name="connsiteX0" fmla="*/ 358966 w 371284"/>
                <a:gd name="connsiteY0" fmla="*/ 0 h 24752"/>
                <a:gd name="connsiteX1" fmla="*/ 12383 w 371284"/>
                <a:gd name="connsiteY1" fmla="*/ 0 h 24752"/>
                <a:gd name="connsiteX2" fmla="*/ 0 w 371284"/>
                <a:gd name="connsiteY2" fmla="*/ 12376 h 24752"/>
                <a:gd name="connsiteX3" fmla="*/ 12383 w 371284"/>
                <a:gd name="connsiteY3" fmla="*/ 24752 h 24752"/>
                <a:gd name="connsiteX4" fmla="*/ 358966 w 371284"/>
                <a:gd name="connsiteY4" fmla="*/ 24752 h 24752"/>
                <a:gd name="connsiteX5" fmla="*/ 371284 w 371284"/>
                <a:gd name="connsiteY5" fmla="*/ 12376 h 24752"/>
                <a:gd name="connsiteX6" fmla="*/ 358966 w 371284"/>
                <a:gd name="connsiteY6"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284" h="24752">
                  <a:moveTo>
                    <a:pt x="358966" y="0"/>
                  </a:moveTo>
                  <a:lnTo>
                    <a:pt x="12383" y="0"/>
                  </a:lnTo>
                  <a:cubicBezTo>
                    <a:pt x="5524" y="0"/>
                    <a:pt x="0" y="5543"/>
                    <a:pt x="0" y="12376"/>
                  </a:cubicBezTo>
                  <a:cubicBezTo>
                    <a:pt x="0" y="19209"/>
                    <a:pt x="5524" y="24752"/>
                    <a:pt x="12383" y="24752"/>
                  </a:cubicBezTo>
                  <a:lnTo>
                    <a:pt x="358966" y="24752"/>
                  </a:lnTo>
                  <a:cubicBezTo>
                    <a:pt x="365760" y="24752"/>
                    <a:pt x="371284" y="19209"/>
                    <a:pt x="371284" y="12376"/>
                  </a:cubicBezTo>
                  <a:cubicBezTo>
                    <a:pt x="371284" y="5543"/>
                    <a:pt x="365760" y="0"/>
                    <a:pt x="358966"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2" name="Forme libre : forme 1771">
              <a:extLst>
                <a:ext uri="{FF2B5EF4-FFF2-40B4-BE49-F238E27FC236}">
                  <a16:creationId xmlns:a16="http://schemas.microsoft.com/office/drawing/2014/main" id="{76C054D0-AEF8-4D71-8C61-BADC8A9FCEC0}"/>
                </a:ext>
              </a:extLst>
            </p:cNvPr>
            <p:cNvSpPr/>
            <p:nvPr/>
          </p:nvSpPr>
          <p:spPr>
            <a:xfrm>
              <a:off x="7041406" y="3821253"/>
              <a:ext cx="86612" cy="61850"/>
            </a:xfrm>
            <a:custGeom>
              <a:avLst/>
              <a:gdLst>
                <a:gd name="connsiteX0" fmla="*/ 66420 w 86612"/>
                <a:gd name="connsiteY0" fmla="*/ 2787 h 61850"/>
                <a:gd name="connsiteX1" fmla="*/ 30607 w 86612"/>
                <a:gd name="connsiteY1" fmla="*/ 31978 h 61850"/>
                <a:gd name="connsiteX2" fmla="*/ 22034 w 86612"/>
                <a:gd name="connsiteY2" fmla="*/ 21208 h 61850"/>
                <a:gd name="connsiteX3" fmla="*/ 4698 w 86612"/>
                <a:gd name="connsiteY3" fmla="*/ 19176 h 61850"/>
                <a:gd name="connsiteX4" fmla="*/ 2667 w 86612"/>
                <a:gd name="connsiteY4" fmla="*/ 36556 h 61850"/>
                <a:gd name="connsiteX5" fmla="*/ 2667 w 86612"/>
                <a:gd name="connsiteY5" fmla="*/ 36556 h 61850"/>
                <a:gd name="connsiteX6" fmla="*/ 18986 w 86612"/>
                <a:gd name="connsiteY6" fmla="*/ 57187 h 61850"/>
                <a:gd name="connsiteX7" fmla="*/ 36512 w 86612"/>
                <a:gd name="connsiteY7" fmla="*/ 59111 h 61850"/>
                <a:gd name="connsiteX8" fmla="*/ 82042 w 86612"/>
                <a:gd name="connsiteY8" fmla="*/ 21976 h 61850"/>
                <a:gd name="connsiteX9" fmla="*/ 83819 w 86612"/>
                <a:gd name="connsiteY9" fmla="*/ 4565 h 61850"/>
                <a:gd name="connsiteX10" fmla="*/ 66420 w 86612"/>
                <a:gd name="connsiteY10" fmla="*/ 2787 h 61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12" h="61850">
                  <a:moveTo>
                    <a:pt x="66420" y="2787"/>
                  </a:moveTo>
                  <a:lnTo>
                    <a:pt x="30607" y="31978"/>
                  </a:lnTo>
                  <a:lnTo>
                    <a:pt x="22034" y="21208"/>
                  </a:lnTo>
                  <a:cubicBezTo>
                    <a:pt x="17843" y="15849"/>
                    <a:pt x="10032" y="14935"/>
                    <a:pt x="4698" y="19176"/>
                  </a:cubicBezTo>
                  <a:cubicBezTo>
                    <a:pt x="-636" y="23418"/>
                    <a:pt x="-1588" y="31197"/>
                    <a:pt x="2667" y="36556"/>
                  </a:cubicBezTo>
                  <a:lnTo>
                    <a:pt x="2667" y="36556"/>
                  </a:lnTo>
                  <a:lnTo>
                    <a:pt x="18986" y="57187"/>
                  </a:lnTo>
                  <a:cubicBezTo>
                    <a:pt x="23304" y="62560"/>
                    <a:pt x="31114" y="63410"/>
                    <a:pt x="36512" y="59111"/>
                  </a:cubicBezTo>
                  <a:lnTo>
                    <a:pt x="82042" y="21976"/>
                  </a:lnTo>
                  <a:cubicBezTo>
                    <a:pt x="87375" y="17659"/>
                    <a:pt x="88137" y="9861"/>
                    <a:pt x="83819" y="4565"/>
                  </a:cubicBezTo>
                  <a:cubicBezTo>
                    <a:pt x="79501" y="-750"/>
                    <a:pt x="71755" y="-1531"/>
                    <a:pt x="66420" y="2787"/>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3" name="Forme libre : forme 1772">
              <a:extLst>
                <a:ext uri="{FF2B5EF4-FFF2-40B4-BE49-F238E27FC236}">
                  <a16:creationId xmlns:a16="http://schemas.microsoft.com/office/drawing/2014/main" id="{304553BA-C74E-4ADF-8FE0-15AF855CB6DC}"/>
                </a:ext>
              </a:extLst>
            </p:cNvPr>
            <p:cNvSpPr/>
            <p:nvPr/>
          </p:nvSpPr>
          <p:spPr>
            <a:xfrm>
              <a:off x="7165167" y="3722244"/>
              <a:ext cx="190309" cy="24739"/>
            </a:xfrm>
            <a:custGeom>
              <a:avLst/>
              <a:gdLst>
                <a:gd name="connsiteX0" fmla="*/ 12383 w 190309"/>
                <a:gd name="connsiteY0" fmla="*/ 24740 h 24739"/>
                <a:gd name="connsiteX1" fmla="*/ 190309 w 190309"/>
                <a:gd name="connsiteY1" fmla="*/ 24740 h 24739"/>
                <a:gd name="connsiteX2" fmla="*/ 165545 w 190309"/>
                <a:gd name="connsiteY2" fmla="*/ 0 h 24739"/>
                <a:gd name="connsiteX3" fmla="*/ 12383 w 190309"/>
                <a:gd name="connsiteY3" fmla="*/ 0 h 24739"/>
                <a:gd name="connsiteX4" fmla="*/ 0 w 190309"/>
                <a:gd name="connsiteY4" fmla="*/ 12376 h 24739"/>
                <a:gd name="connsiteX5" fmla="*/ 12383 w 190309"/>
                <a:gd name="connsiteY5" fmla="*/ 2474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309" h="24739">
                  <a:moveTo>
                    <a:pt x="12383" y="24740"/>
                  </a:moveTo>
                  <a:lnTo>
                    <a:pt x="190309" y="24740"/>
                  </a:lnTo>
                  <a:lnTo>
                    <a:pt x="165545" y="0"/>
                  </a:lnTo>
                  <a:lnTo>
                    <a:pt x="12383" y="0"/>
                  </a:lnTo>
                  <a:cubicBezTo>
                    <a:pt x="5524" y="0"/>
                    <a:pt x="0" y="5531"/>
                    <a:pt x="0" y="12376"/>
                  </a:cubicBezTo>
                  <a:cubicBezTo>
                    <a:pt x="0" y="19196"/>
                    <a:pt x="5524" y="24740"/>
                    <a:pt x="12383" y="2474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4" name="Forme libre : forme 1773">
              <a:extLst>
                <a:ext uri="{FF2B5EF4-FFF2-40B4-BE49-F238E27FC236}">
                  <a16:creationId xmlns:a16="http://schemas.microsoft.com/office/drawing/2014/main" id="{08CE820E-904B-42E6-A3E1-2D15CB8A2F36}"/>
                </a:ext>
              </a:extLst>
            </p:cNvPr>
            <p:cNvSpPr/>
            <p:nvPr/>
          </p:nvSpPr>
          <p:spPr>
            <a:xfrm>
              <a:off x="7497589" y="3722237"/>
              <a:ext cx="38861" cy="24739"/>
            </a:xfrm>
            <a:custGeom>
              <a:avLst/>
              <a:gdLst>
                <a:gd name="connsiteX0" fmla="*/ 26543 w 38861"/>
                <a:gd name="connsiteY0" fmla="*/ 0 h 24739"/>
                <a:gd name="connsiteX1" fmla="*/ 0 w 38861"/>
                <a:gd name="connsiteY1" fmla="*/ 0 h 24739"/>
                <a:gd name="connsiteX2" fmla="*/ 254 w 38861"/>
                <a:gd name="connsiteY2" fmla="*/ 24740 h 24739"/>
                <a:gd name="connsiteX3" fmla="*/ 26543 w 38861"/>
                <a:gd name="connsiteY3" fmla="*/ 24740 h 24739"/>
                <a:gd name="connsiteX4" fmla="*/ 38862 w 38861"/>
                <a:gd name="connsiteY4" fmla="*/ 12376 h 24739"/>
                <a:gd name="connsiteX5" fmla="*/ 26543 w 38861"/>
                <a:gd name="connsiteY5" fmla="*/ 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61" h="24739">
                  <a:moveTo>
                    <a:pt x="26543" y="0"/>
                  </a:moveTo>
                  <a:lnTo>
                    <a:pt x="0" y="0"/>
                  </a:lnTo>
                  <a:cubicBezTo>
                    <a:pt x="2223" y="8083"/>
                    <a:pt x="2349" y="16605"/>
                    <a:pt x="254" y="24740"/>
                  </a:cubicBezTo>
                  <a:lnTo>
                    <a:pt x="26543" y="24740"/>
                  </a:lnTo>
                  <a:cubicBezTo>
                    <a:pt x="33338" y="24740"/>
                    <a:pt x="38862" y="19196"/>
                    <a:pt x="38862" y="12376"/>
                  </a:cubicBezTo>
                  <a:cubicBezTo>
                    <a:pt x="38862" y="5531"/>
                    <a:pt x="33338" y="0"/>
                    <a:pt x="2654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5" name="Forme libre : forme 1774">
              <a:extLst>
                <a:ext uri="{FF2B5EF4-FFF2-40B4-BE49-F238E27FC236}">
                  <a16:creationId xmlns:a16="http://schemas.microsoft.com/office/drawing/2014/main" id="{5C4A718F-C966-4952-92E0-C223CBBA63ED}"/>
                </a:ext>
              </a:extLst>
            </p:cNvPr>
            <p:cNvSpPr/>
            <p:nvPr/>
          </p:nvSpPr>
          <p:spPr>
            <a:xfrm>
              <a:off x="7408054" y="3623222"/>
              <a:ext cx="128396" cy="24752"/>
            </a:xfrm>
            <a:custGeom>
              <a:avLst/>
              <a:gdLst>
                <a:gd name="connsiteX0" fmla="*/ 116078 w 128396"/>
                <a:gd name="connsiteY0" fmla="*/ 0 h 24752"/>
                <a:gd name="connsiteX1" fmla="*/ 0 w 128396"/>
                <a:gd name="connsiteY1" fmla="*/ 0 h 24752"/>
                <a:gd name="connsiteX2" fmla="*/ 24765 w 128396"/>
                <a:gd name="connsiteY2" fmla="*/ 24752 h 24752"/>
                <a:gd name="connsiteX3" fmla="*/ 116078 w 128396"/>
                <a:gd name="connsiteY3" fmla="*/ 24752 h 24752"/>
                <a:gd name="connsiteX4" fmla="*/ 128397 w 128396"/>
                <a:gd name="connsiteY4" fmla="*/ 12376 h 24752"/>
                <a:gd name="connsiteX5" fmla="*/ 116078 w 128396"/>
                <a:gd name="connsiteY5"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96" h="24752">
                  <a:moveTo>
                    <a:pt x="116078" y="0"/>
                  </a:moveTo>
                  <a:lnTo>
                    <a:pt x="0" y="0"/>
                  </a:lnTo>
                  <a:lnTo>
                    <a:pt x="24765" y="24752"/>
                  </a:lnTo>
                  <a:lnTo>
                    <a:pt x="116078" y="24752"/>
                  </a:lnTo>
                  <a:cubicBezTo>
                    <a:pt x="122872" y="24752"/>
                    <a:pt x="128397" y="19209"/>
                    <a:pt x="128397" y="12376"/>
                  </a:cubicBezTo>
                  <a:cubicBezTo>
                    <a:pt x="128397" y="5537"/>
                    <a:pt x="122872" y="0"/>
                    <a:pt x="116078"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6" name="Forme libre : forme 1775">
              <a:extLst>
                <a:ext uri="{FF2B5EF4-FFF2-40B4-BE49-F238E27FC236}">
                  <a16:creationId xmlns:a16="http://schemas.microsoft.com/office/drawing/2014/main" id="{4293D87E-E145-43B9-ADC7-A4BD8C9AAFE4}"/>
                </a:ext>
              </a:extLst>
            </p:cNvPr>
            <p:cNvSpPr/>
            <p:nvPr/>
          </p:nvSpPr>
          <p:spPr>
            <a:xfrm>
              <a:off x="7165167" y="3623183"/>
              <a:ext cx="91313" cy="24790"/>
            </a:xfrm>
            <a:custGeom>
              <a:avLst/>
              <a:gdLst>
                <a:gd name="connsiteX0" fmla="*/ 12383 w 91313"/>
                <a:gd name="connsiteY0" fmla="*/ 24791 h 24790"/>
                <a:gd name="connsiteX1" fmla="*/ 91313 w 91313"/>
                <a:gd name="connsiteY1" fmla="*/ 24791 h 24790"/>
                <a:gd name="connsiteX2" fmla="*/ 76009 w 91313"/>
                <a:gd name="connsiteY2" fmla="*/ 39 h 24790"/>
                <a:gd name="connsiteX3" fmla="*/ 13907 w 91313"/>
                <a:gd name="connsiteY3" fmla="*/ 39 h 24790"/>
                <a:gd name="connsiteX4" fmla="*/ 0 w 91313"/>
                <a:gd name="connsiteY4" fmla="*/ 11932 h 24790"/>
                <a:gd name="connsiteX5" fmla="*/ 0 w 91313"/>
                <a:gd name="connsiteY5" fmla="*/ 12415 h 24790"/>
                <a:gd name="connsiteX6" fmla="*/ 12383 w 91313"/>
                <a:gd name="connsiteY6" fmla="*/ 24791 h 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13" h="24790">
                  <a:moveTo>
                    <a:pt x="12383" y="24791"/>
                  </a:moveTo>
                  <a:lnTo>
                    <a:pt x="91313" y="24791"/>
                  </a:lnTo>
                  <a:cubicBezTo>
                    <a:pt x="84074" y="18066"/>
                    <a:pt x="78740" y="9526"/>
                    <a:pt x="76009" y="39"/>
                  </a:cubicBezTo>
                  <a:lnTo>
                    <a:pt x="13907" y="39"/>
                  </a:lnTo>
                  <a:cubicBezTo>
                    <a:pt x="6795" y="-508"/>
                    <a:pt x="571" y="4814"/>
                    <a:pt x="0" y="11932"/>
                  </a:cubicBezTo>
                  <a:cubicBezTo>
                    <a:pt x="0" y="12091"/>
                    <a:pt x="0" y="12256"/>
                    <a:pt x="0" y="12415"/>
                  </a:cubicBezTo>
                  <a:cubicBezTo>
                    <a:pt x="0" y="19247"/>
                    <a:pt x="5524" y="24791"/>
                    <a:pt x="12383" y="2479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7" name="Forme libre : forme 1776">
              <a:extLst>
                <a:ext uri="{FF2B5EF4-FFF2-40B4-BE49-F238E27FC236}">
                  <a16:creationId xmlns:a16="http://schemas.microsoft.com/office/drawing/2014/main" id="{3A54EBCA-9A2E-49EE-9EFF-B48A704C1847}"/>
                </a:ext>
              </a:extLst>
            </p:cNvPr>
            <p:cNvSpPr/>
            <p:nvPr/>
          </p:nvSpPr>
          <p:spPr>
            <a:xfrm>
              <a:off x="7299470" y="3524200"/>
              <a:ext cx="236981" cy="24752"/>
            </a:xfrm>
            <a:custGeom>
              <a:avLst/>
              <a:gdLst>
                <a:gd name="connsiteX0" fmla="*/ 224663 w 236981"/>
                <a:gd name="connsiteY0" fmla="*/ 0 h 24752"/>
                <a:gd name="connsiteX1" fmla="*/ 9271 w 236981"/>
                <a:gd name="connsiteY1" fmla="*/ 0 h 24752"/>
                <a:gd name="connsiteX2" fmla="*/ 0 w 236981"/>
                <a:gd name="connsiteY2" fmla="*/ 19183 h 24752"/>
                <a:gd name="connsiteX3" fmla="*/ 7493 w 236981"/>
                <a:gd name="connsiteY3" fmla="*/ 18567 h 24752"/>
                <a:gd name="connsiteX4" fmla="*/ 31559 w 236981"/>
                <a:gd name="connsiteY4" fmla="*/ 24752 h 24752"/>
                <a:gd name="connsiteX5" fmla="*/ 224663 w 236981"/>
                <a:gd name="connsiteY5" fmla="*/ 24752 h 24752"/>
                <a:gd name="connsiteX6" fmla="*/ 236982 w 236981"/>
                <a:gd name="connsiteY6" fmla="*/ 12376 h 24752"/>
                <a:gd name="connsiteX7" fmla="*/ 224663 w 236981"/>
                <a:gd name="connsiteY7"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1" h="24752">
                  <a:moveTo>
                    <a:pt x="224663" y="0"/>
                  </a:moveTo>
                  <a:lnTo>
                    <a:pt x="9271" y="0"/>
                  </a:lnTo>
                  <a:cubicBezTo>
                    <a:pt x="6604" y="6598"/>
                    <a:pt x="3556" y="13005"/>
                    <a:pt x="0" y="19183"/>
                  </a:cubicBezTo>
                  <a:cubicBezTo>
                    <a:pt x="2477" y="18790"/>
                    <a:pt x="5017" y="18586"/>
                    <a:pt x="7493" y="18567"/>
                  </a:cubicBezTo>
                  <a:cubicBezTo>
                    <a:pt x="15939" y="18555"/>
                    <a:pt x="24193" y="20682"/>
                    <a:pt x="31559" y="24752"/>
                  </a:cubicBezTo>
                  <a:lnTo>
                    <a:pt x="224663" y="24752"/>
                  </a:lnTo>
                  <a:cubicBezTo>
                    <a:pt x="231457" y="24752"/>
                    <a:pt x="236982" y="19209"/>
                    <a:pt x="236982" y="12376"/>
                  </a:cubicBezTo>
                  <a:cubicBezTo>
                    <a:pt x="236982" y="5543"/>
                    <a:pt x="231457" y="0"/>
                    <a:pt x="22466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8" name="Forme libre : forme 1777">
              <a:extLst>
                <a:ext uri="{FF2B5EF4-FFF2-40B4-BE49-F238E27FC236}">
                  <a16:creationId xmlns:a16="http://schemas.microsoft.com/office/drawing/2014/main" id="{9606DA6D-4183-4A2D-B40A-FFAFE8A39984}"/>
                </a:ext>
              </a:extLst>
            </p:cNvPr>
            <p:cNvSpPr/>
            <p:nvPr/>
          </p:nvSpPr>
          <p:spPr>
            <a:xfrm>
              <a:off x="7316868" y="3425191"/>
              <a:ext cx="219582" cy="24745"/>
            </a:xfrm>
            <a:custGeom>
              <a:avLst/>
              <a:gdLst>
                <a:gd name="connsiteX0" fmla="*/ 207264 w 219582"/>
                <a:gd name="connsiteY0" fmla="*/ 0 h 24745"/>
                <a:gd name="connsiteX1" fmla="*/ 0 w 219582"/>
                <a:gd name="connsiteY1" fmla="*/ 0 h 24745"/>
                <a:gd name="connsiteX2" fmla="*/ 3619 w 219582"/>
                <a:gd name="connsiteY2" fmla="*/ 24746 h 24745"/>
                <a:gd name="connsiteX3" fmla="*/ 207264 w 219582"/>
                <a:gd name="connsiteY3" fmla="*/ 24746 h 24745"/>
                <a:gd name="connsiteX4" fmla="*/ 219583 w 219582"/>
                <a:gd name="connsiteY4" fmla="*/ 12370 h 24745"/>
                <a:gd name="connsiteX5" fmla="*/ 207264 w 219582"/>
                <a:gd name="connsiteY5" fmla="*/ 0 h 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82" h="24745">
                  <a:moveTo>
                    <a:pt x="207264" y="0"/>
                  </a:moveTo>
                  <a:lnTo>
                    <a:pt x="0" y="0"/>
                  </a:lnTo>
                  <a:cubicBezTo>
                    <a:pt x="1842" y="8134"/>
                    <a:pt x="3048" y="16421"/>
                    <a:pt x="3619" y="24746"/>
                  </a:cubicBezTo>
                  <a:lnTo>
                    <a:pt x="207264" y="24746"/>
                  </a:lnTo>
                  <a:cubicBezTo>
                    <a:pt x="214058" y="24746"/>
                    <a:pt x="219583" y="19202"/>
                    <a:pt x="219583" y="12370"/>
                  </a:cubicBezTo>
                  <a:cubicBezTo>
                    <a:pt x="219583" y="5537"/>
                    <a:pt x="214058" y="0"/>
                    <a:pt x="207264"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9" name="Forme libre : forme 1778">
              <a:extLst>
                <a:ext uri="{FF2B5EF4-FFF2-40B4-BE49-F238E27FC236}">
                  <a16:creationId xmlns:a16="http://schemas.microsoft.com/office/drawing/2014/main" id="{976A1DEB-D3B4-4E14-A087-97502B3574EF}"/>
                </a:ext>
              </a:extLst>
            </p:cNvPr>
            <p:cNvSpPr/>
            <p:nvPr/>
          </p:nvSpPr>
          <p:spPr>
            <a:xfrm>
              <a:off x="7230445" y="3313793"/>
              <a:ext cx="157480" cy="24752"/>
            </a:xfrm>
            <a:custGeom>
              <a:avLst/>
              <a:gdLst>
                <a:gd name="connsiteX0" fmla="*/ 35751 w 157480"/>
                <a:gd name="connsiteY0" fmla="*/ 24752 h 24752"/>
                <a:gd name="connsiteX1" fmla="*/ 145097 w 157480"/>
                <a:gd name="connsiteY1" fmla="*/ 24752 h 24752"/>
                <a:gd name="connsiteX2" fmla="*/ 157480 w 157480"/>
                <a:gd name="connsiteY2" fmla="*/ 12376 h 24752"/>
                <a:gd name="connsiteX3" fmla="*/ 145097 w 157480"/>
                <a:gd name="connsiteY3" fmla="*/ 0 h 24752"/>
                <a:gd name="connsiteX4" fmla="*/ 0 w 157480"/>
                <a:gd name="connsiteY4" fmla="*/ 0 h 24752"/>
                <a:gd name="connsiteX5" fmla="*/ 35751 w 157480"/>
                <a:gd name="connsiteY5"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24752">
                  <a:moveTo>
                    <a:pt x="35751" y="24752"/>
                  </a:moveTo>
                  <a:lnTo>
                    <a:pt x="145097" y="24752"/>
                  </a:lnTo>
                  <a:cubicBezTo>
                    <a:pt x="151955" y="24752"/>
                    <a:pt x="157480" y="19209"/>
                    <a:pt x="157480" y="12376"/>
                  </a:cubicBezTo>
                  <a:cubicBezTo>
                    <a:pt x="157480" y="5537"/>
                    <a:pt x="151955" y="0"/>
                    <a:pt x="145097" y="0"/>
                  </a:cubicBezTo>
                  <a:lnTo>
                    <a:pt x="0" y="0"/>
                  </a:lnTo>
                  <a:cubicBezTo>
                    <a:pt x="12954" y="6661"/>
                    <a:pt x="24955" y="14980"/>
                    <a:pt x="35751"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0" name="Forme libre : forme 1779">
              <a:extLst>
                <a:ext uri="{FF2B5EF4-FFF2-40B4-BE49-F238E27FC236}">
                  <a16:creationId xmlns:a16="http://schemas.microsoft.com/office/drawing/2014/main" id="{18EC7D61-CC73-4EC5-9242-2284C7AF31B2}"/>
                </a:ext>
              </a:extLst>
            </p:cNvPr>
            <p:cNvSpPr/>
            <p:nvPr/>
          </p:nvSpPr>
          <p:spPr>
            <a:xfrm>
              <a:off x="7041405" y="3313792"/>
              <a:ext cx="37210" cy="22250"/>
            </a:xfrm>
            <a:custGeom>
              <a:avLst/>
              <a:gdLst>
                <a:gd name="connsiteX0" fmla="*/ 4953 w 37210"/>
                <a:gd name="connsiteY0" fmla="*/ 22251 h 22250"/>
                <a:gd name="connsiteX1" fmla="*/ 37211 w 37210"/>
                <a:gd name="connsiteY1" fmla="*/ 0 h 22250"/>
                <a:gd name="connsiteX2" fmla="*/ 12382 w 37210"/>
                <a:gd name="connsiteY2" fmla="*/ 0 h 22250"/>
                <a:gd name="connsiteX3" fmla="*/ 0 w 37210"/>
                <a:gd name="connsiteY3" fmla="*/ 12306 h 22250"/>
                <a:gd name="connsiteX4" fmla="*/ 4953 w 37210"/>
                <a:gd name="connsiteY4" fmla="*/ 22251 h 2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0" h="22250">
                  <a:moveTo>
                    <a:pt x="4953" y="22251"/>
                  </a:moveTo>
                  <a:cubicBezTo>
                    <a:pt x="14795" y="13551"/>
                    <a:pt x="25591" y="6077"/>
                    <a:pt x="37211" y="0"/>
                  </a:cubicBezTo>
                  <a:lnTo>
                    <a:pt x="12382" y="0"/>
                  </a:lnTo>
                  <a:cubicBezTo>
                    <a:pt x="5524" y="-19"/>
                    <a:pt x="0" y="5493"/>
                    <a:pt x="0" y="12306"/>
                  </a:cubicBezTo>
                  <a:cubicBezTo>
                    <a:pt x="0" y="16231"/>
                    <a:pt x="1842" y="19920"/>
                    <a:pt x="4953" y="2225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1" name="Forme libre : forme 1780">
              <a:extLst>
                <a:ext uri="{FF2B5EF4-FFF2-40B4-BE49-F238E27FC236}">
                  <a16:creationId xmlns:a16="http://schemas.microsoft.com/office/drawing/2014/main" id="{E265B291-2BB5-44DC-8624-6AF3E72476B0}"/>
                </a:ext>
              </a:extLst>
            </p:cNvPr>
            <p:cNvSpPr/>
            <p:nvPr/>
          </p:nvSpPr>
          <p:spPr>
            <a:xfrm>
              <a:off x="7016242" y="3319590"/>
              <a:ext cx="458343" cy="458344"/>
            </a:xfrm>
            <a:custGeom>
              <a:avLst/>
              <a:gdLst>
                <a:gd name="connsiteX0" fmla="*/ 255414 w 458343"/>
                <a:gd name="connsiteY0" fmla="*/ 272913 h 458345"/>
                <a:gd name="connsiteX1" fmla="*/ 255287 w 458343"/>
                <a:gd name="connsiteY1" fmla="*/ 273085 h 458345"/>
                <a:gd name="connsiteX2" fmla="*/ 255223 w 458343"/>
                <a:gd name="connsiteY2" fmla="*/ 308410 h 458345"/>
                <a:gd name="connsiteX3" fmla="*/ 255287 w 458343"/>
                <a:gd name="connsiteY3" fmla="*/ 308410 h 458345"/>
                <a:gd name="connsiteX4" fmla="*/ 397845 w 458343"/>
                <a:gd name="connsiteY4" fmla="*/ 451030 h 458345"/>
                <a:gd name="connsiteX5" fmla="*/ 433214 w 458343"/>
                <a:gd name="connsiteY5" fmla="*/ 451030 h 458345"/>
                <a:gd name="connsiteX6" fmla="*/ 451058 w 458343"/>
                <a:gd name="connsiteY6" fmla="*/ 433200 h 458345"/>
                <a:gd name="connsiteX7" fmla="*/ 451058 w 458343"/>
                <a:gd name="connsiteY7" fmla="*/ 433200 h 458345"/>
                <a:gd name="connsiteX8" fmla="*/ 451058 w 458343"/>
                <a:gd name="connsiteY8" fmla="*/ 397875 h 458345"/>
                <a:gd name="connsiteX9" fmla="*/ 451058 w 458343"/>
                <a:gd name="connsiteY9" fmla="*/ 397875 h 458345"/>
                <a:gd name="connsiteX10" fmla="*/ 308436 w 458343"/>
                <a:gd name="connsiteY10" fmla="*/ 255254 h 458345"/>
                <a:gd name="connsiteX11" fmla="*/ 273067 w 458343"/>
                <a:gd name="connsiteY11" fmla="*/ 255254 h 458345"/>
                <a:gd name="connsiteX12" fmla="*/ 272940 w 458343"/>
                <a:gd name="connsiteY12" fmla="*/ 255412 h 458345"/>
                <a:gd name="connsiteX13" fmla="*/ 246396 w 458343"/>
                <a:gd name="connsiteY13" fmla="*/ 228895 h 458345"/>
                <a:gd name="connsiteX14" fmla="*/ 228870 w 458343"/>
                <a:gd name="connsiteY14" fmla="*/ 32483 h 458345"/>
                <a:gd name="connsiteX15" fmla="*/ 32465 w 458343"/>
                <a:gd name="connsiteY15" fmla="*/ 49977 h 458345"/>
                <a:gd name="connsiteX16" fmla="*/ 49991 w 458343"/>
                <a:gd name="connsiteY16" fmla="*/ 246402 h 458345"/>
                <a:gd name="connsiteX17" fmla="*/ 228870 w 458343"/>
                <a:gd name="connsiteY17" fmla="*/ 246402 h 458345"/>
                <a:gd name="connsiteX18" fmla="*/ 255414 w 458343"/>
                <a:gd name="connsiteY18" fmla="*/ 272913 h 458345"/>
                <a:gd name="connsiteX19" fmla="*/ 290910 w 458343"/>
                <a:gd name="connsiteY19" fmla="*/ 272748 h 458345"/>
                <a:gd name="connsiteX20" fmla="*/ 433532 w 458343"/>
                <a:gd name="connsiteY20" fmla="*/ 415375 h 458345"/>
                <a:gd name="connsiteX21" fmla="*/ 433532 w 458343"/>
                <a:gd name="connsiteY21" fmla="*/ 415693 h 458345"/>
                <a:gd name="connsiteX22" fmla="*/ 415370 w 458343"/>
                <a:gd name="connsiteY22" fmla="*/ 433524 h 458345"/>
                <a:gd name="connsiteX23" fmla="*/ 272749 w 458343"/>
                <a:gd name="connsiteY23" fmla="*/ 290585 h 458345"/>
                <a:gd name="connsiteX24" fmla="*/ 290910 w 458343"/>
                <a:gd name="connsiteY24" fmla="*/ 272748 h 458345"/>
                <a:gd name="connsiteX25" fmla="*/ 139653 w 458343"/>
                <a:gd name="connsiteY25" fmla="*/ 254123 h 458345"/>
                <a:gd name="connsiteX26" fmla="*/ 25163 w 458343"/>
                <a:gd name="connsiteY26" fmla="*/ 139639 h 458345"/>
                <a:gd name="connsiteX27" fmla="*/ 139653 w 458343"/>
                <a:gd name="connsiteY27" fmla="*/ 25149 h 458345"/>
                <a:gd name="connsiteX28" fmla="*/ 254144 w 458343"/>
                <a:gd name="connsiteY28" fmla="*/ 139639 h 458345"/>
                <a:gd name="connsiteX29" fmla="*/ 139653 w 458343"/>
                <a:gd name="connsiteY29" fmla="*/ 254123 h 45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8343" h="458345">
                  <a:moveTo>
                    <a:pt x="255414" y="272913"/>
                  </a:moveTo>
                  <a:lnTo>
                    <a:pt x="255287" y="273085"/>
                  </a:lnTo>
                  <a:cubicBezTo>
                    <a:pt x="245507" y="282832"/>
                    <a:pt x="245507" y="298643"/>
                    <a:pt x="255223" y="308410"/>
                  </a:cubicBezTo>
                  <a:cubicBezTo>
                    <a:pt x="255223" y="308410"/>
                    <a:pt x="255223" y="308410"/>
                    <a:pt x="255287" y="308410"/>
                  </a:cubicBezTo>
                  <a:lnTo>
                    <a:pt x="397845" y="451030"/>
                  </a:lnTo>
                  <a:cubicBezTo>
                    <a:pt x="407623" y="460784"/>
                    <a:pt x="423435" y="460784"/>
                    <a:pt x="433214" y="451030"/>
                  </a:cubicBezTo>
                  <a:lnTo>
                    <a:pt x="451058" y="433200"/>
                  </a:lnTo>
                  <a:lnTo>
                    <a:pt x="451058" y="433200"/>
                  </a:lnTo>
                  <a:cubicBezTo>
                    <a:pt x="460773" y="423446"/>
                    <a:pt x="460773" y="407641"/>
                    <a:pt x="451058" y="397875"/>
                  </a:cubicBezTo>
                  <a:lnTo>
                    <a:pt x="451058" y="397875"/>
                  </a:lnTo>
                  <a:lnTo>
                    <a:pt x="308436" y="255254"/>
                  </a:lnTo>
                  <a:cubicBezTo>
                    <a:pt x="298658" y="245507"/>
                    <a:pt x="282845" y="245507"/>
                    <a:pt x="273067" y="255254"/>
                  </a:cubicBezTo>
                  <a:lnTo>
                    <a:pt x="272940" y="255412"/>
                  </a:lnTo>
                  <a:lnTo>
                    <a:pt x="246396" y="228895"/>
                  </a:lnTo>
                  <a:cubicBezTo>
                    <a:pt x="295800" y="169821"/>
                    <a:pt x="287989" y="81886"/>
                    <a:pt x="228870" y="32483"/>
                  </a:cubicBezTo>
                  <a:cubicBezTo>
                    <a:pt x="169816" y="-16926"/>
                    <a:pt x="81869" y="-9084"/>
                    <a:pt x="32465" y="49977"/>
                  </a:cubicBezTo>
                  <a:cubicBezTo>
                    <a:pt x="-16938" y="109051"/>
                    <a:pt x="-9064" y="196992"/>
                    <a:pt x="49991" y="246402"/>
                  </a:cubicBezTo>
                  <a:cubicBezTo>
                    <a:pt x="101744" y="289702"/>
                    <a:pt x="177119" y="289702"/>
                    <a:pt x="228870" y="246402"/>
                  </a:cubicBezTo>
                  <a:lnTo>
                    <a:pt x="255414" y="272913"/>
                  </a:lnTo>
                  <a:close/>
                  <a:moveTo>
                    <a:pt x="290910" y="272748"/>
                  </a:moveTo>
                  <a:lnTo>
                    <a:pt x="433532" y="415375"/>
                  </a:lnTo>
                  <a:cubicBezTo>
                    <a:pt x="433595" y="415471"/>
                    <a:pt x="433595" y="415598"/>
                    <a:pt x="433532" y="415693"/>
                  </a:cubicBezTo>
                  <a:lnTo>
                    <a:pt x="415370" y="433524"/>
                  </a:lnTo>
                  <a:lnTo>
                    <a:pt x="272749" y="290585"/>
                  </a:lnTo>
                  <a:lnTo>
                    <a:pt x="290910" y="272748"/>
                  </a:lnTo>
                  <a:close/>
                  <a:moveTo>
                    <a:pt x="139653" y="254123"/>
                  </a:moveTo>
                  <a:cubicBezTo>
                    <a:pt x="76408" y="254123"/>
                    <a:pt x="25163" y="202866"/>
                    <a:pt x="25163" y="139639"/>
                  </a:cubicBezTo>
                  <a:cubicBezTo>
                    <a:pt x="25163" y="76406"/>
                    <a:pt x="76408" y="25149"/>
                    <a:pt x="139653" y="25149"/>
                  </a:cubicBezTo>
                  <a:cubicBezTo>
                    <a:pt x="202836" y="25149"/>
                    <a:pt x="254144" y="76406"/>
                    <a:pt x="254144" y="139639"/>
                  </a:cubicBezTo>
                  <a:cubicBezTo>
                    <a:pt x="254081" y="202834"/>
                    <a:pt x="202836" y="254054"/>
                    <a:pt x="139653" y="254123"/>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2" name="Forme libre : forme 1781">
              <a:extLst>
                <a:ext uri="{FF2B5EF4-FFF2-40B4-BE49-F238E27FC236}">
                  <a16:creationId xmlns:a16="http://schemas.microsoft.com/office/drawing/2014/main" id="{C5E48859-A275-4E22-A46B-ED792B7EBFD7}"/>
                </a:ext>
              </a:extLst>
            </p:cNvPr>
            <p:cNvSpPr/>
            <p:nvPr/>
          </p:nvSpPr>
          <p:spPr>
            <a:xfrm>
              <a:off x="7109460" y="3425184"/>
              <a:ext cx="111405" cy="74158"/>
            </a:xfrm>
            <a:custGeom>
              <a:avLst/>
              <a:gdLst>
                <a:gd name="connsiteX0" fmla="*/ 108920 w 111405"/>
                <a:gd name="connsiteY0" fmla="*/ 4959 h 74158"/>
                <a:gd name="connsiteX1" fmla="*/ 91585 w 111405"/>
                <a:gd name="connsiteY1" fmla="*/ 2470 h 74158"/>
                <a:gd name="connsiteX2" fmla="*/ 36277 w 111405"/>
                <a:gd name="connsiteY2" fmla="*/ 43936 h 74158"/>
                <a:gd name="connsiteX3" fmla="*/ 22878 w 111405"/>
                <a:gd name="connsiteY3" fmla="*/ 22701 h 74158"/>
                <a:gd name="connsiteX4" fmla="*/ 5796 w 111405"/>
                <a:gd name="connsiteY4" fmla="*/ 18840 h 74158"/>
                <a:gd name="connsiteX5" fmla="*/ 1923 w 111405"/>
                <a:gd name="connsiteY5" fmla="*/ 35916 h 74158"/>
                <a:gd name="connsiteX6" fmla="*/ 22497 w 111405"/>
                <a:gd name="connsiteY6" fmla="*/ 68485 h 74158"/>
                <a:gd name="connsiteX7" fmla="*/ 39959 w 111405"/>
                <a:gd name="connsiteY7" fmla="*/ 72073 h 74158"/>
                <a:gd name="connsiteX8" fmla="*/ 40341 w 111405"/>
                <a:gd name="connsiteY8" fmla="*/ 71780 h 74158"/>
                <a:gd name="connsiteX9" fmla="*/ 106444 w 111405"/>
                <a:gd name="connsiteY9" fmla="*/ 22270 h 74158"/>
                <a:gd name="connsiteX10" fmla="*/ 108920 w 111405"/>
                <a:gd name="connsiteY10" fmla="*/ 4959 h 7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05" h="74158">
                  <a:moveTo>
                    <a:pt x="108920" y="4959"/>
                  </a:moveTo>
                  <a:cubicBezTo>
                    <a:pt x="104793" y="-514"/>
                    <a:pt x="97046" y="-1625"/>
                    <a:pt x="91585" y="2470"/>
                  </a:cubicBezTo>
                  <a:lnTo>
                    <a:pt x="36277" y="43936"/>
                  </a:lnTo>
                  <a:lnTo>
                    <a:pt x="22878" y="22701"/>
                  </a:lnTo>
                  <a:cubicBezTo>
                    <a:pt x="19195" y="16916"/>
                    <a:pt x="11575" y="15196"/>
                    <a:pt x="5796" y="18840"/>
                  </a:cubicBezTo>
                  <a:cubicBezTo>
                    <a:pt x="18" y="22492"/>
                    <a:pt x="-1760" y="30137"/>
                    <a:pt x="1923" y="35916"/>
                  </a:cubicBezTo>
                  <a:lnTo>
                    <a:pt x="22497" y="68485"/>
                  </a:lnTo>
                  <a:cubicBezTo>
                    <a:pt x="26307" y="74295"/>
                    <a:pt x="34117" y="75914"/>
                    <a:pt x="39959" y="72073"/>
                  </a:cubicBezTo>
                  <a:cubicBezTo>
                    <a:pt x="40087" y="71977"/>
                    <a:pt x="40214" y="71882"/>
                    <a:pt x="40341" y="71780"/>
                  </a:cubicBezTo>
                  <a:lnTo>
                    <a:pt x="106444" y="22270"/>
                  </a:lnTo>
                  <a:cubicBezTo>
                    <a:pt x="111905" y="18186"/>
                    <a:pt x="113048" y="10427"/>
                    <a:pt x="108920" y="4959"/>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14" name="Picture 113" descr="Text, logo&#10;&#10;Description automatically generated">
            <a:extLst>
              <a:ext uri="{FF2B5EF4-FFF2-40B4-BE49-F238E27FC236}">
                <a16:creationId xmlns:a16="http://schemas.microsoft.com/office/drawing/2014/main" id="{3829BF3B-4D96-4A9D-AF38-FF6CF85D6C00}"/>
              </a:ext>
            </a:extLst>
          </p:cNvPr>
          <p:cNvPicPr>
            <a:picLocks noChangeAspect="1"/>
          </p:cNvPicPr>
          <p:nvPr/>
        </p:nvPicPr>
        <p:blipFill>
          <a:blip r:embed="rId15">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426738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èche : bas 1">
            <a:extLst>
              <a:ext uri="{FF2B5EF4-FFF2-40B4-BE49-F238E27FC236}">
                <a16:creationId xmlns:a16="http://schemas.microsoft.com/office/drawing/2014/main" id="{F3E9C4AB-CFDC-4394-A1E1-259EABED1636}"/>
              </a:ext>
            </a:extLst>
          </p:cNvPr>
          <p:cNvSpPr/>
          <p:nvPr/>
        </p:nvSpPr>
        <p:spPr>
          <a:xfrm>
            <a:off x="9876580" y="4272286"/>
            <a:ext cx="1209342" cy="675210"/>
          </a:xfrm>
          <a:prstGeom prst="downArrow">
            <a:avLst/>
          </a:prstGeom>
          <a:solidFill>
            <a:srgbClr val="B0F3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white"/>
                </a:solidFill>
                <a:effectLst/>
                <a:uLnTx/>
                <a:uFillTx/>
                <a:latin typeface="Calibri" panose="020F0502020204030204"/>
                <a:ea typeface="+mn-ea"/>
                <a:cs typeface="+mn-cs"/>
              </a:rPr>
              <a:t>                                                      </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0" name="Rectangle 1759">
            <a:extLst>
              <a:ext uri="{FF2B5EF4-FFF2-40B4-BE49-F238E27FC236}">
                <a16:creationId xmlns:a16="http://schemas.microsoft.com/office/drawing/2014/main" id="{7AEFF28C-A0FD-4AE0-90B9-8BE96EE9E995}"/>
              </a:ext>
            </a:extLst>
          </p:cNvPr>
          <p:cNvSpPr/>
          <p:nvPr/>
        </p:nvSpPr>
        <p:spPr>
          <a:xfrm>
            <a:off x="744504" y="1288318"/>
            <a:ext cx="242245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black"/>
                </a:solidFill>
                <a:effectLst/>
                <a:uLnTx/>
                <a:uFillTx/>
                <a:latin typeface="Roboto" pitchFamily="2" charset="0"/>
                <a:ea typeface="Roboto" pitchFamily="2" charset="0"/>
                <a:cs typeface="+mn-cs"/>
              </a:rPr>
              <a:t>Data flow of the IMEO</a:t>
            </a:r>
          </a:p>
        </p:txBody>
      </p:sp>
      <p:sp>
        <p:nvSpPr>
          <p:cNvPr id="7" name="Forme libre : forme 6">
            <a:extLst>
              <a:ext uri="{FF2B5EF4-FFF2-40B4-BE49-F238E27FC236}">
                <a16:creationId xmlns:a16="http://schemas.microsoft.com/office/drawing/2014/main" id="{7DB3B866-21F2-4906-9194-6203CD325E78}"/>
              </a:ext>
            </a:extLst>
          </p:cNvPr>
          <p:cNvSpPr/>
          <p:nvPr/>
        </p:nvSpPr>
        <p:spPr>
          <a:xfrm rot="259444">
            <a:off x="842360" y="965482"/>
            <a:ext cx="10481630" cy="4203281"/>
          </a:xfrm>
          <a:custGeom>
            <a:avLst/>
            <a:gdLst>
              <a:gd name="connsiteX0" fmla="*/ 7581204 w 7581203"/>
              <a:gd name="connsiteY0" fmla="*/ 0 h 3040169"/>
              <a:gd name="connsiteX1" fmla="*/ 7200023 w 7581203"/>
              <a:gd name="connsiteY1" fmla="*/ 287655 h 3040169"/>
              <a:gd name="connsiteX2" fmla="*/ 7358329 w 7581203"/>
              <a:gd name="connsiteY2" fmla="*/ 307296 h 3040169"/>
              <a:gd name="connsiteX3" fmla="*/ 5350440 w 7581203"/>
              <a:gd name="connsiteY3" fmla="*/ 2193951 h 3040169"/>
              <a:gd name="connsiteX4" fmla="*/ 3009509 w 7581203"/>
              <a:gd name="connsiteY4" fmla="*/ 2902972 h 3040169"/>
              <a:gd name="connsiteX5" fmla="*/ 285711 w 7581203"/>
              <a:gd name="connsiteY5" fmla="*/ 2803179 h 3040169"/>
              <a:gd name="connsiteX6" fmla="*/ 150466 w 7581203"/>
              <a:gd name="connsiteY6" fmla="*/ 2668324 h 3040169"/>
              <a:gd name="connsiteX7" fmla="*/ 199 w 7581203"/>
              <a:gd name="connsiteY7" fmla="*/ 2803617 h 3040169"/>
              <a:gd name="connsiteX8" fmla="*/ 135492 w 7581203"/>
              <a:gd name="connsiteY8" fmla="*/ 2953903 h 3040169"/>
              <a:gd name="connsiteX9" fmla="*/ 268928 w 7581203"/>
              <a:gd name="connsiteY9" fmla="*/ 2878436 h 3040169"/>
              <a:gd name="connsiteX10" fmla="*/ 1488757 w 7581203"/>
              <a:gd name="connsiteY10" fmla="*/ 3027179 h 3040169"/>
              <a:gd name="connsiteX11" fmla="*/ 3016348 w 7581203"/>
              <a:gd name="connsiteY11" fmla="*/ 2979801 h 3040169"/>
              <a:gd name="connsiteX12" fmla="*/ 5385644 w 7581203"/>
              <a:gd name="connsiteY12" fmla="*/ 2262540 h 3040169"/>
              <a:gd name="connsiteX13" fmla="*/ 7425166 w 7581203"/>
              <a:gd name="connsiteY13" fmla="*/ 345815 h 3040169"/>
              <a:gd name="connsiteX14" fmla="*/ 7521216 w 7581203"/>
              <a:gd name="connsiteY14" fmla="*/ 473764 h 3040169"/>
              <a:gd name="connsiteX15" fmla="*/ 7581204 w 7581203"/>
              <a:gd name="connsiteY15" fmla="*/ 0 h 3040169"/>
              <a:gd name="connsiteX16" fmla="*/ 139531 w 7581203"/>
              <a:gd name="connsiteY16" fmla="*/ 2876893 h 3040169"/>
              <a:gd name="connsiteX17" fmla="*/ 77218 w 7581203"/>
              <a:gd name="connsiteY17" fmla="*/ 2807646 h 3040169"/>
              <a:gd name="connsiteX18" fmla="*/ 146437 w 7581203"/>
              <a:gd name="connsiteY18" fmla="*/ 2745324 h 3040169"/>
              <a:gd name="connsiteX19" fmla="*/ 208768 w 7581203"/>
              <a:gd name="connsiteY19" fmla="*/ 2814542 h 3040169"/>
              <a:gd name="connsiteX20" fmla="*/ 139531 w 7581203"/>
              <a:gd name="connsiteY20" fmla="*/ 2876893 h 304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81203" h="3040169">
                <a:moveTo>
                  <a:pt x="7581204" y="0"/>
                </a:moveTo>
                <a:lnTo>
                  <a:pt x="7200023" y="287655"/>
                </a:lnTo>
                <a:lnTo>
                  <a:pt x="7358329" y="307296"/>
                </a:lnTo>
                <a:cubicBezTo>
                  <a:pt x="6854485" y="1115139"/>
                  <a:pt x="6179353" y="1749685"/>
                  <a:pt x="5350440" y="2193951"/>
                </a:cubicBezTo>
                <a:cubicBezTo>
                  <a:pt x="4668183" y="2559596"/>
                  <a:pt x="3880570" y="2798140"/>
                  <a:pt x="3009509" y="2902972"/>
                </a:cubicBezTo>
                <a:cubicBezTo>
                  <a:pt x="1559832" y="3077461"/>
                  <a:pt x="354586" y="2818438"/>
                  <a:pt x="285711" y="2803179"/>
                </a:cubicBezTo>
                <a:cubicBezTo>
                  <a:pt x="281768" y="2731246"/>
                  <a:pt x="224008" y="2672182"/>
                  <a:pt x="150466" y="2668324"/>
                </a:cubicBezTo>
                <a:cubicBezTo>
                  <a:pt x="71732" y="2664200"/>
                  <a:pt x="4333" y="2724893"/>
                  <a:pt x="199" y="2803617"/>
                </a:cubicBezTo>
                <a:cubicBezTo>
                  <a:pt x="-3935" y="2882360"/>
                  <a:pt x="56759" y="2949778"/>
                  <a:pt x="135492" y="2953903"/>
                </a:cubicBezTo>
                <a:cubicBezTo>
                  <a:pt x="192557" y="2956884"/>
                  <a:pt x="243534" y="2925737"/>
                  <a:pt x="268928" y="2878436"/>
                </a:cubicBezTo>
                <a:cubicBezTo>
                  <a:pt x="315458" y="2888752"/>
                  <a:pt x="790936" y="2990593"/>
                  <a:pt x="1488757" y="3027179"/>
                </a:cubicBezTo>
                <a:cubicBezTo>
                  <a:pt x="1927278" y="3050172"/>
                  <a:pt x="2453658" y="3047362"/>
                  <a:pt x="3016348" y="2979801"/>
                </a:cubicBezTo>
                <a:cubicBezTo>
                  <a:pt x="3897391" y="2874064"/>
                  <a:pt x="4694538" y="2632729"/>
                  <a:pt x="5385644" y="2262540"/>
                </a:cubicBezTo>
                <a:cubicBezTo>
                  <a:pt x="6227940" y="1811379"/>
                  <a:pt x="6913740" y="1166708"/>
                  <a:pt x="7425166" y="345815"/>
                </a:cubicBezTo>
                <a:lnTo>
                  <a:pt x="7521216" y="473764"/>
                </a:lnTo>
                <a:lnTo>
                  <a:pt x="7581204" y="0"/>
                </a:lnTo>
                <a:close/>
                <a:moveTo>
                  <a:pt x="139531" y="2876893"/>
                </a:moveTo>
                <a:cubicBezTo>
                  <a:pt x="103260" y="2874998"/>
                  <a:pt x="75313" y="2843918"/>
                  <a:pt x="77218" y="2807646"/>
                </a:cubicBezTo>
                <a:cubicBezTo>
                  <a:pt x="79123" y="2771375"/>
                  <a:pt x="110165" y="2743419"/>
                  <a:pt x="146437" y="2745324"/>
                </a:cubicBezTo>
                <a:cubicBezTo>
                  <a:pt x="182708" y="2747220"/>
                  <a:pt x="210673" y="2778271"/>
                  <a:pt x="208768" y="2814542"/>
                </a:cubicBezTo>
                <a:cubicBezTo>
                  <a:pt x="206854" y="2850814"/>
                  <a:pt x="175802" y="2878808"/>
                  <a:pt x="139531" y="2876893"/>
                </a:cubicBezTo>
                <a:close/>
              </a:path>
            </a:pathLst>
          </a:custGeom>
          <a:solidFill>
            <a:srgbClr val="4F7BA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1" name="Groupe 40">
            <a:extLst>
              <a:ext uri="{FF2B5EF4-FFF2-40B4-BE49-F238E27FC236}">
                <a16:creationId xmlns:a16="http://schemas.microsoft.com/office/drawing/2014/main" id="{CF5B9ED6-7C36-45BD-9F55-86E3021A9D6B}"/>
              </a:ext>
            </a:extLst>
          </p:cNvPr>
          <p:cNvGrpSpPr/>
          <p:nvPr/>
        </p:nvGrpSpPr>
        <p:grpSpPr>
          <a:xfrm>
            <a:off x="1625826" y="2934188"/>
            <a:ext cx="10381641" cy="3403046"/>
            <a:chOff x="2333113" y="3138275"/>
            <a:chExt cx="11120063" cy="3645096"/>
          </a:xfrm>
        </p:grpSpPr>
        <p:grpSp>
          <p:nvGrpSpPr>
            <p:cNvPr id="17" name="Graphique 3">
              <a:extLst>
                <a:ext uri="{FF2B5EF4-FFF2-40B4-BE49-F238E27FC236}">
                  <a16:creationId xmlns:a16="http://schemas.microsoft.com/office/drawing/2014/main" id="{E53641CA-A67E-4C2B-8530-A13BF29F5A46}"/>
                </a:ext>
              </a:extLst>
            </p:cNvPr>
            <p:cNvGrpSpPr/>
            <p:nvPr/>
          </p:nvGrpSpPr>
          <p:grpSpPr>
            <a:xfrm>
              <a:off x="2333113" y="3138275"/>
              <a:ext cx="3119836" cy="3529605"/>
              <a:chOff x="3224622" y="3489725"/>
              <a:chExt cx="1913357" cy="2164663"/>
            </a:xfrm>
            <a:solidFill>
              <a:srgbClr val="0DDBF1"/>
            </a:solidFill>
          </p:grpSpPr>
          <p:grpSp>
            <p:nvGrpSpPr>
              <p:cNvPr id="18" name="Graphique 3">
                <a:extLst>
                  <a:ext uri="{FF2B5EF4-FFF2-40B4-BE49-F238E27FC236}">
                    <a16:creationId xmlns:a16="http://schemas.microsoft.com/office/drawing/2014/main" id="{E53641CA-A67E-4C2B-8530-A13BF29F5A46}"/>
                  </a:ext>
                </a:extLst>
              </p:cNvPr>
              <p:cNvGrpSpPr/>
              <p:nvPr/>
            </p:nvGrpSpPr>
            <p:grpSpPr>
              <a:xfrm>
                <a:off x="3224622" y="3741062"/>
                <a:ext cx="1913357" cy="1913326"/>
                <a:chOff x="3224622" y="3741062"/>
                <a:chExt cx="1913357" cy="1913326"/>
              </a:xfrm>
              <a:grpFill/>
            </p:grpSpPr>
            <p:sp>
              <p:nvSpPr>
                <p:cNvPr id="19" name="Forme libre : forme 18">
                  <a:extLst>
                    <a:ext uri="{FF2B5EF4-FFF2-40B4-BE49-F238E27FC236}">
                      <a16:creationId xmlns:a16="http://schemas.microsoft.com/office/drawing/2014/main" id="{435BC26F-26E8-42DA-A502-8CBC3B4DADDE}"/>
                    </a:ext>
                  </a:extLst>
                </p:cNvPr>
                <p:cNvSpPr/>
                <p:nvPr/>
              </p:nvSpPr>
              <p:spPr>
                <a:xfrm>
                  <a:off x="3224622" y="3741062"/>
                  <a:ext cx="1913357" cy="1913326"/>
                </a:xfrm>
                <a:custGeom>
                  <a:avLst/>
                  <a:gdLst>
                    <a:gd name="connsiteX0" fmla="*/ 1758476 w 1913357"/>
                    <a:gd name="connsiteY0" fmla="*/ 1478305 h 1913326"/>
                    <a:gd name="connsiteX1" fmla="*/ 434996 w 1913357"/>
                    <a:gd name="connsiteY1" fmla="*/ 1758463 h 1913326"/>
                    <a:gd name="connsiteX2" fmla="*/ 154885 w 1913357"/>
                    <a:gd name="connsiteY2" fmla="*/ 435022 h 1913326"/>
                    <a:gd name="connsiteX3" fmla="*/ 1478336 w 1913357"/>
                    <a:gd name="connsiteY3" fmla="*/ 154872 h 1913326"/>
                    <a:gd name="connsiteX4" fmla="*/ 1758476 w 1913357"/>
                    <a:gd name="connsiteY4" fmla="*/ 1478305 h 1913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357" h="1913326">
                      <a:moveTo>
                        <a:pt x="1758476" y="1478305"/>
                      </a:moveTo>
                      <a:cubicBezTo>
                        <a:pt x="1470354" y="1921141"/>
                        <a:pt x="877833" y="2046547"/>
                        <a:pt x="434996" y="1758463"/>
                      </a:cubicBezTo>
                      <a:cubicBezTo>
                        <a:pt x="-7821" y="1470361"/>
                        <a:pt x="-133227" y="877782"/>
                        <a:pt x="154885" y="435022"/>
                      </a:cubicBezTo>
                      <a:cubicBezTo>
                        <a:pt x="442997" y="-7824"/>
                        <a:pt x="1035519" y="-133221"/>
                        <a:pt x="1478336" y="154872"/>
                      </a:cubicBezTo>
                      <a:cubicBezTo>
                        <a:pt x="1921173" y="442985"/>
                        <a:pt x="2046588" y="1035525"/>
                        <a:pt x="1758476" y="14783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orme libre : forme 19">
                  <a:extLst>
                    <a:ext uri="{FF2B5EF4-FFF2-40B4-BE49-F238E27FC236}">
                      <a16:creationId xmlns:a16="http://schemas.microsoft.com/office/drawing/2014/main" id="{A918DCB4-0712-4E10-A6DE-65636047DE67}"/>
                    </a:ext>
                  </a:extLst>
                </p:cNvPr>
                <p:cNvSpPr/>
                <p:nvPr/>
              </p:nvSpPr>
              <p:spPr>
                <a:xfrm>
                  <a:off x="3316484" y="3832890"/>
                  <a:ext cx="1729646" cy="1729629"/>
                </a:xfrm>
                <a:custGeom>
                  <a:avLst/>
                  <a:gdLst>
                    <a:gd name="connsiteX0" fmla="*/ 1570179 w 1571273"/>
                    <a:gd name="connsiteY0" fmla="*/ 826734 h 1571257"/>
                    <a:gd name="connsiteX1" fmla="*/ 744485 w 1571273"/>
                    <a:gd name="connsiteY1" fmla="*/ 1570161 h 1571257"/>
                    <a:gd name="connsiteX2" fmla="*/ 1097 w 1571273"/>
                    <a:gd name="connsiteY2" fmla="*/ 744496 h 1571257"/>
                    <a:gd name="connsiteX3" fmla="*/ 826753 w 1571273"/>
                    <a:gd name="connsiteY3" fmla="*/ 1098 h 1571257"/>
                    <a:gd name="connsiteX4" fmla="*/ 1570179 w 1571273"/>
                    <a:gd name="connsiteY4" fmla="*/ 826734 h 157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1273" h="1571257">
                      <a:moveTo>
                        <a:pt x="1570179" y="826734"/>
                      </a:moveTo>
                      <a:cubicBezTo>
                        <a:pt x="1547462" y="1260074"/>
                        <a:pt x="1177778" y="1592878"/>
                        <a:pt x="744485" y="1570161"/>
                      </a:cubicBezTo>
                      <a:cubicBezTo>
                        <a:pt x="311203" y="1547434"/>
                        <a:pt x="-21620" y="1177835"/>
                        <a:pt x="1097" y="744496"/>
                      </a:cubicBezTo>
                      <a:cubicBezTo>
                        <a:pt x="23814" y="311222"/>
                        <a:pt x="393470" y="-21629"/>
                        <a:pt x="826753" y="1098"/>
                      </a:cubicBezTo>
                      <a:cubicBezTo>
                        <a:pt x="1260035" y="23806"/>
                        <a:pt x="1592867" y="393461"/>
                        <a:pt x="1570179" y="826734"/>
                      </a:cubicBezTo>
                      <a:close/>
                    </a:path>
                  </a:pathLst>
                </a:custGeom>
                <a:solidFill>
                  <a:srgbClr val="09909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Forme libre : forme 20">
                <a:extLst>
                  <a:ext uri="{FF2B5EF4-FFF2-40B4-BE49-F238E27FC236}">
                    <a16:creationId xmlns:a16="http://schemas.microsoft.com/office/drawing/2014/main" id="{C9347A88-18A2-4EC3-BDFE-6760A7D7F720}"/>
                  </a:ext>
                </a:extLst>
              </p:cNvPr>
              <p:cNvSpPr/>
              <p:nvPr/>
            </p:nvSpPr>
            <p:spPr>
              <a:xfrm>
                <a:off x="3745868" y="3489725"/>
                <a:ext cx="267890" cy="250265"/>
              </a:xfrm>
              <a:custGeom>
                <a:avLst/>
                <a:gdLst>
                  <a:gd name="connsiteX0" fmla="*/ 105032 w 267890"/>
                  <a:gd name="connsiteY0" fmla="*/ 5845 h 250265"/>
                  <a:gd name="connsiteX1" fmla="*/ 267891 w 267890"/>
                  <a:gd name="connsiteY1" fmla="*/ 183296 h 250265"/>
                  <a:gd name="connsiteX2" fmla="*/ 155886 w 267890"/>
                  <a:gd name="connsiteY2" fmla="*/ 201212 h 250265"/>
                  <a:gd name="connsiteX3" fmla="*/ 0 w 267890"/>
                  <a:gd name="connsiteY3" fmla="*/ 250266 h 250265"/>
                  <a:gd name="connsiteX4" fmla="*/ 74971 w 267890"/>
                  <a:gd name="connsiteY4" fmla="*/ 12522 h 250265"/>
                  <a:gd name="connsiteX5" fmla="*/ 105032 w 267890"/>
                  <a:gd name="connsiteY5" fmla="*/ 5845 h 25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7890" h="250265">
                    <a:moveTo>
                      <a:pt x="105032" y="5845"/>
                    </a:moveTo>
                    <a:lnTo>
                      <a:pt x="267891" y="183296"/>
                    </a:lnTo>
                    <a:cubicBezTo>
                      <a:pt x="230648" y="186944"/>
                      <a:pt x="193234" y="192954"/>
                      <a:pt x="155886" y="201212"/>
                    </a:cubicBezTo>
                    <a:cubicBezTo>
                      <a:pt x="101717" y="213252"/>
                      <a:pt x="49482" y="229740"/>
                      <a:pt x="0" y="250266"/>
                    </a:cubicBezTo>
                    <a:lnTo>
                      <a:pt x="74971" y="12522"/>
                    </a:lnTo>
                    <a:cubicBezTo>
                      <a:pt x="79010" y="-651"/>
                      <a:pt x="95574" y="-4337"/>
                      <a:pt x="105032" y="58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4" name="Rectangle 33">
              <a:extLst>
                <a:ext uri="{FF2B5EF4-FFF2-40B4-BE49-F238E27FC236}">
                  <a16:creationId xmlns:a16="http://schemas.microsoft.com/office/drawing/2014/main" id="{688CB79D-E15B-461F-8537-2A2908A8A115}"/>
                </a:ext>
              </a:extLst>
            </p:cNvPr>
            <p:cNvSpPr/>
            <p:nvPr/>
          </p:nvSpPr>
          <p:spPr>
            <a:xfrm>
              <a:off x="2584724" y="4729639"/>
              <a:ext cx="2706700" cy="1260979"/>
            </a:xfrm>
            <a:prstGeom prst="rect">
              <a:avLst/>
            </a:prstGeom>
          </p:spPr>
          <p:txBody>
            <a:bodyPr wrap="square">
              <a:spAutoFit/>
            </a:bodyPr>
            <a:lstStyle/>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OGMP companies’ assets data </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Science measurements studies</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National inventories</a:t>
              </a:r>
              <a:endParaRPr kumimoji="0" lang="en-US" sz="14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endParaRP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Roboto Medium" panose="02000000000000000000" pitchFamily="2" charset="0"/>
                  <a:ea typeface="Roboto Medium" panose="02000000000000000000" pitchFamily="2" charset="0"/>
                  <a:cs typeface="+mn-cs"/>
                </a:rPr>
                <a:t>Satellite data</a:t>
              </a:r>
            </a:p>
          </p:txBody>
        </p:sp>
        <p:sp>
          <p:nvSpPr>
            <p:cNvPr id="38" name="Rectangle 37">
              <a:extLst>
                <a:ext uri="{FF2B5EF4-FFF2-40B4-BE49-F238E27FC236}">
                  <a16:creationId xmlns:a16="http://schemas.microsoft.com/office/drawing/2014/main" id="{CADAD4EC-CB95-4ED5-8DC2-1160486A4000}"/>
                </a:ext>
              </a:extLst>
            </p:cNvPr>
            <p:cNvSpPr/>
            <p:nvPr/>
          </p:nvSpPr>
          <p:spPr>
            <a:xfrm>
              <a:off x="2507352" y="4167072"/>
              <a:ext cx="2706700" cy="420628"/>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all"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Collect data</a:t>
              </a:r>
            </a:p>
          </p:txBody>
        </p:sp>
        <p:sp>
          <p:nvSpPr>
            <p:cNvPr id="123" name="Rectangle 122">
              <a:extLst>
                <a:ext uri="{FF2B5EF4-FFF2-40B4-BE49-F238E27FC236}">
                  <a16:creationId xmlns:a16="http://schemas.microsoft.com/office/drawing/2014/main" id="{C0A11358-EACA-4893-A29C-8C645540136E}"/>
                </a:ext>
              </a:extLst>
            </p:cNvPr>
            <p:cNvSpPr/>
            <p:nvPr/>
          </p:nvSpPr>
          <p:spPr>
            <a:xfrm>
              <a:off x="10592055" y="5324591"/>
              <a:ext cx="2861121" cy="1458780"/>
            </a:xfrm>
            <a:prstGeom prst="rect">
              <a:avLst/>
            </a:prstGeom>
          </p:spPr>
          <p:txBody>
            <a:bodyPr wrap="square">
              <a:spAutoFit/>
            </a:bodyPr>
            <a:lstStyle/>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Full methane emissions dataset</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Annual methane report</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Direct measurement studies</a:t>
              </a:r>
            </a:p>
            <a:p>
              <a:pPr marL="180000" marR="0" lvl="0" indent="-144000" algn="l" defTabSz="914400" rtl="0" eaLnBrk="1" fontAlgn="auto" latinLnBrk="0" hangingPunct="1">
                <a:lnSpc>
                  <a:spcPct val="100000"/>
                </a:lnSpc>
                <a:spcBef>
                  <a:spcPts val="9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Roboto Medium" panose="02000000000000000000" pitchFamily="2" charset="0"/>
                  <a:ea typeface="Roboto Medium" panose="02000000000000000000" pitchFamily="2" charset="0"/>
                  <a:cs typeface="+mn-cs"/>
                </a:rPr>
                <a:t>Science-based implementation support</a:t>
              </a:r>
            </a:p>
          </p:txBody>
        </p:sp>
      </p:grpSp>
      <p:grpSp>
        <p:nvGrpSpPr>
          <p:cNvPr id="44" name="Groupe 43">
            <a:extLst>
              <a:ext uri="{FF2B5EF4-FFF2-40B4-BE49-F238E27FC236}">
                <a16:creationId xmlns:a16="http://schemas.microsoft.com/office/drawing/2014/main" id="{F2CCD3FF-1355-4C84-8AB8-09DCD6A97CF4}"/>
              </a:ext>
            </a:extLst>
          </p:cNvPr>
          <p:cNvGrpSpPr/>
          <p:nvPr/>
        </p:nvGrpSpPr>
        <p:grpSpPr>
          <a:xfrm>
            <a:off x="9149048" y="1744827"/>
            <a:ext cx="2121400" cy="2065044"/>
            <a:chOff x="9305761" y="1501477"/>
            <a:chExt cx="2272290" cy="2211926"/>
          </a:xfrm>
        </p:grpSpPr>
        <p:grpSp>
          <p:nvGrpSpPr>
            <p:cNvPr id="27" name="Graphique 3">
              <a:extLst>
                <a:ext uri="{FF2B5EF4-FFF2-40B4-BE49-F238E27FC236}">
                  <a16:creationId xmlns:a16="http://schemas.microsoft.com/office/drawing/2014/main" id="{E53641CA-A67E-4C2B-8530-A13BF29F5A46}"/>
                </a:ext>
              </a:extLst>
            </p:cNvPr>
            <p:cNvGrpSpPr/>
            <p:nvPr/>
          </p:nvGrpSpPr>
          <p:grpSpPr>
            <a:xfrm>
              <a:off x="9305761" y="1501477"/>
              <a:ext cx="2272290" cy="2211926"/>
              <a:chOff x="8524707" y="2367286"/>
              <a:chExt cx="1405371" cy="1368037"/>
            </a:xfrm>
          </p:grpSpPr>
          <p:grpSp>
            <p:nvGrpSpPr>
              <p:cNvPr id="28" name="Graphique 3">
                <a:extLst>
                  <a:ext uri="{FF2B5EF4-FFF2-40B4-BE49-F238E27FC236}">
                    <a16:creationId xmlns:a16="http://schemas.microsoft.com/office/drawing/2014/main" id="{E53641CA-A67E-4C2B-8530-A13BF29F5A46}"/>
                  </a:ext>
                </a:extLst>
              </p:cNvPr>
              <p:cNvGrpSpPr/>
              <p:nvPr/>
            </p:nvGrpSpPr>
            <p:grpSpPr>
              <a:xfrm>
                <a:off x="8562041" y="2367286"/>
                <a:ext cx="1368037" cy="1368037"/>
                <a:chOff x="8562041" y="2367286"/>
                <a:chExt cx="1368037" cy="1368037"/>
              </a:xfrm>
            </p:grpSpPr>
            <p:sp>
              <p:nvSpPr>
                <p:cNvPr id="29" name="Forme libre : forme 28">
                  <a:extLst>
                    <a:ext uri="{FF2B5EF4-FFF2-40B4-BE49-F238E27FC236}">
                      <a16:creationId xmlns:a16="http://schemas.microsoft.com/office/drawing/2014/main" id="{9340BE01-7638-40AA-96CC-8A60661CCFCD}"/>
                    </a:ext>
                  </a:extLst>
                </p:cNvPr>
                <p:cNvSpPr/>
                <p:nvPr/>
              </p:nvSpPr>
              <p:spPr>
                <a:xfrm>
                  <a:off x="8562041" y="2367286"/>
                  <a:ext cx="1368037" cy="1368037"/>
                </a:xfrm>
                <a:custGeom>
                  <a:avLst/>
                  <a:gdLst>
                    <a:gd name="connsiteX0" fmla="*/ 1368038 w 1368037"/>
                    <a:gd name="connsiteY0" fmla="*/ 684019 h 1368037"/>
                    <a:gd name="connsiteX1" fmla="*/ 684019 w 1368037"/>
                    <a:gd name="connsiteY1" fmla="*/ 1368038 h 1368037"/>
                    <a:gd name="connsiteX2" fmla="*/ 0 w 1368037"/>
                    <a:gd name="connsiteY2" fmla="*/ 684019 h 1368037"/>
                    <a:gd name="connsiteX3" fmla="*/ 684019 w 1368037"/>
                    <a:gd name="connsiteY3" fmla="*/ 0 h 1368037"/>
                    <a:gd name="connsiteX4" fmla="*/ 1368038 w 1368037"/>
                    <a:gd name="connsiteY4" fmla="*/ 684019 h 1368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37" h="1368037">
                      <a:moveTo>
                        <a:pt x="1368038" y="684019"/>
                      </a:moveTo>
                      <a:cubicBezTo>
                        <a:pt x="1368038" y="1061792"/>
                        <a:pt x="1061792" y="1368038"/>
                        <a:pt x="684019" y="1368038"/>
                      </a:cubicBezTo>
                      <a:cubicBezTo>
                        <a:pt x="306246" y="1368038"/>
                        <a:pt x="0" y="1061792"/>
                        <a:pt x="0" y="684019"/>
                      </a:cubicBezTo>
                      <a:cubicBezTo>
                        <a:pt x="0" y="306246"/>
                        <a:pt x="306246" y="0"/>
                        <a:pt x="684019" y="0"/>
                      </a:cubicBezTo>
                      <a:cubicBezTo>
                        <a:pt x="1061793" y="0"/>
                        <a:pt x="1368038" y="306246"/>
                        <a:pt x="1368038" y="684019"/>
                      </a:cubicBezTo>
                      <a:close/>
                    </a:path>
                  </a:pathLst>
                </a:custGeom>
                <a:solidFill>
                  <a:srgbClr val="B0F36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orme libre : forme 29">
                  <a:extLst>
                    <a:ext uri="{FF2B5EF4-FFF2-40B4-BE49-F238E27FC236}">
                      <a16:creationId xmlns:a16="http://schemas.microsoft.com/office/drawing/2014/main" id="{337FA5F4-3059-4191-AC51-FE08EE200E9B}"/>
                    </a:ext>
                  </a:extLst>
                </p:cNvPr>
                <p:cNvSpPr/>
                <p:nvPr/>
              </p:nvSpPr>
              <p:spPr>
                <a:xfrm>
                  <a:off x="8684285" y="2489520"/>
                  <a:ext cx="1123549" cy="1123549"/>
                </a:xfrm>
                <a:custGeom>
                  <a:avLst/>
                  <a:gdLst>
                    <a:gd name="connsiteX0" fmla="*/ 1123550 w 1123549"/>
                    <a:gd name="connsiteY0" fmla="*/ 561775 h 1123549"/>
                    <a:gd name="connsiteX1" fmla="*/ 561775 w 1123549"/>
                    <a:gd name="connsiteY1" fmla="*/ 1123550 h 1123549"/>
                    <a:gd name="connsiteX2" fmla="*/ 0 w 1123549"/>
                    <a:gd name="connsiteY2" fmla="*/ 561775 h 1123549"/>
                    <a:gd name="connsiteX3" fmla="*/ 561775 w 1123549"/>
                    <a:gd name="connsiteY3" fmla="*/ 0 h 1123549"/>
                    <a:gd name="connsiteX4" fmla="*/ 1123550 w 1123549"/>
                    <a:gd name="connsiteY4" fmla="*/ 561775 h 1123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49" h="1123549">
                      <a:moveTo>
                        <a:pt x="1123550" y="561775"/>
                      </a:moveTo>
                      <a:cubicBezTo>
                        <a:pt x="1123550" y="872035"/>
                        <a:pt x="872034" y="1123550"/>
                        <a:pt x="561775" y="1123550"/>
                      </a:cubicBezTo>
                      <a:cubicBezTo>
                        <a:pt x="251515" y="1123550"/>
                        <a:pt x="0" y="872035"/>
                        <a:pt x="0" y="561775"/>
                      </a:cubicBezTo>
                      <a:cubicBezTo>
                        <a:pt x="0" y="251515"/>
                        <a:pt x="251515" y="0"/>
                        <a:pt x="561775" y="0"/>
                      </a:cubicBezTo>
                      <a:cubicBezTo>
                        <a:pt x="872034" y="0"/>
                        <a:pt x="1123550" y="251515"/>
                        <a:pt x="1123550" y="561775"/>
                      </a:cubicBezTo>
                      <a:close/>
                    </a:path>
                  </a:pathLst>
                </a:custGeom>
                <a:solidFill>
                  <a:srgbClr val="71D01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 name="Forme libre : forme 30">
                <a:extLst>
                  <a:ext uri="{FF2B5EF4-FFF2-40B4-BE49-F238E27FC236}">
                    <a16:creationId xmlns:a16="http://schemas.microsoft.com/office/drawing/2014/main" id="{699808B2-A718-4F0E-AA52-F5076866B8DD}"/>
                  </a:ext>
                </a:extLst>
              </p:cNvPr>
              <p:cNvSpPr/>
              <p:nvPr/>
            </p:nvSpPr>
            <p:spPr>
              <a:xfrm>
                <a:off x="8524707" y="2525645"/>
                <a:ext cx="185209" cy="182292"/>
              </a:xfrm>
              <a:custGeom>
                <a:avLst/>
                <a:gdLst>
                  <a:gd name="connsiteX0" fmla="*/ 14446 w 185209"/>
                  <a:gd name="connsiteY0" fmla="*/ 108 h 182292"/>
                  <a:gd name="connsiteX1" fmla="*/ 185210 w 185209"/>
                  <a:gd name="connsiteY1" fmla="*/ 22492 h 182292"/>
                  <a:gd name="connsiteX2" fmla="*/ 132079 w 185209"/>
                  <a:gd name="connsiteY2" fmla="*/ 83785 h 182292"/>
                  <a:gd name="connsiteX3" fmla="*/ 69195 w 185209"/>
                  <a:gd name="connsiteY3" fmla="*/ 182293 h 182292"/>
                  <a:gd name="connsiteX4" fmla="*/ 1035 w 185209"/>
                  <a:gd name="connsiteY4" fmla="*/ 17586 h 182292"/>
                  <a:gd name="connsiteX5" fmla="*/ 14446 w 185209"/>
                  <a:gd name="connsiteY5" fmla="*/ 108 h 18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209" h="182292">
                    <a:moveTo>
                      <a:pt x="14446" y="108"/>
                    </a:moveTo>
                    <a:lnTo>
                      <a:pt x="185210" y="22492"/>
                    </a:lnTo>
                    <a:cubicBezTo>
                      <a:pt x="166465" y="41589"/>
                      <a:pt x="148729" y="62068"/>
                      <a:pt x="132079" y="83785"/>
                    </a:cubicBezTo>
                    <a:cubicBezTo>
                      <a:pt x="107934" y="115275"/>
                      <a:pt x="86893" y="148307"/>
                      <a:pt x="69195" y="182293"/>
                    </a:cubicBezTo>
                    <a:lnTo>
                      <a:pt x="1035" y="17586"/>
                    </a:lnTo>
                    <a:cubicBezTo>
                      <a:pt x="-2804" y="8500"/>
                      <a:pt x="4568" y="-1130"/>
                      <a:pt x="14446" y="108"/>
                    </a:cubicBezTo>
                    <a:close/>
                  </a:path>
                </a:pathLst>
              </a:custGeom>
              <a:solidFill>
                <a:srgbClr val="7DE31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0" name="Rectangle 39">
              <a:extLst>
                <a:ext uri="{FF2B5EF4-FFF2-40B4-BE49-F238E27FC236}">
                  <a16:creationId xmlns:a16="http://schemas.microsoft.com/office/drawing/2014/main" id="{E90FD5CB-D244-4CCB-9CAD-BC580165C350}"/>
                </a:ext>
              </a:extLst>
            </p:cNvPr>
            <p:cNvSpPr/>
            <p:nvPr/>
          </p:nvSpPr>
          <p:spPr>
            <a:xfrm>
              <a:off x="9738621" y="2073105"/>
              <a:ext cx="1475077" cy="89010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all"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Generate final products</a:t>
              </a:r>
            </a:p>
          </p:txBody>
        </p:sp>
      </p:grpSp>
      <p:grpSp>
        <p:nvGrpSpPr>
          <p:cNvPr id="50" name="Groupe 49">
            <a:extLst>
              <a:ext uri="{FF2B5EF4-FFF2-40B4-BE49-F238E27FC236}">
                <a16:creationId xmlns:a16="http://schemas.microsoft.com/office/drawing/2014/main" id="{A9D67557-2139-43B4-8304-1E9CC6C57850}"/>
              </a:ext>
            </a:extLst>
          </p:cNvPr>
          <p:cNvGrpSpPr/>
          <p:nvPr/>
        </p:nvGrpSpPr>
        <p:grpSpPr>
          <a:xfrm>
            <a:off x="2638835" y="2355787"/>
            <a:ext cx="955646" cy="691880"/>
            <a:chOff x="1472723" y="3428965"/>
            <a:chExt cx="1023619" cy="741092"/>
          </a:xfrm>
        </p:grpSpPr>
        <p:sp>
          <p:nvSpPr>
            <p:cNvPr id="51" name="bk object 240">
              <a:extLst>
                <a:ext uri="{FF2B5EF4-FFF2-40B4-BE49-F238E27FC236}">
                  <a16:creationId xmlns:a16="http://schemas.microsoft.com/office/drawing/2014/main" id="{2EBDC09B-1B3A-431B-BC12-CEDBE655CF2F}"/>
                </a:ext>
              </a:extLst>
            </p:cNvPr>
            <p:cNvSpPr/>
            <p:nvPr/>
          </p:nvSpPr>
          <p:spPr>
            <a:xfrm>
              <a:off x="1922489" y="3583482"/>
              <a:ext cx="123189" cy="124460"/>
            </a:xfrm>
            <a:custGeom>
              <a:avLst/>
              <a:gdLst/>
              <a:ahLst/>
              <a:cxnLst/>
              <a:rect l="l" t="t" r="r" b="b"/>
              <a:pathLst>
                <a:path w="123189" h="124460">
                  <a:moveTo>
                    <a:pt x="73570" y="0"/>
                  </a:moveTo>
                  <a:lnTo>
                    <a:pt x="28465" y="10652"/>
                  </a:lnTo>
                  <a:lnTo>
                    <a:pt x="3331" y="39808"/>
                  </a:lnTo>
                  <a:lnTo>
                    <a:pt x="0" y="52258"/>
                  </a:lnTo>
                  <a:lnTo>
                    <a:pt x="1176" y="68861"/>
                  </a:lnTo>
                  <a:lnTo>
                    <a:pt x="19740" y="106952"/>
                  </a:lnTo>
                  <a:lnTo>
                    <a:pt x="54388" y="123930"/>
                  </a:lnTo>
                  <a:lnTo>
                    <a:pt x="62028" y="124394"/>
                  </a:lnTo>
                  <a:lnTo>
                    <a:pt x="76441" y="122730"/>
                  </a:lnTo>
                  <a:lnTo>
                    <a:pt x="89669" y="117992"/>
                  </a:lnTo>
                  <a:lnTo>
                    <a:pt x="101332" y="110558"/>
                  </a:lnTo>
                  <a:lnTo>
                    <a:pt x="104412" y="107468"/>
                  </a:lnTo>
                  <a:lnTo>
                    <a:pt x="65425" y="107468"/>
                  </a:lnTo>
                  <a:lnTo>
                    <a:pt x="50138" y="105450"/>
                  </a:lnTo>
                  <a:lnTo>
                    <a:pt x="37080" y="99678"/>
                  </a:lnTo>
                  <a:lnTo>
                    <a:pt x="26745" y="90785"/>
                  </a:lnTo>
                  <a:lnTo>
                    <a:pt x="19624" y="79404"/>
                  </a:lnTo>
                  <a:lnTo>
                    <a:pt x="16208" y="66168"/>
                  </a:lnTo>
                  <a:lnTo>
                    <a:pt x="18120" y="50519"/>
                  </a:lnTo>
                  <a:lnTo>
                    <a:pt x="43460" y="19469"/>
                  </a:lnTo>
                  <a:lnTo>
                    <a:pt x="62028" y="15492"/>
                  </a:lnTo>
                  <a:lnTo>
                    <a:pt x="102423" y="15492"/>
                  </a:lnTo>
                  <a:lnTo>
                    <a:pt x="96382" y="9909"/>
                  </a:lnTo>
                  <a:lnTo>
                    <a:pt x="85559" y="3688"/>
                  </a:lnTo>
                  <a:lnTo>
                    <a:pt x="73570" y="0"/>
                  </a:lnTo>
                  <a:close/>
                </a:path>
                <a:path w="123189" h="124460">
                  <a:moveTo>
                    <a:pt x="102423" y="15492"/>
                  </a:moveTo>
                  <a:lnTo>
                    <a:pt x="62028" y="15492"/>
                  </a:lnTo>
                  <a:lnTo>
                    <a:pt x="76238" y="17727"/>
                  </a:lnTo>
                  <a:lnTo>
                    <a:pt x="88646" y="23964"/>
                  </a:lnTo>
                  <a:lnTo>
                    <a:pt x="98549" y="33500"/>
                  </a:lnTo>
                  <a:lnTo>
                    <a:pt x="105244" y="45632"/>
                  </a:lnTo>
                  <a:lnTo>
                    <a:pt x="108027" y="59657"/>
                  </a:lnTo>
                  <a:lnTo>
                    <a:pt x="105899" y="74478"/>
                  </a:lnTo>
                  <a:lnTo>
                    <a:pt x="99913" y="87252"/>
                  </a:lnTo>
                  <a:lnTo>
                    <a:pt x="90730" y="97397"/>
                  </a:lnTo>
                  <a:lnTo>
                    <a:pt x="79013" y="104330"/>
                  </a:lnTo>
                  <a:lnTo>
                    <a:pt x="65425" y="107468"/>
                  </a:lnTo>
                  <a:lnTo>
                    <a:pt x="104412" y="107468"/>
                  </a:lnTo>
                  <a:lnTo>
                    <a:pt x="111053" y="100807"/>
                  </a:lnTo>
                  <a:lnTo>
                    <a:pt x="118452" y="89120"/>
                  </a:lnTo>
                  <a:lnTo>
                    <a:pt x="123149" y="75876"/>
                  </a:lnTo>
                  <a:lnTo>
                    <a:pt x="122382" y="58331"/>
                  </a:lnTo>
                  <a:lnTo>
                    <a:pt x="119039" y="42873"/>
                  </a:lnTo>
                  <a:lnTo>
                    <a:pt x="113404" y="29590"/>
                  </a:lnTo>
                  <a:lnTo>
                    <a:pt x="105758" y="18573"/>
                  </a:lnTo>
                  <a:lnTo>
                    <a:pt x="102423" y="15492"/>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bk object 241">
              <a:extLst>
                <a:ext uri="{FF2B5EF4-FFF2-40B4-BE49-F238E27FC236}">
                  <a16:creationId xmlns:a16="http://schemas.microsoft.com/office/drawing/2014/main" id="{00907C0D-DF4E-4967-9F01-E213A1E8ED7B}"/>
                </a:ext>
              </a:extLst>
            </p:cNvPr>
            <p:cNvSpPr/>
            <p:nvPr/>
          </p:nvSpPr>
          <p:spPr>
            <a:xfrm>
              <a:off x="1472723" y="3428965"/>
              <a:ext cx="1023619" cy="440690"/>
            </a:xfrm>
            <a:custGeom>
              <a:avLst/>
              <a:gdLst/>
              <a:ahLst/>
              <a:cxnLst/>
              <a:rect l="l" t="t" r="r" b="b"/>
              <a:pathLst>
                <a:path w="1023619" h="440689">
                  <a:moveTo>
                    <a:pt x="160477" y="22580"/>
                  </a:moveTo>
                  <a:lnTo>
                    <a:pt x="144284" y="22580"/>
                  </a:lnTo>
                  <a:lnTo>
                    <a:pt x="144284" y="41275"/>
                  </a:lnTo>
                  <a:lnTo>
                    <a:pt x="130700" y="45005"/>
                  </a:lnTo>
                  <a:lnTo>
                    <a:pt x="101516" y="72411"/>
                  </a:lnTo>
                  <a:lnTo>
                    <a:pt x="95732" y="163728"/>
                  </a:lnTo>
                  <a:lnTo>
                    <a:pt x="348678" y="196596"/>
                  </a:lnTo>
                  <a:lnTo>
                    <a:pt x="348678" y="319709"/>
                  </a:lnTo>
                  <a:lnTo>
                    <a:pt x="435254" y="319709"/>
                  </a:lnTo>
                  <a:lnTo>
                    <a:pt x="424275" y="327464"/>
                  </a:lnTo>
                  <a:lnTo>
                    <a:pt x="414163" y="336123"/>
                  </a:lnTo>
                  <a:lnTo>
                    <a:pt x="389438" y="366779"/>
                  </a:lnTo>
                  <a:lnTo>
                    <a:pt x="373981" y="402902"/>
                  </a:lnTo>
                  <a:lnTo>
                    <a:pt x="369369" y="429035"/>
                  </a:lnTo>
                  <a:lnTo>
                    <a:pt x="391464" y="440410"/>
                  </a:lnTo>
                  <a:lnTo>
                    <a:pt x="392781" y="426038"/>
                  </a:lnTo>
                  <a:lnTo>
                    <a:pt x="395721" y="412222"/>
                  </a:lnTo>
                  <a:lnTo>
                    <a:pt x="413272" y="375058"/>
                  </a:lnTo>
                  <a:lnTo>
                    <a:pt x="441805" y="346299"/>
                  </a:lnTo>
                  <a:lnTo>
                    <a:pt x="478603" y="328490"/>
                  </a:lnTo>
                  <a:lnTo>
                    <a:pt x="506384" y="323958"/>
                  </a:lnTo>
                  <a:lnTo>
                    <a:pt x="593195" y="323958"/>
                  </a:lnTo>
                  <a:lnTo>
                    <a:pt x="588645" y="320832"/>
                  </a:lnTo>
                  <a:lnTo>
                    <a:pt x="674890" y="320319"/>
                  </a:lnTo>
                  <a:lnTo>
                    <a:pt x="674890" y="297230"/>
                  </a:lnTo>
                  <a:lnTo>
                    <a:pt x="371132" y="297230"/>
                  </a:lnTo>
                  <a:lnTo>
                    <a:pt x="371132" y="176784"/>
                  </a:lnTo>
                  <a:lnTo>
                    <a:pt x="118313" y="143916"/>
                  </a:lnTo>
                  <a:lnTo>
                    <a:pt x="118313" y="119824"/>
                  </a:lnTo>
                  <a:lnTo>
                    <a:pt x="927849" y="119824"/>
                  </a:lnTo>
                  <a:lnTo>
                    <a:pt x="927849" y="96735"/>
                  </a:lnTo>
                  <a:lnTo>
                    <a:pt x="112039" y="96735"/>
                  </a:lnTo>
                  <a:lnTo>
                    <a:pt x="114841" y="82749"/>
                  </a:lnTo>
                  <a:lnTo>
                    <a:pt x="122009" y="70977"/>
                  </a:lnTo>
                  <a:lnTo>
                    <a:pt x="132636" y="62312"/>
                  </a:lnTo>
                  <a:lnTo>
                    <a:pt x="145813" y="57645"/>
                  </a:lnTo>
                  <a:lnTo>
                    <a:pt x="152438" y="57086"/>
                  </a:lnTo>
                  <a:lnTo>
                    <a:pt x="191995" y="57086"/>
                  </a:lnTo>
                  <a:lnTo>
                    <a:pt x="183828" y="50124"/>
                  </a:lnTo>
                  <a:lnTo>
                    <a:pt x="171519" y="43975"/>
                  </a:lnTo>
                  <a:lnTo>
                    <a:pt x="160477" y="22580"/>
                  </a:lnTo>
                  <a:close/>
                </a:path>
                <a:path w="1023619" h="440689">
                  <a:moveTo>
                    <a:pt x="593195" y="323958"/>
                  </a:moveTo>
                  <a:lnTo>
                    <a:pt x="506384" y="323958"/>
                  </a:lnTo>
                  <a:lnTo>
                    <a:pt x="522195" y="325193"/>
                  </a:lnTo>
                  <a:lnTo>
                    <a:pt x="537221" y="327951"/>
                  </a:lnTo>
                  <a:lnTo>
                    <a:pt x="576931" y="344474"/>
                  </a:lnTo>
                  <a:lnTo>
                    <a:pt x="607198" y="371505"/>
                  </a:lnTo>
                  <a:lnTo>
                    <a:pt x="626239" y="406643"/>
                  </a:lnTo>
                  <a:lnTo>
                    <a:pt x="631815" y="433389"/>
                  </a:lnTo>
                  <a:lnTo>
                    <a:pt x="654824" y="440410"/>
                  </a:lnTo>
                  <a:lnTo>
                    <a:pt x="649355" y="401721"/>
                  </a:lnTo>
                  <a:lnTo>
                    <a:pt x="633712" y="366248"/>
                  </a:lnTo>
                  <a:lnTo>
                    <a:pt x="606901" y="334704"/>
                  </a:lnTo>
                  <a:lnTo>
                    <a:pt x="597432" y="326869"/>
                  </a:lnTo>
                  <a:lnTo>
                    <a:pt x="593195" y="323958"/>
                  </a:lnTo>
                  <a:close/>
                </a:path>
                <a:path w="1023619" h="440689">
                  <a:moveTo>
                    <a:pt x="927849" y="119824"/>
                  </a:moveTo>
                  <a:lnTo>
                    <a:pt x="905395" y="119824"/>
                  </a:lnTo>
                  <a:lnTo>
                    <a:pt x="905268" y="144043"/>
                  </a:lnTo>
                  <a:lnTo>
                    <a:pt x="651814" y="176911"/>
                  </a:lnTo>
                  <a:lnTo>
                    <a:pt x="651814" y="297230"/>
                  </a:lnTo>
                  <a:lnTo>
                    <a:pt x="674890" y="297230"/>
                  </a:lnTo>
                  <a:lnTo>
                    <a:pt x="674890" y="196596"/>
                  </a:lnTo>
                  <a:lnTo>
                    <a:pt x="927849" y="163728"/>
                  </a:lnTo>
                  <a:lnTo>
                    <a:pt x="927849" y="119824"/>
                  </a:lnTo>
                  <a:close/>
                </a:path>
                <a:path w="1023619" h="440689">
                  <a:moveTo>
                    <a:pt x="191995" y="57086"/>
                  </a:moveTo>
                  <a:lnTo>
                    <a:pt x="152438" y="57086"/>
                  </a:lnTo>
                  <a:lnTo>
                    <a:pt x="166492" y="59592"/>
                  </a:lnTo>
                  <a:lnTo>
                    <a:pt x="178408" y="66528"/>
                  </a:lnTo>
                  <a:lnTo>
                    <a:pt x="187272" y="76995"/>
                  </a:lnTo>
                  <a:lnTo>
                    <a:pt x="192168" y="90095"/>
                  </a:lnTo>
                  <a:lnTo>
                    <a:pt x="112039" y="96735"/>
                  </a:lnTo>
                  <a:lnTo>
                    <a:pt x="830745" y="96735"/>
                  </a:lnTo>
                  <a:lnTo>
                    <a:pt x="209156" y="96608"/>
                  </a:lnTo>
                  <a:lnTo>
                    <a:pt x="207229" y="82634"/>
                  </a:lnTo>
                  <a:lnTo>
                    <a:pt x="202094" y="69921"/>
                  </a:lnTo>
                  <a:lnTo>
                    <a:pt x="194156" y="58928"/>
                  </a:lnTo>
                  <a:lnTo>
                    <a:pt x="191995" y="57086"/>
                  </a:lnTo>
                  <a:close/>
                </a:path>
                <a:path w="1023619" h="440689">
                  <a:moveTo>
                    <a:pt x="910523" y="56974"/>
                  </a:moveTo>
                  <a:lnTo>
                    <a:pt x="863890" y="56974"/>
                  </a:lnTo>
                  <a:lnTo>
                    <a:pt x="880335" y="58753"/>
                  </a:lnTo>
                  <a:lnTo>
                    <a:pt x="893650" y="64400"/>
                  </a:lnTo>
                  <a:lnTo>
                    <a:pt x="903508" y="73197"/>
                  </a:lnTo>
                  <a:lnTo>
                    <a:pt x="909579" y="84427"/>
                  </a:lnTo>
                  <a:lnTo>
                    <a:pt x="911415" y="96735"/>
                  </a:lnTo>
                  <a:lnTo>
                    <a:pt x="927849" y="96735"/>
                  </a:lnTo>
                  <a:lnTo>
                    <a:pt x="925908" y="82634"/>
                  </a:lnTo>
                  <a:lnTo>
                    <a:pt x="920760" y="69921"/>
                  </a:lnTo>
                  <a:lnTo>
                    <a:pt x="912812" y="58928"/>
                  </a:lnTo>
                  <a:lnTo>
                    <a:pt x="910523" y="56974"/>
                  </a:lnTo>
                  <a:close/>
                </a:path>
                <a:path w="1023619" h="440689">
                  <a:moveTo>
                    <a:pt x="879297" y="22580"/>
                  </a:moveTo>
                  <a:lnTo>
                    <a:pt x="863104" y="22580"/>
                  </a:lnTo>
                  <a:lnTo>
                    <a:pt x="863104" y="41275"/>
                  </a:lnTo>
                  <a:lnTo>
                    <a:pt x="849479" y="45005"/>
                  </a:lnTo>
                  <a:lnTo>
                    <a:pt x="837551" y="51747"/>
                  </a:lnTo>
                  <a:lnTo>
                    <a:pt x="827695" y="61037"/>
                  </a:lnTo>
                  <a:lnTo>
                    <a:pt x="820311" y="72411"/>
                  </a:lnTo>
                  <a:lnTo>
                    <a:pt x="815807" y="85400"/>
                  </a:lnTo>
                  <a:lnTo>
                    <a:pt x="209156" y="96608"/>
                  </a:lnTo>
                  <a:lnTo>
                    <a:pt x="830767" y="96608"/>
                  </a:lnTo>
                  <a:lnTo>
                    <a:pt x="833273" y="82634"/>
                  </a:lnTo>
                  <a:lnTo>
                    <a:pt x="840248" y="70698"/>
                  </a:lnTo>
                  <a:lnTo>
                    <a:pt x="850758" y="61839"/>
                  </a:lnTo>
                  <a:lnTo>
                    <a:pt x="863890" y="56974"/>
                  </a:lnTo>
                  <a:lnTo>
                    <a:pt x="910523" y="56974"/>
                  </a:lnTo>
                  <a:lnTo>
                    <a:pt x="902534" y="50153"/>
                  </a:lnTo>
                  <a:lnTo>
                    <a:pt x="890231" y="43975"/>
                  </a:lnTo>
                  <a:lnTo>
                    <a:pt x="879297" y="22580"/>
                  </a:lnTo>
                  <a:close/>
                </a:path>
                <a:path w="1023619" h="440689">
                  <a:moveTo>
                    <a:pt x="304761" y="0"/>
                  </a:moveTo>
                  <a:lnTo>
                    <a:pt x="0" y="0"/>
                  </a:lnTo>
                  <a:lnTo>
                    <a:pt x="0" y="22580"/>
                  </a:lnTo>
                  <a:lnTo>
                    <a:pt x="304761" y="22580"/>
                  </a:lnTo>
                  <a:lnTo>
                    <a:pt x="304761" y="0"/>
                  </a:lnTo>
                  <a:close/>
                </a:path>
                <a:path w="1023619" h="440689">
                  <a:moveTo>
                    <a:pt x="1023594" y="0"/>
                  </a:moveTo>
                  <a:lnTo>
                    <a:pt x="718693" y="0"/>
                  </a:lnTo>
                  <a:lnTo>
                    <a:pt x="718693" y="22580"/>
                  </a:lnTo>
                  <a:lnTo>
                    <a:pt x="1023594" y="22580"/>
                  </a:lnTo>
                  <a:lnTo>
                    <a:pt x="102359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bk object 242">
              <a:extLst>
                <a:ext uri="{FF2B5EF4-FFF2-40B4-BE49-F238E27FC236}">
                  <a16:creationId xmlns:a16="http://schemas.microsoft.com/office/drawing/2014/main" id="{D7D3F128-652B-43E1-A8A7-CD8B9FC51923}"/>
                </a:ext>
              </a:extLst>
            </p:cNvPr>
            <p:cNvSpPr/>
            <p:nvPr/>
          </p:nvSpPr>
          <p:spPr>
            <a:xfrm>
              <a:off x="2073349" y="3568229"/>
              <a:ext cx="30480" cy="30480"/>
            </a:xfrm>
            <a:custGeom>
              <a:avLst/>
              <a:gdLst/>
              <a:ahLst/>
              <a:cxnLst/>
              <a:rect l="l" t="t" r="r" b="b"/>
              <a:pathLst>
                <a:path w="30480" h="30479">
                  <a:moveTo>
                    <a:pt x="23368" y="0"/>
                  </a:moveTo>
                  <a:lnTo>
                    <a:pt x="6743" y="0"/>
                  </a:lnTo>
                  <a:lnTo>
                    <a:pt x="0" y="6743"/>
                  </a:lnTo>
                  <a:lnTo>
                    <a:pt x="0" y="23380"/>
                  </a:lnTo>
                  <a:lnTo>
                    <a:pt x="6743" y="30111"/>
                  </a:lnTo>
                  <a:lnTo>
                    <a:pt x="23368" y="30111"/>
                  </a:lnTo>
                  <a:lnTo>
                    <a:pt x="30111" y="23380"/>
                  </a:lnTo>
                  <a:lnTo>
                    <a:pt x="30111" y="6743"/>
                  </a:lnTo>
                  <a:lnTo>
                    <a:pt x="23368"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bk object 243">
              <a:extLst>
                <a:ext uri="{FF2B5EF4-FFF2-40B4-BE49-F238E27FC236}">
                  <a16:creationId xmlns:a16="http://schemas.microsoft.com/office/drawing/2014/main" id="{225DADB0-DA57-4508-A79E-BE1BA0B78399}"/>
                </a:ext>
              </a:extLst>
            </p:cNvPr>
            <p:cNvSpPr/>
            <p:nvPr/>
          </p:nvSpPr>
          <p:spPr>
            <a:xfrm>
              <a:off x="1984518" y="3612965"/>
              <a:ext cx="34925" cy="67945"/>
            </a:xfrm>
            <a:custGeom>
              <a:avLst/>
              <a:gdLst/>
              <a:ahLst/>
              <a:cxnLst/>
              <a:rect l="l" t="t" r="r" b="b"/>
              <a:pathLst>
                <a:path w="34925" h="67945">
                  <a:moveTo>
                    <a:pt x="12429" y="0"/>
                  </a:moveTo>
                  <a:lnTo>
                    <a:pt x="0" y="13987"/>
                  </a:lnTo>
                  <a:lnTo>
                    <a:pt x="12827" y="19036"/>
                  </a:lnTo>
                  <a:lnTo>
                    <a:pt x="18768" y="31395"/>
                  </a:lnTo>
                  <a:lnTo>
                    <a:pt x="14107" y="45030"/>
                  </a:lnTo>
                  <a:lnTo>
                    <a:pt x="2505" y="51451"/>
                  </a:lnTo>
                  <a:lnTo>
                    <a:pt x="0" y="67937"/>
                  </a:lnTo>
                  <a:lnTo>
                    <a:pt x="13951" y="65037"/>
                  </a:lnTo>
                  <a:lnTo>
                    <a:pt x="25226" y="57153"/>
                  </a:lnTo>
                  <a:lnTo>
                    <a:pt x="32599" y="45509"/>
                  </a:lnTo>
                  <a:lnTo>
                    <a:pt x="34886" y="32554"/>
                  </a:lnTo>
                  <a:lnTo>
                    <a:pt x="31948" y="18627"/>
                  </a:lnTo>
                  <a:lnTo>
                    <a:pt x="24059" y="7373"/>
                  </a:lnTo>
                  <a:lnTo>
                    <a:pt x="1242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bk object 244">
              <a:extLst>
                <a:ext uri="{FF2B5EF4-FFF2-40B4-BE49-F238E27FC236}">
                  <a16:creationId xmlns:a16="http://schemas.microsoft.com/office/drawing/2014/main" id="{3EA38235-339A-423B-82FA-BC8DAE21C88D}"/>
                </a:ext>
              </a:extLst>
            </p:cNvPr>
            <p:cNvSpPr/>
            <p:nvPr/>
          </p:nvSpPr>
          <p:spPr>
            <a:xfrm>
              <a:off x="1952664" y="3840197"/>
              <a:ext cx="67310" cy="68580"/>
            </a:xfrm>
            <a:custGeom>
              <a:avLst/>
              <a:gdLst/>
              <a:ahLst/>
              <a:cxnLst/>
              <a:rect l="l" t="t" r="r" b="b"/>
              <a:pathLst>
                <a:path w="67310" h="68579">
                  <a:moveTo>
                    <a:pt x="24216" y="0"/>
                  </a:moveTo>
                  <a:lnTo>
                    <a:pt x="13792" y="5091"/>
                  </a:lnTo>
                  <a:lnTo>
                    <a:pt x="5736" y="14430"/>
                  </a:lnTo>
                  <a:lnTo>
                    <a:pt x="865" y="28024"/>
                  </a:lnTo>
                  <a:lnTo>
                    <a:pt x="0" y="45886"/>
                  </a:lnTo>
                  <a:lnTo>
                    <a:pt x="7325" y="57568"/>
                  </a:lnTo>
                  <a:lnTo>
                    <a:pt x="18577" y="65493"/>
                  </a:lnTo>
                  <a:lnTo>
                    <a:pt x="32510" y="68412"/>
                  </a:lnTo>
                  <a:lnTo>
                    <a:pt x="35038" y="68321"/>
                  </a:lnTo>
                  <a:lnTo>
                    <a:pt x="47643" y="64816"/>
                  </a:lnTo>
                  <a:lnTo>
                    <a:pt x="57820" y="56639"/>
                  </a:lnTo>
                  <a:lnTo>
                    <a:pt x="64556" y="44347"/>
                  </a:lnTo>
                  <a:lnTo>
                    <a:pt x="66839" y="28502"/>
                  </a:lnTo>
                  <a:lnTo>
                    <a:pt x="62598" y="16874"/>
                  </a:lnTo>
                  <a:lnTo>
                    <a:pt x="53907" y="7636"/>
                  </a:lnTo>
                  <a:lnTo>
                    <a:pt x="41027" y="1706"/>
                  </a:lnTo>
                  <a:lnTo>
                    <a:pt x="2421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bk object 245">
              <a:extLst>
                <a:ext uri="{FF2B5EF4-FFF2-40B4-BE49-F238E27FC236}">
                  <a16:creationId xmlns:a16="http://schemas.microsoft.com/office/drawing/2014/main" id="{68A73458-6D49-44D7-8092-99195EB0811F}"/>
                </a:ext>
              </a:extLst>
            </p:cNvPr>
            <p:cNvSpPr/>
            <p:nvPr/>
          </p:nvSpPr>
          <p:spPr>
            <a:xfrm>
              <a:off x="1836197" y="3996884"/>
              <a:ext cx="299085" cy="83820"/>
            </a:xfrm>
            <a:custGeom>
              <a:avLst/>
              <a:gdLst/>
              <a:ahLst/>
              <a:cxnLst/>
              <a:rect l="l" t="t" r="r" b="b"/>
              <a:pathLst>
                <a:path w="299085" h="83820">
                  <a:moveTo>
                    <a:pt x="15513" y="622"/>
                  </a:moveTo>
                  <a:lnTo>
                    <a:pt x="8541" y="622"/>
                  </a:lnTo>
                  <a:lnTo>
                    <a:pt x="5391" y="1993"/>
                  </a:lnTo>
                  <a:lnTo>
                    <a:pt x="2368" y="5457"/>
                  </a:lnTo>
                  <a:lnTo>
                    <a:pt x="0" y="14931"/>
                  </a:lnTo>
                  <a:lnTo>
                    <a:pt x="7213" y="26922"/>
                  </a:lnTo>
                  <a:lnTo>
                    <a:pt x="38108" y="51109"/>
                  </a:lnTo>
                  <a:lnTo>
                    <a:pt x="72570" y="68794"/>
                  </a:lnTo>
                  <a:lnTo>
                    <a:pt x="109795" y="79646"/>
                  </a:lnTo>
                  <a:lnTo>
                    <a:pt x="148978" y="83337"/>
                  </a:lnTo>
                  <a:lnTo>
                    <a:pt x="154758" y="83258"/>
                  </a:lnTo>
                  <a:lnTo>
                    <a:pt x="193703" y="78508"/>
                  </a:lnTo>
                  <a:lnTo>
                    <a:pt x="230576" y="66644"/>
                  </a:lnTo>
                  <a:lnTo>
                    <a:pt x="250303" y="56759"/>
                  </a:lnTo>
                  <a:lnTo>
                    <a:pt x="137638" y="56759"/>
                  </a:lnTo>
                  <a:lnTo>
                    <a:pt x="124656" y="55482"/>
                  </a:lnTo>
                  <a:lnTo>
                    <a:pt x="87055" y="46201"/>
                  </a:lnTo>
                  <a:lnTo>
                    <a:pt x="52287" y="29087"/>
                  </a:lnTo>
                  <a:lnTo>
                    <a:pt x="21406" y="4572"/>
                  </a:lnTo>
                  <a:lnTo>
                    <a:pt x="18853" y="2032"/>
                  </a:lnTo>
                  <a:lnTo>
                    <a:pt x="15513" y="622"/>
                  </a:lnTo>
                  <a:close/>
                </a:path>
                <a:path w="299085" h="83820">
                  <a:moveTo>
                    <a:pt x="288995" y="0"/>
                  </a:moveTo>
                  <a:lnTo>
                    <a:pt x="282023" y="0"/>
                  </a:lnTo>
                  <a:lnTo>
                    <a:pt x="278886" y="1371"/>
                  </a:lnTo>
                  <a:lnTo>
                    <a:pt x="270099" y="10110"/>
                  </a:lnTo>
                  <a:lnTo>
                    <a:pt x="260731" y="18049"/>
                  </a:lnTo>
                  <a:lnTo>
                    <a:pt x="218133" y="42695"/>
                  </a:lnTo>
                  <a:lnTo>
                    <a:pt x="180491" y="53314"/>
                  </a:lnTo>
                  <a:lnTo>
                    <a:pt x="137638" y="56759"/>
                  </a:lnTo>
                  <a:lnTo>
                    <a:pt x="250303" y="56759"/>
                  </a:lnTo>
                  <a:lnTo>
                    <a:pt x="285241" y="31961"/>
                  </a:lnTo>
                  <a:lnTo>
                    <a:pt x="298520" y="17411"/>
                  </a:lnTo>
                  <a:lnTo>
                    <a:pt x="298520" y="9448"/>
                  </a:lnTo>
                  <a:lnTo>
                    <a:pt x="297377" y="6426"/>
                  </a:lnTo>
                  <a:lnTo>
                    <a:pt x="292335" y="1397"/>
                  </a:lnTo>
                  <a:lnTo>
                    <a:pt x="288995"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bk object 246">
              <a:extLst>
                <a:ext uri="{FF2B5EF4-FFF2-40B4-BE49-F238E27FC236}">
                  <a16:creationId xmlns:a16="http://schemas.microsoft.com/office/drawing/2014/main" id="{875D6C94-3FEF-44CE-85AB-EF35522EB8D4}"/>
                </a:ext>
              </a:extLst>
            </p:cNvPr>
            <p:cNvSpPr/>
            <p:nvPr/>
          </p:nvSpPr>
          <p:spPr>
            <a:xfrm>
              <a:off x="1771003" y="4060202"/>
              <a:ext cx="427355" cy="109855"/>
            </a:xfrm>
            <a:custGeom>
              <a:avLst/>
              <a:gdLst/>
              <a:ahLst/>
              <a:cxnLst/>
              <a:rect l="l" t="t" r="r" b="b"/>
              <a:pathLst>
                <a:path w="427355" h="109854">
                  <a:moveTo>
                    <a:pt x="15671" y="901"/>
                  </a:moveTo>
                  <a:lnTo>
                    <a:pt x="8978" y="901"/>
                  </a:lnTo>
                  <a:lnTo>
                    <a:pt x="6057" y="2159"/>
                  </a:lnTo>
                  <a:lnTo>
                    <a:pt x="1562" y="7162"/>
                  </a:lnTo>
                  <a:lnTo>
                    <a:pt x="127" y="10744"/>
                  </a:lnTo>
                  <a:lnTo>
                    <a:pt x="0" y="17627"/>
                  </a:lnTo>
                  <a:lnTo>
                    <a:pt x="1168" y="20434"/>
                  </a:lnTo>
                  <a:lnTo>
                    <a:pt x="32232" y="47855"/>
                  </a:lnTo>
                  <a:lnTo>
                    <a:pt x="64571" y="69663"/>
                  </a:lnTo>
                  <a:lnTo>
                    <a:pt x="99262" y="86906"/>
                  </a:lnTo>
                  <a:lnTo>
                    <a:pt x="135919" y="99421"/>
                  </a:lnTo>
                  <a:lnTo>
                    <a:pt x="174153" y="107048"/>
                  </a:lnTo>
                  <a:lnTo>
                    <a:pt x="213575" y="109626"/>
                  </a:lnTo>
                  <a:lnTo>
                    <a:pt x="225391" y="109397"/>
                  </a:lnTo>
                  <a:lnTo>
                    <a:pt x="264503" y="105301"/>
                  </a:lnTo>
                  <a:lnTo>
                    <a:pt x="302310" y="96204"/>
                  </a:lnTo>
                  <a:lnTo>
                    <a:pt x="334674" y="83906"/>
                  </a:lnTo>
                  <a:lnTo>
                    <a:pt x="208850" y="83906"/>
                  </a:lnTo>
                  <a:lnTo>
                    <a:pt x="195741" y="83368"/>
                  </a:lnTo>
                  <a:lnTo>
                    <a:pt x="157121" y="78061"/>
                  </a:lnTo>
                  <a:lnTo>
                    <a:pt x="119920" y="67362"/>
                  </a:lnTo>
                  <a:lnTo>
                    <a:pt x="84603" y="51463"/>
                  </a:lnTo>
                  <a:lnTo>
                    <a:pt x="51634" y="30554"/>
                  </a:lnTo>
                  <a:lnTo>
                    <a:pt x="21475" y="4826"/>
                  </a:lnTo>
                  <a:lnTo>
                    <a:pt x="18961" y="2298"/>
                  </a:lnTo>
                  <a:lnTo>
                    <a:pt x="15671" y="901"/>
                  </a:lnTo>
                  <a:close/>
                </a:path>
                <a:path w="427355" h="109854">
                  <a:moveTo>
                    <a:pt x="417677" y="0"/>
                  </a:moveTo>
                  <a:lnTo>
                    <a:pt x="410908" y="0"/>
                  </a:lnTo>
                  <a:lnTo>
                    <a:pt x="408051" y="1295"/>
                  </a:lnTo>
                  <a:lnTo>
                    <a:pt x="398808" y="10540"/>
                  </a:lnTo>
                  <a:lnTo>
                    <a:pt x="389125" y="19178"/>
                  </a:lnTo>
                  <a:lnTo>
                    <a:pt x="358083" y="42011"/>
                  </a:lnTo>
                  <a:lnTo>
                    <a:pt x="324262" y="60083"/>
                  </a:lnTo>
                  <a:lnTo>
                    <a:pt x="287936" y="73211"/>
                  </a:lnTo>
                  <a:lnTo>
                    <a:pt x="249374" y="81213"/>
                  </a:lnTo>
                  <a:lnTo>
                    <a:pt x="208850" y="83906"/>
                  </a:lnTo>
                  <a:lnTo>
                    <a:pt x="334674" y="83906"/>
                  </a:lnTo>
                  <a:lnTo>
                    <a:pt x="372455" y="63648"/>
                  </a:lnTo>
                  <a:lnTo>
                    <a:pt x="404017" y="40512"/>
                  </a:lnTo>
                  <a:lnTo>
                    <a:pt x="426974" y="9169"/>
                  </a:lnTo>
                  <a:lnTo>
                    <a:pt x="425932" y="6362"/>
                  </a:lnTo>
                  <a:lnTo>
                    <a:pt x="420979" y="1397"/>
                  </a:lnTo>
                  <a:lnTo>
                    <a:pt x="41767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bk object 247">
              <a:extLst>
                <a:ext uri="{FF2B5EF4-FFF2-40B4-BE49-F238E27FC236}">
                  <a16:creationId xmlns:a16="http://schemas.microsoft.com/office/drawing/2014/main" id="{2390557C-E5BE-4608-A315-0CE0424BC263}"/>
                </a:ext>
              </a:extLst>
            </p:cNvPr>
            <p:cNvSpPr/>
            <p:nvPr/>
          </p:nvSpPr>
          <p:spPr>
            <a:xfrm>
              <a:off x="1896965" y="3935147"/>
              <a:ext cx="177165" cy="58419"/>
            </a:xfrm>
            <a:custGeom>
              <a:avLst/>
              <a:gdLst/>
              <a:ahLst/>
              <a:cxnLst/>
              <a:rect l="l" t="t" r="r" b="b"/>
              <a:pathLst>
                <a:path w="177164" h="58420">
                  <a:moveTo>
                    <a:pt x="16865" y="546"/>
                  </a:moveTo>
                  <a:lnTo>
                    <a:pt x="9690" y="546"/>
                  </a:lnTo>
                  <a:lnTo>
                    <a:pt x="6413" y="1955"/>
                  </a:lnTo>
                  <a:lnTo>
                    <a:pt x="4038" y="4571"/>
                  </a:lnTo>
                  <a:lnTo>
                    <a:pt x="1435" y="7175"/>
                  </a:lnTo>
                  <a:lnTo>
                    <a:pt x="0" y="10718"/>
                  </a:lnTo>
                  <a:lnTo>
                    <a:pt x="177" y="17627"/>
                  </a:lnTo>
                  <a:lnTo>
                    <a:pt x="1549" y="20662"/>
                  </a:lnTo>
                  <a:lnTo>
                    <a:pt x="38035" y="46763"/>
                  </a:lnTo>
                  <a:lnTo>
                    <a:pt x="75341" y="57161"/>
                  </a:lnTo>
                  <a:lnTo>
                    <a:pt x="88518" y="57873"/>
                  </a:lnTo>
                  <a:lnTo>
                    <a:pt x="91169" y="57845"/>
                  </a:lnTo>
                  <a:lnTo>
                    <a:pt x="129458" y="50715"/>
                  </a:lnTo>
                  <a:lnTo>
                    <a:pt x="163184" y="31703"/>
                  </a:lnTo>
                  <a:lnTo>
                    <a:pt x="164292" y="30709"/>
                  </a:lnTo>
                  <a:lnTo>
                    <a:pt x="81004" y="30709"/>
                  </a:lnTo>
                  <a:lnTo>
                    <a:pt x="68018" y="28743"/>
                  </a:lnTo>
                  <a:lnTo>
                    <a:pt x="55587" y="25035"/>
                  </a:lnTo>
                  <a:lnTo>
                    <a:pt x="43864" y="19651"/>
                  </a:lnTo>
                  <a:lnTo>
                    <a:pt x="33006" y="12660"/>
                  </a:lnTo>
                  <a:lnTo>
                    <a:pt x="23164" y="4127"/>
                  </a:lnTo>
                  <a:lnTo>
                    <a:pt x="20345" y="1816"/>
                  </a:lnTo>
                  <a:lnTo>
                    <a:pt x="16865" y="546"/>
                  </a:lnTo>
                  <a:close/>
                </a:path>
                <a:path w="177164" h="58420">
                  <a:moveTo>
                    <a:pt x="167106" y="0"/>
                  </a:moveTo>
                  <a:lnTo>
                    <a:pt x="160147" y="0"/>
                  </a:lnTo>
                  <a:lnTo>
                    <a:pt x="156997" y="1384"/>
                  </a:lnTo>
                  <a:lnTo>
                    <a:pt x="153061" y="5534"/>
                  </a:lnTo>
                  <a:lnTo>
                    <a:pt x="143933" y="13133"/>
                  </a:lnTo>
                  <a:lnTo>
                    <a:pt x="96192" y="30094"/>
                  </a:lnTo>
                  <a:lnTo>
                    <a:pt x="81004" y="30709"/>
                  </a:lnTo>
                  <a:lnTo>
                    <a:pt x="164292" y="30709"/>
                  </a:lnTo>
                  <a:lnTo>
                    <a:pt x="172999" y="22898"/>
                  </a:lnTo>
                  <a:lnTo>
                    <a:pt x="175488" y="20421"/>
                  </a:lnTo>
                  <a:lnTo>
                    <a:pt x="176556" y="17627"/>
                  </a:lnTo>
                  <a:lnTo>
                    <a:pt x="176644" y="9448"/>
                  </a:lnTo>
                  <a:lnTo>
                    <a:pt x="175488" y="6451"/>
                  </a:lnTo>
                  <a:lnTo>
                    <a:pt x="170459" y="1422"/>
                  </a:lnTo>
                  <a:lnTo>
                    <a:pt x="16710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 name="Groupe 59">
            <a:extLst>
              <a:ext uri="{FF2B5EF4-FFF2-40B4-BE49-F238E27FC236}">
                <a16:creationId xmlns:a16="http://schemas.microsoft.com/office/drawing/2014/main" id="{23B3071E-D249-4CFA-9C08-87B1D0152D78}"/>
              </a:ext>
            </a:extLst>
          </p:cNvPr>
          <p:cNvGrpSpPr/>
          <p:nvPr/>
        </p:nvGrpSpPr>
        <p:grpSpPr>
          <a:xfrm>
            <a:off x="3860146" y="2583814"/>
            <a:ext cx="504501" cy="696581"/>
            <a:chOff x="1714343" y="2513927"/>
            <a:chExt cx="540385" cy="746125"/>
          </a:xfrm>
        </p:grpSpPr>
        <p:sp>
          <p:nvSpPr>
            <p:cNvPr id="61" name="bk object 249">
              <a:extLst>
                <a:ext uri="{FF2B5EF4-FFF2-40B4-BE49-F238E27FC236}">
                  <a16:creationId xmlns:a16="http://schemas.microsoft.com/office/drawing/2014/main" id="{6E97483D-178F-4D27-B862-7CB12DF5F06C}"/>
                </a:ext>
              </a:extLst>
            </p:cNvPr>
            <p:cNvSpPr/>
            <p:nvPr/>
          </p:nvSpPr>
          <p:spPr>
            <a:xfrm>
              <a:off x="1714343" y="2513927"/>
              <a:ext cx="540385" cy="746125"/>
            </a:xfrm>
            <a:custGeom>
              <a:avLst/>
              <a:gdLst/>
              <a:ahLst/>
              <a:cxnLst/>
              <a:rect l="l" t="t" r="r" b="b"/>
              <a:pathLst>
                <a:path w="540385" h="746125">
                  <a:moveTo>
                    <a:pt x="5232" y="0"/>
                  </a:moveTo>
                  <a:lnTo>
                    <a:pt x="0" y="5232"/>
                  </a:lnTo>
                  <a:lnTo>
                    <a:pt x="0" y="740575"/>
                  </a:lnTo>
                  <a:lnTo>
                    <a:pt x="5232" y="745794"/>
                  </a:lnTo>
                  <a:lnTo>
                    <a:pt x="535127" y="745794"/>
                  </a:lnTo>
                  <a:lnTo>
                    <a:pt x="540346" y="740575"/>
                  </a:lnTo>
                  <a:lnTo>
                    <a:pt x="540344" y="722502"/>
                  </a:lnTo>
                  <a:lnTo>
                    <a:pt x="23291" y="722502"/>
                  </a:lnTo>
                  <a:lnTo>
                    <a:pt x="23291" y="23291"/>
                  </a:lnTo>
                  <a:lnTo>
                    <a:pt x="436966" y="23291"/>
                  </a:lnTo>
                  <a:lnTo>
                    <a:pt x="417194" y="3517"/>
                  </a:lnTo>
                  <a:lnTo>
                    <a:pt x="410514" y="139"/>
                  </a:lnTo>
                  <a:lnTo>
                    <a:pt x="5232" y="0"/>
                  </a:lnTo>
                  <a:close/>
                </a:path>
                <a:path w="540385" h="746125">
                  <a:moveTo>
                    <a:pt x="436966" y="23291"/>
                  </a:moveTo>
                  <a:lnTo>
                    <a:pt x="397217" y="23291"/>
                  </a:lnTo>
                  <a:lnTo>
                    <a:pt x="397217" y="137921"/>
                  </a:lnTo>
                  <a:lnTo>
                    <a:pt x="402437" y="143141"/>
                  </a:lnTo>
                  <a:lnTo>
                    <a:pt x="517067" y="143141"/>
                  </a:lnTo>
                  <a:lnTo>
                    <a:pt x="517067" y="722502"/>
                  </a:lnTo>
                  <a:lnTo>
                    <a:pt x="540344" y="722502"/>
                  </a:lnTo>
                  <a:lnTo>
                    <a:pt x="540257" y="130086"/>
                  </a:lnTo>
                  <a:lnTo>
                    <a:pt x="533527" y="119862"/>
                  </a:lnTo>
                  <a:lnTo>
                    <a:pt x="420496" y="119862"/>
                  </a:lnTo>
                  <a:lnTo>
                    <a:pt x="420496" y="39750"/>
                  </a:lnTo>
                  <a:lnTo>
                    <a:pt x="453424" y="39750"/>
                  </a:lnTo>
                  <a:lnTo>
                    <a:pt x="436966" y="23291"/>
                  </a:lnTo>
                  <a:close/>
                </a:path>
                <a:path w="540385" h="746125">
                  <a:moveTo>
                    <a:pt x="453424" y="39750"/>
                  </a:moveTo>
                  <a:lnTo>
                    <a:pt x="420496" y="39750"/>
                  </a:lnTo>
                  <a:lnTo>
                    <a:pt x="500583" y="119862"/>
                  </a:lnTo>
                  <a:lnTo>
                    <a:pt x="533527" y="119862"/>
                  </a:lnTo>
                  <a:lnTo>
                    <a:pt x="453424" y="3975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bk object 250">
              <a:extLst>
                <a:ext uri="{FF2B5EF4-FFF2-40B4-BE49-F238E27FC236}">
                  <a16:creationId xmlns:a16="http://schemas.microsoft.com/office/drawing/2014/main" id="{C016CDBA-D873-4566-8752-3D344542876B}"/>
                </a:ext>
              </a:extLst>
            </p:cNvPr>
            <p:cNvSpPr/>
            <p:nvPr/>
          </p:nvSpPr>
          <p:spPr>
            <a:xfrm>
              <a:off x="1826738" y="3024785"/>
              <a:ext cx="139065" cy="27305"/>
            </a:xfrm>
            <a:custGeom>
              <a:avLst/>
              <a:gdLst/>
              <a:ahLst/>
              <a:cxnLst/>
              <a:rect l="l" t="t" r="r" b="b"/>
              <a:pathLst>
                <a:path w="139064" h="27305">
                  <a:moveTo>
                    <a:pt x="133349" y="0"/>
                  </a:moveTo>
                  <a:lnTo>
                    <a:pt x="5473" y="0"/>
                  </a:lnTo>
                  <a:lnTo>
                    <a:pt x="0" y="5816"/>
                  </a:lnTo>
                  <a:lnTo>
                    <a:pt x="0" y="21628"/>
                  </a:lnTo>
                  <a:lnTo>
                    <a:pt x="5245" y="26873"/>
                  </a:lnTo>
                  <a:lnTo>
                    <a:pt x="133591" y="26873"/>
                  </a:lnTo>
                  <a:lnTo>
                    <a:pt x="138836" y="21628"/>
                  </a:lnTo>
                  <a:lnTo>
                    <a:pt x="138836" y="5816"/>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bk object 251">
              <a:extLst>
                <a:ext uri="{FF2B5EF4-FFF2-40B4-BE49-F238E27FC236}">
                  <a16:creationId xmlns:a16="http://schemas.microsoft.com/office/drawing/2014/main" id="{F0FC5553-A522-4357-A50A-993F2F8780A3}"/>
                </a:ext>
              </a:extLst>
            </p:cNvPr>
            <p:cNvSpPr/>
            <p:nvPr/>
          </p:nvSpPr>
          <p:spPr>
            <a:xfrm>
              <a:off x="1826738" y="3100465"/>
              <a:ext cx="139065" cy="27305"/>
            </a:xfrm>
            <a:custGeom>
              <a:avLst/>
              <a:gdLst/>
              <a:ahLst/>
              <a:cxnLst/>
              <a:rect l="l" t="t" r="r" b="b"/>
              <a:pathLst>
                <a:path w="139064" h="27305">
                  <a:moveTo>
                    <a:pt x="133349" y="0"/>
                  </a:moveTo>
                  <a:lnTo>
                    <a:pt x="5473" y="0"/>
                  </a:lnTo>
                  <a:lnTo>
                    <a:pt x="0" y="5803"/>
                  </a:lnTo>
                  <a:lnTo>
                    <a:pt x="0" y="21628"/>
                  </a:lnTo>
                  <a:lnTo>
                    <a:pt x="5245" y="26873"/>
                  </a:lnTo>
                  <a:lnTo>
                    <a:pt x="133591" y="26873"/>
                  </a:lnTo>
                  <a:lnTo>
                    <a:pt x="138836" y="21628"/>
                  </a:lnTo>
                  <a:lnTo>
                    <a:pt x="138836" y="5803"/>
                  </a:lnTo>
                  <a:lnTo>
                    <a:pt x="13334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bk object 252">
              <a:extLst>
                <a:ext uri="{FF2B5EF4-FFF2-40B4-BE49-F238E27FC236}">
                  <a16:creationId xmlns:a16="http://schemas.microsoft.com/office/drawing/2014/main" id="{69886CDB-60EF-41D0-A094-26CB5D90901A}"/>
                </a:ext>
              </a:extLst>
            </p:cNvPr>
            <p:cNvSpPr/>
            <p:nvPr/>
          </p:nvSpPr>
          <p:spPr>
            <a:xfrm>
              <a:off x="1826738" y="2962543"/>
              <a:ext cx="313055" cy="0"/>
            </a:xfrm>
            <a:custGeom>
              <a:avLst/>
              <a:gdLst/>
              <a:ahLst/>
              <a:cxnLst/>
              <a:rect l="l" t="t" r="r" b="b"/>
              <a:pathLst>
                <a:path w="313055">
                  <a:moveTo>
                    <a:pt x="0" y="0"/>
                  </a:moveTo>
                  <a:lnTo>
                    <a:pt x="312889" y="0"/>
                  </a:lnTo>
                </a:path>
              </a:pathLst>
            </a:custGeom>
            <a:ln w="2815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bk object 253">
              <a:extLst>
                <a:ext uri="{FF2B5EF4-FFF2-40B4-BE49-F238E27FC236}">
                  <a16:creationId xmlns:a16="http://schemas.microsoft.com/office/drawing/2014/main" id="{4C27145C-916C-4EA3-BE99-ED990D362DE3}"/>
                </a:ext>
              </a:extLst>
            </p:cNvPr>
            <p:cNvSpPr/>
            <p:nvPr/>
          </p:nvSpPr>
          <p:spPr>
            <a:xfrm>
              <a:off x="2000780" y="3024785"/>
              <a:ext cx="139065" cy="27305"/>
            </a:xfrm>
            <a:custGeom>
              <a:avLst/>
              <a:gdLst/>
              <a:ahLst/>
              <a:cxnLst/>
              <a:rect l="l" t="t" r="r" b="b"/>
              <a:pathLst>
                <a:path w="139064" h="27305">
                  <a:moveTo>
                    <a:pt x="133362" y="0"/>
                  </a:moveTo>
                  <a:lnTo>
                    <a:pt x="5486" y="0"/>
                  </a:lnTo>
                  <a:lnTo>
                    <a:pt x="0" y="5816"/>
                  </a:lnTo>
                  <a:lnTo>
                    <a:pt x="0" y="21628"/>
                  </a:lnTo>
                  <a:lnTo>
                    <a:pt x="5245" y="26873"/>
                  </a:lnTo>
                  <a:lnTo>
                    <a:pt x="133603" y="26873"/>
                  </a:lnTo>
                  <a:lnTo>
                    <a:pt x="138849" y="21628"/>
                  </a:lnTo>
                  <a:lnTo>
                    <a:pt x="138849" y="5816"/>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bk object 254">
              <a:extLst>
                <a:ext uri="{FF2B5EF4-FFF2-40B4-BE49-F238E27FC236}">
                  <a16:creationId xmlns:a16="http://schemas.microsoft.com/office/drawing/2014/main" id="{92E1E97C-16BE-46BF-A52A-A4486D2C987D}"/>
                </a:ext>
              </a:extLst>
            </p:cNvPr>
            <p:cNvSpPr/>
            <p:nvPr/>
          </p:nvSpPr>
          <p:spPr>
            <a:xfrm>
              <a:off x="2000780" y="3100465"/>
              <a:ext cx="139065" cy="27305"/>
            </a:xfrm>
            <a:custGeom>
              <a:avLst/>
              <a:gdLst/>
              <a:ahLst/>
              <a:cxnLst/>
              <a:rect l="l" t="t" r="r" b="b"/>
              <a:pathLst>
                <a:path w="139064" h="27305">
                  <a:moveTo>
                    <a:pt x="133362" y="0"/>
                  </a:moveTo>
                  <a:lnTo>
                    <a:pt x="5486" y="0"/>
                  </a:lnTo>
                  <a:lnTo>
                    <a:pt x="0" y="5803"/>
                  </a:lnTo>
                  <a:lnTo>
                    <a:pt x="0" y="21628"/>
                  </a:lnTo>
                  <a:lnTo>
                    <a:pt x="5245" y="26873"/>
                  </a:lnTo>
                  <a:lnTo>
                    <a:pt x="133603" y="26873"/>
                  </a:lnTo>
                  <a:lnTo>
                    <a:pt x="138849" y="21628"/>
                  </a:lnTo>
                  <a:lnTo>
                    <a:pt x="138849" y="5803"/>
                  </a:lnTo>
                  <a:lnTo>
                    <a:pt x="13336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bk object 255">
              <a:extLst>
                <a:ext uri="{FF2B5EF4-FFF2-40B4-BE49-F238E27FC236}">
                  <a16:creationId xmlns:a16="http://schemas.microsoft.com/office/drawing/2014/main" id="{A3A4C5B9-CCC7-44F2-A33C-F6A01AA8E7A3}"/>
                </a:ext>
              </a:extLst>
            </p:cNvPr>
            <p:cNvSpPr/>
            <p:nvPr/>
          </p:nvSpPr>
          <p:spPr>
            <a:xfrm>
              <a:off x="1813520" y="2633369"/>
              <a:ext cx="338455" cy="257810"/>
            </a:xfrm>
            <a:custGeom>
              <a:avLst/>
              <a:gdLst/>
              <a:ahLst/>
              <a:cxnLst/>
              <a:rect l="l" t="t" r="r" b="b"/>
              <a:pathLst>
                <a:path w="338455" h="257810">
                  <a:moveTo>
                    <a:pt x="74218" y="182740"/>
                  </a:moveTo>
                  <a:lnTo>
                    <a:pt x="0" y="182740"/>
                  </a:lnTo>
                  <a:lnTo>
                    <a:pt x="0" y="257263"/>
                  </a:lnTo>
                  <a:lnTo>
                    <a:pt x="74218" y="257263"/>
                  </a:lnTo>
                  <a:lnTo>
                    <a:pt x="74218" y="182740"/>
                  </a:lnTo>
                  <a:close/>
                </a:path>
                <a:path w="338455" h="257810">
                  <a:moveTo>
                    <a:pt x="206336" y="182740"/>
                  </a:moveTo>
                  <a:lnTo>
                    <a:pt x="132118" y="182740"/>
                  </a:lnTo>
                  <a:lnTo>
                    <a:pt x="132118" y="257263"/>
                  </a:lnTo>
                  <a:lnTo>
                    <a:pt x="206336" y="257263"/>
                  </a:lnTo>
                  <a:lnTo>
                    <a:pt x="206336" y="182740"/>
                  </a:lnTo>
                  <a:close/>
                </a:path>
                <a:path w="338455" h="257810">
                  <a:moveTo>
                    <a:pt x="338442" y="182740"/>
                  </a:moveTo>
                  <a:lnTo>
                    <a:pt x="264248" y="182740"/>
                  </a:lnTo>
                  <a:lnTo>
                    <a:pt x="264248" y="257263"/>
                  </a:lnTo>
                  <a:lnTo>
                    <a:pt x="338442" y="257263"/>
                  </a:lnTo>
                  <a:lnTo>
                    <a:pt x="338442" y="182740"/>
                  </a:lnTo>
                  <a:close/>
                </a:path>
                <a:path w="338455" h="257810">
                  <a:moveTo>
                    <a:pt x="305841" y="120484"/>
                  </a:moveTo>
                  <a:lnTo>
                    <a:pt x="32626" y="120484"/>
                  </a:lnTo>
                  <a:lnTo>
                    <a:pt x="28968" y="124167"/>
                  </a:lnTo>
                  <a:lnTo>
                    <a:pt x="28968" y="182740"/>
                  </a:lnTo>
                  <a:lnTo>
                    <a:pt x="45300" y="182740"/>
                  </a:lnTo>
                  <a:lnTo>
                    <a:pt x="45300" y="136880"/>
                  </a:lnTo>
                  <a:lnTo>
                    <a:pt x="309501" y="136880"/>
                  </a:lnTo>
                  <a:lnTo>
                    <a:pt x="309499" y="124167"/>
                  </a:lnTo>
                  <a:lnTo>
                    <a:pt x="305841" y="120484"/>
                  </a:lnTo>
                  <a:close/>
                </a:path>
                <a:path w="338455" h="257810">
                  <a:moveTo>
                    <a:pt x="177406" y="136880"/>
                  </a:moveTo>
                  <a:lnTo>
                    <a:pt x="161061" y="136880"/>
                  </a:lnTo>
                  <a:lnTo>
                    <a:pt x="161061" y="182740"/>
                  </a:lnTo>
                  <a:lnTo>
                    <a:pt x="177406" y="182740"/>
                  </a:lnTo>
                  <a:lnTo>
                    <a:pt x="177406" y="136880"/>
                  </a:lnTo>
                  <a:close/>
                </a:path>
                <a:path w="338455" h="257810">
                  <a:moveTo>
                    <a:pt x="309501" y="136880"/>
                  </a:moveTo>
                  <a:lnTo>
                    <a:pt x="293166" y="136880"/>
                  </a:lnTo>
                  <a:lnTo>
                    <a:pt x="293166" y="182740"/>
                  </a:lnTo>
                  <a:lnTo>
                    <a:pt x="309511" y="182740"/>
                  </a:lnTo>
                  <a:lnTo>
                    <a:pt x="309501" y="136880"/>
                  </a:lnTo>
                  <a:close/>
                </a:path>
                <a:path w="338455" h="257810">
                  <a:moveTo>
                    <a:pt x="177406" y="74498"/>
                  </a:moveTo>
                  <a:lnTo>
                    <a:pt x="161061" y="74498"/>
                  </a:lnTo>
                  <a:lnTo>
                    <a:pt x="161061" y="120484"/>
                  </a:lnTo>
                  <a:lnTo>
                    <a:pt x="177406" y="120484"/>
                  </a:lnTo>
                  <a:lnTo>
                    <a:pt x="177406" y="74498"/>
                  </a:lnTo>
                  <a:close/>
                </a:path>
                <a:path w="338455" h="257810">
                  <a:moveTo>
                    <a:pt x="206336" y="0"/>
                  </a:moveTo>
                  <a:lnTo>
                    <a:pt x="132118" y="0"/>
                  </a:lnTo>
                  <a:lnTo>
                    <a:pt x="132118" y="74498"/>
                  </a:lnTo>
                  <a:lnTo>
                    <a:pt x="206336" y="74498"/>
                  </a:lnTo>
                  <a:lnTo>
                    <a:pt x="20633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1" name="Graphique 70">
            <a:extLst>
              <a:ext uri="{FF2B5EF4-FFF2-40B4-BE49-F238E27FC236}">
                <a16:creationId xmlns:a16="http://schemas.microsoft.com/office/drawing/2014/main" id="{C36D436D-6C94-4190-A7E6-B02FFF1474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72" y="3369664"/>
            <a:ext cx="778538" cy="778538"/>
          </a:xfrm>
          <a:prstGeom prst="rect">
            <a:avLst/>
          </a:prstGeom>
        </p:spPr>
      </p:pic>
      <p:pic>
        <p:nvPicPr>
          <p:cNvPr id="72" name="Graphique 71">
            <a:extLst>
              <a:ext uri="{FF2B5EF4-FFF2-40B4-BE49-F238E27FC236}">
                <a16:creationId xmlns:a16="http://schemas.microsoft.com/office/drawing/2014/main" id="{A6242D98-B60E-4996-B423-6BF373FA44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620915" y="2537218"/>
            <a:ext cx="618861" cy="704644"/>
          </a:xfrm>
          <a:prstGeom prst="rect">
            <a:avLst/>
          </a:prstGeom>
        </p:spPr>
      </p:pic>
      <p:pic>
        <p:nvPicPr>
          <p:cNvPr id="1613" name="Graphique 1612">
            <a:extLst>
              <a:ext uri="{FF2B5EF4-FFF2-40B4-BE49-F238E27FC236}">
                <a16:creationId xmlns:a16="http://schemas.microsoft.com/office/drawing/2014/main" id="{7F0FC21A-42D9-4A83-981B-0CA8C5FF4DA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7672" y="5058307"/>
            <a:ext cx="1573166" cy="1609192"/>
          </a:xfrm>
          <a:prstGeom prst="rect">
            <a:avLst/>
          </a:prstGeom>
        </p:spPr>
      </p:pic>
      <p:grpSp>
        <p:nvGrpSpPr>
          <p:cNvPr id="1614" name="Image 6">
            <a:extLst>
              <a:ext uri="{FF2B5EF4-FFF2-40B4-BE49-F238E27FC236}">
                <a16:creationId xmlns:a16="http://schemas.microsoft.com/office/drawing/2014/main" id="{63B2189B-F160-4FE8-893C-7F475FF904F9}"/>
              </a:ext>
            </a:extLst>
          </p:cNvPr>
          <p:cNvGrpSpPr/>
          <p:nvPr/>
        </p:nvGrpSpPr>
        <p:grpSpPr>
          <a:xfrm>
            <a:off x="3842127" y="5336290"/>
            <a:ext cx="731784" cy="722554"/>
            <a:chOff x="3049395" y="3134538"/>
            <a:chExt cx="943527" cy="931627"/>
          </a:xfrm>
          <a:solidFill>
            <a:srgbClr val="000000"/>
          </a:solidFill>
        </p:grpSpPr>
        <p:sp>
          <p:nvSpPr>
            <p:cNvPr id="1615" name="Forme libre : forme 1614">
              <a:extLst>
                <a:ext uri="{FF2B5EF4-FFF2-40B4-BE49-F238E27FC236}">
                  <a16:creationId xmlns:a16="http://schemas.microsoft.com/office/drawing/2014/main" id="{B9F25A05-47B4-4295-A315-307B5C2E6A3B}"/>
                </a:ext>
              </a:extLst>
            </p:cNvPr>
            <p:cNvSpPr/>
            <p:nvPr/>
          </p:nvSpPr>
          <p:spPr>
            <a:xfrm>
              <a:off x="3049395" y="3134538"/>
              <a:ext cx="514496" cy="432828"/>
            </a:xfrm>
            <a:custGeom>
              <a:avLst/>
              <a:gdLst>
                <a:gd name="connsiteX0" fmla="*/ 37281 w 514496"/>
                <a:gd name="connsiteY0" fmla="*/ 432829 h 432828"/>
                <a:gd name="connsiteX1" fmla="*/ 0 w 514496"/>
                <a:gd name="connsiteY1" fmla="*/ 395554 h 432828"/>
                <a:gd name="connsiteX2" fmla="*/ 0 w 514496"/>
                <a:gd name="connsiteY2" fmla="*/ 37287 h 432828"/>
                <a:gd name="connsiteX3" fmla="*/ 39256 w 514496"/>
                <a:gd name="connsiteY3" fmla="*/ 0 h 432828"/>
                <a:gd name="connsiteX4" fmla="*/ 197612 w 514496"/>
                <a:gd name="connsiteY4" fmla="*/ 0 h 432828"/>
                <a:gd name="connsiteX5" fmla="*/ 231648 w 514496"/>
                <a:gd name="connsiteY5" fmla="*/ 22816 h 432828"/>
                <a:gd name="connsiteX6" fmla="*/ 236360 w 514496"/>
                <a:gd name="connsiteY6" fmla="*/ 32271 h 432828"/>
                <a:gd name="connsiteX7" fmla="*/ 237306 w 514496"/>
                <a:gd name="connsiteY7" fmla="*/ 33217 h 432828"/>
                <a:gd name="connsiteX8" fmla="*/ 249079 w 514496"/>
                <a:gd name="connsiteY8" fmla="*/ 39586 h 432828"/>
                <a:gd name="connsiteX9" fmla="*/ 441084 w 514496"/>
                <a:gd name="connsiteY9" fmla="*/ 39586 h 432828"/>
                <a:gd name="connsiteX10" fmla="*/ 480339 w 514496"/>
                <a:gd name="connsiteY10" fmla="*/ 76860 h 432828"/>
                <a:gd name="connsiteX11" fmla="*/ 480339 w 514496"/>
                <a:gd name="connsiteY11" fmla="*/ 172695 h 432828"/>
                <a:gd name="connsiteX12" fmla="*/ 486969 w 514496"/>
                <a:gd name="connsiteY12" fmla="*/ 174015 h 432828"/>
                <a:gd name="connsiteX13" fmla="*/ 506501 w 514496"/>
                <a:gd name="connsiteY13" fmla="*/ 185636 h 432828"/>
                <a:gd name="connsiteX14" fmla="*/ 514103 w 514496"/>
                <a:gd name="connsiteY14" fmla="*/ 212090 h 432828"/>
                <a:gd name="connsiteX15" fmla="*/ 513988 w 514496"/>
                <a:gd name="connsiteY15" fmla="*/ 212770 h 432828"/>
                <a:gd name="connsiteX16" fmla="*/ 513988 w 514496"/>
                <a:gd name="connsiteY16" fmla="*/ 214719 h 432828"/>
                <a:gd name="connsiteX17" fmla="*/ 482441 w 514496"/>
                <a:gd name="connsiteY17" fmla="*/ 396126 h 432828"/>
                <a:gd name="connsiteX18" fmla="*/ 441078 w 514496"/>
                <a:gd name="connsiteY18" fmla="*/ 432829 h 432828"/>
                <a:gd name="connsiteX19" fmla="*/ 37281 w 514496"/>
                <a:gd name="connsiteY19" fmla="*/ 432829 h 432828"/>
                <a:gd name="connsiteX20" fmla="*/ 27953 w 514496"/>
                <a:gd name="connsiteY20" fmla="*/ 403822 h 432828"/>
                <a:gd name="connsiteX21" fmla="*/ 37287 w 514496"/>
                <a:gd name="connsiteY21" fmla="*/ 409734 h 432828"/>
                <a:gd name="connsiteX22" fmla="*/ 441090 w 514496"/>
                <a:gd name="connsiteY22" fmla="*/ 409734 h 432828"/>
                <a:gd name="connsiteX23" fmla="*/ 459200 w 514496"/>
                <a:gd name="connsiteY23" fmla="*/ 394488 h 432828"/>
                <a:gd name="connsiteX24" fmla="*/ 490899 w 514496"/>
                <a:gd name="connsiteY24" fmla="*/ 212173 h 432828"/>
                <a:gd name="connsiteX25" fmla="*/ 490899 w 514496"/>
                <a:gd name="connsiteY25" fmla="*/ 204108 h 432828"/>
                <a:gd name="connsiteX26" fmla="*/ 488499 w 514496"/>
                <a:gd name="connsiteY26" fmla="*/ 201682 h 432828"/>
                <a:gd name="connsiteX27" fmla="*/ 478701 w 514496"/>
                <a:gd name="connsiteY27" fmla="*/ 197288 h 432828"/>
                <a:gd name="connsiteX28" fmla="*/ 74905 w 514496"/>
                <a:gd name="connsiteY28" fmla="*/ 197288 h 432828"/>
                <a:gd name="connsiteX29" fmla="*/ 56794 w 514496"/>
                <a:gd name="connsiteY29" fmla="*/ 212547 h 432828"/>
                <a:gd name="connsiteX30" fmla="*/ 24486 w 514496"/>
                <a:gd name="connsiteY30" fmla="*/ 400342 h 432828"/>
                <a:gd name="connsiteX31" fmla="*/ 27953 w 514496"/>
                <a:gd name="connsiteY31" fmla="*/ 403822 h 432828"/>
                <a:gd name="connsiteX32" fmla="*/ 37281 w 514496"/>
                <a:gd name="connsiteY32" fmla="*/ 23095 h 432828"/>
                <a:gd name="connsiteX33" fmla="*/ 23552 w 514496"/>
                <a:gd name="connsiteY33" fmla="*/ 31426 h 432828"/>
                <a:gd name="connsiteX34" fmla="*/ 21133 w 514496"/>
                <a:gd name="connsiteY34" fmla="*/ 33839 h 432828"/>
                <a:gd name="connsiteX35" fmla="*/ 21114 w 514496"/>
                <a:gd name="connsiteY35" fmla="*/ 37281 h 432828"/>
                <a:gd name="connsiteX36" fmla="*/ 21114 w 514496"/>
                <a:gd name="connsiteY36" fmla="*/ 218389 h 432828"/>
                <a:gd name="connsiteX37" fmla="*/ 35960 w 514496"/>
                <a:gd name="connsiteY37" fmla="*/ 198603 h 432828"/>
                <a:gd name="connsiteX38" fmla="*/ 52838 w 514496"/>
                <a:gd name="connsiteY38" fmla="*/ 181235 h 432828"/>
                <a:gd name="connsiteX39" fmla="*/ 57404 w 514496"/>
                <a:gd name="connsiteY39" fmla="*/ 178962 h 432828"/>
                <a:gd name="connsiteX40" fmla="*/ 57404 w 514496"/>
                <a:gd name="connsiteY40" fmla="*/ 122396 h 432828"/>
                <a:gd name="connsiteX41" fmla="*/ 82804 w 514496"/>
                <a:gd name="connsiteY41" fmla="*/ 96996 h 432828"/>
                <a:gd name="connsiteX42" fmla="*/ 393573 w 514496"/>
                <a:gd name="connsiteY42" fmla="*/ 96996 h 432828"/>
                <a:gd name="connsiteX43" fmla="*/ 418973 w 514496"/>
                <a:gd name="connsiteY43" fmla="*/ 122396 h 432828"/>
                <a:gd name="connsiteX44" fmla="*/ 418973 w 514496"/>
                <a:gd name="connsiteY44" fmla="*/ 174187 h 432828"/>
                <a:gd name="connsiteX45" fmla="*/ 455270 w 514496"/>
                <a:gd name="connsiteY45" fmla="*/ 174187 h 432828"/>
                <a:gd name="connsiteX46" fmla="*/ 455270 w 514496"/>
                <a:gd name="connsiteY46" fmla="*/ 76867 h 432828"/>
                <a:gd name="connsiteX47" fmla="*/ 441084 w 514496"/>
                <a:gd name="connsiteY47" fmla="*/ 62687 h 432828"/>
                <a:gd name="connsiteX48" fmla="*/ 249079 w 514496"/>
                <a:gd name="connsiteY48" fmla="*/ 62687 h 432828"/>
                <a:gd name="connsiteX49" fmla="*/ 212909 w 514496"/>
                <a:gd name="connsiteY49" fmla="*/ 39541 h 432828"/>
                <a:gd name="connsiteX50" fmla="*/ 212001 w 514496"/>
                <a:gd name="connsiteY50" fmla="*/ 37465 h 432828"/>
                <a:gd name="connsiteX51" fmla="*/ 195637 w 514496"/>
                <a:gd name="connsiteY51" fmla="*/ 23095 h 432828"/>
                <a:gd name="connsiteX52" fmla="*/ 37281 w 514496"/>
                <a:gd name="connsiteY52" fmla="*/ 23095 h 432828"/>
                <a:gd name="connsiteX53" fmla="*/ 82480 w 514496"/>
                <a:gd name="connsiteY53" fmla="*/ 174187 h 432828"/>
                <a:gd name="connsiteX54" fmla="*/ 397859 w 514496"/>
                <a:gd name="connsiteY54" fmla="*/ 174187 h 432828"/>
                <a:gd name="connsiteX55" fmla="*/ 397859 w 514496"/>
                <a:gd name="connsiteY55" fmla="*/ 118110 h 432828"/>
                <a:gd name="connsiteX56" fmla="*/ 82480 w 514496"/>
                <a:gd name="connsiteY56" fmla="*/ 118110 h 432828"/>
                <a:gd name="connsiteX57" fmla="*/ 82480 w 514496"/>
                <a:gd name="connsiteY57" fmla="*/ 174187 h 43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4496" h="432828">
                  <a:moveTo>
                    <a:pt x="37281" y="432829"/>
                  </a:moveTo>
                  <a:cubicBezTo>
                    <a:pt x="17075" y="432829"/>
                    <a:pt x="0" y="415760"/>
                    <a:pt x="0" y="395554"/>
                  </a:cubicBezTo>
                  <a:lnTo>
                    <a:pt x="0" y="37287"/>
                  </a:lnTo>
                  <a:cubicBezTo>
                    <a:pt x="0" y="17774"/>
                    <a:pt x="18713" y="0"/>
                    <a:pt x="39256" y="0"/>
                  </a:cubicBezTo>
                  <a:lnTo>
                    <a:pt x="197612" y="0"/>
                  </a:lnTo>
                  <a:cubicBezTo>
                    <a:pt x="212572" y="0"/>
                    <a:pt x="225298" y="8534"/>
                    <a:pt x="231648" y="22816"/>
                  </a:cubicBezTo>
                  <a:lnTo>
                    <a:pt x="236360" y="32271"/>
                  </a:lnTo>
                  <a:lnTo>
                    <a:pt x="237306" y="33217"/>
                  </a:lnTo>
                  <a:cubicBezTo>
                    <a:pt x="239992" y="35903"/>
                    <a:pt x="243675" y="39586"/>
                    <a:pt x="249079" y="39586"/>
                  </a:cubicBezTo>
                  <a:lnTo>
                    <a:pt x="441084" y="39586"/>
                  </a:lnTo>
                  <a:cubicBezTo>
                    <a:pt x="462725" y="39586"/>
                    <a:pt x="480339" y="56305"/>
                    <a:pt x="480339" y="76860"/>
                  </a:cubicBezTo>
                  <a:lnTo>
                    <a:pt x="480339" y="172695"/>
                  </a:lnTo>
                  <a:lnTo>
                    <a:pt x="486969" y="174015"/>
                  </a:lnTo>
                  <a:cubicBezTo>
                    <a:pt x="493643" y="175355"/>
                    <a:pt x="500031" y="179153"/>
                    <a:pt x="506501" y="185636"/>
                  </a:cubicBezTo>
                  <a:cubicBezTo>
                    <a:pt x="512464" y="191592"/>
                    <a:pt x="515664" y="202717"/>
                    <a:pt x="514103" y="212090"/>
                  </a:cubicBezTo>
                  <a:lnTo>
                    <a:pt x="513988" y="212770"/>
                  </a:lnTo>
                  <a:lnTo>
                    <a:pt x="513988" y="214719"/>
                  </a:lnTo>
                  <a:lnTo>
                    <a:pt x="482441" y="396126"/>
                  </a:lnTo>
                  <a:cubicBezTo>
                    <a:pt x="478879" y="417424"/>
                    <a:pt x="461499" y="432829"/>
                    <a:pt x="441078" y="432829"/>
                  </a:cubicBezTo>
                  <a:lnTo>
                    <a:pt x="37281" y="432829"/>
                  </a:lnTo>
                  <a:close/>
                  <a:moveTo>
                    <a:pt x="27953" y="403822"/>
                  </a:moveTo>
                  <a:cubicBezTo>
                    <a:pt x="29661" y="407594"/>
                    <a:pt x="33522" y="409734"/>
                    <a:pt x="37287" y="409734"/>
                  </a:cubicBezTo>
                  <a:lnTo>
                    <a:pt x="441090" y="409734"/>
                  </a:lnTo>
                  <a:cubicBezTo>
                    <a:pt x="449027" y="409734"/>
                    <a:pt x="458552" y="403003"/>
                    <a:pt x="459200" y="394488"/>
                  </a:cubicBezTo>
                  <a:lnTo>
                    <a:pt x="490899" y="212173"/>
                  </a:lnTo>
                  <a:lnTo>
                    <a:pt x="490899" y="204108"/>
                  </a:lnTo>
                  <a:lnTo>
                    <a:pt x="488499" y="201682"/>
                  </a:lnTo>
                  <a:cubicBezTo>
                    <a:pt x="485508" y="198691"/>
                    <a:pt x="483571" y="197288"/>
                    <a:pt x="478701" y="197288"/>
                  </a:cubicBezTo>
                  <a:lnTo>
                    <a:pt x="74905" y="197288"/>
                  </a:lnTo>
                  <a:cubicBezTo>
                    <a:pt x="66961" y="197288"/>
                    <a:pt x="57423" y="204019"/>
                    <a:pt x="56794" y="212547"/>
                  </a:cubicBezTo>
                  <a:lnTo>
                    <a:pt x="24486" y="400342"/>
                  </a:lnTo>
                  <a:lnTo>
                    <a:pt x="27953" y="403822"/>
                  </a:lnTo>
                  <a:close/>
                  <a:moveTo>
                    <a:pt x="37281" y="23095"/>
                  </a:moveTo>
                  <a:cubicBezTo>
                    <a:pt x="32296" y="23095"/>
                    <a:pt x="28118" y="26867"/>
                    <a:pt x="23552" y="31426"/>
                  </a:cubicBezTo>
                  <a:lnTo>
                    <a:pt x="21133" y="33839"/>
                  </a:lnTo>
                  <a:lnTo>
                    <a:pt x="21114" y="37281"/>
                  </a:lnTo>
                  <a:lnTo>
                    <a:pt x="21114" y="218389"/>
                  </a:lnTo>
                  <a:lnTo>
                    <a:pt x="35960" y="198603"/>
                  </a:lnTo>
                  <a:cubicBezTo>
                    <a:pt x="41478" y="191249"/>
                    <a:pt x="46673" y="184315"/>
                    <a:pt x="52838" y="181235"/>
                  </a:cubicBezTo>
                  <a:lnTo>
                    <a:pt x="57404" y="178962"/>
                  </a:lnTo>
                  <a:lnTo>
                    <a:pt x="57404" y="122396"/>
                  </a:lnTo>
                  <a:cubicBezTo>
                    <a:pt x="57404" y="109106"/>
                    <a:pt x="69513" y="96996"/>
                    <a:pt x="82804" y="96996"/>
                  </a:cubicBezTo>
                  <a:lnTo>
                    <a:pt x="393573" y="96996"/>
                  </a:lnTo>
                  <a:cubicBezTo>
                    <a:pt x="406864" y="96996"/>
                    <a:pt x="418973" y="109106"/>
                    <a:pt x="418973" y="122396"/>
                  </a:cubicBezTo>
                  <a:lnTo>
                    <a:pt x="418973" y="174187"/>
                  </a:lnTo>
                  <a:lnTo>
                    <a:pt x="455270" y="174187"/>
                  </a:lnTo>
                  <a:lnTo>
                    <a:pt x="455270" y="76867"/>
                  </a:lnTo>
                  <a:cubicBezTo>
                    <a:pt x="455270" y="68383"/>
                    <a:pt x="449567" y="62687"/>
                    <a:pt x="441084" y="62687"/>
                  </a:cubicBezTo>
                  <a:lnTo>
                    <a:pt x="249079" y="62687"/>
                  </a:lnTo>
                  <a:cubicBezTo>
                    <a:pt x="234823" y="62687"/>
                    <a:pt x="219615" y="52959"/>
                    <a:pt x="212909" y="39541"/>
                  </a:cubicBezTo>
                  <a:cubicBezTo>
                    <a:pt x="212611" y="38938"/>
                    <a:pt x="212319" y="38221"/>
                    <a:pt x="212001" y="37465"/>
                  </a:cubicBezTo>
                  <a:cubicBezTo>
                    <a:pt x="210033" y="32810"/>
                    <a:pt x="205937" y="23095"/>
                    <a:pt x="195637" y="23095"/>
                  </a:cubicBezTo>
                  <a:lnTo>
                    <a:pt x="37281" y="23095"/>
                  </a:lnTo>
                  <a:close/>
                  <a:moveTo>
                    <a:pt x="82480" y="174187"/>
                  </a:moveTo>
                  <a:lnTo>
                    <a:pt x="397859" y="174187"/>
                  </a:lnTo>
                  <a:lnTo>
                    <a:pt x="397859" y="118110"/>
                  </a:lnTo>
                  <a:lnTo>
                    <a:pt x="82480" y="118110"/>
                  </a:lnTo>
                  <a:lnTo>
                    <a:pt x="82480" y="174187"/>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6" name="Forme libre : forme 1615">
              <a:extLst>
                <a:ext uri="{FF2B5EF4-FFF2-40B4-BE49-F238E27FC236}">
                  <a16:creationId xmlns:a16="http://schemas.microsoft.com/office/drawing/2014/main" id="{9EB9049C-051F-4D54-BFFA-A1E5F43A2F4A}"/>
                </a:ext>
              </a:extLst>
            </p:cNvPr>
            <p:cNvSpPr/>
            <p:nvPr/>
          </p:nvSpPr>
          <p:spPr>
            <a:xfrm>
              <a:off x="3478922" y="3633344"/>
              <a:ext cx="514000" cy="432822"/>
            </a:xfrm>
            <a:custGeom>
              <a:avLst/>
              <a:gdLst>
                <a:gd name="connsiteX0" fmla="*/ 37281 w 514000"/>
                <a:gd name="connsiteY0" fmla="*/ 432822 h 432822"/>
                <a:gd name="connsiteX1" fmla="*/ 0 w 514000"/>
                <a:gd name="connsiteY1" fmla="*/ 395548 h 432822"/>
                <a:gd name="connsiteX2" fmla="*/ 0 w 514000"/>
                <a:gd name="connsiteY2" fmla="*/ 37274 h 432822"/>
                <a:gd name="connsiteX3" fmla="*/ 37281 w 514000"/>
                <a:gd name="connsiteY3" fmla="*/ 0 h 432822"/>
                <a:gd name="connsiteX4" fmla="*/ 195637 w 514000"/>
                <a:gd name="connsiteY4" fmla="*/ 0 h 432822"/>
                <a:gd name="connsiteX5" fmla="*/ 229826 w 514000"/>
                <a:gd name="connsiteY5" fmla="*/ 23152 h 432822"/>
                <a:gd name="connsiteX6" fmla="*/ 234391 w 514000"/>
                <a:gd name="connsiteY6" fmla="*/ 32277 h 432822"/>
                <a:gd name="connsiteX7" fmla="*/ 235338 w 514000"/>
                <a:gd name="connsiteY7" fmla="*/ 33230 h 432822"/>
                <a:gd name="connsiteX8" fmla="*/ 247104 w 514000"/>
                <a:gd name="connsiteY8" fmla="*/ 39592 h 432822"/>
                <a:gd name="connsiteX9" fmla="*/ 439109 w 514000"/>
                <a:gd name="connsiteY9" fmla="*/ 39592 h 432822"/>
                <a:gd name="connsiteX10" fmla="*/ 476383 w 514000"/>
                <a:gd name="connsiteY10" fmla="*/ 76879 h 432822"/>
                <a:gd name="connsiteX11" fmla="*/ 476383 w 514000"/>
                <a:gd name="connsiteY11" fmla="*/ 174682 h 432822"/>
                <a:gd name="connsiteX12" fmla="*/ 483019 w 514000"/>
                <a:gd name="connsiteY12" fmla="*/ 176009 h 432822"/>
                <a:gd name="connsiteX13" fmla="*/ 502228 w 514000"/>
                <a:gd name="connsiteY13" fmla="*/ 187280 h 432822"/>
                <a:gd name="connsiteX14" fmla="*/ 514001 w 514000"/>
                <a:gd name="connsiteY14" fmla="*/ 214281 h 432822"/>
                <a:gd name="connsiteX15" fmla="*/ 514001 w 514000"/>
                <a:gd name="connsiteY15" fmla="*/ 214712 h 432822"/>
                <a:gd name="connsiteX16" fmla="*/ 482454 w 514000"/>
                <a:gd name="connsiteY16" fmla="*/ 396113 h 432822"/>
                <a:gd name="connsiteX17" fmla="*/ 441090 w 514000"/>
                <a:gd name="connsiteY17" fmla="*/ 432816 h 432822"/>
                <a:gd name="connsiteX18" fmla="*/ 37281 w 514000"/>
                <a:gd name="connsiteY18" fmla="*/ 432816 h 432822"/>
                <a:gd name="connsiteX19" fmla="*/ 20517 w 514000"/>
                <a:gd name="connsiteY19" fmla="*/ 402317 h 432822"/>
                <a:gd name="connsiteX20" fmla="*/ 25514 w 514000"/>
                <a:gd name="connsiteY20" fmla="*/ 407314 h 432822"/>
                <a:gd name="connsiteX21" fmla="*/ 35306 w 514000"/>
                <a:gd name="connsiteY21" fmla="*/ 411715 h 432822"/>
                <a:gd name="connsiteX22" fmla="*/ 439103 w 514000"/>
                <a:gd name="connsiteY22" fmla="*/ 411715 h 432822"/>
                <a:gd name="connsiteX23" fmla="*/ 457213 w 514000"/>
                <a:gd name="connsiteY23" fmla="*/ 396462 h 432822"/>
                <a:gd name="connsiteX24" fmla="*/ 488918 w 514000"/>
                <a:gd name="connsiteY24" fmla="*/ 214160 h 432822"/>
                <a:gd name="connsiteX25" fmla="*/ 488918 w 514000"/>
                <a:gd name="connsiteY25" fmla="*/ 206089 h 432822"/>
                <a:gd name="connsiteX26" fmla="*/ 486505 w 514000"/>
                <a:gd name="connsiteY26" fmla="*/ 203657 h 432822"/>
                <a:gd name="connsiteX27" fmla="*/ 476714 w 514000"/>
                <a:gd name="connsiteY27" fmla="*/ 199269 h 432822"/>
                <a:gd name="connsiteX28" fmla="*/ 70942 w 514000"/>
                <a:gd name="connsiteY28" fmla="*/ 199269 h 432822"/>
                <a:gd name="connsiteX29" fmla="*/ 52826 w 514000"/>
                <a:gd name="connsiteY29" fmla="*/ 214535 h 432822"/>
                <a:gd name="connsiteX30" fmla="*/ 20517 w 514000"/>
                <a:gd name="connsiteY30" fmla="*/ 402317 h 432822"/>
                <a:gd name="connsiteX31" fmla="*/ 37281 w 514000"/>
                <a:gd name="connsiteY31" fmla="*/ 25070 h 432822"/>
                <a:gd name="connsiteX32" fmla="*/ 21114 w 514000"/>
                <a:gd name="connsiteY32" fmla="*/ 39256 h 432822"/>
                <a:gd name="connsiteX33" fmla="*/ 21114 w 514000"/>
                <a:gd name="connsiteY33" fmla="*/ 218396 h 432822"/>
                <a:gd name="connsiteX34" fmla="*/ 35966 w 514000"/>
                <a:gd name="connsiteY34" fmla="*/ 198603 h 432822"/>
                <a:gd name="connsiteX35" fmla="*/ 52851 w 514000"/>
                <a:gd name="connsiteY35" fmla="*/ 181235 h 432822"/>
                <a:gd name="connsiteX36" fmla="*/ 57410 w 514000"/>
                <a:gd name="connsiteY36" fmla="*/ 178956 h 432822"/>
                <a:gd name="connsiteX37" fmla="*/ 57410 w 514000"/>
                <a:gd name="connsiteY37" fmla="*/ 122396 h 432822"/>
                <a:gd name="connsiteX38" fmla="*/ 82810 w 514000"/>
                <a:gd name="connsiteY38" fmla="*/ 96990 h 432822"/>
                <a:gd name="connsiteX39" fmla="*/ 391592 w 514000"/>
                <a:gd name="connsiteY39" fmla="*/ 96990 h 432822"/>
                <a:gd name="connsiteX40" fmla="*/ 416992 w 514000"/>
                <a:gd name="connsiteY40" fmla="*/ 122396 h 432822"/>
                <a:gd name="connsiteX41" fmla="*/ 416992 w 514000"/>
                <a:gd name="connsiteY41" fmla="*/ 176168 h 432822"/>
                <a:gd name="connsiteX42" fmla="*/ 453282 w 514000"/>
                <a:gd name="connsiteY42" fmla="*/ 176168 h 432822"/>
                <a:gd name="connsiteX43" fmla="*/ 453282 w 514000"/>
                <a:gd name="connsiteY43" fmla="*/ 78848 h 432822"/>
                <a:gd name="connsiteX44" fmla="*/ 439096 w 514000"/>
                <a:gd name="connsiteY44" fmla="*/ 64662 h 432822"/>
                <a:gd name="connsiteX45" fmla="*/ 247091 w 514000"/>
                <a:gd name="connsiteY45" fmla="*/ 64662 h 432822"/>
                <a:gd name="connsiteX46" fmla="*/ 212909 w 514000"/>
                <a:gd name="connsiteY46" fmla="*/ 41510 h 432822"/>
                <a:gd name="connsiteX47" fmla="*/ 209429 w 514000"/>
                <a:gd name="connsiteY47" fmla="*/ 34550 h 432822"/>
                <a:gd name="connsiteX48" fmla="*/ 195631 w 514000"/>
                <a:gd name="connsiteY48" fmla="*/ 25070 h 432822"/>
                <a:gd name="connsiteX49" fmla="*/ 37281 w 514000"/>
                <a:gd name="connsiteY49" fmla="*/ 25070 h 432822"/>
                <a:gd name="connsiteX50" fmla="*/ 80505 w 514000"/>
                <a:gd name="connsiteY50" fmla="*/ 176162 h 432822"/>
                <a:gd name="connsiteX51" fmla="*/ 395891 w 514000"/>
                <a:gd name="connsiteY51" fmla="*/ 176162 h 432822"/>
                <a:gd name="connsiteX52" fmla="*/ 395891 w 514000"/>
                <a:gd name="connsiteY52" fmla="*/ 120085 h 432822"/>
                <a:gd name="connsiteX53" fmla="*/ 80505 w 514000"/>
                <a:gd name="connsiteY53" fmla="*/ 120085 h 432822"/>
                <a:gd name="connsiteX54" fmla="*/ 80505 w 514000"/>
                <a:gd name="connsiteY54" fmla="*/ 176162 h 43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514000" h="432822">
                  <a:moveTo>
                    <a:pt x="37281" y="432822"/>
                  </a:moveTo>
                  <a:cubicBezTo>
                    <a:pt x="17075" y="432822"/>
                    <a:pt x="0" y="415754"/>
                    <a:pt x="0" y="395548"/>
                  </a:cubicBezTo>
                  <a:lnTo>
                    <a:pt x="0" y="37274"/>
                  </a:lnTo>
                  <a:cubicBezTo>
                    <a:pt x="0" y="17069"/>
                    <a:pt x="17069" y="0"/>
                    <a:pt x="37281" y="0"/>
                  </a:cubicBezTo>
                  <a:lnTo>
                    <a:pt x="195637" y="0"/>
                  </a:lnTo>
                  <a:cubicBezTo>
                    <a:pt x="209385" y="0"/>
                    <a:pt x="222803" y="9093"/>
                    <a:pt x="229826" y="23152"/>
                  </a:cubicBezTo>
                  <a:lnTo>
                    <a:pt x="234391" y="32277"/>
                  </a:lnTo>
                  <a:lnTo>
                    <a:pt x="235338" y="33230"/>
                  </a:lnTo>
                  <a:cubicBezTo>
                    <a:pt x="238049" y="35928"/>
                    <a:pt x="241726" y="39592"/>
                    <a:pt x="247104" y="39592"/>
                  </a:cubicBezTo>
                  <a:lnTo>
                    <a:pt x="439109" y="39592"/>
                  </a:lnTo>
                  <a:cubicBezTo>
                    <a:pt x="459315" y="39592"/>
                    <a:pt x="476383" y="56667"/>
                    <a:pt x="476383" y="76879"/>
                  </a:cubicBezTo>
                  <a:lnTo>
                    <a:pt x="476383" y="174682"/>
                  </a:lnTo>
                  <a:lnTo>
                    <a:pt x="483019" y="176009"/>
                  </a:lnTo>
                  <a:cubicBezTo>
                    <a:pt x="489591" y="177324"/>
                    <a:pt x="495878" y="181013"/>
                    <a:pt x="502228" y="187280"/>
                  </a:cubicBezTo>
                  <a:cubicBezTo>
                    <a:pt x="507771" y="194348"/>
                    <a:pt x="511728" y="203416"/>
                    <a:pt x="514001" y="214281"/>
                  </a:cubicBezTo>
                  <a:lnTo>
                    <a:pt x="514001" y="214712"/>
                  </a:lnTo>
                  <a:lnTo>
                    <a:pt x="482454" y="396113"/>
                  </a:lnTo>
                  <a:cubicBezTo>
                    <a:pt x="479076" y="416382"/>
                    <a:pt x="460521" y="432816"/>
                    <a:pt x="441090" y="432816"/>
                  </a:cubicBezTo>
                  <a:lnTo>
                    <a:pt x="37281" y="432816"/>
                  </a:lnTo>
                  <a:close/>
                  <a:moveTo>
                    <a:pt x="20517" y="402317"/>
                  </a:moveTo>
                  <a:lnTo>
                    <a:pt x="25514" y="407314"/>
                  </a:lnTo>
                  <a:cubicBezTo>
                    <a:pt x="28505" y="410305"/>
                    <a:pt x="30442" y="411715"/>
                    <a:pt x="35306" y="411715"/>
                  </a:cubicBezTo>
                  <a:lnTo>
                    <a:pt x="439103" y="411715"/>
                  </a:lnTo>
                  <a:cubicBezTo>
                    <a:pt x="447040" y="411715"/>
                    <a:pt x="456578" y="404984"/>
                    <a:pt x="457213" y="396462"/>
                  </a:cubicBezTo>
                  <a:lnTo>
                    <a:pt x="488918" y="214160"/>
                  </a:lnTo>
                  <a:lnTo>
                    <a:pt x="488918" y="206089"/>
                  </a:lnTo>
                  <a:lnTo>
                    <a:pt x="486505" y="203657"/>
                  </a:lnTo>
                  <a:cubicBezTo>
                    <a:pt x="483521" y="200673"/>
                    <a:pt x="481578" y="199269"/>
                    <a:pt x="476714" y="199269"/>
                  </a:cubicBezTo>
                  <a:lnTo>
                    <a:pt x="70942" y="199269"/>
                  </a:lnTo>
                  <a:cubicBezTo>
                    <a:pt x="62998" y="199269"/>
                    <a:pt x="53461" y="206007"/>
                    <a:pt x="52826" y="214535"/>
                  </a:cubicBezTo>
                  <a:lnTo>
                    <a:pt x="20517" y="402317"/>
                  </a:lnTo>
                  <a:close/>
                  <a:moveTo>
                    <a:pt x="37281" y="25070"/>
                  </a:moveTo>
                  <a:cubicBezTo>
                    <a:pt x="28067" y="25070"/>
                    <a:pt x="21114" y="31172"/>
                    <a:pt x="21114" y="39256"/>
                  </a:cubicBezTo>
                  <a:lnTo>
                    <a:pt x="21114" y="218396"/>
                  </a:lnTo>
                  <a:lnTo>
                    <a:pt x="35966" y="198603"/>
                  </a:lnTo>
                  <a:cubicBezTo>
                    <a:pt x="41472" y="191262"/>
                    <a:pt x="46666" y="184328"/>
                    <a:pt x="52851" y="181235"/>
                  </a:cubicBezTo>
                  <a:lnTo>
                    <a:pt x="57410" y="178956"/>
                  </a:lnTo>
                  <a:lnTo>
                    <a:pt x="57410" y="122396"/>
                  </a:lnTo>
                  <a:cubicBezTo>
                    <a:pt x="57410" y="109093"/>
                    <a:pt x="69520" y="96990"/>
                    <a:pt x="82810" y="96990"/>
                  </a:cubicBezTo>
                  <a:lnTo>
                    <a:pt x="391592" y="96990"/>
                  </a:lnTo>
                  <a:cubicBezTo>
                    <a:pt x="404889" y="96990"/>
                    <a:pt x="416992" y="109093"/>
                    <a:pt x="416992" y="122396"/>
                  </a:cubicBezTo>
                  <a:lnTo>
                    <a:pt x="416992" y="176168"/>
                  </a:lnTo>
                  <a:lnTo>
                    <a:pt x="453282" y="176168"/>
                  </a:lnTo>
                  <a:lnTo>
                    <a:pt x="453282" y="78848"/>
                  </a:lnTo>
                  <a:cubicBezTo>
                    <a:pt x="453282" y="70358"/>
                    <a:pt x="447580" y="64662"/>
                    <a:pt x="439096" y="64662"/>
                  </a:cubicBezTo>
                  <a:lnTo>
                    <a:pt x="247091" y="64662"/>
                  </a:lnTo>
                  <a:cubicBezTo>
                    <a:pt x="233356" y="64662"/>
                    <a:pt x="219939" y="55581"/>
                    <a:pt x="212909" y="41510"/>
                  </a:cubicBezTo>
                  <a:lnTo>
                    <a:pt x="209429" y="34550"/>
                  </a:lnTo>
                  <a:cubicBezTo>
                    <a:pt x="207702" y="28689"/>
                    <a:pt x="200673" y="25070"/>
                    <a:pt x="195631" y="25070"/>
                  </a:cubicBezTo>
                  <a:lnTo>
                    <a:pt x="37281" y="25070"/>
                  </a:lnTo>
                  <a:close/>
                  <a:moveTo>
                    <a:pt x="80505" y="176162"/>
                  </a:moveTo>
                  <a:lnTo>
                    <a:pt x="395891" y="176162"/>
                  </a:lnTo>
                  <a:lnTo>
                    <a:pt x="395891" y="120085"/>
                  </a:lnTo>
                  <a:lnTo>
                    <a:pt x="80505" y="120085"/>
                  </a:lnTo>
                  <a:lnTo>
                    <a:pt x="80505" y="17616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7" name="Forme libre : forme 1616">
              <a:extLst>
                <a:ext uri="{FF2B5EF4-FFF2-40B4-BE49-F238E27FC236}">
                  <a16:creationId xmlns:a16="http://schemas.microsoft.com/office/drawing/2014/main" id="{DFA42AB8-EB0F-4409-91BA-CF3A901B2721}"/>
                </a:ext>
              </a:extLst>
            </p:cNvPr>
            <p:cNvSpPr/>
            <p:nvPr/>
          </p:nvSpPr>
          <p:spPr>
            <a:xfrm>
              <a:off x="3613536" y="3293409"/>
              <a:ext cx="238848" cy="341255"/>
            </a:xfrm>
            <a:custGeom>
              <a:avLst/>
              <a:gdLst>
                <a:gd name="connsiteX0" fmla="*/ 227292 w 238848"/>
                <a:gd name="connsiteY0" fmla="*/ 341256 h 341255"/>
                <a:gd name="connsiteX1" fmla="*/ 215747 w 238848"/>
                <a:gd name="connsiteY1" fmla="*/ 329711 h 341255"/>
                <a:gd name="connsiteX2" fmla="*/ 215747 w 238848"/>
                <a:gd name="connsiteY2" fmla="*/ 98120 h 341255"/>
                <a:gd name="connsiteX3" fmla="*/ 187706 w 238848"/>
                <a:gd name="connsiteY3" fmla="*/ 70079 h 341255"/>
                <a:gd name="connsiteX4" fmla="*/ 46183 w 238848"/>
                <a:gd name="connsiteY4" fmla="*/ 70079 h 341255"/>
                <a:gd name="connsiteX5" fmla="*/ 82156 w 238848"/>
                <a:gd name="connsiteY5" fmla="*/ 97066 h 341255"/>
                <a:gd name="connsiteX6" fmla="*/ 82524 w 238848"/>
                <a:gd name="connsiteY6" fmla="*/ 97282 h 341255"/>
                <a:gd name="connsiteX7" fmla="*/ 86309 w 238848"/>
                <a:gd name="connsiteY7" fmla="*/ 102965 h 341255"/>
                <a:gd name="connsiteX8" fmla="*/ 84125 w 238848"/>
                <a:gd name="connsiteY8" fmla="*/ 112960 h 341255"/>
                <a:gd name="connsiteX9" fmla="*/ 83864 w 238848"/>
                <a:gd name="connsiteY9" fmla="*/ 113309 h 341255"/>
                <a:gd name="connsiteX10" fmla="*/ 83655 w 238848"/>
                <a:gd name="connsiteY10" fmla="*/ 113678 h 341255"/>
                <a:gd name="connsiteX11" fmla="*/ 75616 w 238848"/>
                <a:gd name="connsiteY11" fmla="*/ 117685 h 341255"/>
                <a:gd name="connsiteX12" fmla="*/ 75616 w 238848"/>
                <a:gd name="connsiteY12" fmla="*/ 117685 h 341255"/>
                <a:gd name="connsiteX13" fmla="*/ 67957 w 238848"/>
                <a:gd name="connsiteY13" fmla="*/ 115278 h 341255"/>
                <a:gd name="connsiteX14" fmla="*/ 4438 w 238848"/>
                <a:gd name="connsiteY14" fmla="*/ 67640 h 341255"/>
                <a:gd name="connsiteX15" fmla="*/ 4248 w 238848"/>
                <a:gd name="connsiteY15" fmla="*/ 67513 h 341255"/>
                <a:gd name="connsiteX16" fmla="*/ 0 w 238848"/>
                <a:gd name="connsiteY16" fmla="*/ 58547 h 341255"/>
                <a:gd name="connsiteX17" fmla="*/ 5118 w 238848"/>
                <a:gd name="connsiteY17" fmla="*/ 48927 h 341255"/>
                <a:gd name="connsiteX18" fmla="*/ 67957 w 238848"/>
                <a:gd name="connsiteY18" fmla="*/ 1803 h 341255"/>
                <a:gd name="connsiteX19" fmla="*/ 74307 w 238848"/>
                <a:gd name="connsiteY19" fmla="*/ 0 h 341255"/>
                <a:gd name="connsiteX20" fmla="*/ 84125 w 238848"/>
                <a:gd name="connsiteY20" fmla="*/ 4102 h 341255"/>
                <a:gd name="connsiteX21" fmla="*/ 81813 w 238848"/>
                <a:gd name="connsiteY21" fmla="*/ 20276 h 341255"/>
                <a:gd name="connsiteX22" fmla="*/ 46183 w 238848"/>
                <a:gd name="connsiteY22" fmla="*/ 46996 h 341255"/>
                <a:gd name="connsiteX23" fmla="*/ 187712 w 238848"/>
                <a:gd name="connsiteY23" fmla="*/ 46996 h 341255"/>
                <a:gd name="connsiteX24" fmla="*/ 238849 w 238848"/>
                <a:gd name="connsiteY24" fmla="*/ 98127 h 341255"/>
                <a:gd name="connsiteX25" fmla="*/ 238849 w 238848"/>
                <a:gd name="connsiteY25" fmla="*/ 329717 h 341255"/>
                <a:gd name="connsiteX26" fmla="*/ 227292 w 238848"/>
                <a:gd name="connsiteY26" fmla="*/ 341256 h 3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8848" h="341255">
                  <a:moveTo>
                    <a:pt x="227292" y="341256"/>
                  </a:moveTo>
                  <a:cubicBezTo>
                    <a:pt x="219951" y="341256"/>
                    <a:pt x="215747" y="337052"/>
                    <a:pt x="215747" y="329711"/>
                  </a:cubicBezTo>
                  <a:lnTo>
                    <a:pt x="215747" y="98120"/>
                  </a:lnTo>
                  <a:cubicBezTo>
                    <a:pt x="215747" y="84639"/>
                    <a:pt x="205029" y="70079"/>
                    <a:pt x="187706" y="70079"/>
                  </a:cubicBezTo>
                  <a:lnTo>
                    <a:pt x="46183" y="70079"/>
                  </a:lnTo>
                  <a:lnTo>
                    <a:pt x="82156" y="97066"/>
                  </a:lnTo>
                  <a:lnTo>
                    <a:pt x="82524" y="97282"/>
                  </a:lnTo>
                  <a:cubicBezTo>
                    <a:pt x="84525" y="98476"/>
                    <a:pt x="85801" y="100400"/>
                    <a:pt x="86309" y="102965"/>
                  </a:cubicBezTo>
                  <a:cubicBezTo>
                    <a:pt x="86970" y="106325"/>
                    <a:pt x="86093" y="110351"/>
                    <a:pt x="84125" y="112960"/>
                  </a:cubicBezTo>
                  <a:lnTo>
                    <a:pt x="83864" y="113309"/>
                  </a:lnTo>
                  <a:lnTo>
                    <a:pt x="83655" y="113678"/>
                  </a:lnTo>
                  <a:cubicBezTo>
                    <a:pt x="81559" y="117164"/>
                    <a:pt x="77724" y="117685"/>
                    <a:pt x="75616" y="117685"/>
                  </a:cubicBezTo>
                  <a:lnTo>
                    <a:pt x="75616" y="117685"/>
                  </a:lnTo>
                  <a:cubicBezTo>
                    <a:pt x="72834" y="117685"/>
                    <a:pt x="69958" y="116789"/>
                    <a:pt x="67957" y="115278"/>
                  </a:cubicBezTo>
                  <a:lnTo>
                    <a:pt x="4438" y="67640"/>
                  </a:lnTo>
                  <a:lnTo>
                    <a:pt x="4248" y="67513"/>
                  </a:lnTo>
                  <a:cubicBezTo>
                    <a:pt x="2419" y="66294"/>
                    <a:pt x="0" y="64053"/>
                    <a:pt x="0" y="58547"/>
                  </a:cubicBezTo>
                  <a:cubicBezTo>
                    <a:pt x="0" y="55918"/>
                    <a:pt x="2000" y="52178"/>
                    <a:pt x="5118" y="48927"/>
                  </a:cubicBezTo>
                  <a:lnTo>
                    <a:pt x="67957" y="1803"/>
                  </a:lnTo>
                  <a:cubicBezTo>
                    <a:pt x="69507" y="641"/>
                    <a:pt x="71767" y="0"/>
                    <a:pt x="74307" y="0"/>
                  </a:cubicBezTo>
                  <a:cubicBezTo>
                    <a:pt x="78334" y="0"/>
                    <a:pt x="82283" y="1645"/>
                    <a:pt x="84125" y="4102"/>
                  </a:cubicBezTo>
                  <a:cubicBezTo>
                    <a:pt x="87357" y="8427"/>
                    <a:pt x="86131" y="17037"/>
                    <a:pt x="81813" y="20276"/>
                  </a:cubicBezTo>
                  <a:lnTo>
                    <a:pt x="46183" y="46996"/>
                  </a:lnTo>
                  <a:lnTo>
                    <a:pt x="187712" y="46996"/>
                  </a:lnTo>
                  <a:cubicBezTo>
                    <a:pt x="215906" y="46996"/>
                    <a:pt x="238849" y="69939"/>
                    <a:pt x="238849" y="98127"/>
                  </a:cubicBezTo>
                  <a:lnTo>
                    <a:pt x="238849" y="329717"/>
                  </a:lnTo>
                  <a:cubicBezTo>
                    <a:pt x="238842" y="337052"/>
                    <a:pt x="234632" y="341256"/>
                    <a:pt x="227292" y="341256"/>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8" name="Forme libre : forme 1617">
              <a:extLst>
                <a:ext uri="{FF2B5EF4-FFF2-40B4-BE49-F238E27FC236}">
                  <a16:creationId xmlns:a16="http://schemas.microsoft.com/office/drawing/2014/main" id="{282F114C-EF20-4A80-A6B2-B0FB1DDDE4AA}"/>
                </a:ext>
              </a:extLst>
            </p:cNvPr>
            <p:cNvSpPr/>
            <p:nvPr/>
          </p:nvSpPr>
          <p:spPr>
            <a:xfrm>
              <a:off x="3199833" y="3635325"/>
              <a:ext cx="238848" cy="341267"/>
            </a:xfrm>
            <a:custGeom>
              <a:avLst/>
              <a:gdLst>
                <a:gd name="connsiteX0" fmla="*/ 164548 w 238848"/>
                <a:gd name="connsiteY0" fmla="*/ 341268 h 341267"/>
                <a:gd name="connsiteX1" fmla="*/ 154730 w 238848"/>
                <a:gd name="connsiteY1" fmla="*/ 337160 h 341267"/>
                <a:gd name="connsiteX2" fmla="*/ 157042 w 238848"/>
                <a:gd name="connsiteY2" fmla="*/ 320999 h 341267"/>
                <a:gd name="connsiteX3" fmla="*/ 192665 w 238848"/>
                <a:gd name="connsiteY3" fmla="*/ 294272 h 341267"/>
                <a:gd name="connsiteX4" fmla="*/ 51143 w 238848"/>
                <a:gd name="connsiteY4" fmla="*/ 294272 h 341267"/>
                <a:gd name="connsiteX5" fmla="*/ 0 w 238848"/>
                <a:gd name="connsiteY5" fmla="*/ 243135 h 341267"/>
                <a:gd name="connsiteX6" fmla="*/ 0 w 238848"/>
                <a:gd name="connsiteY6" fmla="*/ 11544 h 341267"/>
                <a:gd name="connsiteX7" fmla="*/ 11551 w 238848"/>
                <a:gd name="connsiteY7" fmla="*/ 0 h 341267"/>
                <a:gd name="connsiteX8" fmla="*/ 23095 w 238848"/>
                <a:gd name="connsiteY8" fmla="*/ 11544 h 341267"/>
                <a:gd name="connsiteX9" fmla="*/ 23095 w 238848"/>
                <a:gd name="connsiteY9" fmla="*/ 243135 h 341267"/>
                <a:gd name="connsiteX10" fmla="*/ 51137 w 238848"/>
                <a:gd name="connsiteY10" fmla="*/ 271177 h 341267"/>
                <a:gd name="connsiteX11" fmla="*/ 192665 w 238848"/>
                <a:gd name="connsiteY11" fmla="*/ 271177 h 341267"/>
                <a:gd name="connsiteX12" fmla="*/ 156692 w 238848"/>
                <a:gd name="connsiteY12" fmla="*/ 244202 h 341267"/>
                <a:gd name="connsiteX13" fmla="*/ 156331 w 238848"/>
                <a:gd name="connsiteY13" fmla="*/ 243980 h 341267"/>
                <a:gd name="connsiteX14" fmla="*/ 152540 w 238848"/>
                <a:gd name="connsiteY14" fmla="*/ 238296 h 341267"/>
                <a:gd name="connsiteX15" fmla="*/ 154724 w 238848"/>
                <a:gd name="connsiteY15" fmla="*/ 228289 h 341267"/>
                <a:gd name="connsiteX16" fmla="*/ 154978 w 238848"/>
                <a:gd name="connsiteY16" fmla="*/ 227952 h 341267"/>
                <a:gd name="connsiteX17" fmla="*/ 155194 w 238848"/>
                <a:gd name="connsiteY17" fmla="*/ 227578 h 341267"/>
                <a:gd name="connsiteX18" fmla="*/ 163227 w 238848"/>
                <a:gd name="connsiteY18" fmla="*/ 223571 h 341267"/>
                <a:gd name="connsiteX19" fmla="*/ 170891 w 238848"/>
                <a:gd name="connsiteY19" fmla="*/ 225977 h 341267"/>
                <a:gd name="connsiteX20" fmla="*/ 234607 w 238848"/>
                <a:gd name="connsiteY20" fmla="*/ 273748 h 341267"/>
                <a:gd name="connsiteX21" fmla="*/ 238849 w 238848"/>
                <a:gd name="connsiteY21" fmla="*/ 282727 h 341267"/>
                <a:gd name="connsiteX22" fmla="*/ 233731 w 238848"/>
                <a:gd name="connsiteY22" fmla="*/ 292335 h 341267"/>
                <a:gd name="connsiteX23" fmla="*/ 170891 w 238848"/>
                <a:gd name="connsiteY23" fmla="*/ 339452 h 341267"/>
                <a:gd name="connsiteX24" fmla="*/ 164548 w 238848"/>
                <a:gd name="connsiteY24" fmla="*/ 341268 h 341267"/>
                <a:gd name="connsiteX25" fmla="*/ 164548 w 238848"/>
                <a:gd name="connsiteY25" fmla="*/ 341268 h 34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8848" h="341267">
                  <a:moveTo>
                    <a:pt x="164548" y="341268"/>
                  </a:moveTo>
                  <a:cubicBezTo>
                    <a:pt x="160522" y="341268"/>
                    <a:pt x="156566" y="339617"/>
                    <a:pt x="154730" y="337160"/>
                  </a:cubicBezTo>
                  <a:cubicBezTo>
                    <a:pt x="151498" y="332842"/>
                    <a:pt x="152724" y="324237"/>
                    <a:pt x="157042" y="320999"/>
                  </a:cubicBezTo>
                  <a:lnTo>
                    <a:pt x="192665" y="294272"/>
                  </a:lnTo>
                  <a:lnTo>
                    <a:pt x="51143" y="294272"/>
                  </a:lnTo>
                  <a:cubicBezTo>
                    <a:pt x="22949" y="294272"/>
                    <a:pt x="0" y="271342"/>
                    <a:pt x="0" y="243135"/>
                  </a:cubicBezTo>
                  <a:lnTo>
                    <a:pt x="0" y="11544"/>
                  </a:lnTo>
                  <a:cubicBezTo>
                    <a:pt x="0" y="4216"/>
                    <a:pt x="4223" y="0"/>
                    <a:pt x="11551" y="0"/>
                  </a:cubicBezTo>
                  <a:cubicBezTo>
                    <a:pt x="18891" y="0"/>
                    <a:pt x="23095" y="4216"/>
                    <a:pt x="23095" y="11544"/>
                  </a:cubicBezTo>
                  <a:lnTo>
                    <a:pt x="23095" y="243135"/>
                  </a:lnTo>
                  <a:cubicBezTo>
                    <a:pt x="23095" y="256629"/>
                    <a:pt x="33814" y="271177"/>
                    <a:pt x="51137" y="271177"/>
                  </a:cubicBezTo>
                  <a:lnTo>
                    <a:pt x="192665" y="271177"/>
                  </a:lnTo>
                  <a:lnTo>
                    <a:pt x="156692" y="244202"/>
                  </a:lnTo>
                  <a:lnTo>
                    <a:pt x="156331" y="243980"/>
                  </a:lnTo>
                  <a:cubicBezTo>
                    <a:pt x="154324" y="242779"/>
                    <a:pt x="153048" y="240868"/>
                    <a:pt x="152540" y="238296"/>
                  </a:cubicBezTo>
                  <a:cubicBezTo>
                    <a:pt x="151879" y="234937"/>
                    <a:pt x="152755" y="230905"/>
                    <a:pt x="154724" y="228289"/>
                  </a:cubicBezTo>
                  <a:lnTo>
                    <a:pt x="154978" y="227952"/>
                  </a:lnTo>
                  <a:lnTo>
                    <a:pt x="155194" y="227578"/>
                  </a:lnTo>
                  <a:cubicBezTo>
                    <a:pt x="157283" y="224091"/>
                    <a:pt x="161125" y="223571"/>
                    <a:pt x="163227" y="223571"/>
                  </a:cubicBezTo>
                  <a:cubicBezTo>
                    <a:pt x="166014" y="223571"/>
                    <a:pt x="168885" y="224479"/>
                    <a:pt x="170891" y="225977"/>
                  </a:cubicBezTo>
                  <a:lnTo>
                    <a:pt x="234607" y="273748"/>
                  </a:lnTo>
                  <a:cubicBezTo>
                    <a:pt x="236429" y="274961"/>
                    <a:pt x="238849" y="277209"/>
                    <a:pt x="238849" y="282727"/>
                  </a:cubicBezTo>
                  <a:cubicBezTo>
                    <a:pt x="238849" y="285343"/>
                    <a:pt x="236861" y="289071"/>
                    <a:pt x="233731" y="292335"/>
                  </a:cubicBezTo>
                  <a:lnTo>
                    <a:pt x="170891" y="339452"/>
                  </a:lnTo>
                  <a:cubicBezTo>
                    <a:pt x="169335" y="340627"/>
                    <a:pt x="167087" y="341268"/>
                    <a:pt x="164548" y="341268"/>
                  </a:cubicBezTo>
                  <a:lnTo>
                    <a:pt x="164548" y="341268"/>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2" name="Groupe 41">
            <a:extLst>
              <a:ext uri="{FF2B5EF4-FFF2-40B4-BE49-F238E27FC236}">
                <a16:creationId xmlns:a16="http://schemas.microsoft.com/office/drawing/2014/main" id="{FAF3497C-2E10-4775-8A08-F94917E1DC86}"/>
              </a:ext>
            </a:extLst>
          </p:cNvPr>
          <p:cNvGrpSpPr/>
          <p:nvPr/>
        </p:nvGrpSpPr>
        <p:grpSpPr>
          <a:xfrm>
            <a:off x="7165246" y="3049061"/>
            <a:ext cx="2065016" cy="2097615"/>
            <a:chOff x="7632240" y="3006907"/>
            <a:chExt cx="2211896" cy="2246813"/>
          </a:xfrm>
        </p:grpSpPr>
        <p:grpSp>
          <p:nvGrpSpPr>
            <p:cNvPr id="22" name="Graphique 3">
              <a:extLst>
                <a:ext uri="{FF2B5EF4-FFF2-40B4-BE49-F238E27FC236}">
                  <a16:creationId xmlns:a16="http://schemas.microsoft.com/office/drawing/2014/main" id="{E53641CA-A67E-4C2B-8530-A13BF29F5A46}"/>
                </a:ext>
              </a:extLst>
            </p:cNvPr>
            <p:cNvGrpSpPr/>
            <p:nvPr/>
          </p:nvGrpSpPr>
          <p:grpSpPr>
            <a:xfrm>
              <a:off x="7632240" y="3006907"/>
              <a:ext cx="2211896" cy="2246813"/>
              <a:chOff x="7157446" y="3318452"/>
              <a:chExt cx="1368018" cy="1389614"/>
            </a:xfrm>
          </p:grpSpPr>
          <p:grpSp>
            <p:nvGrpSpPr>
              <p:cNvPr id="23" name="Graphique 3">
                <a:extLst>
                  <a:ext uri="{FF2B5EF4-FFF2-40B4-BE49-F238E27FC236}">
                    <a16:creationId xmlns:a16="http://schemas.microsoft.com/office/drawing/2014/main" id="{E53641CA-A67E-4C2B-8530-A13BF29F5A46}"/>
                  </a:ext>
                </a:extLst>
              </p:cNvPr>
              <p:cNvGrpSpPr/>
              <p:nvPr/>
            </p:nvGrpSpPr>
            <p:grpSpPr>
              <a:xfrm>
                <a:off x="7157446" y="3318452"/>
                <a:ext cx="1368018" cy="1368018"/>
                <a:chOff x="7157446" y="3318452"/>
                <a:chExt cx="1368018" cy="1368018"/>
              </a:xfrm>
            </p:grpSpPr>
            <p:sp>
              <p:nvSpPr>
                <p:cNvPr id="24" name="Forme libre : forme 23">
                  <a:extLst>
                    <a:ext uri="{FF2B5EF4-FFF2-40B4-BE49-F238E27FC236}">
                      <a16:creationId xmlns:a16="http://schemas.microsoft.com/office/drawing/2014/main" id="{F2699CF2-2632-4BBB-ADFB-9EA49A6F7003}"/>
                    </a:ext>
                  </a:extLst>
                </p:cNvPr>
                <p:cNvSpPr/>
                <p:nvPr/>
              </p:nvSpPr>
              <p:spPr>
                <a:xfrm>
                  <a:off x="7157446" y="3318452"/>
                  <a:ext cx="1368018" cy="1368018"/>
                </a:xfrm>
                <a:custGeom>
                  <a:avLst/>
                  <a:gdLst>
                    <a:gd name="connsiteX0" fmla="*/ 1368019 w 1368018"/>
                    <a:gd name="connsiteY0" fmla="*/ 684009 h 1368018"/>
                    <a:gd name="connsiteX1" fmla="*/ 684009 w 1368018"/>
                    <a:gd name="connsiteY1" fmla="*/ 1368019 h 1368018"/>
                    <a:gd name="connsiteX2" fmla="*/ 0 w 1368018"/>
                    <a:gd name="connsiteY2" fmla="*/ 684009 h 1368018"/>
                    <a:gd name="connsiteX3" fmla="*/ 684009 w 1368018"/>
                    <a:gd name="connsiteY3" fmla="*/ 0 h 1368018"/>
                    <a:gd name="connsiteX4" fmla="*/ 1368019 w 1368018"/>
                    <a:gd name="connsiteY4" fmla="*/ 684009 h 13680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018" h="1368018">
                      <a:moveTo>
                        <a:pt x="1368019" y="684009"/>
                      </a:moveTo>
                      <a:cubicBezTo>
                        <a:pt x="1368019" y="1061777"/>
                        <a:pt x="1061778" y="1368019"/>
                        <a:pt x="684009" y="1368019"/>
                      </a:cubicBezTo>
                      <a:cubicBezTo>
                        <a:pt x="306242" y="1368019"/>
                        <a:pt x="0" y="1061777"/>
                        <a:pt x="0" y="684009"/>
                      </a:cubicBezTo>
                      <a:cubicBezTo>
                        <a:pt x="0" y="306241"/>
                        <a:pt x="306241" y="0"/>
                        <a:pt x="684009" y="0"/>
                      </a:cubicBezTo>
                      <a:cubicBezTo>
                        <a:pt x="1061777" y="0"/>
                        <a:pt x="1368019" y="306241"/>
                        <a:pt x="1368019" y="684009"/>
                      </a:cubicBezTo>
                      <a:close/>
                    </a:path>
                  </a:pathLst>
                </a:custGeom>
                <a:solidFill>
                  <a:srgbClr val="1EFEC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orme libre : forme 24">
                  <a:extLst>
                    <a:ext uri="{FF2B5EF4-FFF2-40B4-BE49-F238E27FC236}">
                      <a16:creationId xmlns:a16="http://schemas.microsoft.com/office/drawing/2014/main" id="{ED4DEB45-8445-4E4E-8170-E931C5A4C180}"/>
                    </a:ext>
                  </a:extLst>
                </p:cNvPr>
                <p:cNvSpPr/>
                <p:nvPr/>
              </p:nvSpPr>
              <p:spPr>
                <a:xfrm>
                  <a:off x="7279667" y="3440692"/>
                  <a:ext cx="1123567" cy="1123566"/>
                </a:xfrm>
                <a:custGeom>
                  <a:avLst/>
                  <a:gdLst>
                    <a:gd name="connsiteX0" fmla="*/ 1122782 w 1123567"/>
                    <a:gd name="connsiteY0" fmla="*/ 591183 h 1123566"/>
                    <a:gd name="connsiteX1" fmla="*/ 532375 w 1123567"/>
                    <a:gd name="connsiteY1" fmla="*/ 1122782 h 1123566"/>
                    <a:gd name="connsiteX2" fmla="*/ 785 w 1123567"/>
                    <a:gd name="connsiteY2" fmla="*/ 532366 h 1123566"/>
                    <a:gd name="connsiteX3" fmla="*/ 591202 w 1123567"/>
                    <a:gd name="connsiteY3" fmla="*/ 785 h 1123566"/>
                    <a:gd name="connsiteX4" fmla="*/ 1122782 w 1123567"/>
                    <a:gd name="connsiteY4" fmla="*/ 591183 h 11235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67" h="1123566">
                      <a:moveTo>
                        <a:pt x="1122782" y="591183"/>
                      </a:moveTo>
                      <a:cubicBezTo>
                        <a:pt x="1106542" y="901040"/>
                        <a:pt x="842205" y="1139022"/>
                        <a:pt x="532375" y="1122782"/>
                      </a:cubicBezTo>
                      <a:cubicBezTo>
                        <a:pt x="222556" y="1106542"/>
                        <a:pt x="-15465" y="842223"/>
                        <a:pt x="785" y="532366"/>
                      </a:cubicBezTo>
                      <a:cubicBezTo>
                        <a:pt x="17016" y="222555"/>
                        <a:pt x="281382" y="-15465"/>
                        <a:pt x="591202" y="785"/>
                      </a:cubicBezTo>
                      <a:cubicBezTo>
                        <a:pt x="901031" y="17025"/>
                        <a:pt x="1139042" y="281382"/>
                        <a:pt x="1122782" y="591183"/>
                      </a:cubicBezTo>
                      <a:close/>
                    </a:path>
                  </a:pathLst>
                </a:custGeom>
                <a:solidFill>
                  <a:srgbClr val="01CC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Forme libre : forme 25">
                <a:extLst>
                  <a:ext uri="{FF2B5EF4-FFF2-40B4-BE49-F238E27FC236}">
                    <a16:creationId xmlns:a16="http://schemas.microsoft.com/office/drawing/2014/main" id="{2886892B-F784-4106-8BEE-57A6CB78B7AB}"/>
                  </a:ext>
                </a:extLst>
              </p:cNvPr>
              <p:cNvSpPr/>
              <p:nvPr/>
            </p:nvSpPr>
            <p:spPr>
              <a:xfrm>
                <a:off x="8212874" y="4516707"/>
                <a:ext cx="175315" cy="191359"/>
              </a:xfrm>
              <a:custGeom>
                <a:avLst/>
                <a:gdLst>
                  <a:gd name="connsiteX0" fmla="*/ 157410 w 175315"/>
                  <a:gd name="connsiteY0" fmla="*/ 190233 h 191359"/>
                  <a:gd name="connsiteX1" fmla="*/ 0 w 175315"/>
                  <a:gd name="connsiteY1" fmla="*/ 120358 h 191359"/>
                  <a:gd name="connsiteX2" fmla="*/ 68332 w 175315"/>
                  <a:gd name="connsiteY2" fmla="*/ 76638 h 191359"/>
                  <a:gd name="connsiteX3" fmla="*/ 156581 w 175315"/>
                  <a:gd name="connsiteY3" fmla="*/ 0 h 191359"/>
                  <a:gd name="connsiteX4" fmla="*/ 175231 w 175315"/>
                  <a:gd name="connsiteY4" fmla="*/ 177279 h 191359"/>
                  <a:gd name="connsiteX5" fmla="*/ 157410 w 175315"/>
                  <a:gd name="connsiteY5" fmla="*/ 190233 h 191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315" h="191359">
                    <a:moveTo>
                      <a:pt x="157410" y="190233"/>
                    </a:moveTo>
                    <a:lnTo>
                      <a:pt x="0" y="120358"/>
                    </a:lnTo>
                    <a:cubicBezTo>
                      <a:pt x="23393" y="107356"/>
                      <a:pt x="46205" y="92755"/>
                      <a:pt x="68332" y="76638"/>
                    </a:cubicBezTo>
                    <a:cubicBezTo>
                      <a:pt x="100412" y="53273"/>
                      <a:pt x="129968" y="27603"/>
                      <a:pt x="156581" y="0"/>
                    </a:cubicBezTo>
                    <a:lnTo>
                      <a:pt x="175231" y="177279"/>
                    </a:lnTo>
                    <a:cubicBezTo>
                      <a:pt x="176326" y="187071"/>
                      <a:pt x="166525" y="194224"/>
                      <a:pt x="157410" y="190233"/>
                    </a:cubicBezTo>
                    <a:close/>
                  </a:path>
                </a:pathLst>
              </a:custGeom>
              <a:solidFill>
                <a:srgbClr val="01CC9B"/>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Rectangle 38">
              <a:extLst>
                <a:ext uri="{FF2B5EF4-FFF2-40B4-BE49-F238E27FC236}">
                  <a16:creationId xmlns:a16="http://schemas.microsoft.com/office/drawing/2014/main" id="{C2D53408-6C2B-4A35-B939-2F7F71CB6E92}"/>
                </a:ext>
              </a:extLst>
            </p:cNvPr>
            <p:cNvSpPr/>
            <p:nvPr/>
          </p:nvSpPr>
          <p:spPr>
            <a:xfrm>
              <a:off x="7743794" y="3468428"/>
              <a:ext cx="1960094" cy="11538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Reconcile inconsistencies and identify gaps</a:t>
              </a:r>
            </a:p>
          </p:txBody>
        </p:sp>
      </p:grpSp>
      <p:pic>
        <p:nvPicPr>
          <p:cNvPr id="1665" name="Graphique 1664">
            <a:extLst>
              <a:ext uri="{FF2B5EF4-FFF2-40B4-BE49-F238E27FC236}">
                <a16:creationId xmlns:a16="http://schemas.microsoft.com/office/drawing/2014/main" id="{75055A28-6DD2-4A44-AC25-6B9C3EAF98C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90450" y="4333537"/>
            <a:ext cx="1914071" cy="1925821"/>
          </a:xfrm>
          <a:prstGeom prst="rect">
            <a:avLst/>
          </a:prstGeom>
        </p:spPr>
      </p:pic>
      <p:grpSp>
        <p:nvGrpSpPr>
          <p:cNvPr id="1685" name="Image 6">
            <a:extLst>
              <a:ext uri="{FF2B5EF4-FFF2-40B4-BE49-F238E27FC236}">
                <a16:creationId xmlns:a16="http://schemas.microsoft.com/office/drawing/2014/main" id="{0EE97DE0-B13E-4D7D-9C64-1F45214E5942}"/>
              </a:ext>
            </a:extLst>
          </p:cNvPr>
          <p:cNvGrpSpPr/>
          <p:nvPr/>
        </p:nvGrpSpPr>
        <p:grpSpPr>
          <a:xfrm>
            <a:off x="7705183" y="4859382"/>
            <a:ext cx="564317" cy="694550"/>
            <a:chOff x="6967111" y="3171435"/>
            <a:chExt cx="643635" cy="792173"/>
          </a:xfrm>
          <a:solidFill>
            <a:srgbClr val="000000"/>
          </a:solidFill>
        </p:grpSpPr>
        <p:sp>
          <p:nvSpPr>
            <p:cNvPr id="1686" name="Forme libre : forme 1685">
              <a:extLst>
                <a:ext uri="{FF2B5EF4-FFF2-40B4-BE49-F238E27FC236}">
                  <a16:creationId xmlns:a16="http://schemas.microsoft.com/office/drawing/2014/main" id="{5A9DAECE-E117-4347-83C0-40BFD9F68966}"/>
                </a:ext>
              </a:extLst>
            </p:cNvPr>
            <p:cNvSpPr/>
            <p:nvPr/>
          </p:nvSpPr>
          <p:spPr>
            <a:xfrm>
              <a:off x="6967111" y="3171435"/>
              <a:ext cx="643635" cy="792173"/>
            </a:xfrm>
            <a:custGeom>
              <a:avLst/>
              <a:gdLst>
                <a:gd name="connsiteX0" fmla="*/ 643191 w 643635"/>
                <a:gd name="connsiteY0" fmla="*/ 133176 h 792173"/>
                <a:gd name="connsiteX1" fmla="*/ 639445 w 643635"/>
                <a:gd name="connsiteY1" fmla="*/ 126876 h 792173"/>
                <a:gd name="connsiteX2" fmla="*/ 498792 w 643635"/>
                <a:gd name="connsiteY2" fmla="*/ 3109 h 792173"/>
                <a:gd name="connsiteX3" fmla="*/ 490601 w 643635"/>
                <a:gd name="connsiteY3" fmla="*/ 22 h 792173"/>
                <a:gd name="connsiteX4" fmla="*/ 40513 w 643635"/>
                <a:gd name="connsiteY4" fmla="*/ 22 h 792173"/>
                <a:gd name="connsiteX5" fmla="*/ 64 w 643635"/>
                <a:gd name="connsiteY5" fmla="*/ 37887 h 792173"/>
                <a:gd name="connsiteX6" fmla="*/ 0 w 643635"/>
                <a:gd name="connsiteY6" fmla="*/ 38694 h 792173"/>
                <a:gd name="connsiteX7" fmla="*/ 0 w 643635"/>
                <a:gd name="connsiteY7" fmla="*/ 756555 h 792173"/>
                <a:gd name="connsiteX8" fmla="*/ 40513 w 643635"/>
                <a:gd name="connsiteY8" fmla="*/ 792140 h 792173"/>
                <a:gd name="connsiteX9" fmla="*/ 603123 w 643635"/>
                <a:gd name="connsiteY9" fmla="*/ 792140 h 792173"/>
                <a:gd name="connsiteX10" fmla="*/ 643636 w 643635"/>
                <a:gd name="connsiteY10" fmla="*/ 755012 h 792173"/>
                <a:gd name="connsiteX11" fmla="*/ 643636 w 643635"/>
                <a:gd name="connsiteY11" fmla="*/ 136160 h 792173"/>
                <a:gd name="connsiteX12" fmla="*/ 643191 w 643635"/>
                <a:gd name="connsiteY12" fmla="*/ 133176 h 792173"/>
                <a:gd name="connsiteX13" fmla="*/ 597027 w 643635"/>
                <a:gd name="connsiteY13" fmla="*/ 123797 h 792173"/>
                <a:gd name="connsiteX14" fmla="*/ 512445 w 643635"/>
                <a:gd name="connsiteY14" fmla="*/ 123797 h 792173"/>
                <a:gd name="connsiteX15" fmla="*/ 495109 w 643635"/>
                <a:gd name="connsiteY15" fmla="*/ 111420 h 792173"/>
                <a:gd name="connsiteX16" fmla="*/ 495109 w 643635"/>
                <a:gd name="connsiteY16" fmla="*/ 38827 h 792173"/>
                <a:gd name="connsiteX17" fmla="*/ 597027 w 643635"/>
                <a:gd name="connsiteY17" fmla="*/ 123797 h 792173"/>
                <a:gd name="connsiteX18" fmla="*/ 603123 w 643635"/>
                <a:gd name="connsiteY18" fmla="*/ 767401 h 792173"/>
                <a:gd name="connsiteX19" fmla="*/ 40513 w 643635"/>
                <a:gd name="connsiteY19" fmla="*/ 767401 h 792173"/>
                <a:gd name="connsiteX20" fmla="*/ 24764 w 643635"/>
                <a:gd name="connsiteY20" fmla="*/ 756568 h 792173"/>
                <a:gd name="connsiteX21" fmla="*/ 24764 w 643635"/>
                <a:gd name="connsiteY21" fmla="*/ 38700 h 792173"/>
                <a:gd name="connsiteX22" fmla="*/ 40005 w 643635"/>
                <a:gd name="connsiteY22" fmla="*/ 24743 h 792173"/>
                <a:gd name="connsiteX23" fmla="*/ 40513 w 643635"/>
                <a:gd name="connsiteY23" fmla="*/ 24775 h 792173"/>
                <a:gd name="connsiteX24" fmla="*/ 470344 w 643635"/>
                <a:gd name="connsiteY24" fmla="*/ 24775 h 792173"/>
                <a:gd name="connsiteX25" fmla="*/ 470344 w 643635"/>
                <a:gd name="connsiteY25" fmla="*/ 111414 h 792173"/>
                <a:gd name="connsiteX26" fmla="*/ 512445 w 643635"/>
                <a:gd name="connsiteY26" fmla="*/ 148543 h 792173"/>
                <a:gd name="connsiteX27" fmla="*/ 618871 w 643635"/>
                <a:gd name="connsiteY27" fmla="*/ 148543 h 792173"/>
                <a:gd name="connsiteX28" fmla="*/ 618871 w 643635"/>
                <a:gd name="connsiteY28" fmla="*/ 755018 h 792173"/>
                <a:gd name="connsiteX29" fmla="*/ 603123 w 643635"/>
                <a:gd name="connsiteY29" fmla="*/ 767401 h 792173"/>
                <a:gd name="connsiteX30" fmla="*/ 603123 w 643635"/>
                <a:gd name="connsiteY30" fmla="*/ 767401 h 792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43635" h="792173">
                  <a:moveTo>
                    <a:pt x="643191" y="133176"/>
                  </a:moveTo>
                  <a:cubicBezTo>
                    <a:pt x="642620" y="130750"/>
                    <a:pt x="641286" y="128565"/>
                    <a:pt x="639445" y="126876"/>
                  </a:cubicBezTo>
                  <a:lnTo>
                    <a:pt x="498792" y="3109"/>
                  </a:lnTo>
                  <a:cubicBezTo>
                    <a:pt x="496506" y="1121"/>
                    <a:pt x="493585" y="22"/>
                    <a:pt x="490601" y="22"/>
                  </a:cubicBezTo>
                  <a:lnTo>
                    <a:pt x="40513" y="22"/>
                  </a:lnTo>
                  <a:cubicBezTo>
                    <a:pt x="18923" y="-701"/>
                    <a:pt x="762" y="16253"/>
                    <a:pt x="64" y="37887"/>
                  </a:cubicBezTo>
                  <a:cubicBezTo>
                    <a:pt x="64" y="38154"/>
                    <a:pt x="0" y="38421"/>
                    <a:pt x="0" y="38694"/>
                  </a:cubicBezTo>
                  <a:lnTo>
                    <a:pt x="0" y="756555"/>
                  </a:lnTo>
                  <a:cubicBezTo>
                    <a:pt x="0" y="775847"/>
                    <a:pt x="18605" y="792140"/>
                    <a:pt x="40513" y="792140"/>
                  </a:cubicBezTo>
                  <a:lnTo>
                    <a:pt x="603123" y="792140"/>
                  </a:lnTo>
                  <a:cubicBezTo>
                    <a:pt x="624522" y="793011"/>
                    <a:pt x="642620" y="776418"/>
                    <a:pt x="643636" y="755012"/>
                  </a:cubicBezTo>
                  <a:lnTo>
                    <a:pt x="643636" y="136160"/>
                  </a:lnTo>
                  <a:cubicBezTo>
                    <a:pt x="643636" y="135163"/>
                    <a:pt x="643509" y="134154"/>
                    <a:pt x="643191" y="133176"/>
                  </a:cubicBezTo>
                  <a:close/>
                  <a:moveTo>
                    <a:pt x="597027" y="123797"/>
                  </a:moveTo>
                  <a:lnTo>
                    <a:pt x="512445" y="123797"/>
                  </a:lnTo>
                  <a:cubicBezTo>
                    <a:pt x="503047" y="123797"/>
                    <a:pt x="495109" y="118126"/>
                    <a:pt x="495109" y="111420"/>
                  </a:cubicBezTo>
                  <a:lnTo>
                    <a:pt x="495109" y="38827"/>
                  </a:lnTo>
                  <a:lnTo>
                    <a:pt x="597027" y="123797"/>
                  </a:lnTo>
                  <a:close/>
                  <a:moveTo>
                    <a:pt x="603123" y="767401"/>
                  </a:moveTo>
                  <a:lnTo>
                    <a:pt x="40513" y="767401"/>
                  </a:lnTo>
                  <a:cubicBezTo>
                    <a:pt x="31814" y="767401"/>
                    <a:pt x="24764" y="761470"/>
                    <a:pt x="24764" y="756568"/>
                  </a:cubicBezTo>
                  <a:lnTo>
                    <a:pt x="24764" y="38700"/>
                  </a:lnTo>
                  <a:cubicBezTo>
                    <a:pt x="25146" y="30648"/>
                    <a:pt x="31940" y="24400"/>
                    <a:pt x="40005" y="24743"/>
                  </a:cubicBezTo>
                  <a:cubicBezTo>
                    <a:pt x="40195" y="24749"/>
                    <a:pt x="40386" y="24762"/>
                    <a:pt x="40513" y="24775"/>
                  </a:cubicBezTo>
                  <a:lnTo>
                    <a:pt x="470344" y="24775"/>
                  </a:lnTo>
                  <a:lnTo>
                    <a:pt x="470344" y="111414"/>
                  </a:lnTo>
                  <a:cubicBezTo>
                    <a:pt x="470344" y="131893"/>
                    <a:pt x="489267" y="148543"/>
                    <a:pt x="512445" y="148543"/>
                  </a:cubicBezTo>
                  <a:lnTo>
                    <a:pt x="618871" y="148543"/>
                  </a:lnTo>
                  <a:lnTo>
                    <a:pt x="618871" y="755018"/>
                  </a:lnTo>
                  <a:cubicBezTo>
                    <a:pt x="617727" y="762676"/>
                    <a:pt x="610806" y="768106"/>
                    <a:pt x="603123" y="767401"/>
                  </a:cubicBezTo>
                  <a:lnTo>
                    <a:pt x="603123" y="76740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7" name="Forme libre : forme 1686">
              <a:extLst>
                <a:ext uri="{FF2B5EF4-FFF2-40B4-BE49-F238E27FC236}">
                  <a16:creationId xmlns:a16="http://schemas.microsoft.com/office/drawing/2014/main" id="{FF6FDEF7-9EC8-4BEB-8549-ED1A3227C79D}"/>
                </a:ext>
              </a:extLst>
            </p:cNvPr>
            <p:cNvSpPr/>
            <p:nvPr/>
          </p:nvSpPr>
          <p:spPr>
            <a:xfrm>
              <a:off x="7041405" y="3251912"/>
              <a:ext cx="297053" cy="24752"/>
            </a:xfrm>
            <a:custGeom>
              <a:avLst/>
              <a:gdLst>
                <a:gd name="connsiteX0" fmla="*/ 12382 w 297053"/>
                <a:gd name="connsiteY0" fmla="*/ 24752 h 24752"/>
                <a:gd name="connsiteX1" fmla="*/ 284670 w 297053"/>
                <a:gd name="connsiteY1" fmla="*/ 24752 h 24752"/>
                <a:gd name="connsiteX2" fmla="*/ 297053 w 297053"/>
                <a:gd name="connsiteY2" fmla="*/ 12376 h 24752"/>
                <a:gd name="connsiteX3" fmla="*/ 284670 w 297053"/>
                <a:gd name="connsiteY3" fmla="*/ 0 h 24752"/>
                <a:gd name="connsiteX4" fmla="*/ 12382 w 297053"/>
                <a:gd name="connsiteY4" fmla="*/ 0 h 24752"/>
                <a:gd name="connsiteX5" fmla="*/ 0 w 297053"/>
                <a:gd name="connsiteY5" fmla="*/ 12376 h 24752"/>
                <a:gd name="connsiteX6" fmla="*/ 12382 w 297053"/>
                <a:gd name="connsiteY6"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053" h="24752">
                  <a:moveTo>
                    <a:pt x="12382" y="24752"/>
                  </a:moveTo>
                  <a:lnTo>
                    <a:pt x="284670" y="24752"/>
                  </a:lnTo>
                  <a:cubicBezTo>
                    <a:pt x="291529" y="24752"/>
                    <a:pt x="297053" y="19215"/>
                    <a:pt x="297053" y="12376"/>
                  </a:cubicBezTo>
                  <a:cubicBezTo>
                    <a:pt x="297053" y="5537"/>
                    <a:pt x="291529" y="0"/>
                    <a:pt x="284670" y="0"/>
                  </a:cubicBezTo>
                  <a:lnTo>
                    <a:pt x="12382" y="0"/>
                  </a:lnTo>
                  <a:cubicBezTo>
                    <a:pt x="5524" y="0"/>
                    <a:pt x="0" y="5537"/>
                    <a:pt x="0" y="12376"/>
                  </a:cubicBezTo>
                  <a:cubicBezTo>
                    <a:pt x="0" y="19215"/>
                    <a:pt x="5524" y="24752"/>
                    <a:pt x="12382"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8" name="Forme libre : forme 1687">
              <a:extLst>
                <a:ext uri="{FF2B5EF4-FFF2-40B4-BE49-F238E27FC236}">
                  <a16:creationId xmlns:a16="http://schemas.microsoft.com/office/drawing/2014/main" id="{1F25838C-8857-4443-AAB6-F48734A6B911}"/>
                </a:ext>
              </a:extLst>
            </p:cNvPr>
            <p:cNvSpPr/>
            <p:nvPr/>
          </p:nvSpPr>
          <p:spPr>
            <a:xfrm>
              <a:off x="7041406" y="3623214"/>
              <a:ext cx="86612" cy="61770"/>
            </a:xfrm>
            <a:custGeom>
              <a:avLst/>
              <a:gdLst>
                <a:gd name="connsiteX0" fmla="*/ 66420 w 86612"/>
                <a:gd name="connsiteY0" fmla="*/ 2783 h 61770"/>
                <a:gd name="connsiteX1" fmla="*/ 30607 w 86612"/>
                <a:gd name="connsiteY1" fmla="*/ 31980 h 61770"/>
                <a:gd name="connsiteX2" fmla="*/ 22034 w 86612"/>
                <a:gd name="connsiteY2" fmla="*/ 21210 h 61770"/>
                <a:gd name="connsiteX3" fmla="*/ 4698 w 86612"/>
                <a:gd name="connsiteY3" fmla="*/ 19185 h 61770"/>
                <a:gd name="connsiteX4" fmla="*/ 2667 w 86612"/>
                <a:gd name="connsiteY4" fmla="*/ 36565 h 61770"/>
                <a:gd name="connsiteX5" fmla="*/ 18986 w 86612"/>
                <a:gd name="connsiteY5" fmla="*/ 57196 h 61770"/>
                <a:gd name="connsiteX6" fmla="*/ 36512 w 86612"/>
                <a:gd name="connsiteY6" fmla="*/ 59107 h 61770"/>
                <a:gd name="connsiteX7" fmla="*/ 82042 w 86612"/>
                <a:gd name="connsiteY7" fmla="*/ 21972 h 61770"/>
                <a:gd name="connsiteX8" fmla="*/ 83819 w 86612"/>
                <a:gd name="connsiteY8" fmla="*/ 4561 h 61770"/>
                <a:gd name="connsiteX9" fmla="*/ 66420 w 86612"/>
                <a:gd name="connsiteY9" fmla="*/ 2783 h 61770"/>
                <a:gd name="connsiteX10" fmla="*/ 66420 w 86612"/>
                <a:gd name="connsiteY10" fmla="*/ 2783 h 61770"/>
                <a:gd name="connsiteX11" fmla="*/ 66420 w 86612"/>
                <a:gd name="connsiteY11" fmla="*/ 2783 h 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612" h="61770">
                  <a:moveTo>
                    <a:pt x="66420" y="2783"/>
                  </a:moveTo>
                  <a:lnTo>
                    <a:pt x="30607" y="31980"/>
                  </a:lnTo>
                  <a:lnTo>
                    <a:pt x="22034" y="21210"/>
                  </a:lnTo>
                  <a:cubicBezTo>
                    <a:pt x="17843" y="15845"/>
                    <a:pt x="10032" y="14943"/>
                    <a:pt x="4698" y="19185"/>
                  </a:cubicBezTo>
                  <a:cubicBezTo>
                    <a:pt x="-636" y="23427"/>
                    <a:pt x="-1588" y="31206"/>
                    <a:pt x="2667" y="36565"/>
                  </a:cubicBezTo>
                  <a:lnTo>
                    <a:pt x="18986" y="57196"/>
                  </a:lnTo>
                  <a:cubicBezTo>
                    <a:pt x="23368" y="62447"/>
                    <a:pt x="31114" y="63305"/>
                    <a:pt x="36512" y="59107"/>
                  </a:cubicBezTo>
                  <a:lnTo>
                    <a:pt x="82042" y="21972"/>
                  </a:lnTo>
                  <a:cubicBezTo>
                    <a:pt x="87375" y="17654"/>
                    <a:pt x="88137" y="9869"/>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9" name="Forme libre : forme 1688">
              <a:extLst>
                <a:ext uri="{FF2B5EF4-FFF2-40B4-BE49-F238E27FC236}">
                  <a16:creationId xmlns:a16="http://schemas.microsoft.com/office/drawing/2014/main" id="{00F141D3-5C18-4B16-B49A-C78F8A1BAD6E}"/>
                </a:ext>
              </a:extLst>
            </p:cNvPr>
            <p:cNvSpPr/>
            <p:nvPr/>
          </p:nvSpPr>
          <p:spPr>
            <a:xfrm>
              <a:off x="7041406" y="3722236"/>
              <a:ext cx="86612" cy="61799"/>
            </a:xfrm>
            <a:custGeom>
              <a:avLst/>
              <a:gdLst>
                <a:gd name="connsiteX0" fmla="*/ 66420 w 86612"/>
                <a:gd name="connsiteY0" fmla="*/ 2783 h 61799"/>
                <a:gd name="connsiteX1" fmla="*/ 30607 w 86612"/>
                <a:gd name="connsiteY1" fmla="*/ 31980 h 61799"/>
                <a:gd name="connsiteX2" fmla="*/ 22034 w 86612"/>
                <a:gd name="connsiteY2" fmla="*/ 21204 h 61799"/>
                <a:gd name="connsiteX3" fmla="*/ 4698 w 86612"/>
                <a:gd name="connsiteY3" fmla="*/ 19178 h 61799"/>
                <a:gd name="connsiteX4" fmla="*/ 2667 w 86612"/>
                <a:gd name="connsiteY4" fmla="*/ 36558 h 61799"/>
                <a:gd name="connsiteX5" fmla="*/ 2667 w 86612"/>
                <a:gd name="connsiteY5" fmla="*/ 36558 h 61799"/>
                <a:gd name="connsiteX6" fmla="*/ 18986 w 86612"/>
                <a:gd name="connsiteY6" fmla="*/ 57183 h 61799"/>
                <a:gd name="connsiteX7" fmla="*/ 36512 w 86612"/>
                <a:gd name="connsiteY7" fmla="*/ 59107 h 61799"/>
                <a:gd name="connsiteX8" fmla="*/ 82042 w 86612"/>
                <a:gd name="connsiteY8" fmla="*/ 21972 h 61799"/>
                <a:gd name="connsiteX9" fmla="*/ 83819 w 86612"/>
                <a:gd name="connsiteY9" fmla="*/ 4561 h 61799"/>
                <a:gd name="connsiteX10" fmla="*/ 66420 w 86612"/>
                <a:gd name="connsiteY10" fmla="*/ 2783 h 61799"/>
                <a:gd name="connsiteX11" fmla="*/ 66420 w 86612"/>
                <a:gd name="connsiteY11" fmla="*/ 2783 h 61799"/>
                <a:gd name="connsiteX12" fmla="*/ 66420 w 86612"/>
                <a:gd name="connsiteY12" fmla="*/ 2783 h 6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612" h="61799">
                  <a:moveTo>
                    <a:pt x="66420" y="2783"/>
                  </a:moveTo>
                  <a:lnTo>
                    <a:pt x="30607" y="31980"/>
                  </a:lnTo>
                  <a:lnTo>
                    <a:pt x="22034" y="21204"/>
                  </a:lnTo>
                  <a:cubicBezTo>
                    <a:pt x="17843" y="15845"/>
                    <a:pt x="10032" y="14943"/>
                    <a:pt x="4698" y="19178"/>
                  </a:cubicBezTo>
                  <a:cubicBezTo>
                    <a:pt x="-636" y="23414"/>
                    <a:pt x="-1588" y="31206"/>
                    <a:pt x="2667" y="36558"/>
                  </a:cubicBezTo>
                  <a:lnTo>
                    <a:pt x="2667" y="36558"/>
                  </a:lnTo>
                  <a:lnTo>
                    <a:pt x="18986" y="57183"/>
                  </a:lnTo>
                  <a:cubicBezTo>
                    <a:pt x="23304" y="62492"/>
                    <a:pt x="31114" y="63343"/>
                    <a:pt x="36512" y="59107"/>
                  </a:cubicBezTo>
                  <a:lnTo>
                    <a:pt x="82042" y="21972"/>
                  </a:lnTo>
                  <a:cubicBezTo>
                    <a:pt x="87375" y="17654"/>
                    <a:pt x="88137" y="9863"/>
                    <a:pt x="83819" y="4561"/>
                  </a:cubicBezTo>
                  <a:cubicBezTo>
                    <a:pt x="79501" y="-741"/>
                    <a:pt x="71755" y="-1535"/>
                    <a:pt x="66420" y="2783"/>
                  </a:cubicBezTo>
                  <a:lnTo>
                    <a:pt x="66420" y="2783"/>
                  </a:lnTo>
                  <a:lnTo>
                    <a:pt x="66420" y="2783"/>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0" name="Forme libre : forme 1689">
              <a:extLst>
                <a:ext uri="{FF2B5EF4-FFF2-40B4-BE49-F238E27FC236}">
                  <a16:creationId xmlns:a16="http://schemas.microsoft.com/office/drawing/2014/main" id="{0282251D-0791-4797-922A-B903084141CA}"/>
                </a:ext>
              </a:extLst>
            </p:cNvPr>
            <p:cNvSpPr/>
            <p:nvPr/>
          </p:nvSpPr>
          <p:spPr>
            <a:xfrm>
              <a:off x="7165167" y="3821246"/>
              <a:ext cx="371284" cy="24752"/>
            </a:xfrm>
            <a:custGeom>
              <a:avLst/>
              <a:gdLst>
                <a:gd name="connsiteX0" fmla="*/ 358966 w 371284"/>
                <a:gd name="connsiteY0" fmla="*/ 0 h 24752"/>
                <a:gd name="connsiteX1" fmla="*/ 12383 w 371284"/>
                <a:gd name="connsiteY1" fmla="*/ 0 h 24752"/>
                <a:gd name="connsiteX2" fmla="*/ 0 w 371284"/>
                <a:gd name="connsiteY2" fmla="*/ 12376 h 24752"/>
                <a:gd name="connsiteX3" fmla="*/ 12383 w 371284"/>
                <a:gd name="connsiteY3" fmla="*/ 24752 h 24752"/>
                <a:gd name="connsiteX4" fmla="*/ 358966 w 371284"/>
                <a:gd name="connsiteY4" fmla="*/ 24752 h 24752"/>
                <a:gd name="connsiteX5" fmla="*/ 371284 w 371284"/>
                <a:gd name="connsiteY5" fmla="*/ 12376 h 24752"/>
                <a:gd name="connsiteX6" fmla="*/ 358966 w 371284"/>
                <a:gd name="connsiteY6"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1284" h="24752">
                  <a:moveTo>
                    <a:pt x="358966" y="0"/>
                  </a:moveTo>
                  <a:lnTo>
                    <a:pt x="12383" y="0"/>
                  </a:lnTo>
                  <a:cubicBezTo>
                    <a:pt x="5524" y="0"/>
                    <a:pt x="0" y="5543"/>
                    <a:pt x="0" y="12376"/>
                  </a:cubicBezTo>
                  <a:cubicBezTo>
                    <a:pt x="0" y="19209"/>
                    <a:pt x="5524" y="24752"/>
                    <a:pt x="12383" y="24752"/>
                  </a:cubicBezTo>
                  <a:lnTo>
                    <a:pt x="358966" y="24752"/>
                  </a:lnTo>
                  <a:cubicBezTo>
                    <a:pt x="365760" y="24752"/>
                    <a:pt x="371284" y="19209"/>
                    <a:pt x="371284" y="12376"/>
                  </a:cubicBezTo>
                  <a:cubicBezTo>
                    <a:pt x="371284" y="5543"/>
                    <a:pt x="365760" y="0"/>
                    <a:pt x="358966"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1" name="Forme libre : forme 1690">
              <a:extLst>
                <a:ext uri="{FF2B5EF4-FFF2-40B4-BE49-F238E27FC236}">
                  <a16:creationId xmlns:a16="http://schemas.microsoft.com/office/drawing/2014/main" id="{DFBC9D9E-5653-48F0-ACA2-52CE041EEC79}"/>
                </a:ext>
              </a:extLst>
            </p:cNvPr>
            <p:cNvSpPr/>
            <p:nvPr/>
          </p:nvSpPr>
          <p:spPr>
            <a:xfrm>
              <a:off x="7041406" y="3821253"/>
              <a:ext cx="86612" cy="61850"/>
            </a:xfrm>
            <a:custGeom>
              <a:avLst/>
              <a:gdLst>
                <a:gd name="connsiteX0" fmla="*/ 66420 w 86612"/>
                <a:gd name="connsiteY0" fmla="*/ 2787 h 61850"/>
                <a:gd name="connsiteX1" fmla="*/ 30607 w 86612"/>
                <a:gd name="connsiteY1" fmla="*/ 31978 h 61850"/>
                <a:gd name="connsiteX2" fmla="*/ 22034 w 86612"/>
                <a:gd name="connsiteY2" fmla="*/ 21208 h 61850"/>
                <a:gd name="connsiteX3" fmla="*/ 4698 w 86612"/>
                <a:gd name="connsiteY3" fmla="*/ 19176 h 61850"/>
                <a:gd name="connsiteX4" fmla="*/ 2667 w 86612"/>
                <a:gd name="connsiteY4" fmla="*/ 36556 h 61850"/>
                <a:gd name="connsiteX5" fmla="*/ 2667 w 86612"/>
                <a:gd name="connsiteY5" fmla="*/ 36556 h 61850"/>
                <a:gd name="connsiteX6" fmla="*/ 18986 w 86612"/>
                <a:gd name="connsiteY6" fmla="*/ 57187 h 61850"/>
                <a:gd name="connsiteX7" fmla="*/ 36512 w 86612"/>
                <a:gd name="connsiteY7" fmla="*/ 59111 h 61850"/>
                <a:gd name="connsiteX8" fmla="*/ 82042 w 86612"/>
                <a:gd name="connsiteY8" fmla="*/ 21976 h 61850"/>
                <a:gd name="connsiteX9" fmla="*/ 83819 w 86612"/>
                <a:gd name="connsiteY9" fmla="*/ 4565 h 61850"/>
                <a:gd name="connsiteX10" fmla="*/ 66420 w 86612"/>
                <a:gd name="connsiteY10" fmla="*/ 2787 h 61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612" h="61850">
                  <a:moveTo>
                    <a:pt x="66420" y="2787"/>
                  </a:moveTo>
                  <a:lnTo>
                    <a:pt x="30607" y="31978"/>
                  </a:lnTo>
                  <a:lnTo>
                    <a:pt x="22034" y="21208"/>
                  </a:lnTo>
                  <a:cubicBezTo>
                    <a:pt x="17843" y="15849"/>
                    <a:pt x="10032" y="14935"/>
                    <a:pt x="4698" y="19176"/>
                  </a:cubicBezTo>
                  <a:cubicBezTo>
                    <a:pt x="-636" y="23418"/>
                    <a:pt x="-1588" y="31197"/>
                    <a:pt x="2667" y="36556"/>
                  </a:cubicBezTo>
                  <a:lnTo>
                    <a:pt x="2667" y="36556"/>
                  </a:lnTo>
                  <a:lnTo>
                    <a:pt x="18986" y="57187"/>
                  </a:lnTo>
                  <a:cubicBezTo>
                    <a:pt x="23304" y="62560"/>
                    <a:pt x="31114" y="63410"/>
                    <a:pt x="36512" y="59111"/>
                  </a:cubicBezTo>
                  <a:lnTo>
                    <a:pt x="82042" y="21976"/>
                  </a:lnTo>
                  <a:cubicBezTo>
                    <a:pt x="87375" y="17659"/>
                    <a:pt x="88137" y="9861"/>
                    <a:pt x="83819" y="4565"/>
                  </a:cubicBezTo>
                  <a:cubicBezTo>
                    <a:pt x="79501" y="-750"/>
                    <a:pt x="71755" y="-1531"/>
                    <a:pt x="66420" y="2787"/>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2" name="Forme libre : forme 1691">
              <a:extLst>
                <a:ext uri="{FF2B5EF4-FFF2-40B4-BE49-F238E27FC236}">
                  <a16:creationId xmlns:a16="http://schemas.microsoft.com/office/drawing/2014/main" id="{286BC035-5C20-4DBB-AF71-7ACB57636A37}"/>
                </a:ext>
              </a:extLst>
            </p:cNvPr>
            <p:cNvSpPr/>
            <p:nvPr/>
          </p:nvSpPr>
          <p:spPr>
            <a:xfrm>
              <a:off x="7165167" y="3722244"/>
              <a:ext cx="190309" cy="24739"/>
            </a:xfrm>
            <a:custGeom>
              <a:avLst/>
              <a:gdLst>
                <a:gd name="connsiteX0" fmla="*/ 12383 w 190309"/>
                <a:gd name="connsiteY0" fmla="*/ 24740 h 24739"/>
                <a:gd name="connsiteX1" fmla="*/ 190309 w 190309"/>
                <a:gd name="connsiteY1" fmla="*/ 24740 h 24739"/>
                <a:gd name="connsiteX2" fmla="*/ 165545 w 190309"/>
                <a:gd name="connsiteY2" fmla="*/ 0 h 24739"/>
                <a:gd name="connsiteX3" fmla="*/ 12383 w 190309"/>
                <a:gd name="connsiteY3" fmla="*/ 0 h 24739"/>
                <a:gd name="connsiteX4" fmla="*/ 0 w 190309"/>
                <a:gd name="connsiteY4" fmla="*/ 12376 h 24739"/>
                <a:gd name="connsiteX5" fmla="*/ 12383 w 190309"/>
                <a:gd name="connsiteY5" fmla="*/ 2474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309" h="24739">
                  <a:moveTo>
                    <a:pt x="12383" y="24740"/>
                  </a:moveTo>
                  <a:lnTo>
                    <a:pt x="190309" y="24740"/>
                  </a:lnTo>
                  <a:lnTo>
                    <a:pt x="165545" y="0"/>
                  </a:lnTo>
                  <a:lnTo>
                    <a:pt x="12383" y="0"/>
                  </a:lnTo>
                  <a:cubicBezTo>
                    <a:pt x="5524" y="0"/>
                    <a:pt x="0" y="5531"/>
                    <a:pt x="0" y="12376"/>
                  </a:cubicBezTo>
                  <a:cubicBezTo>
                    <a:pt x="0" y="19196"/>
                    <a:pt x="5524" y="24740"/>
                    <a:pt x="12383" y="2474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3" name="Forme libre : forme 1692">
              <a:extLst>
                <a:ext uri="{FF2B5EF4-FFF2-40B4-BE49-F238E27FC236}">
                  <a16:creationId xmlns:a16="http://schemas.microsoft.com/office/drawing/2014/main" id="{16FE01A4-5912-44DA-A5E5-0B0B295B38DA}"/>
                </a:ext>
              </a:extLst>
            </p:cNvPr>
            <p:cNvSpPr/>
            <p:nvPr/>
          </p:nvSpPr>
          <p:spPr>
            <a:xfrm>
              <a:off x="7497589" y="3722237"/>
              <a:ext cx="38861" cy="24739"/>
            </a:xfrm>
            <a:custGeom>
              <a:avLst/>
              <a:gdLst>
                <a:gd name="connsiteX0" fmla="*/ 26543 w 38861"/>
                <a:gd name="connsiteY0" fmla="*/ 0 h 24739"/>
                <a:gd name="connsiteX1" fmla="*/ 0 w 38861"/>
                <a:gd name="connsiteY1" fmla="*/ 0 h 24739"/>
                <a:gd name="connsiteX2" fmla="*/ 254 w 38861"/>
                <a:gd name="connsiteY2" fmla="*/ 24740 h 24739"/>
                <a:gd name="connsiteX3" fmla="*/ 26543 w 38861"/>
                <a:gd name="connsiteY3" fmla="*/ 24740 h 24739"/>
                <a:gd name="connsiteX4" fmla="*/ 38862 w 38861"/>
                <a:gd name="connsiteY4" fmla="*/ 12376 h 24739"/>
                <a:gd name="connsiteX5" fmla="*/ 26543 w 38861"/>
                <a:gd name="connsiteY5" fmla="*/ 0 h 2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61" h="24739">
                  <a:moveTo>
                    <a:pt x="26543" y="0"/>
                  </a:moveTo>
                  <a:lnTo>
                    <a:pt x="0" y="0"/>
                  </a:lnTo>
                  <a:cubicBezTo>
                    <a:pt x="2223" y="8083"/>
                    <a:pt x="2349" y="16605"/>
                    <a:pt x="254" y="24740"/>
                  </a:cubicBezTo>
                  <a:lnTo>
                    <a:pt x="26543" y="24740"/>
                  </a:lnTo>
                  <a:cubicBezTo>
                    <a:pt x="33338" y="24740"/>
                    <a:pt x="38862" y="19196"/>
                    <a:pt x="38862" y="12376"/>
                  </a:cubicBezTo>
                  <a:cubicBezTo>
                    <a:pt x="38862" y="5531"/>
                    <a:pt x="33338" y="0"/>
                    <a:pt x="2654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4" name="Forme libre : forme 1693">
              <a:extLst>
                <a:ext uri="{FF2B5EF4-FFF2-40B4-BE49-F238E27FC236}">
                  <a16:creationId xmlns:a16="http://schemas.microsoft.com/office/drawing/2014/main" id="{45FF76A0-51D5-4CC7-B90F-D9A6AAD85467}"/>
                </a:ext>
              </a:extLst>
            </p:cNvPr>
            <p:cNvSpPr/>
            <p:nvPr/>
          </p:nvSpPr>
          <p:spPr>
            <a:xfrm>
              <a:off x="7408054" y="3623222"/>
              <a:ext cx="128396" cy="24752"/>
            </a:xfrm>
            <a:custGeom>
              <a:avLst/>
              <a:gdLst>
                <a:gd name="connsiteX0" fmla="*/ 116078 w 128396"/>
                <a:gd name="connsiteY0" fmla="*/ 0 h 24752"/>
                <a:gd name="connsiteX1" fmla="*/ 0 w 128396"/>
                <a:gd name="connsiteY1" fmla="*/ 0 h 24752"/>
                <a:gd name="connsiteX2" fmla="*/ 24765 w 128396"/>
                <a:gd name="connsiteY2" fmla="*/ 24752 h 24752"/>
                <a:gd name="connsiteX3" fmla="*/ 116078 w 128396"/>
                <a:gd name="connsiteY3" fmla="*/ 24752 h 24752"/>
                <a:gd name="connsiteX4" fmla="*/ 128397 w 128396"/>
                <a:gd name="connsiteY4" fmla="*/ 12376 h 24752"/>
                <a:gd name="connsiteX5" fmla="*/ 116078 w 128396"/>
                <a:gd name="connsiteY5"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396" h="24752">
                  <a:moveTo>
                    <a:pt x="116078" y="0"/>
                  </a:moveTo>
                  <a:lnTo>
                    <a:pt x="0" y="0"/>
                  </a:lnTo>
                  <a:lnTo>
                    <a:pt x="24765" y="24752"/>
                  </a:lnTo>
                  <a:lnTo>
                    <a:pt x="116078" y="24752"/>
                  </a:lnTo>
                  <a:cubicBezTo>
                    <a:pt x="122872" y="24752"/>
                    <a:pt x="128397" y="19209"/>
                    <a:pt x="128397" y="12376"/>
                  </a:cubicBezTo>
                  <a:cubicBezTo>
                    <a:pt x="128397" y="5537"/>
                    <a:pt x="122872" y="0"/>
                    <a:pt x="116078"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5" name="Forme libre : forme 1694">
              <a:extLst>
                <a:ext uri="{FF2B5EF4-FFF2-40B4-BE49-F238E27FC236}">
                  <a16:creationId xmlns:a16="http://schemas.microsoft.com/office/drawing/2014/main" id="{8C3D6FFA-2E31-4A5E-B76F-ABFAFCDDFB12}"/>
                </a:ext>
              </a:extLst>
            </p:cNvPr>
            <p:cNvSpPr/>
            <p:nvPr/>
          </p:nvSpPr>
          <p:spPr>
            <a:xfrm>
              <a:off x="7165167" y="3623183"/>
              <a:ext cx="91313" cy="24790"/>
            </a:xfrm>
            <a:custGeom>
              <a:avLst/>
              <a:gdLst>
                <a:gd name="connsiteX0" fmla="*/ 12383 w 91313"/>
                <a:gd name="connsiteY0" fmla="*/ 24791 h 24790"/>
                <a:gd name="connsiteX1" fmla="*/ 91313 w 91313"/>
                <a:gd name="connsiteY1" fmla="*/ 24791 h 24790"/>
                <a:gd name="connsiteX2" fmla="*/ 76009 w 91313"/>
                <a:gd name="connsiteY2" fmla="*/ 39 h 24790"/>
                <a:gd name="connsiteX3" fmla="*/ 13907 w 91313"/>
                <a:gd name="connsiteY3" fmla="*/ 39 h 24790"/>
                <a:gd name="connsiteX4" fmla="*/ 0 w 91313"/>
                <a:gd name="connsiteY4" fmla="*/ 11932 h 24790"/>
                <a:gd name="connsiteX5" fmla="*/ 0 w 91313"/>
                <a:gd name="connsiteY5" fmla="*/ 12415 h 24790"/>
                <a:gd name="connsiteX6" fmla="*/ 12383 w 91313"/>
                <a:gd name="connsiteY6" fmla="*/ 24791 h 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13" h="24790">
                  <a:moveTo>
                    <a:pt x="12383" y="24791"/>
                  </a:moveTo>
                  <a:lnTo>
                    <a:pt x="91313" y="24791"/>
                  </a:lnTo>
                  <a:cubicBezTo>
                    <a:pt x="84074" y="18066"/>
                    <a:pt x="78740" y="9526"/>
                    <a:pt x="76009" y="39"/>
                  </a:cubicBezTo>
                  <a:lnTo>
                    <a:pt x="13907" y="39"/>
                  </a:lnTo>
                  <a:cubicBezTo>
                    <a:pt x="6795" y="-508"/>
                    <a:pt x="571" y="4814"/>
                    <a:pt x="0" y="11932"/>
                  </a:cubicBezTo>
                  <a:cubicBezTo>
                    <a:pt x="0" y="12091"/>
                    <a:pt x="0" y="12256"/>
                    <a:pt x="0" y="12415"/>
                  </a:cubicBezTo>
                  <a:cubicBezTo>
                    <a:pt x="0" y="19247"/>
                    <a:pt x="5524" y="24791"/>
                    <a:pt x="12383" y="2479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6" name="Forme libre : forme 1695">
              <a:extLst>
                <a:ext uri="{FF2B5EF4-FFF2-40B4-BE49-F238E27FC236}">
                  <a16:creationId xmlns:a16="http://schemas.microsoft.com/office/drawing/2014/main" id="{6789495F-18BF-4154-950C-6EECB952F30E}"/>
                </a:ext>
              </a:extLst>
            </p:cNvPr>
            <p:cNvSpPr/>
            <p:nvPr/>
          </p:nvSpPr>
          <p:spPr>
            <a:xfrm>
              <a:off x="7299470" y="3524200"/>
              <a:ext cx="236981" cy="24752"/>
            </a:xfrm>
            <a:custGeom>
              <a:avLst/>
              <a:gdLst>
                <a:gd name="connsiteX0" fmla="*/ 224663 w 236981"/>
                <a:gd name="connsiteY0" fmla="*/ 0 h 24752"/>
                <a:gd name="connsiteX1" fmla="*/ 9271 w 236981"/>
                <a:gd name="connsiteY1" fmla="*/ 0 h 24752"/>
                <a:gd name="connsiteX2" fmla="*/ 0 w 236981"/>
                <a:gd name="connsiteY2" fmla="*/ 19183 h 24752"/>
                <a:gd name="connsiteX3" fmla="*/ 7493 w 236981"/>
                <a:gd name="connsiteY3" fmla="*/ 18567 h 24752"/>
                <a:gd name="connsiteX4" fmla="*/ 31559 w 236981"/>
                <a:gd name="connsiteY4" fmla="*/ 24752 h 24752"/>
                <a:gd name="connsiteX5" fmla="*/ 224663 w 236981"/>
                <a:gd name="connsiteY5" fmla="*/ 24752 h 24752"/>
                <a:gd name="connsiteX6" fmla="*/ 236982 w 236981"/>
                <a:gd name="connsiteY6" fmla="*/ 12376 h 24752"/>
                <a:gd name="connsiteX7" fmla="*/ 224663 w 236981"/>
                <a:gd name="connsiteY7" fmla="*/ 0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81" h="24752">
                  <a:moveTo>
                    <a:pt x="224663" y="0"/>
                  </a:moveTo>
                  <a:lnTo>
                    <a:pt x="9271" y="0"/>
                  </a:lnTo>
                  <a:cubicBezTo>
                    <a:pt x="6604" y="6598"/>
                    <a:pt x="3556" y="13005"/>
                    <a:pt x="0" y="19183"/>
                  </a:cubicBezTo>
                  <a:cubicBezTo>
                    <a:pt x="2477" y="18790"/>
                    <a:pt x="5017" y="18586"/>
                    <a:pt x="7493" y="18567"/>
                  </a:cubicBezTo>
                  <a:cubicBezTo>
                    <a:pt x="15939" y="18555"/>
                    <a:pt x="24193" y="20682"/>
                    <a:pt x="31559" y="24752"/>
                  </a:cubicBezTo>
                  <a:lnTo>
                    <a:pt x="224663" y="24752"/>
                  </a:lnTo>
                  <a:cubicBezTo>
                    <a:pt x="231457" y="24752"/>
                    <a:pt x="236982" y="19209"/>
                    <a:pt x="236982" y="12376"/>
                  </a:cubicBezTo>
                  <a:cubicBezTo>
                    <a:pt x="236982" y="5543"/>
                    <a:pt x="231457" y="0"/>
                    <a:pt x="224663"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7" name="Forme libre : forme 1696">
              <a:extLst>
                <a:ext uri="{FF2B5EF4-FFF2-40B4-BE49-F238E27FC236}">
                  <a16:creationId xmlns:a16="http://schemas.microsoft.com/office/drawing/2014/main" id="{0E199300-C88A-487A-9A5A-A942371E1516}"/>
                </a:ext>
              </a:extLst>
            </p:cNvPr>
            <p:cNvSpPr/>
            <p:nvPr/>
          </p:nvSpPr>
          <p:spPr>
            <a:xfrm>
              <a:off x="7316868" y="3425191"/>
              <a:ext cx="219582" cy="24745"/>
            </a:xfrm>
            <a:custGeom>
              <a:avLst/>
              <a:gdLst>
                <a:gd name="connsiteX0" fmla="*/ 207264 w 219582"/>
                <a:gd name="connsiteY0" fmla="*/ 0 h 24745"/>
                <a:gd name="connsiteX1" fmla="*/ 0 w 219582"/>
                <a:gd name="connsiteY1" fmla="*/ 0 h 24745"/>
                <a:gd name="connsiteX2" fmla="*/ 3619 w 219582"/>
                <a:gd name="connsiteY2" fmla="*/ 24746 h 24745"/>
                <a:gd name="connsiteX3" fmla="*/ 207264 w 219582"/>
                <a:gd name="connsiteY3" fmla="*/ 24746 h 24745"/>
                <a:gd name="connsiteX4" fmla="*/ 219583 w 219582"/>
                <a:gd name="connsiteY4" fmla="*/ 12370 h 24745"/>
                <a:gd name="connsiteX5" fmla="*/ 207264 w 219582"/>
                <a:gd name="connsiteY5" fmla="*/ 0 h 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582" h="24745">
                  <a:moveTo>
                    <a:pt x="207264" y="0"/>
                  </a:moveTo>
                  <a:lnTo>
                    <a:pt x="0" y="0"/>
                  </a:lnTo>
                  <a:cubicBezTo>
                    <a:pt x="1842" y="8134"/>
                    <a:pt x="3048" y="16421"/>
                    <a:pt x="3619" y="24746"/>
                  </a:cubicBezTo>
                  <a:lnTo>
                    <a:pt x="207264" y="24746"/>
                  </a:lnTo>
                  <a:cubicBezTo>
                    <a:pt x="214058" y="24746"/>
                    <a:pt x="219583" y="19202"/>
                    <a:pt x="219583" y="12370"/>
                  </a:cubicBezTo>
                  <a:cubicBezTo>
                    <a:pt x="219583" y="5537"/>
                    <a:pt x="214058" y="0"/>
                    <a:pt x="207264" y="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8" name="Forme libre : forme 1697">
              <a:extLst>
                <a:ext uri="{FF2B5EF4-FFF2-40B4-BE49-F238E27FC236}">
                  <a16:creationId xmlns:a16="http://schemas.microsoft.com/office/drawing/2014/main" id="{019019E2-3D14-48FE-9996-3F0D53435ADB}"/>
                </a:ext>
              </a:extLst>
            </p:cNvPr>
            <p:cNvSpPr/>
            <p:nvPr/>
          </p:nvSpPr>
          <p:spPr>
            <a:xfrm>
              <a:off x="7230445" y="3313793"/>
              <a:ext cx="157480" cy="24752"/>
            </a:xfrm>
            <a:custGeom>
              <a:avLst/>
              <a:gdLst>
                <a:gd name="connsiteX0" fmla="*/ 35751 w 157480"/>
                <a:gd name="connsiteY0" fmla="*/ 24752 h 24752"/>
                <a:gd name="connsiteX1" fmla="*/ 145097 w 157480"/>
                <a:gd name="connsiteY1" fmla="*/ 24752 h 24752"/>
                <a:gd name="connsiteX2" fmla="*/ 157480 w 157480"/>
                <a:gd name="connsiteY2" fmla="*/ 12376 h 24752"/>
                <a:gd name="connsiteX3" fmla="*/ 145097 w 157480"/>
                <a:gd name="connsiteY3" fmla="*/ 0 h 24752"/>
                <a:gd name="connsiteX4" fmla="*/ 0 w 157480"/>
                <a:gd name="connsiteY4" fmla="*/ 0 h 24752"/>
                <a:gd name="connsiteX5" fmla="*/ 35751 w 157480"/>
                <a:gd name="connsiteY5" fmla="*/ 24752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480" h="24752">
                  <a:moveTo>
                    <a:pt x="35751" y="24752"/>
                  </a:moveTo>
                  <a:lnTo>
                    <a:pt x="145097" y="24752"/>
                  </a:lnTo>
                  <a:cubicBezTo>
                    <a:pt x="151955" y="24752"/>
                    <a:pt x="157480" y="19209"/>
                    <a:pt x="157480" y="12376"/>
                  </a:cubicBezTo>
                  <a:cubicBezTo>
                    <a:pt x="157480" y="5537"/>
                    <a:pt x="151955" y="0"/>
                    <a:pt x="145097" y="0"/>
                  </a:cubicBezTo>
                  <a:lnTo>
                    <a:pt x="0" y="0"/>
                  </a:lnTo>
                  <a:cubicBezTo>
                    <a:pt x="12954" y="6661"/>
                    <a:pt x="24955" y="14980"/>
                    <a:pt x="35751" y="24752"/>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9" name="Forme libre : forme 1698">
              <a:extLst>
                <a:ext uri="{FF2B5EF4-FFF2-40B4-BE49-F238E27FC236}">
                  <a16:creationId xmlns:a16="http://schemas.microsoft.com/office/drawing/2014/main" id="{F2F66E07-03D2-4B20-AD90-8375BC085A72}"/>
                </a:ext>
              </a:extLst>
            </p:cNvPr>
            <p:cNvSpPr/>
            <p:nvPr/>
          </p:nvSpPr>
          <p:spPr>
            <a:xfrm>
              <a:off x="7041405" y="3313792"/>
              <a:ext cx="37210" cy="22250"/>
            </a:xfrm>
            <a:custGeom>
              <a:avLst/>
              <a:gdLst>
                <a:gd name="connsiteX0" fmla="*/ 4953 w 37210"/>
                <a:gd name="connsiteY0" fmla="*/ 22251 h 22250"/>
                <a:gd name="connsiteX1" fmla="*/ 37211 w 37210"/>
                <a:gd name="connsiteY1" fmla="*/ 0 h 22250"/>
                <a:gd name="connsiteX2" fmla="*/ 12382 w 37210"/>
                <a:gd name="connsiteY2" fmla="*/ 0 h 22250"/>
                <a:gd name="connsiteX3" fmla="*/ 0 w 37210"/>
                <a:gd name="connsiteY3" fmla="*/ 12306 h 22250"/>
                <a:gd name="connsiteX4" fmla="*/ 4953 w 37210"/>
                <a:gd name="connsiteY4" fmla="*/ 22251 h 22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0" h="22250">
                  <a:moveTo>
                    <a:pt x="4953" y="22251"/>
                  </a:moveTo>
                  <a:cubicBezTo>
                    <a:pt x="14795" y="13551"/>
                    <a:pt x="25591" y="6077"/>
                    <a:pt x="37211" y="0"/>
                  </a:cubicBezTo>
                  <a:lnTo>
                    <a:pt x="12382" y="0"/>
                  </a:lnTo>
                  <a:cubicBezTo>
                    <a:pt x="5524" y="-19"/>
                    <a:pt x="0" y="5493"/>
                    <a:pt x="0" y="12306"/>
                  </a:cubicBezTo>
                  <a:cubicBezTo>
                    <a:pt x="0" y="16231"/>
                    <a:pt x="1842" y="19920"/>
                    <a:pt x="4953" y="22251"/>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0" name="Forme libre : forme 1699">
              <a:extLst>
                <a:ext uri="{FF2B5EF4-FFF2-40B4-BE49-F238E27FC236}">
                  <a16:creationId xmlns:a16="http://schemas.microsoft.com/office/drawing/2014/main" id="{1F69959F-3B25-499D-B3C0-FBEB3C161B81}"/>
                </a:ext>
              </a:extLst>
            </p:cNvPr>
            <p:cNvSpPr/>
            <p:nvPr/>
          </p:nvSpPr>
          <p:spPr>
            <a:xfrm>
              <a:off x="7016242" y="3319590"/>
              <a:ext cx="458343" cy="458344"/>
            </a:xfrm>
            <a:custGeom>
              <a:avLst/>
              <a:gdLst>
                <a:gd name="connsiteX0" fmla="*/ 255414 w 458343"/>
                <a:gd name="connsiteY0" fmla="*/ 272913 h 458345"/>
                <a:gd name="connsiteX1" fmla="*/ 255287 w 458343"/>
                <a:gd name="connsiteY1" fmla="*/ 273085 h 458345"/>
                <a:gd name="connsiteX2" fmla="*/ 255223 w 458343"/>
                <a:gd name="connsiteY2" fmla="*/ 308410 h 458345"/>
                <a:gd name="connsiteX3" fmla="*/ 255287 w 458343"/>
                <a:gd name="connsiteY3" fmla="*/ 308410 h 458345"/>
                <a:gd name="connsiteX4" fmla="*/ 397845 w 458343"/>
                <a:gd name="connsiteY4" fmla="*/ 451030 h 458345"/>
                <a:gd name="connsiteX5" fmla="*/ 433214 w 458343"/>
                <a:gd name="connsiteY5" fmla="*/ 451030 h 458345"/>
                <a:gd name="connsiteX6" fmla="*/ 451058 w 458343"/>
                <a:gd name="connsiteY6" fmla="*/ 433200 h 458345"/>
                <a:gd name="connsiteX7" fmla="*/ 451058 w 458343"/>
                <a:gd name="connsiteY7" fmla="*/ 433200 h 458345"/>
                <a:gd name="connsiteX8" fmla="*/ 451058 w 458343"/>
                <a:gd name="connsiteY8" fmla="*/ 397875 h 458345"/>
                <a:gd name="connsiteX9" fmla="*/ 451058 w 458343"/>
                <a:gd name="connsiteY9" fmla="*/ 397875 h 458345"/>
                <a:gd name="connsiteX10" fmla="*/ 308436 w 458343"/>
                <a:gd name="connsiteY10" fmla="*/ 255254 h 458345"/>
                <a:gd name="connsiteX11" fmla="*/ 273067 w 458343"/>
                <a:gd name="connsiteY11" fmla="*/ 255254 h 458345"/>
                <a:gd name="connsiteX12" fmla="*/ 272940 w 458343"/>
                <a:gd name="connsiteY12" fmla="*/ 255412 h 458345"/>
                <a:gd name="connsiteX13" fmla="*/ 246396 w 458343"/>
                <a:gd name="connsiteY13" fmla="*/ 228895 h 458345"/>
                <a:gd name="connsiteX14" fmla="*/ 228870 w 458343"/>
                <a:gd name="connsiteY14" fmla="*/ 32483 h 458345"/>
                <a:gd name="connsiteX15" fmla="*/ 32465 w 458343"/>
                <a:gd name="connsiteY15" fmla="*/ 49977 h 458345"/>
                <a:gd name="connsiteX16" fmla="*/ 49991 w 458343"/>
                <a:gd name="connsiteY16" fmla="*/ 246402 h 458345"/>
                <a:gd name="connsiteX17" fmla="*/ 228870 w 458343"/>
                <a:gd name="connsiteY17" fmla="*/ 246402 h 458345"/>
                <a:gd name="connsiteX18" fmla="*/ 255414 w 458343"/>
                <a:gd name="connsiteY18" fmla="*/ 272913 h 458345"/>
                <a:gd name="connsiteX19" fmla="*/ 290910 w 458343"/>
                <a:gd name="connsiteY19" fmla="*/ 272748 h 458345"/>
                <a:gd name="connsiteX20" fmla="*/ 433532 w 458343"/>
                <a:gd name="connsiteY20" fmla="*/ 415375 h 458345"/>
                <a:gd name="connsiteX21" fmla="*/ 433532 w 458343"/>
                <a:gd name="connsiteY21" fmla="*/ 415693 h 458345"/>
                <a:gd name="connsiteX22" fmla="*/ 415370 w 458343"/>
                <a:gd name="connsiteY22" fmla="*/ 433524 h 458345"/>
                <a:gd name="connsiteX23" fmla="*/ 272749 w 458343"/>
                <a:gd name="connsiteY23" fmla="*/ 290585 h 458345"/>
                <a:gd name="connsiteX24" fmla="*/ 290910 w 458343"/>
                <a:gd name="connsiteY24" fmla="*/ 272748 h 458345"/>
                <a:gd name="connsiteX25" fmla="*/ 139653 w 458343"/>
                <a:gd name="connsiteY25" fmla="*/ 254123 h 458345"/>
                <a:gd name="connsiteX26" fmla="*/ 25163 w 458343"/>
                <a:gd name="connsiteY26" fmla="*/ 139639 h 458345"/>
                <a:gd name="connsiteX27" fmla="*/ 139653 w 458343"/>
                <a:gd name="connsiteY27" fmla="*/ 25149 h 458345"/>
                <a:gd name="connsiteX28" fmla="*/ 254144 w 458343"/>
                <a:gd name="connsiteY28" fmla="*/ 139639 h 458345"/>
                <a:gd name="connsiteX29" fmla="*/ 139653 w 458343"/>
                <a:gd name="connsiteY29" fmla="*/ 254123 h 45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8343" h="458345">
                  <a:moveTo>
                    <a:pt x="255414" y="272913"/>
                  </a:moveTo>
                  <a:lnTo>
                    <a:pt x="255287" y="273085"/>
                  </a:lnTo>
                  <a:cubicBezTo>
                    <a:pt x="245507" y="282832"/>
                    <a:pt x="245507" y="298643"/>
                    <a:pt x="255223" y="308410"/>
                  </a:cubicBezTo>
                  <a:cubicBezTo>
                    <a:pt x="255223" y="308410"/>
                    <a:pt x="255223" y="308410"/>
                    <a:pt x="255287" y="308410"/>
                  </a:cubicBezTo>
                  <a:lnTo>
                    <a:pt x="397845" y="451030"/>
                  </a:lnTo>
                  <a:cubicBezTo>
                    <a:pt x="407623" y="460784"/>
                    <a:pt x="423435" y="460784"/>
                    <a:pt x="433214" y="451030"/>
                  </a:cubicBezTo>
                  <a:lnTo>
                    <a:pt x="451058" y="433200"/>
                  </a:lnTo>
                  <a:lnTo>
                    <a:pt x="451058" y="433200"/>
                  </a:lnTo>
                  <a:cubicBezTo>
                    <a:pt x="460773" y="423446"/>
                    <a:pt x="460773" y="407641"/>
                    <a:pt x="451058" y="397875"/>
                  </a:cubicBezTo>
                  <a:lnTo>
                    <a:pt x="451058" y="397875"/>
                  </a:lnTo>
                  <a:lnTo>
                    <a:pt x="308436" y="255254"/>
                  </a:lnTo>
                  <a:cubicBezTo>
                    <a:pt x="298658" y="245507"/>
                    <a:pt x="282845" y="245507"/>
                    <a:pt x="273067" y="255254"/>
                  </a:cubicBezTo>
                  <a:lnTo>
                    <a:pt x="272940" y="255412"/>
                  </a:lnTo>
                  <a:lnTo>
                    <a:pt x="246396" y="228895"/>
                  </a:lnTo>
                  <a:cubicBezTo>
                    <a:pt x="295800" y="169821"/>
                    <a:pt x="287989" y="81886"/>
                    <a:pt x="228870" y="32483"/>
                  </a:cubicBezTo>
                  <a:cubicBezTo>
                    <a:pt x="169816" y="-16926"/>
                    <a:pt x="81869" y="-9084"/>
                    <a:pt x="32465" y="49977"/>
                  </a:cubicBezTo>
                  <a:cubicBezTo>
                    <a:pt x="-16938" y="109051"/>
                    <a:pt x="-9064" y="196992"/>
                    <a:pt x="49991" y="246402"/>
                  </a:cubicBezTo>
                  <a:cubicBezTo>
                    <a:pt x="101744" y="289702"/>
                    <a:pt x="177119" y="289702"/>
                    <a:pt x="228870" y="246402"/>
                  </a:cubicBezTo>
                  <a:lnTo>
                    <a:pt x="255414" y="272913"/>
                  </a:lnTo>
                  <a:close/>
                  <a:moveTo>
                    <a:pt x="290910" y="272748"/>
                  </a:moveTo>
                  <a:lnTo>
                    <a:pt x="433532" y="415375"/>
                  </a:lnTo>
                  <a:cubicBezTo>
                    <a:pt x="433595" y="415471"/>
                    <a:pt x="433595" y="415598"/>
                    <a:pt x="433532" y="415693"/>
                  </a:cubicBezTo>
                  <a:lnTo>
                    <a:pt x="415370" y="433524"/>
                  </a:lnTo>
                  <a:lnTo>
                    <a:pt x="272749" y="290585"/>
                  </a:lnTo>
                  <a:lnTo>
                    <a:pt x="290910" y="272748"/>
                  </a:lnTo>
                  <a:close/>
                  <a:moveTo>
                    <a:pt x="139653" y="254123"/>
                  </a:moveTo>
                  <a:cubicBezTo>
                    <a:pt x="76408" y="254123"/>
                    <a:pt x="25163" y="202866"/>
                    <a:pt x="25163" y="139639"/>
                  </a:cubicBezTo>
                  <a:cubicBezTo>
                    <a:pt x="25163" y="76406"/>
                    <a:pt x="76408" y="25149"/>
                    <a:pt x="139653" y="25149"/>
                  </a:cubicBezTo>
                  <a:cubicBezTo>
                    <a:pt x="202836" y="25149"/>
                    <a:pt x="254144" y="76406"/>
                    <a:pt x="254144" y="139639"/>
                  </a:cubicBezTo>
                  <a:cubicBezTo>
                    <a:pt x="254081" y="202834"/>
                    <a:pt x="202836" y="254054"/>
                    <a:pt x="139653" y="254123"/>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1" name="Forme libre : forme 1700">
              <a:extLst>
                <a:ext uri="{FF2B5EF4-FFF2-40B4-BE49-F238E27FC236}">
                  <a16:creationId xmlns:a16="http://schemas.microsoft.com/office/drawing/2014/main" id="{B6CEFE71-FE99-494B-ADED-0F0BC4044123}"/>
                </a:ext>
              </a:extLst>
            </p:cNvPr>
            <p:cNvSpPr/>
            <p:nvPr/>
          </p:nvSpPr>
          <p:spPr>
            <a:xfrm>
              <a:off x="7109460" y="3425184"/>
              <a:ext cx="111405" cy="74158"/>
            </a:xfrm>
            <a:custGeom>
              <a:avLst/>
              <a:gdLst>
                <a:gd name="connsiteX0" fmla="*/ 108920 w 111405"/>
                <a:gd name="connsiteY0" fmla="*/ 4959 h 74158"/>
                <a:gd name="connsiteX1" fmla="*/ 91585 w 111405"/>
                <a:gd name="connsiteY1" fmla="*/ 2470 h 74158"/>
                <a:gd name="connsiteX2" fmla="*/ 36277 w 111405"/>
                <a:gd name="connsiteY2" fmla="*/ 43936 h 74158"/>
                <a:gd name="connsiteX3" fmla="*/ 22878 w 111405"/>
                <a:gd name="connsiteY3" fmla="*/ 22701 h 74158"/>
                <a:gd name="connsiteX4" fmla="*/ 5796 w 111405"/>
                <a:gd name="connsiteY4" fmla="*/ 18840 h 74158"/>
                <a:gd name="connsiteX5" fmla="*/ 1923 w 111405"/>
                <a:gd name="connsiteY5" fmla="*/ 35916 h 74158"/>
                <a:gd name="connsiteX6" fmla="*/ 22497 w 111405"/>
                <a:gd name="connsiteY6" fmla="*/ 68485 h 74158"/>
                <a:gd name="connsiteX7" fmla="*/ 39959 w 111405"/>
                <a:gd name="connsiteY7" fmla="*/ 72073 h 74158"/>
                <a:gd name="connsiteX8" fmla="*/ 40341 w 111405"/>
                <a:gd name="connsiteY8" fmla="*/ 71780 h 74158"/>
                <a:gd name="connsiteX9" fmla="*/ 106444 w 111405"/>
                <a:gd name="connsiteY9" fmla="*/ 22270 h 74158"/>
                <a:gd name="connsiteX10" fmla="*/ 108920 w 111405"/>
                <a:gd name="connsiteY10" fmla="*/ 4959 h 7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405" h="74158">
                  <a:moveTo>
                    <a:pt x="108920" y="4959"/>
                  </a:moveTo>
                  <a:cubicBezTo>
                    <a:pt x="104793" y="-514"/>
                    <a:pt x="97046" y="-1625"/>
                    <a:pt x="91585" y="2470"/>
                  </a:cubicBezTo>
                  <a:lnTo>
                    <a:pt x="36277" y="43936"/>
                  </a:lnTo>
                  <a:lnTo>
                    <a:pt x="22878" y="22701"/>
                  </a:lnTo>
                  <a:cubicBezTo>
                    <a:pt x="19195" y="16916"/>
                    <a:pt x="11575" y="15196"/>
                    <a:pt x="5796" y="18840"/>
                  </a:cubicBezTo>
                  <a:cubicBezTo>
                    <a:pt x="18" y="22492"/>
                    <a:pt x="-1760" y="30137"/>
                    <a:pt x="1923" y="35916"/>
                  </a:cubicBezTo>
                  <a:lnTo>
                    <a:pt x="22497" y="68485"/>
                  </a:lnTo>
                  <a:cubicBezTo>
                    <a:pt x="26307" y="74295"/>
                    <a:pt x="34117" y="75914"/>
                    <a:pt x="39959" y="72073"/>
                  </a:cubicBezTo>
                  <a:cubicBezTo>
                    <a:pt x="40087" y="71977"/>
                    <a:pt x="40214" y="71882"/>
                    <a:pt x="40341" y="71780"/>
                  </a:cubicBezTo>
                  <a:lnTo>
                    <a:pt x="106444" y="22270"/>
                  </a:lnTo>
                  <a:cubicBezTo>
                    <a:pt x="111905" y="18186"/>
                    <a:pt x="113048" y="10427"/>
                    <a:pt x="108920" y="4959"/>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702" name="Groupe 1701">
            <a:extLst>
              <a:ext uri="{FF2B5EF4-FFF2-40B4-BE49-F238E27FC236}">
                <a16:creationId xmlns:a16="http://schemas.microsoft.com/office/drawing/2014/main" id="{8E1DFECE-2FC1-463D-B2D7-2CD65CC4C227}"/>
              </a:ext>
            </a:extLst>
          </p:cNvPr>
          <p:cNvGrpSpPr/>
          <p:nvPr/>
        </p:nvGrpSpPr>
        <p:grpSpPr>
          <a:xfrm>
            <a:off x="4876131" y="2692602"/>
            <a:ext cx="2324268" cy="3132658"/>
            <a:chOff x="4827838" y="2356929"/>
            <a:chExt cx="2489588" cy="3355476"/>
          </a:xfrm>
        </p:grpSpPr>
        <p:grpSp>
          <p:nvGrpSpPr>
            <p:cNvPr id="1703" name="Groupe 1702">
              <a:extLst>
                <a:ext uri="{FF2B5EF4-FFF2-40B4-BE49-F238E27FC236}">
                  <a16:creationId xmlns:a16="http://schemas.microsoft.com/office/drawing/2014/main" id="{E63B8F75-A0A0-48C2-A903-54561F8238BF}"/>
                </a:ext>
              </a:extLst>
            </p:cNvPr>
            <p:cNvGrpSpPr/>
            <p:nvPr/>
          </p:nvGrpSpPr>
          <p:grpSpPr>
            <a:xfrm>
              <a:off x="4827838" y="3480571"/>
              <a:ext cx="2211858" cy="2231834"/>
              <a:chOff x="5364808" y="3808958"/>
              <a:chExt cx="2211858" cy="2231834"/>
            </a:xfrm>
          </p:grpSpPr>
          <p:grpSp>
            <p:nvGrpSpPr>
              <p:cNvPr id="1742" name="Graphique 3">
                <a:extLst>
                  <a:ext uri="{FF2B5EF4-FFF2-40B4-BE49-F238E27FC236}">
                    <a16:creationId xmlns:a16="http://schemas.microsoft.com/office/drawing/2014/main" id="{67B712EF-F998-4AC7-9E9A-EDCA2C8DA325}"/>
                  </a:ext>
                </a:extLst>
              </p:cNvPr>
              <p:cNvGrpSpPr/>
              <p:nvPr/>
            </p:nvGrpSpPr>
            <p:grpSpPr>
              <a:xfrm>
                <a:off x="5364808" y="3808958"/>
                <a:ext cx="2211858" cy="2231834"/>
                <a:chOff x="5517235" y="3903992"/>
                <a:chExt cx="1367995" cy="1380350"/>
              </a:xfrm>
            </p:grpSpPr>
            <p:grpSp>
              <p:nvGrpSpPr>
                <p:cNvPr id="1744" name="Graphique 3">
                  <a:extLst>
                    <a:ext uri="{FF2B5EF4-FFF2-40B4-BE49-F238E27FC236}">
                      <a16:creationId xmlns:a16="http://schemas.microsoft.com/office/drawing/2014/main" id="{ACC04A07-F4FF-415A-BCE8-51850C83443D}"/>
                    </a:ext>
                  </a:extLst>
                </p:cNvPr>
                <p:cNvGrpSpPr/>
                <p:nvPr/>
              </p:nvGrpSpPr>
              <p:grpSpPr>
                <a:xfrm>
                  <a:off x="5517235" y="3916397"/>
                  <a:ext cx="1367995" cy="1367946"/>
                  <a:chOff x="5517235" y="3916397"/>
                  <a:chExt cx="1367995" cy="1367946"/>
                </a:xfrm>
              </p:grpSpPr>
              <p:sp>
                <p:nvSpPr>
                  <p:cNvPr id="1746" name="Forme libre : forme 1745">
                    <a:extLst>
                      <a:ext uri="{FF2B5EF4-FFF2-40B4-BE49-F238E27FC236}">
                        <a16:creationId xmlns:a16="http://schemas.microsoft.com/office/drawing/2014/main" id="{E2BA6516-6B01-48A2-BE64-8A72A818ABEA}"/>
                      </a:ext>
                    </a:extLst>
                  </p:cNvPr>
                  <p:cNvSpPr/>
                  <p:nvPr/>
                </p:nvSpPr>
                <p:spPr>
                  <a:xfrm>
                    <a:off x="5517235" y="3916397"/>
                    <a:ext cx="1367995" cy="1367946"/>
                  </a:xfrm>
                  <a:custGeom>
                    <a:avLst/>
                    <a:gdLst>
                      <a:gd name="connsiteX0" fmla="*/ 120764 w 1367995"/>
                      <a:gd name="connsiteY0" fmla="*/ 296025 h 1367946"/>
                      <a:gd name="connsiteX1" fmla="*/ 1071969 w 1367995"/>
                      <a:gd name="connsiteY1" fmla="*/ 120736 h 1367946"/>
                      <a:gd name="connsiteX2" fmla="*/ 1247267 w 1367995"/>
                      <a:gd name="connsiteY2" fmla="*/ 1071922 h 1367946"/>
                      <a:gd name="connsiteX3" fmla="*/ 296062 w 1367995"/>
                      <a:gd name="connsiteY3" fmla="*/ 1247191 h 1367946"/>
                      <a:gd name="connsiteX4" fmla="*/ 120764 w 1367995"/>
                      <a:gd name="connsiteY4" fmla="*/ 296025 h 1367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995" h="1367946">
                        <a:moveTo>
                          <a:pt x="120764" y="296025"/>
                        </a:moveTo>
                        <a:cubicBezTo>
                          <a:pt x="335010" y="-15043"/>
                          <a:pt x="760882" y="-93510"/>
                          <a:pt x="1071969" y="120736"/>
                        </a:cubicBezTo>
                        <a:cubicBezTo>
                          <a:pt x="1383036" y="334973"/>
                          <a:pt x="1461504" y="760854"/>
                          <a:pt x="1247267" y="1071922"/>
                        </a:cubicBezTo>
                        <a:cubicBezTo>
                          <a:pt x="1033012" y="1382989"/>
                          <a:pt x="607120" y="1461466"/>
                          <a:pt x="296062" y="1247191"/>
                        </a:cubicBezTo>
                        <a:cubicBezTo>
                          <a:pt x="-15043" y="1032955"/>
                          <a:pt x="-93529" y="607102"/>
                          <a:pt x="120764" y="296025"/>
                        </a:cubicBezTo>
                        <a:close/>
                      </a:path>
                    </a:pathLst>
                  </a:custGeom>
                  <a:solidFill>
                    <a:srgbClr val="4ACDE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7" name="Forme libre : forme 1746">
                    <a:extLst>
                      <a:ext uri="{FF2B5EF4-FFF2-40B4-BE49-F238E27FC236}">
                        <a16:creationId xmlns:a16="http://schemas.microsoft.com/office/drawing/2014/main" id="{D53B6E6A-95B2-479D-BA2D-877A0439A3A2}"/>
                      </a:ext>
                    </a:extLst>
                  </p:cNvPr>
                  <p:cNvSpPr/>
                  <p:nvPr/>
                </p:nvSpPr>
                <p:spPr>
                  <a:xfrm>
                    <a:off x="5639466" y="4038638"/>
                    <a:ext cx="1123530" cy="1123530"/>
                  </a:xfrm>
                  <a:custGeom>
                    <a:avLst/>
                    <a:gdLst>
                      <a:gd name="connsiteX0" fmla="*/ 1123531 w 1123530"/>
                      <a:gd name="connsiteY0" fmla="*/ 561765 h 1123530"/>
                      <a:gd name="connsiteX1" fmla="*/ 561766 w 1123530"/>
                      <a:gd name="connsiteY1" fmla="*/ 1123531 h 1123530"/>
                      <a:gd name="connsiteX2" fmla="*/ 0 w 1123530"/>
                      <a:gd name="connsiteY2" fmla="*/ 561765 h 1123530"/>
                      <a:gd name="connsiteX3" fmla="*/ 561766 w 1123530"/>
                      <a:gd name="connsiteY3" fmla="*/ 0 h 1123530"/>
                      <a:gd name="connsiteX4" fmla="*/ 1123531 w 1123530"/>
                      <a:gd name="connsiteY4" fmla="*/ 561765 h 1123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530" h="1123530">
                        <a:moveTo>
                          <a:pt x="1123531" y="561765"/>
                        </a:moveTo>
                        <a:cubicBezTo>
                          <a:pt x="1123531" y="872020"/>
                          <a:pt x="872020" y="1123531"/>
                          <a:pt x="561766" y="1123531"/>
                        </a:cubicBezTo>
                        <a:cubicBezTo>
                          <a:pt x="251511" y="1123531"/>
                          <a:pt x="0" y="872020"/>
                          <a:pt x="0" y="561765"/>
                        </a:cubicBezTo>
                        <a:cubicBezTo>
                          <a:pt x="0" y="251511"/>
                          <a:pt x="251511" y="0"/>
                          <a:pt x="561766" y="0"/>
                        </a:cubicBezTo>
                        <a:cubicBezTo>
                          <a:pt x="872020" y="0"/>
                          <a:pt x="1123531" y="251511"/>
                          <a:pt x="1123531" y="561765"/>
                        </a:cubicBezTo>
                        <a:close/>
                      </a:path>
                    </a:pathLst>
                  </a:custGeom>
                  <a:solidFill>
                    <a:srgbClr val="14A0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5" name="Forme libre : forme 1744">
                  <a:extLst>
                    <a:ext uri="{FF2B5EF4-FFF2-40B4-BE49-F238E27FC236}">
                      <a16:creationId xmlns:a16="http://schemas.microsoft.com/office/drawing/2014/main" id="{483ABA36-1D7C-40FB-B7BD-32968F9343CE}"/>
                    </a:ext>
                  </a:extLst>
                </p:cNvPr>
                <p:cNvSpPr/>
                <p:nvPr/>
              </p:nvSpPr>
              <p:spPr>
                <a:xfrm>
                  <a:off x="5649404" y="3903992"/>
                  <a:ext cx="176437" cy="191195"/>
                </a:xfrm>
                <a:custGeom>
                  <a:avLst/>
                  <a:gdLst>
                    <a:gd name="connsiteX0" fmla="*/ 17675 w 176437"/>
                    <a:gd name="connsiteY0" fmla="*/ 1020 h 191195"/>
                    <a:gd name="connsiteX1" fmla="*/ 176438 w 176437"/>
                    <a:gd name="connsiteY1" fmla="*/ 67752 h 191195"/>
                    <a:gd name="connsiteX2" fmla="*/ 109010 w 176437"/>
                    <a:gd name="connsiteY2" fmla="*/ 112833 h 191195"/>
                    <a:gd name="connsiteX3" fmla="*/ 22333 w 176437"/>
                    <a:gd name="connsiteY3" fmla="*/ 191196 h 191195"/>
                    <a:gd name="connsiteX4" fmla="*/ 120 w 176437"/>
                    <a:gd name="connsiteY4" fmla="*/ 14335 h 191195"/>
                    <a:gd name="connsiteX5" fmla="*/ 17675 w 176437"/>
                    <a:gd name="connsiteY5" fmla="*/ 1020 h 19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6437" h="191195">
                      <a:moveTo>
                        <a:pt x="17675" y="1020"/>
                      </a:moveTo>
                      <a:lnTo>
                        <a:pt x="176438" y="67752"/>
                      </a:lnTo>
                      <a:cubicBezTo>
                        <a:pt x="153330" y="81201"/>
                        <a:pt x="130803" y="96270"/>
                        <a:pt x="109010" y="112833"/>
                      </a:cubicBezTo>
                      <a:cubicBezTo>
                        <a:pt x="77406" y="136789"/>
                        <a:pt x="48384" y="163097"/>
                        <a:pt x="22333" y="191196"/>
                      </a:cubicBezTo>
                      <a:lnTo>
                        <a:pt x="120" y="14335"/>
                      </a:lnTo>
                      <a:cubicBezTo>
                        <a:pt x="-1194" y="4572"/>
                        <a:pt x="8483" y="-2781"/>
                        <a:pt x="17675" y="1020"/>
                      </a:cubicBezTo>
                      <a:close/>
                    </a:path>
                  </a:pathLst>
                </a:custGeom>
                <a:solidFill>
                  <a:srgbClr val="14A0C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43" name="Rectangle 1742">
                <a:extLst>
                  <a:ext uri="{FF2B5EF4-FFF2-40B4-BE49-F238E27FC236}">
                    <a16:creationId xmlns:a16="http://schemas.microsoft.com/office/drawing/2014/main" id="{16845A90-7ECD-45D7-8935-EB4D1E26972E}"/>
                  </a:ext>
                </a:extLst>
              </p:cNvPr>
              <p:cNvSpPr/>
              <p:nvPr/>
            </p:nvSpPr>
            <p:spPr>
              <a:xfrm>
                <a:off x="5643135" y="4338439"/>
                <a:ext cx="1723219" cy="115383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mn-cs"/>
                  </a:rPr>
                  <a:t>Apply Big Data, data science, and machine learning</a:t>
                </a:r>
              </a:p>
            </p:txBody>
          </p:sp>
        </p:grpSp>
        <p:grpSp>
          <p:nvGrpSpPr>
            <p:cNvPr id="1704" name="Groupe 1703">
              <a:extLst>
                <a:ext uri="{FF2B5EF4-FFF2-40B4-BE49-F238E27FC236}">
                  <a16:creationId xmlns:a16="http://schemas.microsoft.com/office/drawing/2014/main" id="{8D06C4C0-C12C-40CD-ACDD-3DEB143F76D2}"/>
                </a:ext>
              </a:extLst>
            </p:cNvPr>
            <p:cNvGrpSpPr/>
            <p:nvPr/>
          </p:nvGrpSpPr>
          <p:grpSpPr>
            <a:xfrm>
              <a:off x="5267436" y="2356929"/>
              <a:ext cx="2049990" cy="2062566"/>
              <a:chOff x="5267436" y="2356929"/>
              <a:chExt cx="2049990" cy="2062566"/>
            </a:xfrm>
          </p:grpSpPr>
          <p:pic>
            <p:nvPicPr>
              <p:cNvPr id="1705" name="Graphique 1704">
                <a:extLst>
                  <a:ext uri="{FF2B5EF4-FFF2-40B4-BE49-F238E27FC236}">
                    <a16:creationId xmlns:a16="http://schemas.microsoft.com/office/drawing/2014/main" id="{6C3A2FCB-068E-4A79-B01A-94B98CAB2D0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67436" y="2356929"/>
                <a:ext cx="2049990" cy="2062566"/>
              </a:xfrm>
              <a:prstGeom prst="rect">
                <a:avLst/>
              </a:prstGeom>
            </p:spPr>
          </p:pic>
          <p:grpSp>
            <p:nvGrpSpPr>
              <p:cNvPr id="1706" name="Image 6">
                <a:extLst>
                  <a:ext uri="{FF2B5EF4-FFF2-40B4-BE49-F238E27FC236}">
                    <a16:creationId xmlns:a16="http://schemas.microsoft.com/office/drawing/2014/main" id="{58B06D36-6603-41AB-9749-F51C7FAC1B75}"/>
                  </a:ext>
                </a:extLst>
              </p:cNvPr>
              <p:cNvGrpSpPr/>
              <p:nvPr/>
            </p:nvGrpSpPr>
            <p:grpSpPr>
              <a:xfrm>
                <a:off x="5922185" y="2899529"/>
                <a:ext cx="815334" cy="814873"/>
                <a:chOff x="5086831" y="3194533"/>
                <a:chExt cx="890239" cy="889736"/>
              </a:xfrm>
              <a:solidFill>
                <a:srgbClr val="000000"/>
              </a:solidFill>
            </p:grpSpPr>
            <p:sp>
              <p:nvSpPr>
                <p:cNvPr id="1707" name="Forme libre : forme 1706">
                  <a:extLst>
                    <a:ext uri="{FF2B5EF4-FFF2-40B4-BE49-F238E27FC236}">
                      <a16:creationId xmlns:a16="http://schemas.microsoft.com/office/drawing/2014/main" id="{6F3908D6-A469-4551-9B58-65BF3889A5BB}"/>
                    </a:ext>
                  </a:extLst>
                </p:cNvPr>
                <p:cNvSpPr/>
                <p:nvPr/>
              </p:nvSpPr>
              <p:spPr>
                <a:xfrm>
                  <a:off x="5385433" y="3403531"/>
                  <a:ext cx="202984" cy="83546"/>
                </a:xfrm>
                <a:custGeom>
                  <a:avLst/>
                  <a:gdLst>
                    <a:gd name="connsiteX0" fmla="*/ 11913 w 202984"/>
                    <a:gd name="connsiteY0" fmla="*/ 83547 h 83546"/>
                    <a:gd name="connsiteX1" fmla="*/ 0 w 202984"/>
                    <a:gd name="connsiteY1" fmla="*/ 71628 h 83546"/>
                    <a:gd name="connsiteX2" fmla="*/ 0 w 202984"/>
                    <a:gd name="connsiteY2" fmla="*/ 11912 h 83546"/>
                    <a:gd name="connsiteX3" fmla="*/ 11913 w 202984"/>
                    <a:gd name="connsiteY3" fmla="*/ 0 h 83546"/>
                    <a:gd name="connsiteX4" fmla="*/ 191072 w 202984"/>
                    <a:gd name="connsiteY4" fmla="*/ 0 h 83546"/>
                    <a:gd name="connsiteX5" fmla="*/ 202984 w 202984"/>
                    <a:gd name="connsiteY5" fmla="*/ 11912 h 83546"/>
                    <a:gd name="connsiteX6" fmla="*/ 202984 w 202984"/>
                    <a:gd name="connsiteY6" fmla="*/ 71628 h 83546"/>
                    <a:gd name="connsiteX7" fmla="*/ 191072 w 202984"/>
                    <a:gd name="connsiteY7" fmla="*/ 83547 h 83546"/>
                    <a:gd name="connsiteX8" fmla="*/ 11913 w 202984"/>
                    <a:gd name="connsiteY8" fmla="*/ 83547 h 83546"/>
                    <a:gd name="connsiteX9" fmla="*/ 23819 w 202984"/>
                    <a:gd name="connsiteY9" fmla="*/ 59722 h 83546"/>
                    <a:gd name="connsiteX10" fmla="*/ 179146 w 202984"/>
                    <a:gd name="connsiteY10" fmla="*/ 59722 h 83546"/>
                    <a:gd name="connsiteX11" fmla="*/ 179146 w 202984"/>
                    <a:gd name="connsiteY11" fmla="*/ 23825 h 83546"/>
                    <a:gd name="connsiteX12" fmla="*/ 23819 w 202984"/>
                    <a:gd name="connsiteY12" fmla="*/ 23825 h 83546"/>
                    <a:gd name="connsiteX13" fmla="*/ 23819 w 202984"/>
                    <a:gd name="connsiteY13" fmla="*/ 59722 h 8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6">
                      <a:moveTo>
                        <a:pt x="11913" y="83547"/>
                      </a:moveTo>
                      <a:cubicBezTo>
                        <a:pt x="5347" y="83547"/>
                        <a:pt x="0" y="78200"/>
                        <a:pt x="0" y="71628"/>
                      </a:cubicBezTo>
                      <a:lnTo>
                        <a:pt x="0" y="11912"/>
                      </a:lnTo>
                      <a:cubicBezTo>
                        <a:pt x="0" y="5347"/>
                        <a:pt x="5347" y="0"/>
                        <a:pt x="11913" y="0"/>
                      </a:cubicBezTo>
                      <a:lnTo>
                        <a:pt x="191072" y="0"/>
                      </a:lnTo>
                      <a:cubicBezTo>
                        <a:pt x="197638" y="0"/>
                        <a:pt x="202984" y="5347"/>
                        <a:pt x="202984" y="11912"/>
                      </a:cubicBezTo>
                      <a:lnTo>
                        <a:pt x="202984" y="71628"/>
                      </a:lnTo>
                      <a:cubicBezTo>
                        <a:pt x="202984" y="78200"/>
                        <a:pt x="197638" y="83547"/>
                        <a:pt x="191072" y="83547"/>
                      </a:cubicBezTo>
                      <a:lnTo>
                        <a:pt x="11913" y="83547"/>
                      </a:lnTo>
                      <a:close/>
                      <a:moveTo>
                        <a:pt x="23819" y="59722"/>
                      </a:moveTo>
                      <a:lnTo>
                        <a:pt x="179146" y="59722"/>
                      </a:lnTo>
                      <a:lnTo>
                        <a:pt x="179146" y="23825"/>
                      </a:lnTo>
                      <a:lnTo>
                        <a:pt x="23819" y="23825"/>
                      </a:lnTo>
                      <a:lnTo>
                        <a:pt x="23819" y="59722"/>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8" name="Forme libre : forme 1707">
                  <a:extLst>
                    <a:ext uri="{FF2B5EF4-FFF2-40B4-BE49-F238E27FC236}">
                      <a16:creationId xmlns:a16="http://schemas.microsoft.com/office/drawing/2014/main" id="{85DAC786-CFD4-4133-BB60-B6E213E411DB}"/>
                    </a:ext>
                  </a:extLst>
                </p:cNvPr>
                <p:cNvSpPr/>
                <p:nvPr/>
              </p:nvSpPr>
              <p:spPr>
                <a:xfrm>
                  <a:off x="532571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9" name="Forme libre : forme 1708">
                  <a:extLst>
                    <a:ext uri="{FF2B5EF4-FFF2-40B4-BE49-F238E27FC236}">
                      <a16:creationId xmlns:a16="http://schemas.microsoft.com/office/drawing/2014/main" id="{DDF7BD0B-1136-4643-BAC0-D098AE5B258C}"/>
                    </a:ext>
                  </a:extLst>
                </p:cNvPr>
                <p:cNvSpPr/>
                <p:nvPr/>
              </p:nvSpPr>
              <p:spPr>
                <a:xfrm>
                  <a:off x="5280919"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0" name="Forme libre : forme 1709">
                  <a:extLst>
                    <a:ext uri="{FF2B5EF4-FFF2-40B4-BE49-F238E27FC236}">
                      <a16:creationId xmlns:a16="http://schemas.microsoft.com/office/drawing/2014/main" id="{3139043C-6E96-4379-8207-DC1A47D27232}"/>
                    </a:ext>
                  </a:extLst>
                </p:cNvPr>
                <p:cNvSpPr/>
                <p:nvPr/>
              </p:nvSpPr>
              <p:spPr>
                <a:xfrm>
                  <a:off x="5236132"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1" name="Forme libre : forme 1710">
                  <a:extLst>
                    <a:ext uri="{FF2B5EF4-FFF2-40B4-BE49-F238E27FC236}">
                      <a16:creationId xmlns:a16="http://schemas.microsoft.com/office/drawing/2014/main" id="{5F08B32F-D9FB-4DB9-BA8E-94DFD1560313}"/>
                    </a:ext>
                  </a:extLst>
                </p:cNvPr>
                <p:cNvSpPr/>
                <p:nvPr/>
              </p:nvSpPr>
              <p:spPr>
                <a:xfrm>
                  <a:off x="5191346"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2" name="Forme libre : forme 1711">
                  <a:extLst>
                    <a:ext uri="{FF2B5EF4-FFF2-40B4-BE49-F238E27FC236}">
                      <a16:creationId xmlns:a16="http://schemas.microsoft.com/office/drawing/2014/main" id="{79F45D0B-6BA5-481D-A0F3-C95E56C9A749}"/>
                    </a:ext>
                  </a:extLst>
                </p:cNvPr>
                <p:cNvSpPr/>
                <p:nvPr/>
              </p:nvSpPr>
              <p:spPr>
                <a:xfrm>
                  <a:off x="5146553" y="3463252"/>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3" name="Forme libre : forme 1712">
                  <a:extLst>
                    <a:ext uri="{FF2B5EF4-FFF2-40B4-BE49-F238E27FC236}">
                      <a16:creationId xmlns:a16="http://schemas.microsoft.com/office/drawing/2014/main" id="{EA0469DA-E792-4802-8421-8A6C87D51C9A}"/>
                    </a:ext>
                  </a:extLst>
                </p:cNvPr>
                <p:cNvSpPr/>
                <p:nvPr/>
              </p:nvSpPr>
              <p:spPr>
                <a:xfrm>
                  <a:off x="532571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4" name="Forme libre : forme 1713">
                  <a:extLst>
                    <a:ext uri="{FF2B5EF4-FFF2-40B4-BE49-F238E27FC236}">
                      <a16:creationId xmlns:a16="http://schemas.microsoft.com/office/drawing/2014/main" id="{3AEAF17A-A6BB-43B5-AF5C-C52835A73AE5}"/>
                    </a:ext>
                  </a:extLst>
                </p:cNvPr>
                <p:cNvSpPr/>
                <p:nvPr/>
              </p:nvSpPr>
              <p:spPr>
                <a:xfrm>
                  <a:off x="5280919"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5" name="Forme libre : forme 1714">
                  <a:extLst>
                    <a:ext uri="{FF2B5EF4-FFF2-40B4-BE49-F238E27FC236}">
                      <a16:creationId xmlns:a16="http://schemas.microsoft.com/office/drawing/2014/main" id="{CFA48721-E56B-4323-8F55-FA6E4D26340E}"/>
                    </a:ext>
                  </a:extLst>
                </p:cNvPr>
                <p:cNvSpPr/>
                <p:nvPr/>
              </p:nvSpPr>
              <p:spPr>
                <a:xfrm>
                  <a:off x="5236132"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6" name="Forme libre : forme 1715">
                  <a:extLst>
                    <a:ext uri="{FF2B5EF4-FFF2-40B4-BE49-F238E27FC236}">
                      <a16:creationId xmlns:a16="http://schemas.microsoft.com/office/drawing/2014/main" id="{09ABF3FE-8EF1-4796-BF50-C10D7B4C54C3}"/>
                    </a:ext>
                  </a:extLst>
                </p:cNvPr>
                <p:cNvSpPr/>
                <p:nvPr/>
              </p:nvSpPr>
              <p:spPr>
                <a:xfrm>
                  <a:off x="5191346"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7" name="Forme libre : forme 1716">
                  <a:extLst>
                    <a:ext uri="{FF2B5EF4-FFF2-40B4-BE49-F238E27FC236}">
                      <a16:creationId xmlns:a16="http://schemas.microsoft.com/office/drawing/2014/main" id="{317A50D2-82F3-4521-AAFF-670F14E7AC56}"/>
                    </a:ext>
                  </a:extLst>
                </p:cNvPr>
                <p:cNvSpPr/>
                <p:nvPr/>
              </p:nvSpPr>
              <p:spPr>
                <a:xfrm>
                  <a:off x="5146553" y="3403531"/>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8" name="Forme libre : forme 1717">
                  <a:extLst>
                    <a:ext uri="{FF2B5EF4-FFF2-40B4-BE49-F238E27FC236}">
                      <a16:creationId xmlns:a16="http://schemas.microsoft.com/office/drawing/2014/main" id="{B59F5CB8-63FC-48F8-90B9-A0920860E125}"/>
                    </a:ext>
                  </a:extLst>
                </p:cNvPr>
                <p:cNvSpPr/>
                <p:nvPr/>
              </p:nvSpPr>
              <p:spPr>
                <a:xfrm>
                  <a:off x="532571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9" name="Forme libre : forme 1718">
                  <a:extLst>
                    <a:ext uri="{FF2B5EF4-FFF2-40B4-BE49-F238E27FC236}">
                      <a16:creationId xmlns:a16="http://schemas.microsoft.com/office/drawing/2014/main" id="{402ED34F-1A92-45D2-93A1-272EEC1A4399}"/>
                    </a:ext>
                  </a:extLst>
                </p:cNvPr>
                <p:cNvSpPr/>
                <p:nvPr/>
              </p:nvSpPr>
              <p:spPr>
                <a:xfrm>
                  <a:off x="5280919"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0" name="Forme libre : forme 1719">
                  <a:extLst>
                    <a:ext uri="{FF2B5EF4-FFF2-40B4-BE49-F238E27FC236}">
                      <a16:creationId xmlns:a16="http://schemas.microsoft.com/office/drawing/2014/main" id="{2DC17A82-8635-4489-89C7-32D26267597E}"/>
                    </a:ext>
                  </a:extLst>
                </p:cNvPr>
                <p:cNvSpPr/>
                <p:nvPr/>
              </p:nvSpPr>
              <p:spPr>
                <a:xfrm>
                  <a:off x="5236132"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1" name="Forme libre : forme 1720">
                  <a:extLst>
                    <a:ext uri="{FF2B5EF4-FFF2-40B4-BE49-F238E27FC236}">
                      <a16:creationId xmlns:a16="http://schemas.microsoft.com/office/drawing/2014/main" id="{85D5BF15-1879-4F48-960E-1055D6864B6A}"/>
                    </a:ext>
                  </a:extLst>
                </p:cNvPr>
                <p:cNvSpPr/>
                <p:nvPr/>
              </p:nvSpPr>
              <p:spPr>
                <a:xfrm>
                  <a:off x="5191346"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2" name="Forme libre : forme 1721">
                  <a:extLst>
                    <a:ext uri="{FF2B5EF4-FFF2-40B4-BE49-F238E27FC236}">
                      <a16:creationId xmlns:a16="http://schemas.microsoft.com/office/drawing/2014/main" id="{BAE43302-430D-4233-AC66-0930B599D26A}"/>
                    </a:ext>
                  </a:extLst>
                </p:cNvPr>
                <p:cNvSpPr/>
                <p:nvPr/>
              </p:nvSpPr>
              <p:spPr>
                <a:xfrm>
                  <a:off x="5146553" y="3642405"/>
                  <a:ext cx="23825" cy="23831"/>
                </a:xfrm>
                <a:custGeom>
                  <a:avLst/>
                  <a:gdLst>
                    <a:gd name="connsiteX0" fmla="*/ 0 w 23825"/>
                    <a:gd name="connsiteY0" fmla="*/ 0 h 23831"/>
                    <a:gd name="connsiteX1" fmla="*/ 23825 w 23825"/>
                    <a:gd name="connsiteY1" fmla="*/ 0 h 23831"/>
                    <a:gd name="connsiteX2" fmla="*/ 23825 w 23825"/>
                    <a:gd name="connsiteY2" fmla="*/ 23831 h 23831"/>
                    <a:gd name="connsiteX3" fmla="*/ 0 w 23825"/>
                    <a:gd name="connsiteY3" fmla="*/ 23831 h 23831"/>
                  </a:gdLst>
                  <a:ahLst/>
                  <a:cxnLst>
                    <a:cxn ang="0">
                      <a:pos x="connsiteX0" y="connsiteY0"/>
                    </a:cxn>
                    <a:cxn ang="0">
                      <a:pos x="connsiteX1" y="connsiteY1"/>
                    </a:cxn>
                    <a:cxn ang="0">
                      <a:pos x="connsiteX2" y="connsiteY2"/>
                    </a:cxn>
                    <a:cxn ang="0">
                      <a:pos x="connsiteX3" y="connsiteY3"/>
                    </a:cxn>
                  </a:cxnLst>
                  <a:rect l="l" t="t" r="r" b="b"/>
                  <a:pathLst>
                    <a:path w="23825" h="23831">
                      <a:moveTo>
                        <a:pt x="0" y="0"/>
                      </a:moveTo>
                      <a:lnTo>
                        <a:pt x="23825" y="0"/>
                      </a:lnTo>
                      <a:lnTo>
                        <a:pt x="23825" y="23831"/>
                      </a:lnTo>
                      <a:lnTo>
                        <a:pt x="0" y="23831"/>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3" name="Forme libre : forme 1722">
                  <a:extLst>
                    <a:ext uri="{FF2B5EF4-FFF2-40B4-BE49-F238E27FC236}">
                      <a16:creationId xmlns:a16="http://schemas.microsoft.com/office/drawing/2014/main" id="{35B46D98-2590-4A35-B3D4-371BA2C725C1}"/>
                    </a:ext>
                  </a:extLst>
                </p:cNvPr>
                <p:cNvSpPr/>
                <p:nvPr/>
              </p:nvSpPr>
              <p:spPr>
                <a:xfrm>
                  <a:off x="532571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4" name="Forme libre : forme 1723">
                  <a:extLst>
                    <a:ext uri="{FF2B5EF4-FFF2-40B4-BE49-F238E27FC236}">
                      <a16:creationId xmlns:a16="http://schemas.microsoft.com/office/drawing/2014/main" id="{E5DCDF64-875E-4EB3-AD42-39D803E67C18}"/>
                    </a:ext>
                  </a:extLst>
                </p:cNvPr>
                <p:cNvSpPr/>
                <p:nvPr/>
              </p:nvSpPr>
              <p:spPr>
                <a:xfrm>
                  <a:off x="5280919"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5" name="Forme libre : forme 1724">
                  <a:extLst>
                    <a:ext uri="{FF2B5EF4-FFF2-40B4-BE49-F238E27FC236}">
                      <a16:creationId xmlns:a16="http://schemas.microsoft.com/office/drawing/2014/main" id="{26A4809D-A006-4357-96FA-1B8B18B032A2}"/>
                    </a:ext>
                  </a:extLst>
                </p:cNvPr>
                <p:cNvSpPr/>
                <p:nvPr/>
              </p:nvSpPr>
              <p:spPr>
                <a:xfrm>
                  <a:off x="5236132"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6" name="Forme libre : forme 1725">
                  <a:extLst>
                    <a:ext uri="{FF2B5EF4-FFF2-40B4-BE49-F238E27FC236}">
                      <a16:creationId xmlns:a16="http://schemas.microsoft.com/office/drawing/2014/main" id="{39964BD3-A931-486C-8D31-9CA62139FB5C}"/>
                    </a:ext>
                  </a:extLst>
                </p:cNvPr>
                <p:cNvSpPr/>
                <p:nvPr/>
              </p:nvSpPr>
              <p:spPr>
                <a:xfrm>
                  <a:off x="5191346"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7" name="Forme libre : forme 1726">
                  <a:extLst>
                    <a:ext uri="{FF2B5EF4-FFF2-40B4-BE49-F238E27FC236}">
                      <a16:creationId xmlns:a16="http://schemas.microsoft.com/office/drawing/2014/main" id="{D9F2F6F7-7BF2-4B8E-A4E2-E6BCDD70FB7B}"/>
                    </a:ext>
                  </a:extLst>
                </p:cNvPr>
                <p:cNvSpPr/>
                <p:nvPr/>
              </p:nvSpPr>
              <p:spPr>
                <a:xfrm>
                  <a:off x="5146553" y="3582696"/>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8" name="Forme libre : forme 1727">
                  <a:extLst>
                    <a:ext uri="{FF2B5EF4-FFF2-40B4-BE49-F238E27FC236}">
                      <a16:creationId xmlns:a16="http://schemas.microsoft.com/office/drawing/2014/main" id="{06CD8055-DBB8-4436-AC27-F78262EBDA80}"/>
                    </a:ext>
                  </a:extLst>
                </p:cNvPr>
                <p:cNvSpPr/>
                <p:nvPr/>
              </p:nvSpPr>
              <p:spPr>
                <a:xfrm>
                  <a:off x="532571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9" name="Forme libre : forme 1728">
                  <a:extLst>
                    <a:ext uri="{FF2B5EF4-FFF2-40B4-BE49-F238E27FC236}">
                      <a16:creationId xmlns:a16="http://schemas.microsoft.com/office/drawing/2014/main" id="{98756102-E80F-4F94-A710-4E0552AA4D27}"/>
                    </a:ext>
                  </a:extLst>
                </p:cNvPr>
                <p:cNvSpPr/>
                <p:nvPr/>
              </p:nvSpPr>
              <p:spPr>
                <a:xfrm>
                  <a:off x="5280919"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0" name="Forme libre : forme 1729">
                  <a:extLst>
                    <a:ext uri="{FF2B5EF4-FFF2-40B4-BE49-F238E27FC236}">
                      <a16:creationId xmlns:a16="http://schemas.microsoft.com/office/drawing/2014/main" id="{2AE44B97-DC4E-4F6A-843E-E2244629DAB2}"/>
                    </a:ext>
                  </a:extLst>
                </p:cNvPr>
                <p:cNvSpPr/>
                <p:nvPr/>
              </p:nvSpPr>
              <p:spPr>
                <a:xfrm>
                  <a:off x="5236132"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1" name="Forme libre : forme 1730">
                  <a:extLst>
                    <a:ext uri="{FF2B5EF4-FFF2-40B4-BE49-F238E27FC236}">
                      <a16:creationId xmlns:a16="http://schemas.microsoft.com/office/drawing/2014/main" id="{D61FF6C7-8032-4FB6-9A09-99F8C67D433A}"/>
                    </a:ext>
                  </a:extLst>
                </p:cNvPr>
                <p:cNvSpPr/>
                <p:nvPr/>
              </p:nvSpPr>
              <p:spPr>
                <a:xfrm>
                  <a:off x="5191346"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2" name="Forme libre : forme 1731">
                  <a:extLst>
                    <a:ext uri="{FF2B5EF4-FFF2-40B4-BE49-F238E27FC236}">
                      <a16:creationId xmlns:a16="http://schemas.microsoft.com/office/drawing/2014/main" id="{F472D706-BD40-4A2B-820A-CB983A7B7512}"/>
                    </a:ext>
                  </a:extLst>
                </p:cNvPr>
                <p:cNvSpPr/>
                <p:nvPr/>
              </p:nvSpPr>
              <p:spPr>
                <a:xfrm>
                  <a:off x="5146553" y="3821570"/>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3" name="Forme libre : forme 1732">
                  <a:extLst>
                    <a:ext uri="{FF2B5EF4-FFF2-40B4-BE49-F238E27FC236}">
                      <a16:creationId xmlns:a16="http://schemas.microsoft.com/office/drawing/2014/main" id="{A9A57FDB-CC03-4C09-83D3-F5422FFBEC98}"/>
                    </a:ext>
                  </a:extLst>
                </p:cNvPr>
                <p:cNvSpPr/>
                <p:nvPr/>
              </p:nvSpPr>
              <p:spPr>
                <a:xfrm>
                  <a:off x="532571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4" name="Forme libre : forme 1733">
                  <a:extLst>
                    <a:ext uri="{FF2B5EF4-FFF2-40B4-BE49-F238E27FC236}">
                      <a16:creationId xmlns:a16="http://schemas.microsoft.com/office/drawing/2014/main" id="{A699A87F-A17B-4335-9336-F1D1155E7BD6}"/>
                    </a:ext>
                  </a:extLst>
                </p:cNvPr>
                <p:cNvSpPr/>
                <p:nvPr/>
              </p:nvSpPr>
              <p:spPr>
                <a:xfrm>
                  <a:off x="5280919"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5" name="Forme libre : forme 1734">
                  <a:extLst>
                    <a:ext uri="{FF2B5EF4-FFF2-40B4-BE49-F238E27FC236}">
                      <a16:creationId xmlns:a16="http://schemas.microsoft.com/office/drawing/2014/main" id="{6F8D22AA-C2FB-4B48-9477-75CD4081939C}"/>
                    </a:ext>
                  </a:extLst>
                </p:cNvPr>
                <p:cNvSpPr/>
                <p:nvPr/>
              </p:nvSpPr>
              <p:spPr>
                <a:xfrm>
                  <a:off x="5236132"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6" name="Forme libre : forme 1735">
                  <a:extLst>
                    <a:ext uri="{FF2B5EF4-FFF2-40B4-BE49-F238E27FC236}">
                      <a16:creationId xmlns:a16="http://schemas.microsoft.com/office/drawing/2014/main" id="{B83F56BE-DA1F-4B41-9DED-E1D093805688}"/>
                    </a:ext>
                  </a:extLst>
                </p:cNvPr>
                <p:cNvSpPr/>
                <p:nvPr/>
              </p:nvSpPr>
              <p:spPr>
                <a:xfrm>
                  <a:off x="5191346"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7" name="Forme libre : forme 1736">
                  <a:extLst>
                    <a:ext uri="{FF2B5EF4-FFF2-40B4-BE49-F238E27FC236}">
                      <a16:creationId xmlns:a16="http://schemas.microsoft.com/office/drawing/2014/main" id="{54841A4C-8CE6-4A38-A823-0123108D4855}"/>
                    </a:ext>
                  </a:extLst>
                </p:cNvPr>
                <p:cNvSpPr/>
                <p:nvPr/>
              </p:nvSpPr>
              <p:spPr>
                <a:xfrm>
                  <a:off x="5146553" y="3761855"/>
                  <a:ext cx="23825" cy="23825"/>
                </a:xfrm>
                <a:custGeom>
                  <a:avLst/>
                  <a:gdLst>
                    <a:gd name="connsiteX0" fmla="*/ 0 w 23825"/>
                    <a:gd name="connsiteY0" fmla="*/ 0 h 23825"/>
                    <a:gd name="connsiteX1" fmla="*/ 23825 w 23825"/>
                    <a:gd name="connsiteY1" fmla="*/ 0 h 23825"/>
                    <a:gd name="connsiteX2" fmla="*/ 23825 w 23825"/>
                    <a:gd name="connsiteY2" fmla="*/ 23825 h 23825"/>
                    <a:gd name="connsiteX3" fmla="*/ 0 w 23825"/>
                    <a:gd name="connsiteY3" fmla="*/ 23825 h 23825"/>
                  </a:gdLst>
                  <a:ahLst/>
                  <a:cxnLst>
                    <a:cxn ang="0">
                      <a:pos x="connsiteX0" y="connsiteY0"/>
                    </a:cxn>
                    <a:cxn ang="0">
                      <a:pos x="connsiteX1" y="connsiteY1"/>
                    </a:cxn>
                    <a:cxn ang="0">
                      <a:pos x="connsiteX2" y="connsiteY2"/>
                    </a:cxn>
                    <a:cxn ang="0">
                      <a:pos x="connsiteX3" y="connsiteY3"/>
                    </a:cxn>
                  </a:cxnLst>
                  <a:rect l="l" t="t" r="r" b="b"/>
                  <a:pathLst>
                    <a:path w="23825" h="23825">
                      <a:moveTo>
                        <a:pt x="0" y="0"/>
                      </a:moveTo>
                      <a:lnTo>
                        <a:pt x="23825" y="0"/>
                      </a:lnTo>
                      <a:lnTo>
                        <a:pt x="23825" y="23825"/>
                      </a:lnTo>
                      <a:lnTo>
                        <a:pt x="0" y="23825"/>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8" name="Forme libre : forme 1737">
                  <a:extLst>
                    <a:ext uri="{FF2B5EF4-FFF2-40B4-BE49-F238E27FC236}">
                      <a16:creationId xmlns:a16="http://schemas.microsoft.com/office/drawing/2014/main" id="{6E83C1B3-3D53-40FC-9509-8AA4F31E7359}"/>
                    </a:ext>
                  </a:extLst>
                </p:cNvPr>
                <p:cNvSpPr/>
                <p:nvPr/>
              </p:nvSpPr>
              <p:spPr>
                <a:xfrm>
                  <a:off x="5385433" y="3761855"/>
                  <a:ext cx="202984" cy="83540"/>
                </a:xfrm>
                <a:custGeom>
                  <a:avLst/>
                  <a:gdLst>
                    <a:gd name="connsiteX0" fmla="*/ 11913 w 202984"/>
                    <a:gd name="connsiteY0" fmla="*/ 83541 h 83540"/>
                    <a:gd name="connsiteX1" fmla="*/ 0 w 202984"/>
                    <a:gd name="connsiteY1" fmla="*/ 71622 h 83540"/>
                    <a:gd name="connsiteX2" fmla="*/ 0 w 202984"/>
                    <a:gd name="connsiteY2" fmla="*/ 11906 h 83540"/>
                    <a:gd name="connsiteX3" fmla="*/ 11913 w 202984"/>
                    <a:gd name="connsiteY3" fmla="*/ 0 h 83540"/>
                    <a:gd name="connsiteX4" fmla="*/ 191072 w 202984"/>
                    <a:gd name="connsiteY4" fmla="*/ 0 h 83540"/>
                    <a:gd name="connsiteX5" fmla="*/ 202984 w 202984"/>
                    <a:gd name="connsiteY5" fmla="*/ 11906 h 83540"/>
                    <a:gd name="connsiteX6" fmla="*/ 202984 w 202984"/>
                    <a:gd name="connsiteY6" fmla="*/ 71622 h 83540"/>
                    <a:gd name="connsiteX7" fmla="*/ 191072 w 202984"/>
                    <a:gd name="connsiteY7" fmla="*/ 83541 h 83540"/>
                    <a:gd name="connsiteX8" fmla="*/ 11913 w 202984"/>
                    <a:gd name="connsiteY8" fmla="*/ 83541 h 83540"/>
                    <a:gd name="connsiteX9" fmla="*/ 23819 w 202984"/>
                    <a:gd name="connsiteY9" fmla="*/ 59716 h 83540"/>
                    <a:gd name="connsiteX10" fmla="*/ 179146 w 202984"/>
                    <a:gd name="connsiteY10" fmla="*/ 59716 h 83540"/>
                    <a:gd name="connsiteX11" fmla="*/ 179146 w 202984"/>
                    <a:gd name="connsiteY11" fmla="*/ 23825 h 83540"/>
                    <a:gd name="connsiteX12" fmla="*/ 23819 w 202984"/>
                    <a:gd name="connsiteY12" fmla="*/ 23825 h 83540"/>
                    <a:gd name="connsiteX13" fmla="*/ 23819 w 202984"/>
                    <a:gd name="connsiteY13" fmla="*/ 59716 h 83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984" h="83540">
                      <a:moveTo>
                        <a:pt x="11913" y="83541"/>
                      </a:moveTo>
                      <a:cubicBezTo>
                        <a:pt x="5347" y="83541"/>
                        <a:pt x="0" y="78194"/>
                        <a:pt x="0" y="71622"/>
                      </a:cubicBezTo>
                      <a:lnTo>
                        <a:pt x="0" y="11906"/>
                      </a:lnTo>
                      <a:cubicBezTo>
                        <a:pt x="0" y="5340"/>
                        <a:pt x="5347" y="0"/>
                        <a:pt x="11913" y="0"/>
                      </a:cubicBezTo>
                      <a:lnTo>
                        <a:pt x="191072" y="0"/>
                      </a:lnTo>
                      <a:cubicBezTo>
                        <a:pt x="197638" y="0"/>
                        <a:pt x="202984" y="5340"/>
                        <a:pt x="202984" y="11906"/>
                      </a:cubicBezTo>
                      <a:lnTo>
                        <a:pt x="202984" y="71622"/>
                      </a:lnTo>
                      <a:cubicBezTo>
                        <a:pt x="202984" y="78194"/>
                        <a:pt x="197638" y="83541"/>
                        <a:pt x="191072" y="83541"/>
                      </a:cubicBezTo>
                      <a:lnTo>
                        <a:pt x="11913" y="83541"/>
                      </a:lnTo>
                      <a:close/>
                      <a:moveTo>
                        <a:pt x="23819" y="59716"/>
                      </a:moveTo>
                      <a:lnTo>
                        <a:pt x="179146" y="59716"/>
                      </a:lnTo>
                      <a:lnTo>
                        <a:pt x="179146" y="23825"/>
                      </a:lnTo>
                      <a:lnTo>
                        <a:pt x="23819" y="23825"/>
                      </a:lnTo>
                      <a:lnTo>
                        <a:pt x="23819" y="5971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9" name="Forme libre : forme 1738">
                  <a:extLst>
                    <a:ext uri="{FF2B5EF4-FFF2-40B4-BE49-F238E27FC236}">
                      <a16:creationId xmlns:a16="http://schemas.microsoft.com/office/drawing/2014/main" id="{36A8E5FE-EA65-4EE5-A5C2-5B23CAE3473A}"/>
                    </a:ext>
                  </a:extLst>
                </p:cNvPr>
                <p:cNvSpPr/>
                <p:nvPr/>
              </p:nvSpPr>
              <p:spPr>
                <a:xfrm>
                  <a:off x="5086831" y="3194533"/>
                  <a:ext cx="890239" cy="889736"/>
                </a:xfrm>
                <a:custGeom>
                  <a:avLst/>
                  <a:gdLst>
                    <a:gd name="connsiteX0" fmla="*/ 280607 w 890239"/>
                    <a:gd name="connsiteY0" fmla="*/ 889737 h 889736"/>
                    <a:gd name="connsiteX1" fmla="*/ 225978 w 890239"/>
                    <a:gd name="connsiteY1" fmla="*/ 847224 h 889736"/>
                    <a:gd name="connsiteX2" fmla="*/ 225400 w 890239"/>
                    <a:gd name="connsiteY2" fmla="*/ 844950 h 889736"/>
                    <a:gd name="connsiteX3" fmla="*/ 11913 w 890239"/>
                    <a:gd name="connsiteY3" fmla="*/ 844950 h 889736"/>
                    <a:gd name="connsiteX4" fmla="*/ 0 w 890239"/>
                    <a:gd name="connsiteY4" fmla="*/ 833038 h 889736"/>
                    <a:gd name="connsiteX5" fmla="*/ 11913 w 890239"/>
                    <a:gd name="connsiteY5" fmla="*/ 821125 h 889736"/>
                    <a:gd name="connsiteX6" fmla="*/ 225381 w 890239"/>
                    <a:gd name="connsiteY6" fmla="*/ 821125 h 889736"/>
                    <a:gd name="connsiteX7" fmla="*/ 225971 w 890239"/>
                    <a:gd name="connsiteY7" fmla="*/ 818877 h 889736"/>
                    <a:gd name="connsiteX8" fmla="*/ 266484 w 890239"/>
                    <a:gd name="connsiteY8" fmla="*/ 778358 h 889736"/>
                    <a:gd name="connsiteX9" fmla="*/ 268732 w 890239"/>
                    <a:gd name="connsiteY9" fmla="*/ 777761 h 889736"/>
                    <a:gd name="connsiteX10" fmla="*/ 268732 w 890239"/>
                    <a:gd name="connsiteY10" fmla="*/ 710578 h 889736"/>
                    <a:gd name="connsiteX11" fmla="*/ 71628 w 890239"/>
                    <a:gd name="connsiteY11" fmla="*/ 710578 h 889736"/>
                    <a:gd name="connsiteX12" fmla="*/ 0 w 890239"/>
                    <a:gd name="connsiteY12" fmla="*/ 638944 h 889736"/>
                    <a:gd name="connsiteX13" fmla="*/ 0 w 890239"/>
                    <a:gd name="connsiteY13" fmla="*/ 579228 h 889736"/>
                    <a:gd name="connsiteX14" fmla="*/ 29077 w 890239"/>
                    <a:gd name="connsiteY14" fmla="*/ 521945 h 889736"/>
                    <a:gd name="connsiteX15" fmla="*/ 32373 w 890239"/>
                    <a:gd name="connsiteY15" fmla="*/ 519512 h 889736"/>
                    <a:gd name="connsiteX16" fmla="*/ 29077 w 890239"/>
                    <a:gd name="connsiteY16" fmla="*/ 517087 h 889736"/>
                    <a:gd name="connsiteX17" fmla="*/ 0 w 890239"/>
                    <a:gd name="connsiteY17" fmla="*/ 459784 h 889736"/>
                    <a:gd name="connsiteX18" fmla="*/ 0 w 890239"/>
                    <a:gd name="connsiteY18" fmla="*/ 400082 h 889736"/>
                    <a:gd name="connsiteX19" fmla="*/ 29077 w 890239"/>
                    <a:gd name="connsiteY19" fmla="*/ 342786 h 889736"/>
                    <a:gd name="connsiteX20" fmla="*/ 32373 w 890239"/>
                    <a:gd name="connsiteY20" fmla="*/ 340360 h 889736"/>
                    <a:gd name="connsiteX21" fmla="*/ 29077 w 890239"/>
                    <a:gd name="connsiteY21" fmla="*/ 337934 h 889736"/>
                    <a:gd name="connsiteX22" fmla="*/ 0 w 890239"/>
                    <a:gd name="connsiteY22" fmla="*/ 280626 h 889736"/>
                    <a:gd name="connsiteX23" fmla="*/ 0 w 890239"/>
                    <a:gd name="connsiteY23" fmla="*/ 219132 h 889736"/>
                    <a:gd name="connsiteX24" fmla="*/ 6585 w 890239"/>
                    <a:gd name="connsiteY24" fmla="*/ 189205 h 889736"/>
                    <a:gd name="connsiteX25" fmla="*/ 74676 w 890239"/>
                    <a:gd name="connsiteY25" fmla="*/ 41542 h 889736"/>
                    <a:gd name="connsiteX26" fmla="*/ 139726 w 890239"/>
                    <a:gd name="connsiteY26" fmla="*/ 0 h 889736"/>
                    <a:gd name="connsiteX27" fmla="*/ 421596 w 890239"/>
                    <a:gd name="connsiteY27" fmla="*/ 0 h 889736"/>
                    <a:gd name="connsiteX28" fmla="*/ 486652 w 890239"/>
                    <a:gd name="connsiteY28" fmla="*/ 41548 h 889736"/>
                    <a:gd name="connsiteX29" fmla="*/ 554717 w 890239"/>
                    <a:gd name="connsiteY29" fmla="*/ 189052 h 889736"/>
                    <a:gd name="connsiteX30" fmla="*/ 561309 w 890239"/>
                    <a:gd name="connsiteY30" fmla="*/ 219132 h 889736"/>
                    <a:gd name="connsiteX31" fmla="*/ 561309 w 890239"/>
                    <a:gd name="connsiteY31" fmla="*/ 264497 h 889736"/>
                    <a:gd name="connsiteX32" fmla="*/ 566052 w 890239"/>
                    <a:gd name="connsiteY32" fmla="*/ 261176 h 889736"/>
                    <a:gd name="connsiteX33" fmla="*/ 684175 w 890239"/>
                    <a:gd name="connsiteY33" fmla="*/ 223952 h 889736"/>
                    <a:gd name="connsiteX34" fmla="*/ 802297 w 890239"/>
                    <a:gd name="connsiteY34" fmla="*/ 261176 h 889736"/>
                    <a:gd name="connsiteX35" fmla="*/ 887051 w 890239"/>
                    <a:gd name="connsiteY35" fmla="*/ 394132 h 889736"/>
                    <a:gd name="connsiteX36" fmla="*/ 852951 w 890239"/>
                    <a:gd name="connsiteY36" fmla="*/ 548069 h 889736"/>
                    <a:gd name="connsiteX37" fmla="*/ 683997 w 890239"/>
                    <a:gd name="connsiteY37" fmla="*/ 635972 h 889736"/>
                    <a:gd name="connsiteX38" fmla="*/ 566058 w 890239"/>
                    <a:gd name="connsiteY38" fmla="*/ 598729 h 889736"/>
                    <a:gd name="connsiteX39" fmla="*/ 561315 w 890239"/>
                    <a:gd name="connsiteY39" fmla="*/ 595408 h 889736"/>
                    <a:gd name="connsiteX40" fmla="*/ 561315 w 890239"/>
                    <a:gd name="connsiteY40" fmla="*/ 638969 h 889736"/>
                    <a:gd name="connsiteX41" fmla="*/ 489687 w 890239"/>
                    <a:gd name="connsiteY41" fmla="*/ 710603 h 889736"/>
                    <a:gd name="connsiteX42" fmla="*/ 292577 w 890239"/>
                    <a:gd name="connsiteY42" fmla="*/ 710603 h 889736"/>
                    <a:gd name="connsiteX43" fmla="*/ 292577 w 890239"/>
                    <a:gd name="connsiteY43" fmla="*/ 777786 h 889736"/>
                    <a:gd name="connsiteX44" fmla="*/ 294831 w 890239"/>
                    <a:gd name="connsiteY44" fmla="*/ 778383 h 889736"/>
                    <a:gd name="connsiteX45" fmla="*/ 335350 w 890239"/>
                    <a:gd name="connsiteY45" fmla="*/ 818902 h 889736"/>
                    <a:gd name="connsiteX46" fmla="*/ 335941 w 890239"/>
                    <a:gd name="connsiteY46" fmla="*/ 821150 h 889736"/>
                    <a:gd name="connsiteX47" fmla="*/ 554914 w 890239"/>
                    <a:gd name="connsiteY47" fmla="*/ 821150 h 889736"/>
                    <a:gd name="connsiteX48" fmla="*/ 566833 w 890239"/>
                    <a:gd name="connsiteY48" fmla="*/ 833063 h 889736"/>
                    <a:gd name="connsiteX49" fmla="*/ 554914 w 890239"/>
                    <a:gd name="connsiteY49" fmla="*/ 844976 h 889736"/>
                    <a:gd name="connsiteX50" fmla="*/ 335922 w 890239"/>
                    <a:gd name="connsiteY50" fmla="*/ 844976 h 889736"/>
                    <a:gd name="connsiteX51" fmla="*/ 335344 w 890239"/>
                    <a:gd name="connsiteY51" fmla="*/ 847249 h 889736"/>
                    <a:gd name="connsiteX52" fmla="*/ 294583 w 890239"/>
                    <a:gd name="connsiteY52" fmla="*/ 888009 h 889736"/>
                    <a:gd name="connsiteX53" fmla="*/ 280607 w 890239"/>
                    <a:gd name="connsiteY53" fmla="*/ 889737 h 889736"/>
                    <a:gd name="connsiteX54" fmla="*/ 280651 w 890239"/>
                    <a:gd name="connsiteY54" fmla="*/ 800164 h 889736"/>
                    <a:gd name="connsiteX55" fmla="*/ 247777 w 890239"/>
                    <a:gd name="connsiteY55" fmla="*/ 833038 h 889736"/>
                    <a:gd name="connsiteX56" fmla="*/ 280651 w 890239"/>
                    <a:gd name="connsiteY56" fmla="*/ 865918 h 889736"/>
                    <a:gd name="connsiteX57" fmla="*/ 313525 w 890239"/>
                    <a:gd name="connsiteY57" fmla="*/ 833038 h 889736"/>
                    <a:gd name="connsiteX58" fmla="*/ 280651 w 890239"/>
                    <a:gd name="connsiteY58" fmla="*/ 800164 h 889736"/>
                    <a:gd name="connsiteX59" fmla="*/ 71622 w 890239"/>
                    <a:gd name="connsiteY59" fmla="*/ 531419 h 889736"/>
                    <a:gd name="connsiteX60" fmla="*/ 23832 w 890239"/>
                    <a:gd name="connsiteY60" fmla="*/ 579209 h 889736"/>
                    <a:gd name="connsiteX61" fmla="*/ 23832 w 890239"/>
                    <a:gd name="connsiteY61" fmla="*/ 638937 h 889736"/>
                    <a:gd name="connsiteX62" fmla="*/ 71622 w 890239"/>
                    <a:gd name="connsiteY62" fmla="*/ 686746 h 889736"/>
                    <a:gd name="connsiteX63" fmla="*/ 489668 w 890239"/>
                    <a:gd name="connsiteY63" fmla="*/ 686746 h 889736"/>
                    <a:gd name="connsiteX64" fmla="*/ 537471 w 890239"/>
                    <a:gd name="connsiteY64" fmla="*/ 638950 h 889736"/>
                    <a:gd name="connsiteX65" fmla="*/ 537471 w 890239"/>
                    <a:gd name="connsiteY65" fmla="*/ 579222 h 889736"/>
                    <a:gd name="connsiteX66" fmla="*/ 537153 w 890239"/>
                    <a:gd name="connsiteY66" fmla="*/ 575215 h 889736"/>
                    <a:gd name="connsiteX67" fmla="*/ 537014 w 890239"/>
                    <a:gd name="connsiteY67" fmla="*/ 574249 h 889736"/>
                    <a:gd name="connsiteX68" fmla="*/ 536334 w 890239"/>
                    <a:gd name="connsiteY68" fmla="*/ 573545 h 889736"/>
                    <a:gd name="connsiteX69" fmla="*/ 507493 w 890239"/>
                    <a:gd name="connsiteY69" fmla="*/ 535877 h 889736"/>
                    <a:gd name="connsiteX70" fmla="*/ 506965 w 890239"/>
                    <a:gd name="connsiteY70" fmla="*/ 534988 h 889736"/>
                    <a:gd name="connsiteX71" fmla="*/ 506007 w 890239"/>
                    <a:gd name="connsiteY71" fmla="*/ 534607 h 889736"/>
                    <a:gd name="connsiteX72" fmla="*/ 489712 w 890239"/>
                    <a:gd name="connsiteY72" fmla="*/ 531413 h 889736"/>
                    <a:gd name="connsiteX73" fmla="*/ 71622 w 890239"/>
                    <a:gd name="connsiteY73" fmla="*/ 531413 h 889736"/>
                    <a:gd name="connsiteX74" fmla="*/ 683749 w 890239"/>
                    <a:gd name="connsiteY74" fmla="*/ 247745 h 889736"/>
                    <a:gd name="connsiteX75" fmla="*/ 501580 w 890239"/>
                    <a:gd name="connsiteY75" fmla="*/ 429920 h 889736"/>
                    <a:gd name="connsiteX76" fmla="*/ 683749 w 890239"/>
                    <a:gd name="connsiteY76" fmla="*/ 612096 h 889736"/>
                    <a:gd name="connsiteX77" fmla="*/ 865925 w 890239"/>
                    <a:gd name="connsiteY77" fmla="*/ 429920 h 889736"/>
                    <a:gd name="connsiteX78" fmla="*/ 683749 w 890239"/>
                    <a:gd name="connsiteY78" fmla="*/ 247745 h 889736"/>
                    <a:gd name="connsiteX79" fmla="*/ 683749 w 890239"/>
                    <a:gd name="connsiteY79" fmla="*/ 247745 h 889736"/>
                    <a:gd name="connsiteX80" fmla="*/ 71622 w 890239"/>
                    <a:gd name="connsiteY80" fmla="*/ 352260 h 889736"/>
                    <a:gd name="connsiteX81" fmla="*/ 23832 w 890239"/>
                    <a:gd name="connsiteY81" fmla="*/ 400056 h 889736"/>
                    <a:gd name="connsiteX82" fmla="*/ 23832 w 890239"/>
                    <a:gd name="connsiteY82" fmla="*/ 459784 h 889736"/>
                    <a:gd name="connsiteX83" fmla="*/ 71622 w 890239"/>
                    <a:gd name="connsiteY83" fmla="*/ 507594 h 889736"/>
                    <a:gd name="connsiteX84" fmla="*/ 493192 w 890239"/>
                    <a:gd name="connsiteY84" fmla="*/ 507594 h 889736"/>
                    <a:gd name="connsiteX85" fmla="*/ 491579 w 890239"/>
                    <a:gd name="connsiteY85" fmla="*/ 503479 h 889736"/>
                    <a:gd name="connsiteX86" fmla="*/ 482607 w 890239"/>
                    <a:gd name="connsiteY86" fmla="*/ 474059 h 889736"/>
                    <a:gd name="connsiteX87" fmla="*/ 482080 w 890239"/>
                    <a:gd name="connsiteY87" fmla="*/ 471697 h 889736"/>
                    <a:gd name="connsiteX88" fmla="*/ 310503 w 890239"/>
                    <a:gd name="connsiteY88" fmla="*/ 471697 h 889736"/>
                    <a:gd name="connsiteX89" fmla="*/ 298590 w 890239"/>
                    <a:gd name="connsiteY89" fmla="*/ 459784 h 889736"/>
                    <a:gd name="connsiteX90" fmla="*/ 298590 w 890239"/>
                    <a:gd name="connsiteY90" fmla="*/ 400069 h 889736"/>
                    <a:gd name="connsiteX91" fmla="*/ 310503 w 890239"/>
                    <a:gd name="connsiteY91" fmla="*/ 388157 h 889736"/>
                    <a:gd name="connsiteX92" fmla="*/ 482080 w 890239"/>
                    <a:gd name="connsiteY92" fmla="*/ 388157 h 889736"/>
                    <a:gd name="connsiteX93" fmla="*/ 482607 w 890239"/>
                    <a:gd name="connsiteY93" fmla="*/ 385794 h 889736"/>
                    <a:gd name="connsiteX94" fmla="*/ 491579 w 890239"/>
                    <a:gd name="connsiteY94" fmla="*/ 356369 h 889736"/>
                    <a:gd name="connsiteX95" fmla="*/ 493192 w 890239"/>
                    <a:gd name="connsiteY95" fmla="*/ 352260 h 889736"/>
                    <a:gd name="connsiteX96" fmla="*/ 71622 w 890239"/>
                    <a:gd name="connsiteY96" fmla="*/ 352260 h 889736"/>
                    <a:gd name="connsiteX97" fmla="*/ 322422 w 890239"/>
                    <a:gd name="connsiteY97" fmla="*/ 447872 h 889736"/>
                    <a:gd name="connsiteX98" fmla="*/ 477749 w 890239"/>
                    <a:gd name="connsiteY98" fmla="*/ 447872 h 889736"/>
                    <a:gd name="connsiteX99" fmla="*/ 477749 w 890239"/>
                    <a:gd name="connsiteY99" fmla="*/ 411988 h 889736"/>
                    <a:gd name="connsiteX100" fmla="*/ 322422 w 890239"/>
                    <a:gd name="connsiteY100" fmla="*/ 411988 h 889736"/>
                    <a:gd name="connsiteX101" fmla="*/ 322422 w 890239"/>
                    <a:gd name="connsiteY101" fmla="*/ 447872 h 889736"/>
                    <a:gd name="connsiteX102" fmla="*/ 71622 w 890239"/>
                    <a:gd name="connsiteY102" fmla="*/ 173107 h 889736"/>
                    <a:gd name="connsiteX103" fmla="*/ 23832 w 890239"/>
                    <a:gd name="connsiteY103" fmla="*/ 220897 h 889736"/>
                    <a:gd name="connsiteX104" fmla="*/ 23832 w 890239"/>
                    <a:gd name="connsiteY104" fmla="*/ 280626 h 889736"/>
                    <a:gd name="connsiteX105" fmla="*/ 71622 w 890239"/>
                    <a:gd name="connsiteY105" fmla="*/ 328435 h 889736"/>
                    <a:gd name="connsiteX106" fmla="*/ 489668 w 890239"/>
                    <a:gd name="connsiteY106" fmla="*/ 328435 h 889736"/>
                    <a:gd name="connsiteX107" fmla="*/ 506000 w 890239"/>
                    <a:gd name="connsiteY107" fmla="*/ 325241 h 889736"/>
                    <a:gd name="connsiteX108" fmla="*/ 506959 w 890239"/>
                    <a:gd name="connsiteY108" fmla="*/ 324860 h 889736"/>
                    <a:gd name="connsiteX109" fmla="*/ 507486 w 890239"/>
                    <a:gd name="connsiteY109" fmla="*/ 323964 h 889736"/>
                    <a:gd name="connsiteX110" fmla="*/ 536328 w 890239"/>
                    <a:gd name="connsiteY110" fmla="*/ 286309 h 889736"/>
                    <a:gd name="connsiteX111" fmla="*/ 537007 w 890239"/>
                    <a:gd name="connsiteY111" fmla="*/ 285604 h 889736"/>
                    <a:gd name="connsiteX112" fmla="*/ 537147 w 890239"/>
                    <a:gd name="connsiteY112" fmla="*/ 284639 h 889736"/>
                    <a:gd name="connsiteX113" fmla="*/ 537464 w 890239"/>
                    <a:gd name="connsiteY113" fmla="*/ 280676 h 889736"/>
                    <a:gd name="connsiteX114" fmla="*/ 537464 w 890239"/>
                    <a:gd name="connsiteY114" fmla="*/ 220904 h 889736"/>
                    <a:gd name="connsiteX115" fmla="*/ 489668 w 890239"/>
                    <a:gd name="connsiteY115" fmla="*/ 173101 h 889736"/>
                    <a:gd name="connsiteX116" fmla="*/ 71622 w 890239"/>
                    <a:gd name="connsiteY116" fmla="*/ 173101 h 889736"/>
                    <a:gd name="connsiteX117" fmla="*/ 489674 w 890239"/>
                    <a:gd name="connsiteY117" fmla="*/ 149276 h 889736"/>
                    <a:gd name="connsiteX118" fmla="*/ 505505 w 890239"/>
                    <a:gd name="connsiteY118" fmla="*/ 151270 h 889736"/>
                    <a:gd name="connsiteX119" fmla="*/ 511633 w 890239"/>
                    <a:gd name="connsiteY119" fmla="*/ 152826 h 889736"/>
                    <a:gd name="connsiteX120" fmla="*/ 464947 w 890239"/>
                    <a:gd name="connsiteY120" fmla="*/ 51537 h 889736"/>
                    <a:gd name="connsiteX121" fmla="*/ 421602 w 890239"/>
                    <a:gd name="connsiteY121" fmla="*/ 23800 h 889736"/>
                    <a:gd name="connsiteX122" fmla="*/ 139719 w 890239"/>
                    <a:gd name="connsiteY122" fmla="*/ 23800 h 889736"/>
                    <a:gd name="connsiteX123" fmla="*/ 96374 w 890239"/>
                    <a:gd name="connsiteY123" fmla="*/ 51530 h 889736"/>
                    <a:gd name="connsiteX124" fmla="*/ 49683 w 890239"/>
                    <a:gd name="connsiteY124" fmla="*/ 152826 h 889736"/>
                    <a:gd name="connsiteX125" fmla="*/ 55810 w 890239"/>
                    <a:gd name="connsiteY125" fmla="*/ 151270 h 889736"/>
                    <a:gd name="connsiteX126" fmla="*/ 71647 w 890239"/>
                    <a:gd name="connsiteY126" fmla="*/ 149276 h 889736"/>
                    <a:gd name="connsiteX127" fmla="*/ 71641 w 890239"/>
                    <a:gd name="connsiteY127" fmla="*/ 149276 h 889736"/>
                    <a:gd name="connsiteX128" fmla="*/ 489674 w 890239"/>
                    <a:gd name="connsiteY128" fmla="*/ 149276 h 88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890239" h="889736">
                      <a:moveTo>
                        <a:pt x="280607" y="889737"/>
                      </a:moveTo>
                      <a:cubicBezTo>
                        <a:pt x="254813" y="889737"/>
                        <a:pt x="232347" y="872255"/>
                        <a:pt x="225978" y="847224"/>
                      </a:cubicBezTo>
                      <a:lnTo>
                        <a:pt x="225400" y="844950"/>
                      </a:lnTo>
                      <a:lnTo>
                        <a:pt x="11913" y="844950"/>
                      </a:lnTo>
                      <a:cubicBezTo>
                        <a:pt x="5341" y="844950"/>
                        <a:pt x="0" y="839603"/>
                        <a:pt x="0" y="833038"/>
                      </a:cubicBezTo>
                      <a:cubicBezTo>
                        <a:pt x="0" y="826472"/>
                        <a:pt x="5341" y="821125"/>
                        <a:pt x="11913" y="821125"/>
                      </a:cubicBezTo>
                      <a:lnTo>
                        <a:pt x="225381" y="821125"/>
                      </a:lnTo>
                      <a:lnTo>
                        <a:pt x="225971" y="818877"/>
                      </a:lnTo>
                      <a:cubicBezTo>
                        <a:pt x="231147" y="799059"/>
                        <a:pt x="246672" y="783533"/>
                        <a:pt x="266484" y="778358"/>
                      </a:cubicBezTo>
                      <a:lnTo>
                        <a:pt x="268732" y="777761"/>
                      </a:lnTo>
                      <a:lnTo>
                        <a:pt x="268732" y="710578"/>
                      </a:lnTo>
                      <a:lnTo>
                        <a:pt x="71628" y="710578"/>
                      </a:lnTo>
                      <a:cubicBezTo>
                        <a:pt x="32131" y="710578"/>
                        <a:pt x="0" y="678440"/>
                        <a:pt x="0" y="638944"/>
                      </a:cubicBezTo>
                      <a:lnTo>
                        <a:pt x="0" y="579228"/>
                      </a:lnTo>
                      <a:cubicBezTo>
                        <a:pt x="89" y="556730"/>
                        <a:pt x="10960" y="535305"/>
                        <a:pt x="29077" y="521945"/>
                      </a:cubicBezTo>
                      <a:lnTo>
                        <a:pt x="32373" y="519512"/>
                      </a:lnTo>
                      <a:lnTo>
                        <a:pt x="29077" y="517087"/>
                      </a:lnTo>
                      <a:cubicBezTo>
                        <a:pt x="10954" y="503720"/>
                        <a:pt x="89" y="482295"/>
                        <a:pt x="0" y="459784"/>
                      </a:cubicBezTo>
                      <a:lnTo>
                        <a:pt x="0" y="400082"/>
                      </a:lnTo>
                      <a:cubicBezTo>
                        <a:pt x="89" y="377577"/>
                        <a:pt x="10960" y="356153"/>
                        <a:pt x="29077" y="342786"/>
                      </a:cubicBezTo>
                      <a:lnTo>
                        <a:pt x="32373" y="340360"/>
                      </a:lnTo>
                      <a:lnTo>
                        <a:pt x="29077" y="337934"/>
                      </a:lnTo>
                      <a:cubicBezTo>
                        <a:pt x="10954" y="324574"/>
                        <a:pt x="89" y="303143"/>
                        <a:pt x="0" y="280626"/>
                      </a:cubicBezTo>
                      <a:lnTo>
                        <a:pt x="0" y="219132"/>
                      </a:lnTo>
                      <a:cubicBezTo>
                        <a:pt x="-25" y="208864"/>
                        <a:pt x="2248" y="198520"/>
                        <a:pt x="6585" y="189205"/>
                      </a:cubicBezTo>
                      <a:lnTo>
                        <a:pt x="74676" y="41542"/>
                      </a:lnTo>
                      <a:cubicBezTo>
                        <a:pt x="86398" y="16351"/>
                        <a:pt x="111932" y="45"/>
                        <a:pt x="139726" y="0"/>
                      </a:cubicBezTo>
                      <a:lnTo>
                        <a:pt x="421596" y="0"/>
                      </a:lnTo>
                      <a:cubicBezTo>
                        <a:pt x="449384" y="45"/>
                        <a:pt x="474917" y="16358"/>
                        <a:pt x="486652" y="41548"/>
                      </a:cubicBezTo>
                      <a:lnTo>
                        <a:pt x="554717" y="189052"/>
                      </a:lnTo>
                      <a:cubicBezTo>
                        <a:pt x="559042" y="198419"/>
                        <a:pt x="561321" y="208826"/>
                        <a:pt x="561309" y="219132"/>
                      </a:cubicBezTo>
                      <a:lnTo>
                        <a:pt x="561309" y="264497"/>
                      </a:lnTo>
                      <a:lnTo>
                        <a:pt x="566052" y="261176"/>
                      </a:lnTo>
                      <a:cubicBezTo>
                        <a:pt x="600857" y="236817"/>
                        <a:pt x="641693" y="223952"/>
                        <a:pt x="684175" y="223952"/>
                      </a:cubicBezTo>
                      <a:cubicBezTo>
                        <a:pt x="726650" y="223952"/>
                        <a:pt x="767493" y="236817"/>
                        <a:pt x="802297" y="261176"/>
                      </a:cubicBezTo>
                      <a:cubicBezTo>
                        <a:pt x="847376" y="292729"/>
                        <a:pt x="877463" y="339941"/>
                        <a:pt x="887051" y="394132"/>
                      </a:cubicBezTo>
                      <a:cubicBezTo>
                        <a:pt x="896614" y="448316"/>
                        <a:pt x="884504" y="502990"/>
                        <a:pt x="852951" y="548069"/>
                      </a:cubicBezTo>
                      <a:cubicBezTo>
                        <a:pt x="814432" y="603111"/>
                        <a:pt x="751269" y="635972"/>
                        <a:pt x="683997" y="635972"/>
                      </a:cubicBezTo>
                      <a:cubicBezTo>
                        <a:pt x="641661" y="635972"/>
                        <a:pt x="600876" y="623094"/>
                        <a:pt x="566058" y="598729"/>
                      </a:cubicBezTo>
                      <a:lnTo>
                        <a:pt x="561315" y="595408"/>
                      </a:lnTo>
                      <a:lnTo>
                        <a:pt x="561315" y="638969"/>
                      </a:lnTo>
                      <a:cubicBezTo>
                        <a:pt x="561315" y="678472"/>
                        <a:pt x="529178" y="710603"/>
                        <a:pt x="489687" y="710603"/>
                      </a:cubicBezTo>
                      <a:lnTo>
                        <a:pt x="292577" y="710603"/>
                      </a:lnTo>
                      <a:lnTo>
                        <a:pt x="292577" y="777786"/>
                      </a:lnTo>
                      <a:lnTo>
                        <a:pt x="294831" y="778383"/>
                      </a:lnTo>
                      <a:cubicBezTo>
                        <a:pt x="314636" y="783552"/>
                        <a:pt x="330162" y="799084"/>
                        <a:pt x="335350" y="818902"/>
                      </a:cubicBezTo>
                      <a:lnTo>
                        <a:pt x="335941" y="821150"/>
                      </a:lnTo>
                      <a:lnTo>
                        <a:pt x="554914" y="821150"/>
                      </a:lnTo>
                      <a:cubicBezTo>
                        <a:pt x="561487" y="821150"/>
                        <a:pt x="566833" y="826497"/>
                        <a:pt x="566833" y="833063"/>
                      </a:cubicBezTo>
                      <a:cubicBezTo>
                        <a:pt x="566833" y="839629"/>
                        <a:pt x="561487" y="844976"/>
                        <a:pt x="554914" y="844976"/>
                      </a:cubicBezTo>
                      <a:lnTo>
                        <a:pt x="335922" y="844976"/>
                      </a:lnTo>
                      <a:lnTo>
                        <a:pt x="335344" y="847249"/>
                      </a:lnTo>
                      <a:cubicBezTo>
                        <a:pt x="330245" y="867283"/>
                        <a:pt x="314624" y="882904"/>
                        <a:pt x="294583" y="888009"/>
                      </a:cubicBezTo>
                      <a:cubicBezTo>
                        <a:pt x="289992" y="889146"/>
                        <a:pt x="285287" y="889737"/>
                        <a:pt x="280607" y="889737"/>
                      </a:cubicBezTo>
                      <a:close/>
                      <a:moveTo>
                        <a:pt x="280651" y="800164"/>
                      </a:moveTo>
                      <a:cubicBezTo>
                        <a:pt x="262528" y="800164"/>
                        <a:pt x="247777" y="814908"/>
                        <a:pt x="247777" y="833038"/>
                      </a:cubicBezTo>
                      <a:cubicBezTo>
                        <a:pt x="247777" y="851167"/>
                        <a:pt x="262528" y="865918"/>
                        <a:pt x="280651" y="865918"/>
                      </a:cubicBezTo>
                      <a:cubicBezTo>
                        <a:pt x="298774" y="865918"/>
                        <a:pt x="313525" y="851167"/>
                        <a:pt x="313525" y="833038"/>
                      </a:cubicBezTo>
                      <a:cubicBezTo>
                        <a:pt x="313525" y="814908"/>
                        <a:pt x="298780" y="800164"/>
                        <a:pt x="280651" y="800164"/>
                      </a:cubicBezTo>
                      <a:close/>
                      <a:moveTo>
                        <a:pt x="71622" y="531419"/>
                      </a:moveTo>
                      <a:cubicBezTo>
                        <a:pt x="45346" y="531501"/>
                        <a:pt x="23908" y="552945"/>
                        <a:pt x="23832" y="579209"/>
                      </a:cubicBezTo>
                      <a:lnTo>
                        <a:pt x="23832" y="638937"/>
                      </a:lnTo>
                      <a:cubicBezTo>
                        <a:pt x="23908" y="665220"/>
                        <a:pt x="45346" y="686664"/>
                        <a:pt x="71622" y="686746"/>
                      </a:cubicBezTo>
                      <a:lnTo>
                        <a:pt x="489668" y="686746"/>
                      </a:lnTo>
                      <a:cubicBezTo>
                        <a:pt x="515957" y="686657"/>
                        <a:pt x="537401" y="665213"/>
                        <a:pt x="537471" y="638950"/>
                      </a:cubicBezTo>
                      <a:lnTo>
                        <a:pt x="537471" y="579222"/>
                      </a:lnTo>
                      <a:cubicBezTo>
                        <a:pt x="537445" y="577850"/>
                        <a:pt x="537337" y="576516"/>
                        <a:pt x="537153" y="575215"/>
                      </a:cubicBezTo>
                      <a:lnTo>
                        <a:pt x="537014" y="574249"/>
                      </a:lnTo>
                      <a:lnTo>
                        <a:pt x="536334" y="573545"/>
                      </a:lnTo>
                      <a:cubicBezTo>
                        <a:pt x="525304" y="562146"/>
                        <a:pt x="515601" y="549472"/>
                        <a:pt x="507493" y="535877"/>
                      </a:cubicBezTo>
                      <a:lnTo>
                        <a:pt x="506965" y="534988"/>
                      </a:lnTo>
                      <a:lnTo>
                        <a:pt x="506007" y="534607"/>
                      </a:lnTo>
                      <a:cubicBezTo>
                        <a:pt x="500806" y="532562"/>
                        <a:pt x="495319" y="531495"/>
                        <a:pt x="489712" y="531413"/>
                      </a:cubicBezTo>
                      <a:lnTo>
                        <a:pt x="71622" y="531413"/>
                      </a:lnTo>
                      <a:close/>
                      <a:moveTo>
                        <a:pt x="683749" y="247745"/>
                      </a:moveTo>
                      <a:cubicBezTo>
                        <a:pt x="583387" y="247834"/>
                        <a:pt x="501663" y="329552"/>
                        <a:pt x="501580" y="429920"/>
                      </a:cubicBezTo>
                      <a:cubicBezTo>
                        <a:pt x="501580" y="530377"/>
                        <a:pt x="583305" y="612096"/>
                        <a:pt x="683749" y="612096"/>
                      </a:cubicBezTo>
                      <a:cubicBezTo>
                        <a:pt x="784193" y="612096"/>
                        <a:pt x="865925" y="530377"/>
                        <a:pt x="865925" y="429920"/>
                      </a:cubicBezTo>
                      <a:cubicBezTo>
                        <a:pt x="865937" y="329470"/>
                        <a:pt x="784206" y="247745"/>
                        <a:pt x="683749" y="247745"/>
                      </a:cubicBezTo>
                      <a:lnTo>
                        <a:pt x="683749" y="247745"/>
                      </a:lnTo>
                      <a:close/>
                      <a:moveTo>
                        <a:pt x="71622" y="352260"/>
                      </a:moveTo>
                      <a:cubicBezTo>
                        <a:pt x="45346" y="352342"/>
                        <a:pt x="23908" y="373787"/>
                        <a:pt x="23832" y="400056"/>
                      </a:cubicBezTo>
                      <a:lnTo>
                        <a:pt x="23832" y="459784"/>
                      </a:lnTo>
                      <a:cubicBezTo>
                        <a:pt x="23908" y="486067"/>
                        <a:pt x="45346" y="507511"/>
                        <a:pt x="71622" y="507594"/>
                      </a:cubicBezTo>
                      <a:lnTo>
                        <a:pt x="493192" y="507594"/>
                      </a:lnTo>
                      <a:lnTo>
                        <a:pt x="491579" y="503479"/>
                      </a:lnTo>
                      <a:cubicBezTo>
                        <a:pt x="487858" y="493947"/>
                        <a:pt x="484835" y="484048"/>
                        <a:pt x="482607" y="474059"/>
                      </a:cubicBezTo>
                      <a:lnTo>
                        <a:pt x="482080" y="471697"/>
                      </a:lnTo>
                      <a:lnTo>
                        <a:pt x="310503" y="471697"/>
                      </a:lnTo>
                      <a:cubicBezTo>
                        <a:pt x="303937" y="471697"/>
                        <a:pt x="298590" y="466357"/>
                        <a:pt x="298590" y="459784"/>
                      </a:cubicBezTo>
                      <a:lnTo>
                        <a:pt x="298590" y="400069"/>
                      </a:lnTo>
                      <a:cubicBezTo>
                        <a:pt x="298590" y="393497"/>
                        <a:pt x="303937" y="388157"/>
                        <a:pt x="310503" y="388157"/>
                      </a:cubicBezTo>
                      <a:lnTo>
                        <a:pt x="482080" y="388157"/>
                      </a:lnTo>
                      <a:lnTo>
                        <a:pt x="482607" y="385794"/>
                      </a:lnTo>
                      <a:cubicBezTo>
                        <a:pt x="484842" y="375806"/>
                        <a:pt x="487858" y="365900"/>
                        <a:pt x="491579" y="356369"/>
                      </a:cubicBezTo>
                      <a:lnTo>
                        <a:pt x="493192" y="352260"/>
                      </a:lnTo>
                      <a:lnTo>
                        <a:pt x="71622" y="352260"/>
                      </a:lnTo>
                      <a:close/>
                      <a:moveTo>
                        <a:pt x="322422" y="447872"/>
                      </a:moveTo>
                      <a:lnTo>
                        <a:pt x="477749" y="447872"/>
                      </a:lnTo>
                      <a:lnTo>
                        <a:pt x="477749" y="411988"/>
                      </a:lnTo>
                      <a:lnTo>
                        <a:pt x="322422" y="411988"/>
                      </a:lnTo>
                      <a:lnTo>
                        <a:pt x="322422" y="447872"/>
                      </a:lnTo>
                      <a:close/>
                      <a:moveTo>
                        <a:pt x="71622" y="173107"/>
                      </a:moveTo>
                      <a:cubicBezTo>
                        <a:pt x="45346" y="173190"/>
                        <a:pt x="23908" y="194628"/>
                        <a:pt x="23832" y="220897"/>
                      </a:cubicBezTo>
                      <a:lnTo>
                        <a:pt x="23832" y="280626"/>
                      </a:lnTo>
                      <a:cubicBezTo>
                        <a:pt x="23908" y="306921"/>
                        <a:pt x="45352" y="328365"/>
                        <a:pt x="71622" y="328435"/>
                      </a:cubicBezTo>
                      <a:lnTo>
                        <a:pt x="489668" y="328435"/>
                      </a:lnTo>
                      <a:cubicBezTo>
                        <a:pt x="495313" y="328359"/>
                        <a:pt x="500793" y="327279"/>
                        <a:pt x="506000" y="325241"/>
                      </a:cubicBezTo>
                      <a:lnTo>
                        <a:pt x="506959" y="324860"/>
                      </a:lnTo>
                      <a:lnTo>
                        <a:pt x="507486" y="323964"/>
                      </a:lnTo>
                      <a:cubicBezTo>
                        <a:pt x="515601" y="310375"/>
                        <a:pt x="525304" y="297707"/>
                        <a:pt x="536328" y="286309"/>
                      </a:cubicBezTo>
                      <a:lnTo>
                        <a:pt x="537007" y="285604"/>
                      </a:lnTo>
                      <a:lnTo>
                        <a:pt x="537147" y="284639"/>
                      </a:lnTo>
                      <a:cubicBezTo>
                        <a:pt x="537337" y="283324"/>
                        <a:pt x="537439" y="281997"/>
                        <a:pt x="537464" y="280676"/>
                      </a:cubicBezTo>
                      <a:lnTo>
                        <a:pt x="537464" y="220904"/>
                      </a:lnTo>
                      <a:cubicBezTo>
                        <a:pt x="537395" y="194621"/>
                        <a:pt x="515951" y="173177"/>
                        <a:pt x="489668" y="173101"/>
                      </a:cubicBezTo>
                      <a:lnTo>
                        <a:pt x="71622" y="173101"/>
                      </a:lnTo>
                      <a:close/>
                      <a:moveTo>
                        <a:pt x="489674" y="149276"/>
                      </a:moveTo>
                      <a:cubicBezTo>
                        <a:pt x="495008" y="149295"/>
                        <a:pt x="500336" y="149962"/>
                        <a:pt x="505505" y="151270"/>
                      </a:cubicBezTo>
                      <a:lnTo>
                        <a:pt x="511633" y="152826"/>
                      </a:lnTo>
                      <a:lnTo>
                        <a:pt x="464947" y="51537"/>
                      </a:lnTo>
                      <a:cubicBezTo>
                        <a:pt x="457149" y="34703"/>
                        <a:pt x="440138" y="23813"/>
                        <a:pt x="421602" y="23800"/>
                      </a:cubicBezTo>
                      <a:lnTo>
                        <a:pt x="139719" y="23800"/>
                      </a:lnTo>
                      <a:cubicBezTo>
                        <a:pt x="121171" y="23813"/>
                        <a:pt x="104159" y="34697"/>
                        <a:pt x="96374" y="51530"/>
                      </a:cubicBezTo>
                      <a:lnTo>
                        <a:pt x="49683" y="152826"/>
                      </a:lnTo>
                      <a:lnTo>
                        <a:pt x="55810" y="151270"/>
                      </a:lnTo>
                      <a:cubicBezTo>
                        <a:pt x="60973" y="149962"/>
                        <a:pt x="66307" y="149289"/>
                        <a:pt x="71647" y="149276"/>
                      </a:cubicBezTo>
                      <a:lnTo>
                        <a:pt x="71641" y="149276"/>
                      </a:lnTo>
                      <a:lnTo>
                        <a:pt x="489674" y="149276"/>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0" name="Forme libre : forme 1739">
                  <a:extLst>
                    <a:ext uri="{FF2B5EF4-FFF2-40B4-BE49-F238E27FC236}">
                      <a16:creationId xmlns:a16="http://schemas.microsoft.com/office/drawing/2014/main" id="{FE4BD07E-3875-4FB2-9551-70979195912B}"/>
                    </a:ext>
                  </a:extLst>
                </p:cNvPr>
                <p:cNvSpPr/>
                <p:nvPr/>
              </p:nvSpPr>
              <p:spPr>
                <a:xfrm>
                  <a:off x="5758674" y="3493116"/>
                  <a:ext cx="23825" cy="173120"/>
                </a:xfrm>
                <a:custGeom>
                  <a:avLst/>
                  <a:gdLst>
                    <a:gd name="connsiteX0" fmla="*/ 11913 w 23825"/>
                    <a:gd name="connsiteY0" fmla="*/ 173120 h 173120"/>
                    <a:gd name="connsiteX1" fmla="*/ 0 w 23825"/>
                    <a:gd name="connsiteY1" fmla="*/ 161208 h 173120"/>
                    <a:gd name="connsiteX2" fmla="*/ 0 w 23825"/>
                    <a:gd name="connsiteY2" fmla="*/ 11906 h 173120"/>
                    <a:gd name="connsiteX3" fmla="*/ 11913 w 23825"/>
                    <a:gd name="connsiteY3" fmla="*/ 0 h 173120"/>
                    <a:gd name="connsiteX4" fmla="*/ 23825 w 23825"/>
                    <a:gd name="connsiteY4" fmla="*/ 11906 h 173120"/>
                    <a:gd name="connsiteX5" fmla="*/ 23825 w 23825"/>
                    <a:gd name="connsiteY5" fmla="*/ 161208 h 173120"/>
                    <a:gd name="connsiteX6" fmla="*/ 11913 w 23825"/>
                    <a:gd name="connsiteY6" fmla="*/ 173120 h 17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173120">
                      <a:moveTo>
                        <a:pt x="11913" y="173120"/>
                      </a:moveTo>
                      <a:cubicBezTo>
                        <a:pt x="5340" y="173120"/>
                        <a:pt x="0" y="167780"/>
                        <a:pt x="0" y="161208"/>
                      </a:cubicBezTo>
                      <a:lnTo>
                        <a:pt x="0" y="11906"/>
                      </a:lnTo>
                      <a:cubicBezTo>
                        <a:pt x="0" y="5340"/>
                        <a:pt x="5340" y="0"/>
                        <a:pt x="11913" y="0"/>
                      </a:cubicBezTo>
                      <a:cubicBezTo>
                        <a:pt x="18479" y="0"/>
                        <a:pt x="23825" y="5340"/>
                        <a:pt x="23825" y="11906"/>
                      </a:cubicBezTo>
                      <a:lnTo>
                        <a:pt x="23825" y="161208"/>
                      </a:lnTo>
                      <a:cubicBezTo>
                        <a:pt x="23831" y="167780"/>
                        <a:pt x="18485" y="173120"/>
                        <a:pt x="11913" y="173120"/>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 name="Forme libre : forme 1740">
                  <a:extLst>
                    <a:ext uri="{FF2B5EF4-FFF2-40B4-BE49-F238E27FC236}">
                      <a16:creationId xmlns:a16="http://schemas.microsoft.com/office/drawing/2014/main" id="{322F12A3-4087-4A42-BFE4-4600226C94E4}"/>
                    </a:ext>
                  </a:extLst>
                </p:cNvPr>
                <p:cNvSpPr/>
                <p:nvPr/>
              </p:nvSpPr>
              <p:spPr>
                <a:xfrm>
                  <a:off x="5758674" y="3702133"/>
                  <a:ext cx="23825" cy="38747"/>
                </a:xfrm>
                <a:custGeom>
                  <a:avLst/>
                  <a:gdLst>
                    <a:gd name="connsiteX0" fmla="*/ 11913 w 23825"/>
                    <a:gd name="connsiteY0" fmla="*/ 38748 h 38747"/>
                    <a:gd name="connsiteX1" fmla="*/ 0 w 23825"/>
                    <a:gd name="connsiteY1" fmla="*/ 26841 h 38747"/>
                    <a:gd name="connsiteX2" fmla="*/ 0 w 23825"/>
                    <a:gd name="connsiteY2" fmla="*/ 11906 h 38747"/>
                    <a:gd name="connsiteX3" fmla="*/ 11913 w 23825"/>
                    <a:gd name="connsiteY3" fmla="*/ 0 h 38747"/>
                    <a:gd name="connsiteX4" fmla="*/ 23825 w 23825"/>
                    <a:gd name="connsiteY4" fmla="*/ 11906 h 38747"/>
                    <a:gd name="connsiteX5" fmla="*/ 23825 w 23825"/>
                    <a:gd name="connsiteY5" fmla="*/ 26841 h 38747"/>
                    <a:gd name="connsiteX6" fmla="*/ 11913 w 23825"/>
                    <a:gd name="connsiteY6" fmla="*/ 38748 h 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25" h="38747">
                      <a:moveTo>
                        <a:pt x="11913" y="38748"/>
                      </a:moveTo>
                      <a:cubicBezTo>
                        <a:pt x="5340" y="38748"/>
                        <a:pt x="0" y="33401"/>
                        <a:pt x="0" y="26841"/>
                      </a:cubicBezTo>
                      <a:lnTo>
                        <a:pt x="0" y="11906"/>
                      </a:lnTo>
                      <a:cubicBezTo>
                        <a:pt x="0" y="5340"/>
                        <a:pt x="5340" y="0"/>
                        <a:pt x="11913" y="0"/>
                      </a:cubicBezTo>
                      <a:cubicBezTo>
                        <a:pt x="18479" y="0"/>
                        <a:pt x="23825" y="5340"/>
                        <a:pt x="23825" y="11906"/>
                      </a:cubicBezTo>
                      <a:lnTo>
                        <a:pt x="23825" y="26841"/>
                      </a:lnTo>
                      <a:cubicBezTo>
                        <a:pt x="23831" y="33401"/>
                        <a:pt x="18485" y="38748"/>
                        <a:pt x="11913" y="38748"/>
                      </a:cubicBez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pic>
        <p:nvPicPr>
          <p:cNvPr id="1751" name="Graphique 1750">
            <a:extLst>
              <a:ext uri="{FF2B5EF4-FFF2-40B4-BE49-F238E27FC236}">
                <a16:creationId xmlns:a16="http://schemas.microsoft.com/office/drawing/2014/main" id="{0A42F493-A9D0-4D19-A756-AC61D1C9335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75012" y="2933739"/>
            <a:ext cx="1914078" cy="1925821"/>
          </a:xfrm>
          <a:prstGeom prst="rect">
            <a:avLst/>
          </a:prstGeom>
        </p:spPr>
      </p:pic>
      <p:grpSp>
        <p:nvGrpSpPr>
          <p:cNvPr id="1753" name="Image 6">
            <a:extLst>
              <a:ext uri="{FF2B5EF4-FFF2-40B4-BE49-F238E27FC236}">
                <a16:creationId xmlns:a16="http://schemas.microsoft.com/office/drawing/2014/main" id="{8065FFE2-8D8A-43BF-B8CE-24A2F5F00C38}"/>
              </a:ext>
            </a:extLst>
          </p:cNvPr>
          <p:cNvGrpSpPr/>
          <p:nvPr/>
        </p:nvGrpSpPr>
        <p:grpSpPr>
          <a:xfrm>
            <a:off x="10076254" y="3311674"/>
            <a:ext cx="807617" cy="932856"/>
            <a:chOff x="8814870" y="3042013"/>
            <a:chExt cx="938888" cy="1084484"/>
          </a:xfrm>
          <a:solidFill>
            <a:srgbClr val="000000"/>
          </a:solidFill>
        </p:grpSpPr>
        <p:sp>
          <p:nvSpPr>
            <p:cNvPr id="1754" name="Forme libre : forme 1753">
              <a:extLst>
                <a:ext uri="{FF2B5EF4-FFF2-40B4-BE49-F238E27FC236}">
                  <a16:creationId xmlns:a16="http://schemas.microsoft.com/office/drawing/2014/main" id="{56666520-1A81-4955-85A0-C487FFF95199}"/>
                </a:ext>
              </a:extLst>
            </p:cNvPr>
            <p:cNvSpPr/>
            <p:nvPr/>
          </p:nvSpPr>
          <p:spPr>
            <a:xfrm>
              <a:off x="8814870" y="3475286"/>
              <a:ext cx="938888" cy="651211"/>
            </a:xfrm>
            <a:custGeom>
              <a:avLst/>
              <a:gdLst>
                <a:gd name="connsiteX0" fmla="*/ 276951 w 938888"/>
                <a:gd name="connsiteY0" fmla="*/ 252235 h 651211"/>
                <a:gd name="connsiteX1" fmla="*/ 297081 w 938888"/>
                <a:gd name="connsiteY1" fmla="*/ 273405 h 651211"/>
                <a:gd name="connsiteX2" fmla="*/ 324830 w 938888"/>
                <a:gd name="connsiteY2" fmla="*/ 264027 h 651211"/>
                <a:gd name="connsiteX3" fmla="*/ 338229 w 938888"/>
                <a:gd name="connsiteY3" fmla="*/ 270650 h 651211"/>
                <a:gd name="connsiteX4" fmla="*/ 338356 w 938888"/>
                <a:gd name="connsiteY4" fmla="*/ 271145 h 651211"/>
                <a:gd name="connsiteX5" fmla="*/ 338356 w 938888"/>
                <a:gd name="connsiteY5" fmla="*/ 271145 h 651211"/>
                <a:gd name="connsiteX6" fmla="*/ 346356 w 938888"/>
                <a:gd name="connsiteY6" fmla="*/ 299288 h 651211"/>
                <a:gd name="connsiteX7" fmla="*/ 375185 w 938888"/>
                <a:gd name="connsiteY7" fmla="*/ 303841 h 651211"/>
                <a:gd name="connsiteX8" fmla="*/ 384012 w 938888"/>
                <a:gd name="connsiteY8" fmla="*/ 315894 h 651211"/>
                <a:gd name="connsiteX9" fmla="*/ 383948 w 938888"/>
                <a:gd name="connsiteY9" fmla="*/ 316427 h 651211"/>
                <a:gd name="connsiteX10" fmla="*/ 383948 w 938888"/>
                <a:gd name="connsiteY10" fmla="*/ 316427 h 651211"/>
                <a:gd name="connsiteX11" fmla="*/ 377980 w 938888"/>
                <a:gd name="connsiteY11" fmla="*/ 345072 h 651211"/>
                <a:gd name="connsiteX12" fmla="*/ 401411 w 938888"/>
                <a:gd name="connsiteY12" fmla="*/ 362515 h 651211"/>
                <a:gd name="connsiteX13" fmla="*/ 403633 w 938888"/>
                <a:gd name="connsiteY13" fmla="*/ 377304 h 651211"/>
                <a:gd name="connsiteX14" fmla="*/ 403062 w 938888"/>
                <a:gd name="connsiteY14" fmla="*/ 378009 h 651211"/>
                <a:gd name="connsiteX15" fmla="*/ 384647 w 938888"/>
                <a:gd name="connsiteY15" fmla="*/ 400304 h 651211"/>
                <a:gd name="connsiteX16" fmla="*/ 397347 w 938888"/>
                <a:gd name="connsiteY16" fmla="*/ 426682 h 651211"/>
                <a:gd name="connsiteX17" fmla="*/ 392331 w 938888"/>
                <a:gd name="connsiteY17" fmla="*/ 440760 h 651211"/>
                <a:gd name="connsiteX18" fmla="*/ 391886 w 938888"/>
                <a:gd name="connsiteY18" fmla="*/ 440963 h 651211"/>
                <a:gd name="connsiteX19" fmla="*/ 364962 w 938888"/>
                <a:gd name="connsiteY19" fmla="*/ 452317 h 651211"/>
                <a:gd name="connsiteX20" fmla="*/ 363882 w 938888"/>
                <a:gd name="connsiteY20" fmla="*/ 481552 h 651211"/>
                <a:gd name="connsiteX21" fmla="*/ 352960 w 938888"/>
                <a:gd name="connsiteY21" fmla="*/ 491737 h 651211"/>
                <a:gd name="connsiteX22" fmla="*/ 352453 w 938888"/>
                <a:gd name="connsiteY22" fmla="*/ 491699 h 651211"/>
                <a:gd name="connsiteX23" fmla="*/ 352453 w 938888"/>
                <a:gd name="connsiteY23" fmla="*/ 491737 h 651211"/>
                <a:gd name="connsiteX24" fmla="*/ 323305 w 938888"/>
                <a:gd name="connsiteY24" fmla="*/ 489255 h 651211"/>
                <a:gd name="connsiteX25" fmla="*/ 308828 w 938888"/>
                <a:gd name="connsiteY25" fmla="*/ 514629 h 651211"/>
                <a:gd name="connsiteX26" fmla="*/ 294350 w 938888"/>
                <a:gd name="connsiteY26" fmla="*/ 518560 h 651211"/>
                <a:gd name="connsiteX27" fmla="*/ 293207 w 938888"/>
                <a:gd name="connsiteY27" fmla="*/ 517804 h 651211"/>
                <a:gd name="connsiteX28" fmla="*/ 269268 w 938888"/>
                <a:gd name="connsiteY28" fmla="*/ 502526 h 651211"/>
                <a:gd name="connsiteX29" fmla="*/ 244630 w 938888"/>
                <a:gd name="connsiteY29" fmla="*/ 518274 h 651211"/>
                <a:gd name="connsiteX30" fmla="*/ 230024 w 938888"/>
                <a:gd name="connsiteY30" fmla="*/ 515042 h 651211"/>
                <a:gd name="connsiteX31" fmla="*/ 229770 w 938888"/>
                <a:gd name="connsiteY31" fmla="*/ 514617 h 651211"/>
                <a:gd name="connsiteX32" fmla="*/ 229707 w 938888"/>
                <a:gd name="connsiteY32" fmla="*/ 514629 h 651211"/>
                <a:gd name="connsiteX33" fmla="*/ 215229 w 938888"/>
                <a:gd name="connsiteY33" fmla="*/ 489255 h 651211"/>
                <a:gd name="connsiteX34" fmla="*/ 186082 w 938888"/>
                <a:gd name="connsiteY34" fmla="*/ 491737 h 651211"/>
                <a:gd name="connsiteX35" fmla="*/ 174653 w 938888"/>
                <a:gd name="connsiteY35" fmla="*/ 482054 h 651211"/>
                <a:gd name="connsiteX36" fmla="*/ 174653 w 938888"/>
                <a:gd name="connsiteY36" fmla="*/ 480771 h 651211"/>
                <a:gd name="connsiteX37" fmla="*/ 173573 w 938888"/>
                <a:gd name="connsiteY37" fmla="*/ 452329 h 651211"/>
                <a:gd name="connsiteX38" fmla="*/ 146649 w 938888"/>
                <a:gd name="connsiteY38" fmla="*/ 440982 h 651211"/>
                <a:gd name="connsiteX39" fmla="*/ 140997 w 938888"/>
                <a:gd name="connsiteY39" fmla="*/ 427152 h 651211"/>
                <a:gd name="connsiteX40" fmla="*/ 153888 w 938888"/>
                <a:gd name="connsiteY40" fmla="*/ 400310 h 651211"/>
                <a:gd name="connsiteX41" fmla="*/ 135282 w 938888"/>
                <a:gd name="connsiteY41" fmla="*/ 377723 h 651211"/>
                <a:gd name="connsiteX42" fmla="*/ 136743 w 938888"/>
                <a:gd name="connsiteY42" fmla="*/ 362858 h 651211"/>
                <a:gd name="connsiteX43" fmla="*/ 137124 w 938888"/>
                <a:gd name="connsiteY43" fmla="*/ 362528 h 651211"/>
                <a:gd name="connsiteX44" fmla="*/ 160556 w 938888"/>
                <a:gd name="connsiteY44" fmla="*/ 345072 h 651211"/>
                <a:gd name="connsiteX45" fmla="*/ 154586 w 938888"/>
                <a:gd name="connsiteY45" fmla="*/ 316427 h 651211"/>
                <a:gd name="connsiteX46" fmla="*/ 162778 w 938888"/>
                <a:gd name="connsiteY46" fmla="*/ 303924 h 651211"/>
                <a:gd name="connsiteX47" fmla="*/ 163857 w 938888"/>
                <a:gd name="connsiteY47" fmla="*/ 303765 h 651211"/>
                <a:gd name="connsiteX48" fmla="*/ 192179 w 938888"/>
                <a:gd name="connsiteY48" fmla="*/ 299288 h 651211"/>
                <a:gd name="connsiteX49" fmla="*/ 200180 w 938888"/>
                <a:gd name="connsiteY49" fmla="*/ 271145 h 651211"/>
                <a:gd name="connsiteX50" fmla="*/ 213260 w 938888"/>
                <a:gd name="connsiteY50" fmla="*/ 263861 h 651211"/>
                <a:gd name="connsiteX51" fmla="*/ 214213 w 938888"/>
                <a:gd name="connsiteY51" fmla="*/ 264179 h 651211"/>
                <a:gd name="connsiteX52" fmla="*/ 241455 w 938888"/>
                <a:gd name="connsiteY52" fmla="*/ 273405 h 651211"/>
                <a:gd name="connsiteX53" fmla="*/ 261584 w 938888"/>
                <a:gd name="connsiteY53" fmla="*/ 252235 h 651211"/>
                <a:gd name="connsiteX54" fmla="*/ 276570 w 938888"/>
                <a:gd name="connsiteY54" fmla="*/ 251866 h 651211"/>
                <a:gd name="connsiteX55" fmla="*/ 276951 w 938888"/>
                <a:gd name="connsiteY55" fmla="*/ 252235 h 651211"/>
                <a:gd name="connsiteX56" fmla="*/ 276951 w 938888"/>
                <a:gd name="connsiteY56" fmla="*/ 252235 h 651211"/>
                <a:gd name="connsiteX57" fmla="*/ 286412 w 938888"/>
                <a:gd name="connsiteY57" fmla="*/ 292881 h 651211"/>
                <a:gd name="connsiteX58" fmla="*/ 269268 w 938888"/>
                <a:gd name="connsiteY58" fmla="*/ 274853 h 651211"/>
                <a:gd name="connsiteX59" fmla="*/ 252440 w 938888"/>
                <a:gd name="connsiteY59" fmla="*/ 292570 h 651211"/>
                <a:gd name="connsiteX60" fmla="*/ 241073 w 938888"/>
                <a:gd name="connsiteY60" fmla="*/ 295611 h 651211"/>
                <a:gd name="connsiteX61" fmla="*/ 217515 w 938888"/>
                <a:gd name="connsiteY61" fmla="*/ 287623 h 651211"/>
                <a:gd name="connsiteX62" fmla="*/ 210657 w 938888"/>
                <a:gd name="connsiteY62" fmla="*/ 311563 h 651211"/>
                <a:gd name="connsiteX63" fmla="*/ 210657 w 938888"/>
                <a:gd name="connsiteY63" fmla="*/ 311563 h 651211"/>
                <a:gd name="connsiteX64" fmla="*/ 202084 w 938888"/>
                <a:gd name="connsiteY64" fmla="*/ 319107 h 651211"/>
                <a:gd name="connsiteX65" fmla="*/ 177573 w 938888"/>
                <a:gd name="connsiteY65" fmla="*/ 322974 h 651211"/>
                <a:gd name="connsiteX66" fmla="*/ 182654 w 938888"/>
                <a:gd name="connsiteY66" fmla="*/ 347370 h 651211"/>
                <a:gd name="connsiteX67" fmla="*/ 178590 w 938888"/>
                <a:gd name="connsiteY67" fmla="*/ 358006 h 651211"/>
                <a:gd name="connsiteX68" fmla="*/ 158650 w 938888"/>
                <a:gd name="connsiteY68" fmla="*/ 372872 h 651211"/>
                <a:gd name="connsiteX69" fmla="*/ 174462 w 938888"/>
                <a:gd name="connsiteY69" fmla="*/ 392100 h 651211"/>
                <a:gd name="connsiteX70" fmla="*/ 175859 w 938888"/>
                <a:gd name="connsiteY70" fmla="*/ 403352 h 651211"/>
                <a:gd name="connsiteX71" fmla="*/ 165064 w 938888"/>
                <a:gd name="connsiteY71" fmla="*/ 425825 h 651211"/>
                <a:gd name="connsiteX72" fmla="*/ 187606 w 938888"/>
                <a:gd name="connsiteY72" fmla="*/ 435318 h 651211"/>
                <a:gd name="connsiteX73" fmla="*/ 194465 w 938888"/>
                <a:gd name="connsiteY73" fmla="*/ 444836 h 651211"/>
                <a:gd name="connsiteX74" fmla="*/ 195354 w 938888"/>
                <a:gd name="connsiteY74" fmla="*/ 469690 h 651211"/>
                <a:gd name="connsiteX75" fmla="*/ 220245 w 938888"/>
                <a:gd name="connsiteY75" fmla="*/ 467576 h 651211"/>
                <a:gd name="connsiteX76" fmla="*/ 230279 w 938888"/>
                <a:gd name="connsiteY76" fmla="*/ 472878 h 651211"/>
                <a:gd name="connsiteX77" fmla="*/ 242597 w 938888"/>
                <a:gd name="connsiteY77" fmla="*/ 494506 h 651211"/>
                <a:gd name="connsiteX78" fmla="*/ 263425 w 938888"/>
                <a:gd name="connsiteY78" fmla="*/ 481222 h 651211"/>
                <a:gd name="connsiteX79" fmla="*/ 274919 w 938888"/>
                <a:gd name="connsiteY79" fmla="*/ 481108 h 651211"/>
                <a:gd name="connsiteX80" fmla="*/ 295937 w 938888"/>
                <a:gd name="connsiteY80" fmla="*/ 494500 h 651211"/>
                <a:gd name="connsiteX81" fmla="*/ 308066 w 938888"/>
                <a:gd name="connsiteY81" fmla="*/ 473221 h 651211"/>
                <a:gd name="connsiteX82" fmla="*/ 318353 w 938888"/>
                <a:gd name="connsiteY82" fmla="*/ 467563 h 651211"/>
                <a:gd name="connsiteX83" fmla="*/ 343181 w 938888"/>
                <a:gd name="connsiteY83" fmla="*/ 469678 h 651211"/>
                <a:gd name="connsiteX84" fmla="*/ 344070 w 938888"/>
                <a:gd name="connsiteY84" fmla="*/ 444824 h 651211"/>
                <a:gd name="connsiteX85" fmla="*/ 350547 w 938888"/>
                <a:gd name="connsiteY85" fmla="*/ 435470 h 651211"/>
                <a:gd name="connsiteX86" fmla="*/ 373471 w 938888"/>
                <a:gd name="connsiteY86" fmla="*/ 425812 h 651211"/>
                <a:gd name="connsiteX87" fmla="*/ 362930 w 938888"/>
                <a:gd name="connsiteY87" fmla="*/ 403695 h 651211"/>
                <a:gd name="connsiteX88" fmla="*/ 364073 w 938888"/>
                <a:gd name="connsiteY88" fmla="*/ 392081 h 651211"/>
                <a:gd name="connsiteX89" fmla="*/ 379948 w 938888"/>
                <a:gd name="connsiteY89" fmla="*/ 372859 h 651211"/>
                <a:gd name="connsiteX90" fmla="*/ 360263 w 938888"/>
                <a:gd name="connsiteY90" fmla="*/ 358229 h 651211"/>
                <a:gd name="connsiteX91" fmla="*/ 355881 w 938888"/>
                <a:gd name="connsiteY91" fmla="*/ 347357 h 651211"/>
                <a:gd name="connsiteX92" fmla="*/ 361025 w 938888"/>
                <a:gd name="connsiteY92" fmla="*/ 322961 h 651211"/>
                <a:gd name="connsiteX93" fmla="*/ 337276 w 938888"/>
                <a:gd name="connsiteY93" fmla="*/ 319215 h 651211"/>
                <a:gd name="connsiteX94" fmla="*/ 327878 w 938888"/>
                <a:gd name="connsiteY94" fmla="*/ 311550 h 651211"/>
                <a:gd name="connsiteX95" fmla="*/ 321020 w 938888"/>
                <a:gd name="connsiteY95" fmla="*/ 287610 h 651211"/>
                <a:gd name="connsiteX96" fmla="*/ 297525 w 938888"/>
                <a:gd name="connsiteY96" fmla="*/ 295599 h 651211"/>
                <a:gd name="connsiteX97" fmla="*/ 286412 w 938888"/>
                <a:gd name="connsiteY97" fmla="*/ 292881 h 651211"/>
                <a:gd name="connsiteX98" fmla="*/ 286412 w 938888"/>
                <a:gd name="connsiteY98" fmla="*/ 292881 h 651211"/>
                <a:gd name="connsiteX99" fmla="*/ 298223 w 938888"/>
                <a:gd name="connsiteY99" fmla="*/ 323736 h 651211"/>
                <a:gd name="connsiteX100" fmla="*/ 305462 w 938888"/>
                <a:gd name="connsiteY100" fmla="*/ 321812 h 651211"/>
                <a:gd name="connsiteX101" fmla="*/ 307368 w 938888"/>
                <a:gd name="connsiteY101" fmla="*/ 329038 h 651211"/>
                <a:gd name="connsiteX102" fmla="*/ 240311 w 938888"/>
                <a:gd name="connsiteY102" fmla="*/ 445167 h 651211"/>
                <a:gd name="connsiteX103" fmla="*/ 233072 w 938888"/>
                <a:gd name="connsiteY103" fmla="*/ 447091 h 651211"/>
                <a:gd name="connsiteX104" fmla="*/ 231168 w 938888"/>
                <a:gd name="connsiteY104" fmla="*/ 439871 h 651211"/>
                <a:gd name="connsiteX105" fmla="*/ 298223 w 938888"/>
                <a:gd name="connsiteY105" fmla="*/ 323736 h 651211"/>
                <a:gd name="connsiteX106" fmla="*/ 299493 w 938888"/>
                <a:gd name="connsiteY106" fmla="*/ 386759 h 651211"/>
                <a:gd name="connsiteX107" fmla="*/ 318734 w 938888"/>
                <a:gd name="connsiteY107" fmla="*/ 394748 h 651211"/>
                <a:gd name="connsiteX108" fmla="*/ 319179 w 938888"/>
                <a:gd name="connsiteY108" fmla="*/ 395199 h 651211"/>
                <a:gd name="connsiteX109" fmla="*/ 326735 w 938888"/>
                <a:gd name="connsiteY109" fmla="*/ 414014 h 651211"/>
                <a:gd name="connsiteX110" fmla="*/ 318734 w 938888"/>
                <a:gd name="connsiteY110" fmla="*/ 433260 h 651211"/>
                <a:gd name="connsiteX111" fmla="*/ 318734 w 938888"/>
                <a:gd name="connsiteY111" fmla="*/ 433279 h 651211"/>
                <a:gd name="connsiteX112" fmla="*/ 299493 w 938888"/>
                <a:gd name="connsiteY112" fmla="*/ 441261 h 651211"/>
                <a:gd name="connsiteX113" fmla="*/ 280190 w 938888"/>
                <a:gd name="connsiteY113" fmla="*/ 433279 h 651211"/>
                <a:gd name="connsiteX114" fmla="*/ 279808 w 938888"/>
                <a:gd name="connsiteY114" fmla="*/ 432829 h 651211"/>
                <a:gd name="connsiteX115" fmla="*/ 272252 w 938888"/>
                <a:gd name="connsiteY115" fmla="*/ 414014 h 651211"/>
                <a:gd name="connsiteX116" fmla="*/ 280253 w 938888"/>
                <a:gd name="connsiteY116" fmla="*/ 394760 h 651211"/>
                <a:gd name="connsiteX117" fmla="*/ 280190 w 938888"/>
                <a:gd name="connsiteY117" fmla="*/ 394748 h 651211"/>
                <a:gd name="connsiteX118" fmla="*/ 299493 w 938888"/>
                <a:gd name="connsiteY118" fmla="*/ 386759 h 651211"/>
                <a:gd name="connsiteX119" fmla="*/ 308765 w 938888"/>
                <a:gd name="connsiteY119" fmla="*/ 404736 h 651211"/>
                <a:gd name="connsiteX120" fmla="*/ 299493 w 938888"/>
                <a:gd name="connsiteY120" fmla="*/ 400888 h 651211"/>
                <a:gd name="connsiteX121" fmla="*/ 290222 w 938888"/>
                <a:gd name="connsiteY121" fmla="*/ 404736 h 651211"/>
                <a:gd name="connsiteX122" fmla="*/ 290159 w 938888"/>
                <a:gd name="connsiteY122" fmla="*/ 404711 h 651211"/>
                <a:gd name="connsiteX123" fmla="*/ 290159 w 938888"/>
                <a:gd name="connsiteY123" fmla="*/ 404736 h 651211"/>
                <a:gd name="connsiteX124" fmla="*/ 286349 w 938888"/>
                <a:gd name="connsiteY124" fmla="*/ 414014 h 651211"/>
                <a:gd name="connsiteX125" fmla="*/ 289905 w 938888"/>
                <a:gd name="connsiteY125" fmla="*/ 423005 h 651211"/>
                <a:gd name="connsiteX126" fmla="*/ 290222 w 938888"/>
                <a:gd name="connsiteY126" fmla="*/ 423285 h 651211"/>
                <a:gd name="connsiteX127" fmla="*/ 299493 w 938888"/>
                <a:gd name="connsiteY127" fmla="*/ 427120 h 651211"/>
                <a:gd name="connsiteX128" fmla="*/ 308765 w 938888"/>
                <a:gd name="connsiteY128" fmla="*/ 423285 h 651211"/>
                <a:gd name="connsiteX129" fmla="*/ 308765 w 938888"/>
                <a:gd name="connsiteY129" fmla="*/ 423304 h 651211"/>
                <a:gd name="connsiteX130" fmla="*/ 308765 w 938888"/>
                <a:gd name="connsiteY130" fmla="*/ 423285 h 651211"/>
                <a:gd name="connsiteX131" fmla="*/ 312574 w 938888"/>
                <a:gd name="connsiteY131" fmla="*/ 414014 h 651211"/>
                <a:gd name="connsiteX132" fmla="*/ 309082 w 938888"/>
                <a:gd name="connsiteY132" fmla="*/ 405022 h 651211"/>
                <a:gd name="connsiteX133" fmla="*/ 308765 w 938888"/>
                <a:gd name="connsiteY133" fmla="*/ 404736 h 651211"/>
                <a:gd name="connsiteX134" fmla="*/ 308765 w 938888"/>
                <a:gd name="connsiteY134" fmla="*/ 404736 h 651211"/>
                <a:gd name="connsiteX135" fmla="*/ 239042 w 938888"/>
                <a:gd name="connsiteY135" fmla="*/ 327641 h 651211"/>
                <a:gd name="connsiteX136" fmla="*/ 258282 w 938888"/>
                <a:gd name="connsiteY136" fmla="*/ 335623 h 651211"/>
                <a:gd name="connsiteX137" fmla="*/ 258345 w 938888"/>
                <a:gd name="connsiteY137" fmla="*/ 335668 h 651211"/>
                <a:gd name="connsiteX138" fmla="*/ 266346 w 938888"/>
                <a:gd name="connsiteY138" fmla="*/ 354889 h 651211"/>
                <a:gd name="connsiteX139" fmla="*/ 258345 w 938888"/>
                <a:gd name="connsiteY139" fmla="*/ 374129 h 651211"/>
                <a:gd name="connsiteX140" fmla="*/ 258282 w 938888"/>
                <a:gd name="connsiteY140" fmla="*/ 374174 h 651211"/>
                <a:gd name="connsiteX141" fmla="*/ 239042 w 938888"/>
                <a:gd name="connsiteY141" fmla="*/ 382137 h 651211"/>
                <a:gd name="connsiteX142" fmla="*/ 219801 w 938888"/>
                <a:gd name="connsiteY142" fmla="*/ 374155 h 651211"/>
                <a:gd name="connsiteX143" fmla="*/ 219420 w 938888"/>
                <a:gd name="connsiteY143" fmla="*/ 373710 h 651211"/>
                <a:gd name="connsiteX144" fmla="*/ 211863 w 938888"/>
                <a:gd name="connsiteY144" fmla="*/ 354889 h 651211"/>
                <a:gd name="connsiteX145" fmla="*/ 219801 w 938888"/>
                <a:gd name="connsiteY145" fmla="*/ 335648 h 651211"/>
                <a:gd name="connsiteX146" fmla="*/ 219865 w 938888"/>
                <a:gd name="connsiteY146" fmla="*/ 335610 h 651211"/>
                <a:gd name="connsiteX147" fmla="*/ 239042 w 938888"/>
                <a:gd name="connsiteY147" fmla="*/ 327641 h 651211"/>
                <a:gd name="connsiteX148" fmla="*/ 239042 w 938888"/>
                <a:gd name="connsiteY148" fmla="*/ 327641 h 651211"/>
                <a:gd name="connsiteX149" fmla="*/ 248376 w 938888"/>
                <a:gd name="connsiteY149" fmla="*/ 345586 h 651211"/>
                <a:gd name="connsiteX150" fmla="*/ 239042 w 938888"/>
                <a:gd name="connsiteY150" fmla="*/ 341770 h 651211"/>
                <a:gd name="connsiteX151" fmla="*/ 229770 w 938888"/>
                <a:gd name="connsiteY151" fmla="*/ 345586 h 651211"/>
                <a:gd name="connsiteX152" fmla="*/ 229770 w 938888"/>
                <a:gd name="connsiteY152" fmla="*/ 345611 h 651211"/>
                <a:gd name="connsiteX153" fmla="*/ 225960 w 938888"/>
                <a:gd name="connsiteY153" fmla="*/ 354889 h 651211"/>
                <a:gd name="connsiteX154" fmla="*/ 229517 w 938888"/>
                <a:gd name="connsiteY154" fmla="*/ 363881 h 651211"/>
                <a:gd name="connsiteX155" fmla="*/ 229770 w 938888"/>
                <a:gd name="connsiteY155" fmla="*/ 364166 h 651211"/>
                <a:gd name="connsiteX156" fmla="*/ 239042 w 938888"/>
                <a:gd name="connsiteY156" fmla="*/ 368008 h 651211"/>
                <a:gd name="connsiteX157" fmla="*/ 248376 w 938888"/>
                <a:gd name="connsiteY157" fmla="*/ 364185 h 651211"/>
                <a:gd name="connsiteX158" fmla="*/ 248376 w 938888"/>
                <a:gd name="connsiteY158" fmla="*/ 364160 h 651211"/>
                <a:gd name="connsiteX159" fmla="*/ 252186 w 938888"/>
                <a:gd name="connsiteY159" fmla="*/ 354882 h 651211"/>
                <a:gd name="connsiteX160" fmla="*/ 248376 w 938888"/>
                <a:gd name="connsiteY160" fmla="*/ 345605 h 651211"/>
                <a:gd name="connsiteX161" fmla="*/ 248376 w 938888"/>
                <a:gd name="connsiteY161" fmla="*/ 345586 h 651211"/>
                <a:gd name="connsiteX162" fmla="*/ 248376 w 938888"/>
                <a:gd name="connsiteY162" fmla="*/ 345586 h 651211"/>
                <a:gd name="connsiteX163" fmla="*/ 691923 w 938888"/>
                <a:gd name="connsiteY163" fmla="*/ 530308 h 651211"/>
                <a:gd name="connsiteX164" fmla="*/ 685573 w 938888"/>
                <a:gd name="connsiteY164" fmla="*/ 526358 h 651211"/>
                <a:gd name="connsiteX165" fmla="*/ 689510 w 938888"/>
                <a:gd name="connsiteY165" fmla="*/ 520002 h 651211"/>
                <a:gd name="connsiteX166" fmla="*/ 765710 w 938888"/>
                <a:gd name="connsiteY166" fmla="*/ 502069 h 651211"/>
                <a:gd name="connsiteX167" fmla="*/ 772060 w 938888"/>
                <a:gd name="connsiteY167" fmla="*/ 506025 h 651211"/>
                <a:gd name="connsiteX168" fmla="*/ 768123 w 938888"/>
                <a:gd name="connsiteY168" fmla="*/ 512388 h 651211"/>
                <a:gd name="connsiteX169" fmla="*/ 691923 w 938888"/>
                <a:gd name="connsiteY169" fmla="*/ 530308 h 651211"/>
                <a:gd name="connsiteX170" fmla="*/ 691860 w 938888"/>
                <a:gd name="connsiteY170" fmla="*/ 480339 h 651211"/>
                <a:gd name="connsiteX171" fmla="*/ 685573 w 938888"/>
                <a:gd name="connsiteY171" fmla="*/ 476269 h 651211"/>
                <a:gd name="connsiteX172" fmla="*/ 689637 w 938888"/>
                <a:gd name="connsiteY172" fmla="*/ 469995 h 651211"/>
                <a:gd name="connsiteX173" fmla="*/ 795492 w 938888"/>
                <a:gd name="connsiteY173" fmla="*/ 447249 h 651211"/>
                <a:gd name="connsiteX174" fmla="*/ 801779 w 938888"/>
                <a:gd name="connsiteY174" fmla="*/ 451326 h 651211"/>
                <a:gd name="connsiteX175" fmla="*/ 797715 w 938888"/>
                <a:gd name="connsiteY175" fmla="*/ 457600 h 651211"/>
                <a:gd name="connsiteX176" fmla="*/ 691860 w 938888"/>
                <a:gd name="connsiteY176" fmla="*/ 480339 h 651211"/>
                <a:gd name="connsiteX177" fmla="*/ 93245 w 938888"/>
                <a:gd name="connsiteY177" fmla="*/ 21196 h 651211"/>
                <a:gd name="connsiteX178" fmla="*/ 26824 w 938888"/>
                <a:gd name="connsiteY178" fmla="*/ 139649 h 651211"/>
                <a:gd name="connsiteX179" fmla="*/ 88610 w 938888"/>
                <a:gd name="connsiteY179" fmla="*/ 152794 h 651211"/>
                <a:gd name="connsiteX180" fmla="*/ 89880 w 938888"/>
                <a:gd name="connsiteY180" fmla="*/ 153079 h 651211"/>
                <a:gd name="connsiteX181" fmla="*/ 370359 w 938888"/>
                <a:gd name="connsiteY181" fmla="*/ 212795 h 651211"/>
                <a:gd name="connsiteX182" fmla="*/ 453354 w 938888"/>
                <a:gd name="connsiteY182" fmla="*/ 21190 h 651211"/>
                <a:gd name="connsiteX183" fmla="*/ 93245 w 938888"/>
                <a:gd name="connsiteY183" fmla="*/ 21190 h 651211"/>
                <a:gd name="connsiteX184" fmla="*/ 93245 w 938888"/>
                <a:gd name="connsiteY184" fmla="*/ 21196 h 651211"/>
                <a:gd name="connsiteX185" fmla="*/ 1361 w 938888"/>
                <a:gd name="connsiteY185" fmla="*/ 141827 h 651211"/>
                <a:gd name="connsiteX186" fmla="*/ 77497 w 938888"/>
                <a:gd name="connsiteY186" fmla="*/ 5937 h 651211"/>
                <a:gd name="connsiteX187" fmla="*/ 87022 w 938888"/>
                <a:gd name="connsiteY187" fmla="*/ 0 h 651211"/>
                <a:gd name="connsiteX188" fmla="*/ 469419 w 938888"/>
                <a:gd name="connsiteY188" fmla="*/ 0 h 651211"/>
                <a:gd name="connsiteX189" fmla="*/ 851817 w 938888"/>
                <a:gd name="connsiteY189" fmla="*/ 0 h 651211"/>
                <a:gd name="connsiteX190" fmla="*/ 861342 w 938888"/>
                <a:gd name="connsiteY190" fmla="*/ 5937 h 651211"/>
                <a:gd name="connsiteX191" fmla="*/ 937542 w 938888"/>
                <a:gd name="connsiteY191" fmla="*/ 141827 h 651211"/>
                <a:gd name="connsiteX192" fmla="*/ 933478 w 938888"/>
                <a:gd name="connsiteY192" fmla="*/ 156223 h 651211"/>
                <a:gd name="connsiteX193" fmla="*/ 930175 w 938888"/>
                <a:gd name="connsiteY193" fmla="*/ 157416 h 651211"/>
                <a:gd name="connsiteX194" fmla="*/ 862421 w 938888"/>
                <a:gd name="connsiteY194" fmla="*/ 171844 h 651211"/>
                <a:gd name="connsiteX195" fmla="*/ 862421 w 938888"/>
                <a:gd name="connsiteY195" fmla="*/ 542182 h 651211"/>
                <a:gd name="connsiteX196" fmla="*/ 862421 w 938888"/>
                <a:gd name="connsiteY196" fmla="*/ 542182 h 651211"/>
                <a:gd name="connsiteX197" fmla="*/ 854420 w 938888"/>
                <a:gd name="connsiteY197" fmla="*/ 552405 h 651211"/>
                <a:gd name="connsiteX198" fmla="*/ 473039 w 938888"/>
                <a:gd name="connsiteY198" fmla="*/ 650583 h 651211"/>
                <a:gd name="connsiteX199" fmla="*/ 469419 w 938888"/>
                <a:gd name="connsiteY199" fmla="*/ 651211 h 651211"/>
                <a:gd name="connsiteX200" fmla="*/ 465863 w 938888"/>
                <a:gd name="connsiteY200" fmla="*/ 650583 h 651211"/>
                <a:gd name="connsiteX201" fmla="*/ 84419 w 938888"/>
                <a:gd name="connsiteY201" fmla="*/ 552405 h 651211"/>
                <a:gd name="connsiteX202" fmla="*/ 76481 w 938888"/>
                <a:gd name="connsiteY202" fmla="*/ 542182 h 651211"/>
                <a:gd name="connsiteX203" fmla="*/ 76418 w 938888"/>
                <a:gd name="connsiteY203" fmla="*/ 542182 h 651211"/>
                <a:gd name="connsiteX204" fmla="*/ 76418 w 938888"/>
                <a:gd name="connsiteY204" fmla="*/ 171844 h 651211"/>
                <a:gd name="connsiteX205" fmla="*/ 8727 w 938888"/>
                <a:gd name="connsiteY205" fmla="*/ 157416 h 651211"/>
                <a:gd name="connsiteX206" fmla="*/ 5425 w 938888"/>
                <a:gd name="connsiteY206" fmla="*/ 156223 h 651211"/>
                <a:gd name="connsiteX207" fmla="*/ 1361 w 938888"/>
                <a:gd name="connsiteY207" fmla="*/ 141827 h 651211"/>
                <a:gd name="connsiteX208" fmla="*/ 1361 w 938888"/>
                <a:gd name="connsiteY208" fmla="*/ 141827 h 651211"/>
                <a:gd name="connsiteX209" fmla="*/ 458879 w 938888"/>
                <a:gd name="connsiteY209" fmla="*/ 61601 h 651211"/>
                <a:gd name="connsiteX210" fmla="*/ 386552 w 938888"/>
                <a:gd name="connsiteY210" fmla="*/ 228416 h 651211"/>
                <a:gd name="connsiteX211" fmla="*/ 374360 w 938888"/>
                <a:gd name="connsiteY211" fmla="*/ 235286 h 651211"/>
                <a:gd name="connsiteX212" fmla="*/ 97627 w 938888"/>
                <a:gd name="connsiteY212" fmla="*/ 176365 h 651211"/>
                <a:gd name="connsiteX213" fmla="*/ 97627 w 938888"/>
                <a:gd name="connsiteY213" fmla="*/ 534016 h 651211"/>
                <a:gd name="connsiteX214" fmla="*/ 458879 w 938888"/>
                <a:gd name="connsiteY214" fmla="*/ 626999 h 651211"/>
                <a:gd name="connsiteX215" fmla="*/ 458879 w 938888"/>
                <a:gd name="connsiteY215" fmla="*/ 61601 h 651211"/>
                <a:gd name="connsiteX216" fmla="*/ 841275 w 938888"/>
                <a:gd name="connsiteY216" fmla="*/ 176359 h 651211"/>
                <a:gd name="connsiteX217" fmla="*/ 564479 w 938888"/>
                <a:gd name="connsiteY217" fmla="*/ 235280 h 651211"/>
                <a:gd name="connsiteX218" fmla="*/ 552350 w 938888"/>
                <a:gd name="connsiteY218" fmla="*/ 228409 h 651211"/>
                <a:gd name="connsiteX219" fmla="*/ 480024 w 938888"/>
                <a:gd name="connsiteY219" fmla="*/ 61595 h 651211"/>
                <a:gd name="connsiteX220" fmla="*/ 480024 w 938888"/>
                <a:gd name="connsiteY220" fmla="*/ 626980 h 651211"/>
                <a:gd name="connsiteX221" fmla="*/ 841275 w 938888"/>
                <a:gd name="connsiteY221" fmla="*/ 534003 h 651211"/>
                <a:gd name="connsiteX222" fmla="*/ 841275 w 938888"/>
                <a:gd name="connsiteY222" fmla="*/ 176359 h 651211"/>
                <a:gd name="connsiteX223" fmla="*/ 912078 w 938888"/>
                <a:gd name="connsiteY223" fmla="*/ 139649 h 651211"/>
                <a:gd name="connsiteX224" fmla="*/ 845657 w 938888"/>
                <a:gd name="connsiteY224" fmla="*/ 21196 h 651211"/>
                <a:gd name="connsiteX225" fmla="*/ 485548 w 938888"/>
                <a:gd name="connsiteY225" fmla="*/ 21196 h 651211"/>
                <a:gd name="connsiteX226" fmla="*/ 568543 w 938888"/>
                <a:gd name="connsiteY226" fmla="*/ 212801 h 651211"/>
                <a:gd name="connsiteX227" fmla="*/ 848959 w 938888"/>
                <a:gd name="connsiteY227" fmla="*/ 153086 h 651211"/>
                <a:gd name="connsiteX228" fmla="*/ 850293 w 938888"/>
                <a:gd name="connsiteY228" fmla="*/ 152800 h 651211"/>
                <a:gd name="connsiteX229" fmla="*/ 912078 w 938888"/>
                <a:gd name="connsiteY229" fmla="*/ 139649 h 651211"/>
                <a:gd name="connsiteX230" fmla="*/ 912078 w 938888"/>
                <a:gd name="connsiteY230" fmla="*/ 139649 h 65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938888" h="651211">
                  <a:moveTo>
                    <a:pt x="276951" y="252235"/>
                  </a:moveTo>
                  <a:lnTo>
                    <a:pt x="297081" y="273405"/>
                  </a:lnTo>
                  <a:lnTo>
                    <a:pt x="324830" y="264027"/>
                  </a:lnTo>
                  <a:cubicBezTo>
                    <a:pt x="330355" y="262153"/>
                    <a:pt x="336323" y="265119"/>
                    <a:pt x="338229" y="270650"/>
                  </a:cubicBezTo>
                  <a:lnTo>
                    <a:pt x="338356" y="271145"/>
                  </a:lnTo>
                  <a:lnTo>
                    <a:pt x="338356" y="271145"/>
                  </a:lnTo>
                  <a:lnTo>
                    <a:pt x="346356" y="299288"/>
                  </a:lnTo>
                  <a:lnTo>
                    <a:pt x="375185" y="303841"/>
                  </a:lnTo>
                  <a:cubicBezTo>
                    <a:pt x="380964" y="304743"/>
                    <a:pt x="384901" y="310128"/>
                    <a:pt x="384012" y="315894"/>
                  </a:cubicBezTo>
                  <a:lnTo>
                    <a:pt x="383948" y="316427"/>
                  </a:lnTo>
                  <a:lnTo>
                    <a:pt x="383948" y="316427"/>
                  </a:lnTo>
                  <a:lnTo>
                    <a:pt x="377980" y="345072"/>
                  </a:lnTo>
                  <a:lnTo>
                    <a:pt x="401411" y="362515"/>
                  </a:lnTo>
                  <a:cubicBezTo>
                    <a:pt x="406110" y="366001"/>
                    <a:pt x="407062" y="372618"/>
                    <a:pt x="403633" y="377304"/>
                  </a:cubicBezTo>
                  <a:cubicBezTo>
                    <a:pt x="403443" y="377539"/>
                    <a:pt x="403253" y="377780"/>
                    <a:pt x="403062" y="378009"/>
                  </a:cubicBezTo>
                  <a:lnTo>
                    <a:pt x="384647" y="400304"/>
                  </a:lnTo>
                  <a:lnTo>
                    <a:pt x="397347" y="426682"/>
                  </a:lnTo>
                  <a:cubicBezTo>
                    <a:pt x="399823" y="431952"/>
                    <a:pt x="397601" y="438245"/>
                    <a:pt x="392331" y="440760"/>
                  </a:cubicBezTo>
                  <a:lnTo>
                    <a:pt x="391886" y="440963"/>
                  </a:lnTo>
                  <a:lnTo>
                    <a:pt x="364962" y="452317"/>
                  </a:lnTo>
                  <a:lnTo>
                    <a:pt x="363882" y="481552"/>
                  </a:lnTo>
                  <a:cubicBezTo>
                    <a:pt x="363692" y="487375"/>
                    <a:pt x="358803" y="491934"/>
                    <a:pt x="352960" y="491737"/>
                  </a:cubicBezTo>
                  <a:lnTo>
                    <a:pt x="352453" y="491699"/>
                  </a:lnTo>
                  <a:lnTo>
                    <a:pt x="352453" y="491737"/>
                  </a:lnTo>
                  <a:lnTo>
                    <a:pt x="323305" y="489255"/>
                  </a:lnTo>
                  <a:lnTo>
                    <a:pt x="308828" y="514629"/>
                  </a:lnTo>
                  <a:cubicBezTo>
                    <a:pt x="305907" y="519703"/>
                    <a:pt x="299430" y="521462"/>
                    <a:pt x="294350" y="518560"/>
                  </a:cubicBezTo>
                  <a:cubicBezTo>
                    <a:pt x="293969" y="518338"/>
                    <a:pt x="293588" y="518077"/>
                    <a:pt x="293207" y="517804"/>
                  </a:cubicBezTo>
                  <a:lnTo>
                    <a:pt x="269268" y="502526"/>
                  </a:lnTo>
                  <a:lnTo>
                    <a:pt x="244630" y="518274"/>
                  </a:lnTo>
                  <a:cubicBezTo>
                    <a:pt x="239676" y="521405"/>
                    <a:pt x="233199" y="519963"/>
                    <a:pt x="230024" y="515042"/>
                  </a:cubicBezTo>
                  <a:lnTo>
                    <a:pt x="229770" y="514617"/>
                  </a:lnTo>
                  <a:lnTo>
                    <a:pt x="229707" y="514629"/>
                  </a:lnTo>
                  <a:lnTo>
                    <a:pt x="215229" y="489255"/>
                  </a:lnTo>
                  <a:lnTo>
                    <a:pt x="186082" y="491737"/>
                  </a:lnTo>
                  <a:cubicBezTo>
                    <a:pt x="180241" y="492214"/>
                    <a:pt x="175097" y="487883"/>
                    <a:pt x="174653" y="482054"/>
                  </a:cubicBezTo>
                  <a:cubicBezTo>
                    <a:pt x="174653" y="481622"/>
                    <a:pt x="174589" y="481197"/>
                    <a:pt x="174653" y="480771"/>
                  </a:cubicBezTo>
                  <a:lnTo>
                    <a:pt x="173573" y="452329"/>
                  </a:lnTo>
                  <a:lnTo>
                    <a:pt x="146649" y="440982"/>
                  </a:lnTo>
                  <a:cubicBezTo>
                    <a:pt x="141251" y="438721"/>
                    <a:pt x="138775" y="432524"/>
                    <a:pt x="140997" y="427152"/>
                  </a:cubicBezTo>
                  <a:lnTo>
                    <a:pt x="153888" y="400310"/>
                  </a:lnTo>
                  <a:lnTo>
                    <a:pt x="135282" y="377723"/>
                  </a:lnTo>
                  <a:cubicBezTo>
                    <a:pt x="131536" y="373215"/>
                    <a:pt x="132234" y="366560"/>
                    <a:pt x="136743" y="362858"/>
                  </a:cubicBezTo>
                  <a:lnTo>
                    <a:pt x="137124" y="362528"/>
                  </a:lnTo>
                  <a:lnTo>
                    <a:pt x="160556" y="345072"/>
                  </a:lnTo>
                  <a:lnTo>
                    <a:pt x="154586" y="316427"/>
                  </a:lnTo>
                  <a:cubicBezTo>
                    <a:pt x="153380" y="310712"/>
                    <a:pt x="157063" y="305117"/>
                    <a:pt x="162778" y="303924"/>
                  </a:cubicBezTo>
                  <a:cubicBezTo>
                    <a:pt x="163159" y="303847"/>
                    <a:pt x="163476" y="303790"/>
                    <a:pt x="163857" y="303765"/>
                  </a:cubicBezTo>
                  <a:lnTo>
                    <a:pt x="192179" y="299288"/>
                  </a:lnTo>
                  <a:lnTo>
                    <a:pt x="200180" y="271145"/>
                  </a:lnTo>
                  <a:cubicBezTo>
                    <a:pt x="201767" y="265519"/>
                    <a:pt x="207609" y="262255"/>
                    <a:pt x="213260" y="263861"/>
                  </a:cubicBezTo>
                  <a:cubicBezTo>
                    <a:pt x="213578" y="263957"/>
                    <a:pt x="213895" y="264065"/>
                    <a:pt x="214213" y="264179"/>
                  </a:cubicBezTo>
                  <a:lnTo>
                    <a:pt x="241455" y="273405"/>
                  </a:lnTo>
                  <a:lnTo>
                    <a:pt x="261584" y="252235"/>
                  </a:lnTo>
                  <a:cubicBezTo>
                    <a:pt x="265648" y="248005"/>
                    <a:pt x="272316" y="247840"/>
                    <a:pt x="276570" y="251866"/>
                  </a:cubicBezTo>
                  <a:lnTo>
                    <a:pt x="276951" y="252235"/>
                  </a:lnTo>
                  <a:lnTo>
                    <a:pt x="276951" y="252235"/>
                  </a:lnTo>
                  <a:close/>
                  <a:moveTo>
                    <a:pt x="286412" y="292881"/>
                  </a:moveTo>
                  <a:lnTo>
                    <a:pt x="269268" y="274853"/>
                  </a:lnTo>
                  <a:lnTo>
                    <a:pt x="252440" y="292570"/>
                  </a:lnTo>
                  <a:cubicBezTo>
                    <a:pt x="249646" y="295681"/>
                    <a:pt x="245265" y="297021"/>
                    <a:pt x="241073" y="295611"/>
                  </a:cubicBezTo>
                  <a:lnTo>
                    <a:pt x="217515" y="287623"/>
                  </a:lnTo>
                  <a:lnTo>
                    <a:pt x="210657" y="311563"/>
                  </a:lnTo>
                  <a:lnTo>
                    <a:pt x="210657" y="311563"/>
                  </a:lnTo>
                  <a:cubicBezTo>
                    <a:pt x="209578" y="315398"/>
                    <a:pt x="206339" y="318446"/>
                    <a:pt x="202084" y="319107"/>
                  </a:cubicBezTo>
                  <a:lnTo>
                    <a:pt x="177573" y="322974"/>
                  </a:lnTo>
                  <a:lnTo>
                    <a:pt x="182654" y="347370"/>
                  </a:lnTo>
                  <a:cubicBezTo>
                    <a:pt x="183479" y="351275"/>
                    <a:pt x="182018" y="355467"/>
                    <a:pt x="178590" y="358006"/>
                  </a:cubicBezTo>
                  <a:lnTo>
                    <a:pt x="158650" y="372872"/>
                  </a:lnTo>
                  <a:lnTo>
                    <a:pt x="174462" y="392100"/>
                  </a:lnTo>
                  <a:cubicBezTo>
                    <a:pt x="177002" y="395167"/>
                    <a:pt x="177637" y="399536"/>
                    <a:pt x="175859" y="403352"/>
                  </a:cubicBezTo>
                  <a:lnTo>
                    <a:pt x="165064" y="425825"/>
                  </a:lnTo>
                  <a:lnTo>
                    <a:pt x="187606" y="435318"/>
                  </a:lnTo>
                  <a:cubicBezTo>
                    <a:pt x="191480" y="436772"/>
                    <a:pt x="194337" y="440449"/>
                    <a:pt x="194465" y="444836"/>
                  </a:cubicBezTo>
                  <a:lnTo>
                    <a:pt x="195354" y="469690"/>
                  </a:lnTo>
                  <a:lnTo>
                    <a:pt x="220245" y="467576"/>
                  </a:lnTo>
                  <a:cubicBezTo>
                    <a:pt x="224182" y="467258"/>
                    <a:pt x="228183" y="469195"/>
                    <a:pt x="230279" y="472878"/>
                  </a:cubicBezTo>
                  <a:lnTo>
                    <a:pt x="242597" y="494506"/>
                  </a:lnTo>
                  <a:lnTo>
                    <a:pt x="263425" y="481222"/>
                  </a:lnTo>
                  <a:cubicBezTo>
                    <a:pt x="266791" y="478974"/>
                    <a:pt x="271299" y="478796"/>
                    <a:pt x="274919" y="481108"/>
                  </a:cubicBezTo>
                  <a:lnTo>
                    <a:pt x="295937" y="494500"/>
                  </a:lnTo>
                  <a:lnTo>
                    <a:pt x="308066" y="473221"/>
                  </a:lnTo>
                  <a:cubicBezTo>
                    <a:pt x="309971" y="469557"/>
                    <a:pt x="313971" y="467201"/>
                    <a:pt x="318353" y="467563"/>
                  </a:cubicBezTo>
                  <a:lnTo>
                    <a:pt x="343181" y="469678"/>
                  </a:lnTo>
                  <a:lnTo>
                    <a:pt x="344070" y="444824"/>
                  </a:lnTo>
                  <a:cubicBezTo>
                    <a:pt x="344197" y="440855"/>
                    <a:pt x="346610" y="437121"/>
                    <a:pt x="350547" y="435470"/>
                  </a:cubicBezTo>
                  <a:lnTo>
                    <a:pt x="373471" y="425812"/>
                  </a:lnTo>
                  <a:lnTo>
                    <a:pt x="362930" y="403695"/>
                  </a:lnTo>
                  <a:cubicBezTo>
                    <a:pt x="360961" y="400056"/>
                    <a:pt x="361343" y="395459"/>
                    <a:pt x="364073" y="392081"/>
                  </a:cubicBezTo>
                  <a:lnTo>
                    <a:pt x="379948" y="372859"/>
                  </a:lnTo>
                  <a:lnTo>
                    <a:pt x="360263" y="358229"/>
                  </a:lnTo>
                  <a:cubicBezTo>
                    <a:pt x="356897" y="355886"/>
                    <a:pt x="354993" y="351656"/>
                    <a:pt x="355881" y="347357"/>
                  </a:cubicBezTo>
                  <a:lnTo>
                    <a:pt x="361025" y="322961"/>
                  </a:lnTo>
                  <a:lnTo>
                    <a:pt x="337276" y="319215"/>
                  </a:lnTo>
                  <a:cubicBezTo>
                    <a:pt x="332958" y="318884"/>
                    <a:pt x="329148" y="315932"/>
                    <a:pt x="327878" y="311550"/>
                  </a:cubicBezTo>
                  <a:lnTo>
                    <a:pt x="321020" y="287610"/>
                  </a:lnTo>
                  <a:lnTo>
                    <a:pt x="297525" y="295599"/>
                  </a:lnTo>
                  <a:cubicBezTo>
                    <a:pt x="293715" y="296882"/>
                    <a:pt x="289333" y="295954"/>
                    <a:pt x="286412" y="292881"/>
                  </a:cubicBezTo>
                  <a:lnTo>
                    <a:pt x="286412" y="292881"/>
                  </a:lnTo>
                  <a:close/>
                  <a:moveTo>
                    <a:pt x="298223" y="323736"/>
                  </a:moveTo>
                  <a:cubicBezTo>
                    <a:pt x="299684" y="321221"/>
                    <a:pt x="302922" y="320351"/>
                    <a:pt x="305462" y="321812"/>
                  </a:cubicBezTo>
                  <a:cubicBezTo>
                    <a:pt x="308003" y="323272"/>
                    <a:pt x="308828" y="326511"/>
                    <a:pt x="307368" y="329038"/>
                  </a:cubicBezTo>
                  <a:lnTo>
                    <a:pt x="240311" y="445167"/>
                  </a:lnTo>
                  <a:cubicBezTo>
                    <a:pt x="238851" y="447694"/>
                    <a:pt x="235612" y="448551"/>
                    <a:pt x="233072" y="447091"/>
                  </a:cubicBezTo>
                  <a:cubicBezTo>
                    <a:pt x="230596" y="445630"/>
                    <a:pt x="229707" y="442398"/>
                    <a:pt x="231168" y="439871"/>
                  </a:cubicBezTo>
                  <a:lnTo>
                    <a:pt x="298223" y="323736"/>
                  </a:lnTo>
                  <a:close/>
                  <a:moveTo>
                    <a:pt x="299493" y="386759"/>
                  </a:moveTo>
                  <a:cubicBezTo>
                    <a:pt x="306986" y="386759"/>
                    <a:pt x="313844" y="389807"/>
                    <a:pt x="318734" y="394748"/>
                  </a:cubicBezTo>
                  <a:lnTo>
                    <a:pt x="319179" y="395199"/>
                  </a:lnTo>
                  <a:cubicBezTo>
                    <a:pt x="323878" y="400095"/>
                    <a:pt x="326735" y="406730"/>
                    <a:pt x="326735" y="414014"/>
                  </a:cubicBezTo>
                  <a:cubicBezTo>
                    <a:pt x="326735" y="421506"/>
                    <a:pt x="323687" y="428314"/>
                    <a:pt x="318734" y="433260"/>
                  </a:cubicBezTo>
                  <a:lnTo>
                    <a:pt x="318734" y="433279"/>
                  </a:lnTo>
                  <a:cubicBezTo>
                    <a:pt x="313780" y="438207"/>
                    <a:pt x="306986" y="441261"/>
                    <a:pt x="299493" y="441261"/>
                  </a:cubicBezTo>
                  <a:cubicBezTo>
                    <a:pt x="291937" y="441261"/>
                    <a:pt x="285143" y="438214"/>
                    <a:pt x="280190" y="433279"/>
                  </a:cubicBezTo>
                  <a:lnTo>
                    <a:pt x="279808" y="432829"/>
                  </a:lnTo>
                  <a:cubicBezTo>
                    <a:pt x="275109" y="427933"/>
                    <a:pt x="272252" y="421297"/>
                    <a:pt x="272252" y="414014"/>
                  </a:cubicBezTo>
                  <a:cubicBezTo>
                    <a:pt x="272252" y="406508"/>
                    <a:pt x="275300" y="399701"/>
                    <a:pt x="280253" y="394760"/>
                  </a:cubicBezTo>
                  <a:lnTo>
                    <a:pt x="280190" y="394748"/>
                  </a:lnTo>
                  <a:cubicBezTo>
                    <a:pt x="285143" y="389807"/>
                    <a:pt x="291937" y="386759"/>
                    <a:pt x="299493" y="386759"/>
                  </a:cubicBezTo>
                  <a:close/>
                  <a:moveTo>
                    <a:pt x="308765" y="404736"/>
                  </a:moveTo>
                  <a:cubicBezTo>
                    <a:pt x="306415" y="402355"/>
                    <a:pt x="303113" y="400888"/>
                    <a:pt x="299493" y="400888"/>
                  </a:cubicBezTo>
                  <a:cubicBezTo>
                    <a:pt x="295874" y="400888"/>
                    <a:pt x="292572" y="402355"/>
                    <a:pt x="290222" y="404736"/>
                  </a:cubicBezTo>
                  <a:lnTo>
                    <a:pt x="290159" y="404711"/>
                  </a:lnTo>
                  <a:lnTo>
                    <a:pt x="290159" y="404736"/>
                  </a:lnTo>
                  <a:cubicBezTo>
                    <a:pt x="287809" y="407079"/>
                    <a:pt x="286349" y="410369"/>
                    <a:pt x="286349" y="414014"/>
                  </a:cubicBezTo>
                  <a:cubicBezTo>
                    <a:pt x="286349" y="417506"/>
                    <a:pt x="287682" y="420669"/>
                    <a:pt x="289905" y="423005"/>
                  </a:cubicBezTo>
                  <a:lnTo>
                    <a:pt x="290222" y="423285"/>
                  </a:lnTo>
                  <a:cubicBezTo>
                    <a:pt x="292572" y="425660"/>
                    <a:pt x="295874" y="427120"/>
                    <a:pt x="299493" y="427120"/>
                  </a:cubicBezTo>
                  <a:cubicBezTo>
                    <a:pt x="303113" y="427120"/>
                    <a:pt x="306415" y="425660"/>
                    <a:pt x="308765" y="423285"/>
                  </a:cubicBezTo>
                  <a:lnTo>
                    <a:pt x="308765" y="423304"/>
                  </a:lnTo>
                  <a:lnTo>
                    <a:pt x="308765" y="423285"/>
                  </a:lnTo>
                  <a:cubicBezTo>
                    <a:pt x="311178" y="420935"/>
                    <a:pt x="312574" y="417652"/>
                    <a:pt x="312574" y="414014"/>
                  </a:cubicBezTo>
                  <a:cubicBezTo>
                    <a:pt x="312574" y="410515"/>
                    <a:pt x="311241" y="407352"/>
                    <a:pt x="309082" y="405022"/>
                  </a:cubicBezTo>
                  <a:lnTo>
                    <a:pt x="308765" y="404736"/>
                  </a:lnTo>
                  <a:lnTo>
                    <a:pt x="308765" y="404736"/>
                  </a:lnTo>
                  <a:close/>
                  <a:moveTo>
                    <a:pt x="239042" y="327641"/>
                  </a:moveTo>
                  <a:cubicBezTo>
                    <a:pt x="246598" y="327641"/>
                    <a:pt x="253393" y="330689"/>
                    <a:pt x="258282" y="335623"/>
                  </a:cubicBezTo>
                  <a:lnTo>
                    <a:pt x="258345" y="335668"/>
                  </a:lnTo>
                  <a:cubicBezTo>
                    <a:pt x="263298" y="340601"/>
                    <a:pt x="266346" y="347415"/>
                    <a:pt x="266346" y="354889"/>
                  </a:cubicBezTo>
                  <a:cubicBezTo>
                    <a:pt x="266346" y="362382"/>
                    <a:pt x="263298" y="369189"/>
                    <a:pt x="258345" y="374129"/>
                  </a:cubicBezTo>
                  <a:lnTo>
                    <a:pt x="258282" y="374174"/>
                  </a:lnTo>
                  <a:cubicBezTo>
                    <a:pt x="253329" y="379095"/>
                    <a:pt x="246534" y="382137"/>
                    <a:pt x="239042" y="382137"/>
                  </a:cubicBezTo>
                  <a:cubicBezTo>
                    <a:pt x="231548" y="382137"/>
                    <a:pt x="224754" y="379089"/>
                    <a:pt x="219801" y="374155"/>
                  </a:cubicBezTo>
                  <a:lnTo>
                    <a:pt x="219420" y="373710"/>
                  </a:lnTo>
                  <a:cubicBezTo>
                    <a:pt x="214721" y="368808"/>
                    <a:pt x="211863" y="362172"/>
                    <a:pt x="211863" y="354889"/>
                  </a:cubicBezTo>
                  <a:cubicBezTo>
                    <a:pt x="211863" y="347396"/>
                    <a:pt x="214911" y="340595"/>
                    <a:pt x="219801" y="335648"/>
                  </a:cubicBezTo>
                  <a:lnTo>
                    <a:pt x="219865" y="335610"/>
                  </a:lnTo>
                  <a:cubicBezTo>
                    <a:pt x="224818" y="330689"/>
                    <a:pt x="231612" y="327641"/>
                    <a:pt x="239042" y="327641"/>
                  </a:cubicBezTo>
                  <a:lnTo>
                    <a:pt x="239042" y="327641"/>
                  </a:lnTo>
                  <a:close/>
                  <a:moveTo>
                    <a:pt x="248376" y="345586"/>
                  </a:moveTo>
                  <a:cubicBezTo>
                    <a:pt x="246026" y="343230"/>
                    <a:pt x="242724" y="341770"/>
                    <a:pt x="239042" y="341770"/>
                  </a:cubicBezTo>
                  <a:cubicBezTo>
                    <a:pt x="235422" y="341770"/>
                    <a:pt x="232120" y="343224"/>
                    <a:pt x="229770" y="345586"/>
                  </a:cubicBezTo>
                  <a:lnTo>
                    <a:pt x="229770" y="345611"/>
                  </a:lnTo>
                  <a:cubicBezTo>
                    <a:pt x="227421" y="347967"/>
                    <a:pt x="225960" y="351256"/>
                    <a:pt x="225960" y="354889"/>
                  </a:cubicBezTo>
                  <a:cubicBezTo>
                    <a:pt x="225960" y="358387"/>
                    <a:pt x="227294" y="361550"/>
                    <a:pt x="229517" y="363881"/>
                  </a:cubicBezTo>
                  <a:lnTo>
                    <a:pt x="229770" y="364166"/>
                  </a:lnTo>
                  <a:cubicBezTo>
                    <a:pt x="232183" y="366535"/>
                    <a:pt x="235422" y="368008"/>
                    <a:pt x="239042" y="368008"/>
                  </a:cubicBezTo>
                  <a:cubicBezTo>
                    <a:pt x="242724" y="368008"/>
                    <a:pt x="246026" y="366547"/>
                    <a:pt x="248376" y="364185"/>
                  </a:cubicBezTo>
                  <a:lnTo>
                    <a:pt x="248376" y="364160"/>
                  </a:lnTo>
                  <a:cubicBezTo>
                    <a:pt x="250725" y="361804"/>
                    <a:pt x="252186" y="358527"/>
                    <a:pt x="252186" y="354882"/>
                  </a:cubicBezTo>
                  <a:cubicBezTo>
                    <a:pt x="252186" y="351250"/>
                    <a:pt x="250725" y="347961"/>
                    <a:pt x="248376" y="345605"/>
                  </a:cubicBezTo>
                  <a:lnTo>
                    <a:pt x="248376" y="345586"/>
                  </a:lnTo>
                  <a:lnTo>
                    <a:pt x="248376" y="345586"/>
                  </a:lnTo>
                  <a:close/>
                  <a:moveTo>
                    <a:pt x="691923" y="530308"/>
                  </a:moveTo>
                  <a:cubicBezTo>
                    <a:pt x="689130" y="530968"/>
                    <a:pt x="686272" y="529203"/>
                    <a:pt x="685573" y="526358"/>
                  </a:cubicBezTo>
                  <a:cubicBezTo>
                    <a:pt x="684938" y="523513"/>
                    <a:pt x="686717" y="520662"/>
                    <a:pt x="689510" y="520002"/>
                  </a:cubicBezTo>
                  <a:lnTo>
                    <a:pt x="765710" y="502069"/>
                  </a:lnTo>
                  <a:cubicBezTo>
                    <a:pt x="768568" y="501409"/>
                    <a:pt x="771425" y="503180"/>
                    <a:pt x="772060" y="506025"/>
                  </a:cubicBezTo>
                  <a:cubicBezTo>
                    <a:pt x="772759" y="508864"/>
                    <a:pt x="770981" y="511715"/>
                    <a:pt x="768123" y="512388"/>
                  </a:cubicBezTo>
                  <a:lnTo>
                    <a:pt x="691923" y="530308"/>
                  </a:lnTo>
                  <a:close/>
                  <a:moveTo>
                    <a:pt x="691860" y="480339"/>
                  </a:moveTo>
                  <a:cubicBezTo>
                    <a:pt x="689003" y="480949"/>
                    <a:pt x="686145" y="479120"/>
                    <a:pt x="685573" y="476269"/>
                  </a:cubicBezTo>
                  <a:cubicBezTo>
                    <a:pt x="684938" y="473405"/>
                    <a:pt x="686780" y="470598"/>
                    <a:pt x="689637" y="469995"/>
                  </a:cubicBezTo>
                  <a:lnTo>
                    <a:pt x="795492" y="447249"/>
                  </a:lnTo>
                  <a:cubicBezTo>
                    <a:pt x="798349" y="446640"/>
                    <a:pt x="801143" y="448469"/>
                    <a:pt x="801779" y="451326"/>
                  </a:cubicBezTo>
                  <a:cubicBezTo>
                    <a:pt x="802350" y="454184"/>
                    <a:pt x="800508" y="456997"/>
                    <a:pt x="797715" y="457600"/>
                  </a:cubicBezTo>
                  <a:lnTo>
                    <a:pt x="691860" y="480339"/>
                  </a:lnTo>
                  <a:close/>
                  <a:moveTo>
                    <a:pt x="93245" y="21196"/>
                  </a:moveTo>
                  <a:lnTo>
                    <a:pt x="26824" y="139649"/>
                  </a:lnTo>
                  <a:lnTo>
                    <a:pt x="88610" y="152794"/>
                  </a:lnTo>
                  <a:cubicBezTo>
                    <a:pt x="89055" y="152864"/>
                    <a:pt x="89499" y="152952"/>
                    <a:pt x="89880" y="153079"/>
                  </a:cubicBezTo>
                  <a:lnTo>
                    <a:pt x="370359" y="212795"/>
                  </a:lnTo>
                  <a:lnTo>
                    <a:pt x="453354" y="21190"/>
                  </a:lnTo>
                  <a:lnTo>
                    <a:pt x="93245" y="21190"/>
                  </a:lnTo>
                  <a:lnTo>
                    <a:pt x="93245" y="21196"/>
                  </a:lnTo>
                  <a:close/>
                  <a:moveTo>
                    <a:pt x="1361" y="141827"/>
                  </a:moveTo>
                  <a:lnTo>
                    <a:pt x="77497" y="5937"/>
                  </a:lnTo>
                  <a:cubicBezTo>
                    <a:pt x="79275" y="2426"/>
                    <a:pt x="82895" y="0"/>
                    <a:pt x="87022" y="0"/>
                  </a:cubicBezTo>
                  <a:lnTo>
                    <a:pt x="469419" y="0"/>
                  </a:lnTo>
                  <a:lnTo>
                    <a:pt x="851817" y="0"/>
                  </a:lnTo>
                  <a:cubicBezTo>
                    <a:pt x="856007" y="0"/>
                    <a:pt x="859627" y="2426"/>
                    <a:pt x="861342" y="5937"/>
                  </a:cubicBezTo>
                  <a:lnTo>
                    <a:pt x="937542" y="141827"/>
                  </a:lnTo>
                  <a:cubicBezTo>
                    <a:pt x="940399" y="146920"/>
                    <a:pt x="938557" y="153372"/>
                    <a:pt x="933478" y="156223"/>
                  </a:cubicBezTo>
                  <a:cubicBezTo>
                    <a:pt x="932398" y="156832"/>
                    <a:pt x="931318" y="157213"/>
                    <a:pt x="930175" y="157416"/>
                  </a:cubicBezTo>
                  <a:lnTo>
                    <a:pt x="862421" y="171844"/>
                  </a:lnTo>
                  <a:lnTo>
                    <a:pt x="862421" y="542182"/>
                  </a:lnTo>
                  <a:lnTo>
                    <a:pt x="862421" y="542182"/>
                  </a:lnTo>
                  <a:cubicBezTo>
                    <a:pt x="862421" y="546894"/>
                    <a:pt x="859246" y="551199"/>
                    <a:pt x="854420" y="552405"/>
                  </a:cubicBezTo>
                  <a:lnTo>
                    <a:pt x="473039" y="650583"/>
                  </a:lnTo>
                  <a:cubicBezTo>
                    <a:pt x="471896" y="650983"/>
                    <a:pt x="470690" y="651211"/>
                    <a:pt x="469419" y="651211"/>
                  </a:cubicBezTo>
                  <a:cubicBezTo>
                    <a:pt x="468213" y="651211"/>
                    <a:pt x="466943" y="650989"/>
                    <a:pt x="465863" y="650583"/>
                  </a:cubicBezTo>
                  <a:lnTo>
                    <a:pt x="84419" y="552405"/>
                  </a:lnTo>
                  <a:cubicBezTo>
                    <a:pt x="79656" y="551199"/>
                    <a:pt x="76481" y="546894"/>
                    <a:pt x="76481" y="542182"/>
                  </a:cubicBezTo>
                  <a:lnTo>
                    <a:pt x="76418" y="542182"/>
                  </a:lnTo>
                  <a:lnTo>
                    <a:pt x="76418" y="171844"/>
                  </a:lnTo>
                  <a:lnTo>
                    <a:pt x="8727" y="157416"/>
                  </a:lnTo>
                  <a:cubicBezTo>
                    <a:pt x="7584" y="157219"/>
                    <a:pt x="6441" y="156832"/>
                    <a:pt x="5425" y="156223"/>
                  </a:cubicBezTo>
                  <a:cubicBezTo>
                    <a:pt x="281" y="153372"/>
                    <a:pt x="-1496" y="146914"/>
                    <a:pt x="1361" y="141827"/>
                  </a:cubicBezTo>
                  <a:lnTo>
                    <a:pt x="1361" y="141827"/>
                  </a:lnTo>
                  <a:close/>
                  <a:moveTo>
                    <a:pt x="458879" y="61601"/>
                  </a:moveTo>
                  <a:lnTo>
                    <a:pt x="386552" y="228416"/>
                  </a:lnTo>
                  <a:cubicBezTo>
                    <a:pt x="384837" y="233381"/>
                    <a:pt x="379631" y="236410"/>
                    <a:pt x="374360" y="235286"/>
                  </a:cubicBezTo>
                  <a:lnTo>
                    <a:pt x="97627" y="176365"/>
                  </a:lnTo>
                  <a:lnTo>
                    <a:pt x="97627" y="534016"/>
                  </a:lnTo>
                  <a:lnTo>
                    <a:pt x="458879" y="626999"/>
                  </a:lnTo>
                  <a:lnTo>
                    <a:pt x="458879" y="61601"/>
                  </a:lnTo>
                  <a:close/>
                  <a:moveTo>
                    <a:pt x="841275" y="176359"/>
                  </a:moveTo>
                  <a:lnTo>
                    <a:pt x="564479" y="235280"/>
                  </a:lnTo>
                  <a:cubicBezTo>
                    <a:pt x="559208" y="236404"/>
                    <a:pt x="554065" y="233375"/>
                    <a:pt x="552350" y="228409"/>
                  </a:cubicBezTo>
                  <a:lnTo>
                    <a:pt x="480024" y="61595"/>
                  </a:lnTo>
                  <a:lnTo>
                    <a:pt x="480024" y="626980"/>
                  </a:lnTo>
                  <a:lnTo>
                    <a:pt x="841275" y="534003"/>
                  </a:lnTo>
                  <a:lnTo>
                    <a:pt x="841275" y="176359"/>
                  </a:lnTo>
                  <a:close/>
                  <a:moveTo>
                    <a:pt x="912078" y="139649"/>
                  </a:moveTo>
                  <a:lnTo>
                    <a:pt x="845657" y="21196"/>
                  </a:lnTo>
                  <a:lnTo>
                    <a:pt x="485548" y="21196"/>
                  </a:lnTo>
                  <a:lnTo>
                    <a:pt x="568543" y="212801"/>
                  </a:lnTo>
                  <a:lnTo>
                    <a:pt x="848959" y="153086"/>
                  </a:lnTo>
                  <a:cubicBezTo>
                    <a:pt x="849404" y="152959"/>
                    <a:pt x="849848" y="152870"/>
                    <a:pt x="850293" y="152800"/>
                  </a:cubicBezTo>
                  <a:lnTo>
                    <a:pt x="912078" y="139649"/>
                  </a:lnTo>
                  <a:lnTo>
                    <a:pt x="912078" y="139649"/>
                  </a:lnTo>
                  <a:close/>
                </a:path>
              </a:pathLst>
            </a:custGeom>
            <a:solidFill>
              <a:srgbClr val="000000"/>
            </a:solidFill>
            <a:ln w="63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5" name="Forme libre : forme 1754">
              <a:extLst>
                <a:ext uri="{FF2B5EF4-FFF2-40B4-BE49-F238E27FC236}">
                  <a16:creationId xmlns:a16="http://schemas.microsoft.com/office/drawing/2014/main" id="{BB3B126B-6F92-47D5-A01A-7CD5A484EB87}"/>
                </a:ext>
              </a:extLst>
            </p:cNvPr>
            <p:cNvSpPr/>
            <p:nvPr/>
          </p:nvSpPr>
          <p:spPr>
            <a:xfrm>
              <a:off x="9153416" y="3042013"/>
              <a:ext cx="261778" cy="325964"/>
            </a:xfrm>
            <a:custGeom>
              <a:avLst/>
              <a:gdLst>
                <a:gd name="connsiteX0" fmla="*/ 123253 w 261778"/>
                <a:gd name="connsiteY0" fmla="*/ 7626 h 325964"/>
                <a:gd name="connsiteX1" fmla="*/ 130873 w 261778"/>
                <a:gd name="connsiteY1" fmla="*/ 0 h 325964"/>
                <a:gd name="connsiteX2" fmla="*/ 138494 w 261778"/>
                <a:gd name="connsiteY2" fmla="*/ 7626 h 325964"/>
                <a:gd name="connsiteX3" fmla="*/ 138494 w 261778"/>
                <a:gd name="connsiteY3" fmla="*/ 301098 h 325964"/>
                <a:gd name="connsiteX4" fmla="*/ 249047 w 261778"/>
                <a:gd name="connsiteY4" fmla="*/ 200615 h 325964"/>
                <a:gd name="connsiteX5" fmla="*/ 259778 w 261778"/>
                <a:gd name="connsiteY5" fmla="*/ 201123 h 325964"/>
                <a:gd name="connsiteX6" fmla="*/ 259334 w 261778"/>
                <a:gd name="connsiteY6" fmla="*/ 211880 h 325964"/>
                <a:gd name="connsiteX7" fmla="*/ 136335 w 261778"/>
                <a:gd name="connsiteY7" fmla="*/ 323666 h 325964"/>
                <a:gd name="connsiteX8" fmla="*/ 130873 w 261778"/>
                <a:gd name="connsiteY8" fmla="*/ 325965 h 325964"/>
                <a:gd name="connsiteX9" fmla="*/ 125412 w 261778"/>
                <a:gd name="connsiteY9" fmla="*/ 323666 h 325964"/>
                <a:gd name="connsiteX10" fmla="*/ 2476 w 261778"/>
                <a:gd name="connsiteY10" fmla="*/ 211880 h 325964"/>
                <a:gd name="connsiteX11" fmla="*/ 1969 w 261778"/>
                <a:gd name="connsiteY11" fmla="*/ 201123 h 325964"/>
                <a:gd name="connsiteX12" fmla="*/ 12763 w 261778"/>
                <a:gd name="connsiteY12" fmla="*/ 200615 h 325964"/>
                <a:gd name="connsiteX13" fmla="*/ 123253 w 261778"/>
                <a:gd name="connsiteY13" fmla="*/ 301098 h 325964"/>
                <a:gd name="connsiteX14" fmla="*/ 123253 w 261778"/>
                <a:gd name="connsiteY14" fmla="*/ 7626 h 325964"/>
                <a:gd name="connsiteX15" fmla="*/ 123253 w 261778"/>
                <a:gd name="connsiteY15" fmla="*/ 7626 h 3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1778" h="325964">
                  <a:moveTo>
                    <a:pt x="123253" y="7626"/>
                  </a:moveTo>
                  <a:cubicBezTo>
                    <a:pt x="123253" y="3410"/>
                    <a:pt x="126683" y="0"/>
                    <a:pt x="130873" y="0"/>
                  </a:cubicBezTo>
                  <a:cubicBezTo>
                    <a:pt x="135128" y="0"/>
                    <a:pt x="138494" y="3410"/>
                    <a:pt x="138494" y="7626"/>
                  </a:cubicBezTo>
                  <a:lnTo>
                    <a:pt x="138494" y="301098"/>
                  </a:lnTo>
                  <a:lnTo>
                    <a:pt x="249047" y="200615"/>
                  </a:lnTo>
                  <a:cubicBezTo>
                    <a:pt x="252159" y="197783"/>
                    <a:pt x="256985" y="198012"/>
                    <a:pt x="259778" y="201123"/>
                  </a:cubicBezTo>
                  <a:cubicBezTo>
                    <a:pt x="262636" y="204235"/>
                    <a:pt x="262382" y="209055"/>
                    <a:pt x="259334" y="211880"/>
                  </a:cubicBezTo>
                  <a:lnTo>
                    <a:pt x="136335" y="323666"/>
                  </a:lnTo>
                  <a:cubicBezTo>
                    <a:pt x="134937" y="325082"/>
                    <a:pt x="133033" y="325965"/>
                    <a:pt x="130873" y="325965"/>
                  </a:cubicBezTo>
                  <a:cubicBezTo>
                    <a:pt x="128778" y="325965"/>
                    <a:pt x="126810" y="325082"/>
                    <a:pt x="125412" y="323666"/>
                  </a:cubicBezTo>
                  <a:lnTo>
                    <a:pt x="2476" y="211880"/>
                  </a:lnTo>
                  <a:cubicBezTo>
                    <a:pt x="-635" y="209055"/>
                    <a:pt x="-826" y="204235"/>
                    <a:pt x="1969" y="201123"/>
                  </a:cubicBezTo>
                  <a:cubicBezTo>
                    <a:pt x="4826" y="198018"/>
                    <a:pt x="9652" y="197790"/>
                    <a:pt x="12763" y="200615"/>
                  </a:cubicBezTo>
                  <a:lnTo>
                    <a:pt x="123253" y="301098"/>
                  </a:lnTo>
                  <a:lnTo>
                    <a:pt x="123253" y="7626"/>
                  </a:lnTo>
                  <a:lnTo>
                    <a:pt x="123253" y="7626"/>
                  </a:lnTo>
                  <a:close/>
                </a:path>
              </a:pathLst>
            </a:custGeom>
            <a:solidFill>
              <a:srgbClr val="000000"/>
            </a:solidFill>
            <a:ln w="57697"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7" name="Title 1">
            <a:extLst>
              <a:ext uri="{FF2B5EF4-FFF2-40B4-BE49-F238E27FC236}">
                <a16:creationId xmlns:a16="http://schemas.microsoft.com/office/drawing/2014/main" id="{C5117331-D550-43CC-891D-DB7FB4410B94}"/>
              </a:ext>
            </a:extLst>
          </p:cNvPr>
          <p:cNvSpPr>
            <a:spLocks noGrp="1"/>
          </p:cNvSpPr>
          <p:nvPr>
            <p:ph type="title"/>
          </p:nvPr>
        </p:nvSpPr>
        <p:spPr>
          <a:xfrm>
            <a:off x="766219" y="-75982"/>
            <a:ext cx="10443648" cy="1232664"/>
          </a:xfrm>
        </p:spPr>
        <p:txBody>
          <a:bodyPr lIns="0" rIns="90000" anchor="b">
            <a:normAutofit/>
          </a:bodyPr>
          <a:lstStyle/>
          <a:p>
            <a:r>
              <a:rPr lang="en-US" sz="2700" b="1">
                <a:solidFill>
                  <a:srgbClr val="00B0F0"/>
                </a:solidFill>
                <a:latin typeface="Roboto" pitchFamily="2" charset="0"/>
                <a:ea typeface="Roboto" pitchFamily="2" charset="0"/>
              </a:rPr>
              <a:t>How will IMEO answer the methane emissions data problem?</a:t>
            </a:r>
            <a:br>
              <a:rPr lang="en-US" sz="2700" b="1">
                <a:solidFill>
                  <a:srgbClr val="00B0F0"/>
                </a:solidFill>
                <a:latin typeface="Roboto" pitchFamily="2" charset="0"/>
                <a:ea typeface="Roboto" pitchFamily="2" charset="0"/>
              </a:rPr>
            </a:br>
            <a:endParaRPr lang="en-US" sz="2700" b="1">
              <a:solidFill>
                <a:srgbClr val="00B0F0"/>
              </a:solidFill>
              <a:latin typeface="Roboto" pitchFamily="2" charset="0"/>
              <a:ea typeface="Roboto" pitchFamily="2" charset="0"/>
            </a:endParaRPr>
          </a:p>
        </p:txBody>
      </p:sp>
      <p:cxnSp>
        <p:nvCxnSpPr>
          <p:cNvPr id="128" name="Straight Connector 13">
            <a:extLst>
              <a:ext uri="{FF2B5EF4-FFF2-40B4-BE49-F238E27FC236}">
                <a16:creationId xmlns:a16="http://schemas.microsoft.com/office/drawing/2014/main" id="{BB3CEF75-A55D-4ABC-9E81-A78712041F70}"/>
              </a:ext>
            </a:extLst>
          </p:cNvPr>
          <p:cNvCxnSpPr>
            <a:cxnSpLocks/>
          </p:cNvCxnSpPr>
          <p:nvPr/>
        </p:nvCxnSpPr>
        <p:spPr>
          <a:xfrm>
            <a:off x="766219" y="867271"/>
            <a:ext cx="939011"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124" name="Picture 123" descr="Text, logo&#10;&#10;Description automatically generated">
            <a:extLst>
              <a:ext uri="{FF2B5EF4-FFF2-40B4-BE49-F238E27FC236}">
                <a16:creationId xmlns:a16="http://schemas.microsoft.com/office/drawing/2014/main" id="{51878EDB-3057-474D-B964-0EDBE7E0E046}"/>
              </a:ext>
            </a:extLst>
          </p:cNvPr>
          <p:cNvPicPr>
            <a:picLocks noChangeAspect="1"/>
          </p:cNvPicPr>
          <p:nvPr/>
        </p:nvPicPr>
        <p:blipFill>
          <a:blip r:embed="rId15">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149204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Ein Bild, das draußen, Himmel, Sonnenuntergang, Wolken enthält.&#10;&#10;Automatisch generierte Beschreibung">
            <a:extLst>
              <a:ext uri="{FF2B5EF4-FFF2-40B4-BE49-F238E27FC236}">
                <a16:creationId xmlns:a16="http://schemas.microsoft.com/office/drawing/2014/main" id="{6BFDC720-0FE6-D143-BB40-9044DC232010}"/>
              </a:ext>
            </a:extLst>
          </p:cNvPr>
          <p:cNvPicPr>
            <a:picLocks noChangeAspect="1"/>
          </p:cNvPicPr>
          <p:nvPr/>
        </p:nvPicPr>
        <p:blipFill rotWithShape="1">
          <a:blip r:embed="rId3">
            <a:extLst>
              <a:ext uri="{28A0092B-C50C-407E-A947-70E740481C1C}">
                <a14:useLocalDpi xmlns:a14="http://schemas.microsoft.com/office/drawing/2010/main" val="0"/>
              </a:ext>
            </a:extLst>
          </a:blip>
          <a:srcRect t="12564" b="5054"/>
          <a:stretch/>
        </p:blipFill>
        <p:spPr>
          <a:xfrm>
            <a:off x="-3795" y="0"/>
            <a:ext cx="12199590" cy="5649897"/>
          </a:xfrm>
          <a:prstGeom prst="rect">
            <a:avLst/>
          </a:prstGeom>
        </p:spPr>
      </p:pic>
      <p:sp>
        <p:nvSpPr>
          <p:cNvPr id="2" name="Title 1">
            <a:extLst>
              <a:ext uri="{FF2B5EF4-FFF2-40B4-BE49-F238E27FC236}">
                <a16:creationId xmlns:a16="http://schemas.microsoft.com/office/drawing/2014/main" id="{E00B4897-87C8-4530-8568-7937744BC5FB}"/>
              </a:ext>
            </a:extLst>
          </p:cNvPr>
          <p:cNvSpPr>
            <a:spLocks noGrp="1"/>
          </p:cNvSpPr>
          <p:nvPr>
            <p:ph type="ctrTitle"/>
          </p:nvPr>
        </p:nvSpPr>
        <p:spPr>
          <a:xfrm>
            <a:off x="673396" y="2690476"/>
            <a:ext cx="9144000" cy="2387600"/>
          </a:xfrm>
        </p:spPr>
        <p:txBody>
          <a:bodyPr>
            <a:normAutofit/>
          </a:bodyPr>
          <a:lstStyle/>
          <a:p>
            <a:pPr algn="l"/>
            <a:r>
              <a:rPr lang="en-US" b="1" dirty="0">
                <a:solidFill>
                  <a:schemeClr val="bg1"/>
                </a:solidFill>
                <a:latin typeface="Roboto" panose="02000000000000000000" pitchFamily="2" charset="0"/>
                <a:ea typeface="Roboto" panose="02000000000000000000" pitchFamily="2" charset="0"/>
                <a:cs typeface="Roboto" panose="02000000000000000000" pitchFamily="2" charset="0"/>
              </a:rPr>
              <a:t>Thank you</a:t>
            </a:r>
            <a:br>
              <a:rPr lang="en-US" b="1" dirty="0">
                <a:solidFill>
                  <a:schemeClr val="bg1"/>
                </a:solidFill>
                <a:latin typeface="Roboto" panose="02000000000000000000" pitchFamily="2" charset="0"/>
                <a:ea typeface="Roboto" panose="02000000000000000000" pitchFamily="2" charset="0"/>
                <a:cs typeface="Roboto" panose="02000000000000000000" pitchFamily="2" charset="0"/>
              </a:rPr>
            </a:br>
            <a:endParaRPr lang="en-US" b="1" dirty="0">
              <a:solidFill>
                <a:schemeClr val="bg1"/>
              </a:solidFill>
              <a:highlight>
                <a:srgbClr val="FFFF00"/>
              </a:highlight>
              <a:latin typeface="Roboto" panose="02000000000000000000" pitchFamily="2" charset="0"/>
              <a:ea typeface="Roboto" panose="02000000000000000000" pitchFamily="2" charset="0"/>
              <a:cs typeface="Roboto" panose="02000000000000000000" pitchFamily="2" charset="0"/>
            </a:endParaRPr>
          </a:p>
        </p:txBody>
      </p:sp>
      <p:sp>
        <p:nvSpPr>
          <p:cNvPr id="3" name="Subtitle 2">
            <a:extLst>
              <a:ext uri="{FF2B5EF4-FFF2-40B4-BE49-F238E27FC236}">
                <a16:creationId xmlns:a16="http://schemas.microsoft.com/office/drawing/2014/main" id="{882873B6-7942-42F4-9AC3-6579285A400B}"/>
              </a:ext>
            </a:extLst>
          </p:cNvPr>
          <p:cNvSpPr>
            <a:spLocks noGrp="1"/>
          </p:cNvSpPr>
          <p:nvPr>
            <p:ph type="subTitle" idx="1"/>
          </p:nvPr>
        </p:nvSpPr>
        <p:spPr>
          <a:xfrm>
            <a:off x="730102" y="411527"/>
            <a:ext cx="9144000" cy="1368398"/>
          </a:xfrm>
        </p:spPr>
        <p:txBody>
          <a:bodyPr/>
          <a:lstStyle/>
          <a:p>
            <a:pPr algn="l"/>
            <a:r>
              <a:rPr lang="en-US">
                <a:solidFill>
                  <a:schemeClr val="bg1"/>
                </a:solidFill>
                <a:latin typeface="Roboto Light" panose="02000000000000000000" pitchFamily="2" charset="0"/>
                <a:ea typeface="Roboto Light" panose="02000000000000000000" pitchFamily="2" charset="0"/>
                <a:cs typeface="Roboto Light" panose="02000000000000000000" pitchFamily="2" charset="0"/>
              </a:rPr>
              <a:t>September 2021</a:t>
            </a:r>
          </a:p>
          <a:p>
            <a:endParaRPr lang="en-US"/>
          </a:p>
        </p:txBody>
      </p:sp>
      <p:pic>
        <p:nvPicPr>
          <p:cNvPr id="6" name="Picture 5" descr="Text, logo&#10;&#10;Description automatically generated">
            <a:extLst>
              <a:ext uri="{FF2B5EF4-FFF2-40B4-BE49-F238E27FC236}">
                <a16:creationId xmlns:a16="http://schemas.microsoft.com/office/drawing/2014/main" id="{40555D70-5F62-44EA-A085-B141B7FCEDCB}"/>
              </a:ext>
            </a:extLst>
          </p:cNvPr>
          <p:cNvPicPr>
            <a:picLocks noChangeAspect="1"/>
          </p:cNvPicPr>
          <p:nvPr/>
        </p:nvPicPr>
        <p:blipFill>
          <a:blip r:embed="rId4">
            <a:alphaModFix amt="50000"/>
          </a:blip>
          <a:stretch>
            <a:fillRect/>
          </a:stretch>
        </p:blipFill>
        <p:spPr>
          <a:xfrm>
            <a:off x="10453751" y="5861827"/>
            <a:ext cx="1639608" cy="796492"/>
          </a:xfrm>
          <a:prstGeom prst="rect">
            <a:avLst/>
          </a:prstGeom>
        </p:spPr>
      </p:pic>
    </p:spTree>
    <p:extLst>
      <p:ext uri="{BB962C8B-B14F-4D97-AF65-F5344CB8AC3E}">
        <p14:creationId xmlns:p14="http://schemas.microsoft.com/office/powerpoint/2010/main" val="13893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1">
            <a:extLst>
              <a:ext uri="{FF2B5EF4-FFF2-40B4-BE49-F238E27FC236}">
                <a16:creationId xmlns:a16="http://schemas.microsoft.com/office/drawing/2014/main" id="{5363390F-63F4-4D05-A038-E6C1B05A0252}"/>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11633D-0F9B-4624-8309-A274E6702A0B}" type="slidenum">
              <a:rPr kumimoji="0" lang="da-DK"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5" name="Title 1">
            <a:extLst>
              <a:ext uri="{FF2B5EF4-FFF2-40B4-BE49-F238E27FC236}">
                <a16:creationId xmlns:a16="http://schemas.microsoft.com/office/drawing/2014/main" id="{27428C17-0A84-4965-B73D-07E33B54D5C5}"/>
              </a:ext>
            </a:extLst>
          </p:cNvPr>
          <p:cNvSpPr>
            <a:spLocks noGrp="1"/>
          </p:cNvSpPr>
          <p:nvPr>
            <p:ph type="title"/>
          </p:nvPr>
        </p:nvSpPr>
        <p:spPr>
          <a:xfrm>
            <a:off x="600370" y="372984"/>
            <a:ext cx="9808550" cy="769175"/>
          </a:xfrm>
        </p:spPr>
        <p:txBody>
          <a:bodyPr lIns="0" rIns="90000" anchor="b">
            <a:normAutofit/>
          </a:bodyPr>
          <a:lstStyle/>
          <a:p>
            <a:r>
              <a:rPr lang="en-US" sz="2400" b="1">
                <a:solidFill>
                  <a:srgbClr val="00B0F0"/>
                </a:solidFill>
                <a:latin typeface="Roboto Regular"/>
              </a:rPr>
              <a:t>The oil and gas sector has the greatest potential for methane mitigation at no net cost</a:t>
            </a:r>
            <a:endParaRPr lang="en-US" sz="2000">
              <a:solidFill>
                <a:srgbClr val="00B0F0"/>
              </a:solidFill>
              <a:latin typeface="Roboto Regular"/>
            </a:endParaRPr>
          </a:p>
        </p:txBody>
      </p:sp>
      <p:cxnSp>
        <p:nvCxnSpPr>
          <p:cNvPr id="26" name="Straight Connector 25">
            <a:extLst>
              <a:ext uri="{FF2B5EF4-FFF2-40B4-BE49-F238E27FC236}">
                <a16:creationId xmlns:a16="http://schemas.microsoft.com/office/drawing/2014/main" id="{CD00DD5E-BBC9-494A-90E4-CA67E826E5A8}"/>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DC9A499B-4DD6-4A76-BDA2-44E5E394072B}"/>
              </a:ext>
            </a:extLst>
          </p:cNvPr>
          <p:cNvCxnSpPr/>
          <p:nvPr/>
        </p:nvCxnSpPr>
        <p:spPr>
          <a:xfrm>
            <a:off x="1931352" y="249009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3E28F0CC-E382-4B07-9826-FD14A80BC48F}"/>
              </a:ext>
            </a:extLst>
          </p:cNvPr>
          <p:cNvCxnSpPr/>
          <p:nvPr/>
        </p:nvCxnSpPr>
        <p:spPr>
          <a:xfrm>
            <a:off x="1931352" y="273970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14E8BB6-AD44-400E-9E8E-866468324927}"/>
              </a:ext>
            </a:extLst>
          </p:cNvPr>
          <p:cNvCxnSpPr/>
          <p:nvPr/>
        </p:nvCxnSpPr>
        <p:spPr>
          <a:xfrm>
            <a:off x="1931352" y="298931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1623779-3B29-4F1B-BEFF-6A4B220614CE}"/>
              </a:ext>
            </a:extLst>
          </p:cNvPr>
          <p:cNvCxnSpPr/>
          <p:nvPr/>
        </p:nvCxnSpPr>
        <p:spPr>
          <a:xfrm>
            <a:off x="1742928" y="2813578"/>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DE3F8D6-4B02-45C8-A311-7ADEC5ECFF27}"/>
              </a:ext>
            </a:extLst>
          </p:cNvPr>
          <p:cNvCxnSpPr/>
          <p:nvPr/>
        </p:nvCxnSpPr>
        <p:spPr>
          <a:xfrm>
            <a:off x="1931352" y="348853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7535095-2417-4031-8310-152F42F1A127}"/>
              </a:ext>
            </a:extLst>
          </p:cNvPr>
          <p:cNvCxnSpPr/>
          <p:nvPr/>
        </p:nvCxnSpPr>
        <p:spPr>
          <a:xfrm>
            <a:off x="1931352" y="398775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6D3919-39D1-4A8C-A519-89B6C3964F54}"/>
              </a:ext>
            </a:extLst>
          </p:cNvPr>
          <p:cNvCxnSpPr/>
          <p:nvPr/>
        </p:nvCxnSpPr>
        <p:spPr>
          <a:xfrm>
            <a:off x="1931352" y="423736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6D06ED-847C-457C-A4E5-343A5CF8E2E2}"/>
              </a:ext>
            </a:extLst>
          </p:cNvPr>
          <p:cNvCxnSpPr/>
          <p:nvPr/>
        </p:nvCxnSpPr>
        <p:spPr>
          <a:xfrm>
            <a:off x="1931352" y="448697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902B082-9870-47DF-97A9-E1DA3777C690}"/>
              </a:ext>
            </a:extLst>
          </p:cNvPr>
          <p:cNvCxnSpPr/>
          <p:nvPr/>
        </p:nvCxnSpPr>
        <p:spPr>
          <a:xfrm>
            <a:off x="1931352" y="4736586"/>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187376-859D-49FA-B8EB-CE30E765031A}"/>
              </a:ext>
            </a:extLst>
          </p:cNvPr>
          <p:cNvCxnSpPr/>
          <p:nvPr/>
        </p:nvCxnSpPr>
        <p:spPr>
          <a:xfrm>
            <a:off x="1931352" y="4986198"/>
            <a:ext cx="6799415" cy="1"/>
          </a:xfrm>
          <a:prstGeom prst="line">
            <a:avLst/>
          </a:prstGeom>
          <a:ln w="15875" cap="rnd">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41" name="Key point base">
            <a:extLst>
              <a:ext uri="{FF2B5EF4-FFF2-40B4-BE49-F238E27FC236}">
                <a16:creationId xmlns:a16="http://schemas.microsoft.com/office/drawing/2014/main" id="{082C130E-ACBC-4498-A95B-0D58ABABD965}"/>
              </a:ext>
            </a:extLst>
          </p:cNvPr>
          <p:cNvSpPr txBox="1">
            <a:spLocks/>
          </p:cNvSpPr>
          <p:nvPr/>
        </p:nvSpPr>
        <p:spPr>
          <a:xfrm>
            <a:off x="548917" y="6048369"/>
            <a:ext cx="11327113" cy="34833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Based on prices seen in recent years, about 40% of total emissions (30 Mt CH</a:t>
            </a:r>
            <a:r>
              <a:rPr kumimoji="0" lang="en-GB" sz="1800" b="1" i="0" u="none" strike="noStrike" kern="1200" cap="none" spc="0" normalizeH="0" baseline="-25000" noProof="0">
                <a:ln>
                  <a:noFill/>
                </a:ln>
                <a:solidFill>
                  <a:prstClr val="black"/>
                </a:solidFill>
                <a:effectLst/>
                <a:uLnTx/>
                <a:uFillTx/>
                <a:latin typeface="Roboto" panose="02000000000000000000" pitchFamily="2" charset="0"/>
                <a:ea typeface="Roboto" panose="02000000000000000000" pitchFamily="2" charset="0"/>
                <a:cs typeface="+mn-cs"/>
              </a:rPr>
              <a:t>4</a:t>
            </a:r>
            <a:r>
              <a:rPr kumimoji="0" lang="en-GB"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 could be abated at no net cos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nvGrpSpPr>
          <p:cNvPr id="42" name="MAC High (+/- 11) FINAL">
            <a:extLst>
              <a:ext uri="{FF2B5EF4-FFF2-40B4-BE49-F238E27FC236}">
                <a16:creationId xmlns:a16="http://schemas.microsoft.com/office/drawing/2014/main" id="{DC0949B0-BF04-4431-8A8B-1831A1350A58}"/>
              </a:ext>
            </a:extLst>
          </p:cNvPr>
          <p:cNvGrpSpPr/>
          <p:nvPr/>
        </p:nvGrpSpPr>
        <p:grpSpPr>
          <a:xfrm>
            <a:off x="1741110" y="1883127"/>
            <a:ext cx="6717503" cy="3574196"/>
            <a:chOff x="1077913" y="1011238"/>
            <a:chExt cx="5370513" cy="2857500"/>
          </a:xfrm>
        </p:grpSpPr>
        <p:sp>
          <p:nvSpPr>
            <p:cNvPr id="43" name="Freeform 67">
              <a:extLst>
                <a:ext uri="{FF2B5EF4-FFF2-40B4-BE49-F238E27FC236}">
                  <a16:creationId xmlns:a16="http://schemas.microsoft.com/office/drawing/2014/main" id="{C1DF9353-5209-401C-89DD-B06B4E5467B9}"/>
                </a:ext>
              </a:extLst>
            </p:cNvPr>
            <p:cNvSpPr>
              <a:spLocks/>
            </p:cNvSpPr>
            <p:nvPr/>
          </p:nvSpPr>
          <p:spPr bwMode="auto">
            <a:xfrm>
              <a:off x="1077913" y="1011238"/>
              <a:ext cx="5370513" cy="2792413"/>
            </a:xfrm>
            <a:custGeom>
              <a:avLst/>
              <a:gdLst>
                <a:gd name="T0" fmla="*/ 20 w 3383"/>
                <a:gd name="T1" fmla="*/ 899 h 1759"/>
                <a:gd name="T2" fmla="*/ 44 w 3383"/>
                <a:gd name="T3" fmla="*/ 899 h 1759"/>
                <a:gd name="T4" fmla="*/ 116 w 3383"/>
                <a:gd name="T5" fmla="*/ 899 h 1759"/>
                <a:gd name="T6" fmla="*/ 136 w 3383"/>
                <a:gd name="T7" fmla="*/ 899 h 1759"/>
                <a:gd name="T8" fmla="*/ 160 w 3383"/>
                <a:gd name="T9" fmla="*/ 899 h 1759"/>
                <a:gd name="T10" fmla="*/ 309 w 3383"/>
                <a:gd name="T11" fmla="*/ 899 h 1759"/>
                <a:gd name="T12" fmla="*/ 345 w 3383"/>
                <a:gd name="T13" fmla="*/ 899 h 1759"/>
                <a:gd name="T14" fmla="*/ 456 w 3383"/>
                <a:gd name="T15" fmla="*/ 899 h 1759"/>
                <a:gd name="T16" fmla="*/ 548 w 3383"/>
                <a:gd name="T17" fmla="*/ 899 h 1759"/>
                <a:gd name="T18" fmla="*/ 737 w 3383"/>
                <a:gd name="T19" fmla="*/ 899 h 1759"/>
                <a:gd name="T20" fmla="*/ 836 w 3383"/>
                <a:gd name="T21" fmla="*/ 899 h 1759"/>
                <a:gd name="T22" fmla="*/ 913 w 3383"/>
                <a:gd name="T23" fmla="*/ 899 h 1759"/>
                <a:gd name="T24" fmla="*/ 1004 w 3383"/>
                <a:gd name="T25" fmla="*/ 899 h 1759"/>
                <a:gd name="T26" fmla="*/ 1224 w 3383"/>
                <a:gd name="T27" fmla="*/ 899 h 1759"/>
                <a:gd name="T28" fmla="*/ 1337 w 3383"/>
                <a:gd name="T29" fmla="*/ 899 h 1759"/>
                <a:gd name="T30" fmla="*/ 1390 w 3383"/>
                <a:gd name="T31" fmla="*/ 899 h 1759"/>
                <a:gd name="T32" fmla="*/ 1484 w 3383"/>
                <a:gd name="T33" fmla="*/ 899 h 1759"/>
                <a:gd name="T34" fmla="*/ 1852 w 3383"/>
                <a:gd name="T35" fmla="*/ 899 h 1759"/>
                <a:gd name="T36" fmla="*/ 1955 w 3383"/>
                <a:gd name="T37" fmla="*/ 899 h 1759"/>
                <a:gd name="T38" fmla="*/ 2056 w 3383"/>
                <a:gd name="T39" fmla="*/ 899 h 1759"/>
                <a:gd name="T40" fmla="*/ 2056 w 3383"/>
                <a:gd name="T41" fmla="*/ 899 h 1759"/>
                <a:gd name="T42" fmla="*/ 2056 w 3383"/>
                <a:gd name="T43" fmla="*/ 899 h 1759"/>
                <a:gd name="T44" fmla="*/ 2151 w 3383"/>
                <a:gd name="T45" fmla="*/ 899 h 1759"/>
                <a:gd name="T46" fmla="*/ 2231 w 3383"/>
                <a:gd name="T47" fmla="*/ 899 h 1759"/>
                <a:gd name="T48" fmla="*/ 2451 w 3383"/>
                <a:gd name="T49" fmla="*/ 899 h 1759"/>
                <a:gd name="T50" fmla="*/ 2613 w 3383"/>
                <a:gd name="T51" fmla="*/ 899 h 1759"/>
                <a:gd name="T52" fmla="*/ 2687 w 3383"/>
                <a:gd name="T53" fmla="*/ 899 h 1759"/>
                <a:gd name="T54" fmla="*/ 2898 w 3383"/>
                <a:gd name="T55" fmla="*/ 899 h 1759"/>
                <a:gd name="T56" fmla="*/ 3185 w 3383"/>
                <a:gd name="T57" fmla="*/ 469 h 1759"/>
                <a:gd name="T58" fmla="*/ 3243 w 3383"/>
                <a:gd name="T59" fmla="*/ 899 h 1759"/>
                <a:gd name="T60" fmla="*/ 3315 w 3383"/>
                <a:gd name="T61" fmla="*/ 0 h 1759"/>
                <a:gd name="T62" fmla="*/ 3383 w 3383"/>
                <a:gd name="T63" fmla="*/ 899 h 1759"/>
                <a:gd name="T64" fmla="*/ 3299 w 3383"/>
                <a:gd name="T65" fmla="*/ 899 h 1759"/>
                <a:gd name="T66" fmla="*/ 3218 w 3383"/>
                <a:gd name="T67" fmla="*/ 899 h 1759"/>
                <a:gd name="T68" fmla="*/ 3176 w 3383"/>
                <a:gd name="T69" fmla="*/ 899 h 1759"/>
                <a:gd name="T70" fmla="*/ 2896 w 3383"/>
                <a:gd name="T71" fmla="*/ 899 h 1759"/>
                <a:gd name="T72" fmla="*/ 2684 w 3383"/>
                <a:gd name="T73" fmla="*/ 899 h 1759"/>
                <a:gd name="T74" fmla="*/ 2608 w 3383"/>
                <a:gd name="T75" fmla="*/ 899 h 1759"/>
                <a:gd name="T76" fmla="*/ 2451 w 3383"/>
                <a:gd name="T77" fmla="*/ 899 h 1759"/>
                <a:gd name="T78" fmla="*/ 2218 w 3383"/>
                <a:gd name="T79" fmla="*/ 899 h 1759"/>
                <a:gd name="T80" fmla="*/ 2149 w 3383"/>
                <a:gd name="T81" fmla="*/ 899 h 1759"/>
                <a:gd name="T82" fmla="*/ 2056 w 3383"/>
                <a:gd name="T83" fmla="*/ 899 h 1759"/>
                <a:gd name="T84" fmla="*/ 2056 w 3383"/>
                <a:gd name="T85" fmla="*/ 899 h 1759"/>
                <a:gd name="T86" fmla="*/ 2056 w 3383"/>
                <a:gd name="T87" fmla="*/ 899 h 1759"/>
                <a:gd name="T88" fmla="*/ 1951 w 3383"/>
                <a:gd name="T89" fmla="*/ 899 h 1759"/>
                <a:gd name="T90" fmla="*/ 1852 w 3383"/>
                <a:gd name="T91" fmla="*/ 899 h 1759"/>
                <a:gd name="T92" fmla="*/ 1482 w 3383"/>
                <a:gd name="T93" fmla="*/ 899 h 1759"/>
                <a:gd name="T94" fmla="*/ 1388 w 3383"/>
                <a:gd name="T95" fmla="*/ 899 h 1759"/>
                <a:gd name="T96" fmla="*/ 1337 w 3383"/>
                <a:gd name="T97" fmla="*/ 899 h 1759"/>
                <a:gd name="T98" fmla="*/ 1223 w 3383"/>
                <a:gd name="T99" fmla="*/ 899 h 1759"/>
                <a:gd name="T100" fmla="*/ 1002 w 3383"/>
                <a:gd name="T101" fmla="*/ 899 h 1759"/>
                <a:gd name="T102" fmla="*/ 912 w 3383"/>
                <a:gd name="T103" fmla="*/ 899 h 1759"/>
                <a:gd name="T104" fmla="*/ 835 w 3383"/>
                <a:gd name="T105" fmla="*/ 899 h 1759"/>
                <a:gd name="T106" fmla="*/ 732 w 3383"/>
                <a:gd name="T107" fmla="*/ 899 h 1759"/>
                <a:gd name="T108" fmla="*/ 548 w 3383"/>
                <a:gd name="T109" fmla="*/ 899 h 1759"/>
                <a:gd name="T110" fmla="*/ 453 w 3383"/>
                <a:gd name="T111" fmla="*/ 899 h 1759"/>
                <a:gd name="T112" fmla="*/ 344 w 3383"/>
                <a:gd name="T113" fmla="*/ 899 h 1759"/>
                <a:gd name="T114" fmla="*/ 301 w 3383"/>
                <a:gd name="T115" fmla="*/ 899 h 1759"/>
                <a:gd name="T116" fmla="*/ 151 w 3383"/>
                <a:gd name="T117" fmla="*/ 899 h 1759"/>
                <a:gd name="T118" fmla="*/ 136 w 3383"/>
                <a:gd name="T119" fmla="*/ 899 h 1759"/>
                <a:gd name="T120" fmla="*/ 107 w 3383"/>
                <a:gd name="T121" fmla="*/ 899 h 1759"/>
                <a:gd name="T122" fmla="*/ 43 w 3383"/>
                <a:gd name="T123" fmla="*/ 899 h 1759"/>
                <a:gd name="T124" fmla="*/ 18 w 3383"/>
                <a:gd name="T125" fmla="*/ 899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759">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6" y="899"/>
                  </a:lnTo>
                  <a:lnTo>
                    <a:pt x="6" y="899"/>
                  </a:lnTo>
                  <a:lnTo>
                    <a:pt x="6" y="899"/>
                  </a:lnTo>
                  <a:lnTo>
                    <a:pt x="6" y="899"/>
                  </a:lnTo>
                  <a:lnTo>
                    <a:pt x="6" y="899"/>
                  </a:lnTo>
                  <a:lnTo>
                    <a:pt x="6" y="899"/>
                  </a:lnTo>
                  <a:lnTo>
                    <a:pt x="6" y="899"/>
                  </a:lnTo>
                  <a:lnTo>
                    <a:pt x="6" y="899"/>
                  </a:lnTo>
                  <a:lnTo>
                    <a:pt x="7" y="899"/>
                  </a:lnTo>
                  <a:lnTo>
                    <a:pt x="7" y="899"/>
                  </a:lnTo>
                  <a:lnTo>
                    <a:pt x="8" y="899"/>
                  </a:lnTo>
                  <a:lnTo>
                    <a:pt x="8" y="899"/>
                  </a:lnTo>
                  <a:lnTo>
                    <a:pt x="9" y="899"/>
                  </a:lnTo>
                  <a:lnTo>
                    <a:pt x="9" y="899"/>
                  </a:lnTo>
                  <a:lnTo>
                    <a:pt x="9" y="899"/>
                  </a:lnTo>
                  <a:lnTo>
                    <a:pt x="9" y="899"/>
                  </a:lnTo>
                  <a:lnTo>
                    <a:pt x="9" y="899"/>
                  </a:lnTo>
                  <a:lnTo>
                    <a:pt x="9" y="899"/>
                  </a:lnTo>
                  <a:lnTo>
                    <a:pt x="9" y="899"/>
                  </a:lnTo>
                  <a:lnTo>
                    <a:pt x="9"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2" y="899"/>
                  </a:lnTo>
                  <a:lnTo>
                    <a:pt x="12" y="899"/>
                  </a:lnTo>
                  <a:lnTo>
                    <a:pt x="15" y="899"/>
                  </a:lnTo>
                  <a:lnTo>
                    <a:pt x="15" y="899"/>
                  </a:lnTo>
                  <a:lnTo>
                    <a:pt x="15" y="899"/>
                  </a:lnTo>
                  <a:lnTo>
                    <a:pt x="15" y="899"/>
                  </a:lnTo>
                  <a:lnTo>
                    <a:pt x="15" y="899"/>
                  </a:lnTo>
                  <a:lnTo>
                    <a:pt x="15" y="899"/>
                  </a:lnTo>
                  <a:lnTo>
                    <a:pt x="15" y="899"/>
                  </a:lnTo>
                  <a:lnTo>
                    <a:pt x="15" y="899"/>
                  </a:lnTo>
                  <a:lnTo>
                    <a:pt x="16" y="899"/>
                  </a:lnTo>
                  <a:lnTo>
                    <a:pt x="16" y="899"/>
                  </a:lnTo>
                  <a:lnTo>
                    <a:pt x="17" y="899"/>
                  </a:lnTo>
                  <a:lnTo>
                    <a:pt x="17" y="899"/>
                  </a:lnTo>
                  <a:lnTo>
                    <a:pt x="17" y="899"/>
                  </a:lnTo>
                  <a:lnTo>
                    <a:pt x="17" y="899"/>
                  </a:lnTo>
                  <a:lnTo>
                    <a:pt x="17" y="899"/>
                  </a:lnTo>
                  <a:lnTo>
                    <a:pt x="17" y="899"/>
                  </a:lnTo>
                  <a:lnTo>
                    <a:pt x="17" y="899"/>
                  </a:lnTo>
                  <a:lnTo>
                    <a:pt x="17"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1" y="899"/>
                  </a:lnTo>
                  <a:lnTo>
                    <a:pt x="21" y="899"/>
                  </a:lnTo>
                  <a:lnTo>
                    <a:pt x="21" y="899"/>
                  </a:lnTo>
                  <a:lnTo>
                    <a:pt x="21" y="899"/>
                  </a:lnTo>
                  <a:lnTo>
                    <a:pt x="21" y="899"/>
                  </a:lnTo>
                  <a:lnTo>
                    <a:pt x="21" y="899"/>
                  </a:lnTo>
                  <a:lnTo>
                    <a:pt x="21" y="899"/>
                  </a:lnTo>
                  <a:lnTo>
                    <a:pt x="21" y="1759"/>
                  </a:lnTo>
                  <a:lnTo>
                    <a:pt x="23" y="175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4" y="899"/>
                  </a:lnTo>
                  <a:lnTo>
                    <a:pt x="24" y="899"/>
                  </a:lnTo>
                  <a:lnTo>
                    <a:pt x="24" y="899"/>
                  </a:lnTo>
                  <a:lnTo>
                    <a:pt x="24" y="899"/>
                  </a:lnTo>
                  <a:lnTo>
                    <a:pt x="24" y="899"/>
                  </a:lnTo>
                  <a:lnTo>
                    <a:pt x="24" y="899"/>
                  </a:lnTo>
                  <a:lnTo>
                    <a:pt x="24" y="899"/>
                  </a:lnTo>
                  <a:lnTo>
                    <a:pt x="24" y="899"/>
                  </a:lnTo>
                  <a:lnTo>
                    <a:pt x="25" y="899"/>
                  </a:lnTo>
                  <a:lnTo>
                    <a:pt x="25" y="899"/>
                  </a:lnTo>
                  <a:lnTo>
                    <a:pt x="25" y="899"/>
                  </a:lnTo>
                  <a:lnTo>
                    <a:pt x="25" y="899"/>
                  </a:lnTo>
                  <a:lnTo>
                    <a:pt x="25" y="899"/>
                  </a:lnTo>
                  <a:lnTo>
                    <a:pt x="25" y="899"/>
                  </a:lnTo>
                  <a:lnTo>
                    <a:pt x="25" y="899"/>
                  </a:lnTo>
                  <a:lnTo>
                    <a:pt x="25" y="899"/>
                  </a:lnTo>
                  <a:lnTo>
                    <a:pt x="27" y="899"/>
                  </a:lnTo>
                  <a:lnTo>
                    <a:pt x="27" y="899"/>
                  </a:lnTo>
                  <a:lnTo>
                    <a:pt x="28" y="899"/>
                  </a:lnTo>
                  <a:lnTo>
                    <a:pt x="28" y="899"/>
                  </a:lnTo>
                  <a:lnTo>
                    <a:pt x="28" y="899"/>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6" y="899"/>
                  </a:lnTo>
                  <a:lnTo>
                    <a:pt x="36" y="899"/>
                  </a:lnTo>
                  <a:lnTo>
                    <a:pt x="36" y="899"/>
                  </a:lnTo>
                  <a:lnTo>
                    <a:pt x="36" y="899"/>
                  </a:lnTo>
                  <a:lnTo>
                    <a:pt x="36" y="899"/>
                  </a:lnTo>
                  <a:lnTo>
                    <a:pt x="36" y="899"/>
                  </a:lnTo>
                  <a:lnTo>
                    <a:pt x="37" y="899"/>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899"/>
                  </a:lnTo>
                  <a:lnTo>
                    <a:pt x="41" y="899"/>
                  </a:lnTo>
                  <a:lnTo>
                    <a:pt x="41" y="899"/>
                  </a:lnTo>
                  <a:lnTo>
                    <a:pt x="41" y="899"/>
                  </a:lnTo>
                  <a:lnTo>
                    <a:pt x="41" y="899"/>
                  </a:lnTo>
                  <a:lnTo>
                    <a:pt x="42" y="899"/>
                  </a:lnTo>
                  <a:lnTo>
                    <a:pt x="42" y="899"/>
                  </a:lnTo>
                  <a:lnTo>
                    <a:pt x="42" y="899"/>
                  </a:lnTo>
                  <a:lnTo>
                    <a:pt x="42"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899"/>
                  </a:lnTo>
                  <a:lnTo>
                    <a:pt x="46" y="899"/>
                  </a:lnTo>
                  <a:lnTo>
                    <a:pt x="46" y="899"/>
                  </a:lnTo>
                  <a:lnTo>
                    <a:pt x="46" y="899"/>
                  </a:lnTo>
                  <a:lnTo>
                    <a:pt x="46" y="899"/>
                  </a:lnTo>
                  <a:lnTo>
                    <a:pt x="46" y="899"/>
                  </a:lnTo>
                  <a:lnTo>
                    <a:pt x="46" y="899"/>
                  </a:lnTo>
                  <a:lnTo>
                    <a:pt x="46" y="899"/>
                  </a:lnTo>
                  <a:lnTo>
                    <a:pt x="46" y="899"/>
                  </a:lnTo>
                  <a:lnTo>
                    <a:pt x="47" y="899"/>
                  </a:lnTo>
                  <a:lnTo>
                    <a:pt x="47" y="899"/>
                  </a:lnTo>
                  <a:lnTo>
                    <a:pt x="50" y="899"/>
                  </a:lnTo>
                  <a:lnTo>
                    <a:pt x="50"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6" y="899"/>
                  </a:lnTo>
                  <a:lnTo>
                    <a:pt x="56" y="899"/>
                  </a:lnTo>
                  <a:lnTo>
                    <a:pt x="56" y="899"/>
                  </a:lnTo>
                  <a:lnTo>
                    <a:pt x="56" y="899"/>
                  </a:lnTo>
                  <a:lnTo>
                    <a:pt x="58" y="899"/>
                  </a:lnTo>
                  <a:lnTo>
                    <a:pt x="58" y="899"/>
                  </a:lnTo>
                  <a:lnTo>
                    <a:pt x="60" y="899"/>
                  </a:lnTo>
                  <a:lnTo>
                    <a:pt x="60" y="899"/>
                  </a:lnTo>
                  <a:lnTo>
                    <a:pt x="62" y="899"/>
                  </a:lnTo>
                  <a:lnTo>
                    <a:pt x="62" y="899"/>
                  </a:lnTo>
                  <a:lnTo>
                    <a:pt x="62" y="899"/>
                  </a:lnTo>
                  <a:lnTo>
                    <a:pt x="62" y="899"/>
                  </a:lnTo>
                  <a:lnTo>
                    <a:pt x="62" y="899"/>
                  </a:lnTo>
                  <a:lnTo>
                    <a:pt x="62" y="899"/>
                  </a:lnTo>
                  <a:lnTo>
                    <a:pt x="62" y="899"/>
                  </a:lnTo>
                  <a:lnTo>
                    <a:pt x="62" y="899"/>
                  </a:lnTo>
                  <a:lnTo>
                    <a:pt x="63" y="899"/>
                  </a:lnTo>
                  <a:lnTo>
                    <a:pt x="63"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5" y="899"/>
                  </a:lnTo>
                  <a:lnTo>
                    <a:pt x="65" y="899"/>
                  </a:lnTo>
                  <a:lnTo>
                    <a:pt x="65" y="899"/>
                  </a:lnTo>
                  <a:lnTo>
                    <a:pt x="65" y="899"/>
                  </a:lnTo>
                  <a:lnTo>
                    <a:pt x="65" y="899"/>
                  </a:lnTo>
                  <a:lnTo>
                    <a:pt x="65" y="899"/>
                  </a:lnTo>
                  <a:lnTo>
                    <a:pt x="65" y="899"/>
                  </a:lnTo>
                  <a:lnTo>
                    <a:pt x="65" y="899"/>
                  </a:lnTo>
                  <a:lnTo>
                    <a:pt x="66" y="899"/>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2" y="899"/>
                  </a:lnTo>
                  <a:lnTo>
                    <a:pt x="72" y="899"/>
                  </a:lnTo>
                  <a:lnTo>
                    <a:pt x="76" y="899"/>
                  </a:lnTo>
                  <a:lnTo>
                    <a:pt x="76" y="899"/>
                  </a:lnTo>
                  <a:lnTo>
                    <a:pt x="81" y="899"/>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9" y="899"/>
                  </a:lnTo>
                  <a:lnTo>
                    <a:pt x="89" y="899"/>
                  </a:lnTo>
                  <a:lnTo>
                    <a:pt x="89" y="899"/>
                  </a:lnTo>
                  <a:lnTo>
                    <a:pt x="89" y="899"/>
                  </a:lnTo>
                  <a:lnTo>
                    <a:pt x="89" y="899"/>
                  </a:lnTo>
                  <a:lnTo>
                    <a:pt x="89" y="899"/>
                  </a:lnTo>
                  <a:lnTo>
                    <a:pt x="89" y="899"/>
                  </a:lnTo>
                  <a:lnTo>
                    <a:pt x="89" y="899"/>
                  </a:lnTo>
                  <a:lnTo>
                    <a:pt x="89" y="899"/>
                  </a:lnTo>
                  <a:lnTo>
                    <a:pt x="89" y="899"/>
                  </a:lnTo>
                  <a:lnTo>
                    <a:pt x="92" y="899"/>
                  </a:lnTo>
                  <a:lnTo>
                    <a:pt x="92" y="899"/>
                  </a:lnTo>
                  <a:lnTo>
                    <a:pt x="93" y="899"/>
                  </a:lnTo>
                  <a:lnTo>
                    <a:pt x="93" y="899"/>
                  </a:lnTo>
                  <a:lnTo>
                    <a:pt x="93" y="899"/>
                  </a:lnTo>
                  <a:lnTo>
                    <a:pt x="93" y="899"/>
                  </a:lnTo>
                  <a:lnTo>
                    <a:pt x="94" y="899"/>
                  </a:lnTo>
                  <a:lnTo>
                    <a:pt x="94" y="899"/>
                  </a:lnTo>
                  <a:lnTo>
                    <a:pt x="101" y="899"/>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899"/>
                  </a:lnTo>
                  <a:lnTo>
                    <a:pt x="107" y="899"/>
                  </a:lnTo>
                  <a:lnTo>
                    <a:pt x="107" y="899"/>
                  </a:lnTo>
                  <a:lnTo>
                    <a:pt x="108" y="899"/>
                  </a:lnTo>
                  <a:lnTo>
                    <a:pt x="108" y="899"/>
                  </a:lnTo>
                  <a:lnTo>
                    <a:pt x="110" y="899"/>
                  </a:lnTo>
                  <a:lnTo>
                    <a:pt x="110" y="899"/>
                  </a:lnTo>
                  <a:lnTo>
                    <a:pt x="112" y="899"/>
                  </a:lnTo>
                  <a:lnTo>
                    <a:pt x="112" y="899"/>
                  </a:lnTo>
                  <a:lnTo>
                    <a:pt x="115" y="899"/>
                  </a:lnTo>
                  <a:lnTo>
                    <a:pt x="115"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8" y="899"/>
                  </a:lnTo>
                  <a:lnTo>
                    <a:pt x="128" y="899"/>
                  </a:lnTo>
                  <a:lnTo>
                    <a:pt x="128" y="899"/>
                  </a:lnTo>
                  <a:lnTo>
                    <a:pt x="128" y="899"/>
                  </a:lnTo>
                  <a:lnTo>
                    <a:pt x="129" y="899"/>
                  </a:lnTo>
                  <a:lnTo>
                    <a:pt x="129" y="899"/>
                  </a:lnTo>
                  <a:lnTo>
                    <a:pt x="131" y="899"/>
                  </a:lnTo>
                  <a:lnTo>
                    <a:pt x="131" y="899"/>
                  </a:lnTo>
                  <a:lnTo>
                    <a:pt x="131" y="899"/>
                  </a:lnTo>
                  <a:lnTo>
                    <a:pt x="131" y="899"/>
                  </a:lnTo>
                  <a:lnTo>
                    <a:pt x="133" y="899"/>
                  </a:lnTo>
                  <a:lnTo>
                    <a:pt x="133" y="899"/>
                  </a:lnTo>
                  <a:lnTo>
                    <a:pt x="135" y="899"/>
                  </a:lnTo>
                  <a:lnTo>
                    <a:pt x="135" y="899"/>
                  </a:lnTo>
                  <a:lnTo>
                    <a:pt x="135" y="899"/>
                  </a:lnTo>
                  <a:lnTo>
                    <a:pt x="135" y="899"/>
                  </a:lnTo>
                  <a:lnTo>
                    <a:pt x="135" y="899"/>
                  </a:lnTo>
                  <a:lnTo>
                    <a:pt x="135" y="899"/>
                  </a:lnTo>
                  <a:lnTo>
                    <a:pt x="135" y="899"/>
                  </a:lnTo>
                  <a:lnTo>
                    <a:pt x="135" y="899"/>
                  </a:lnTo>
                  <a:lnTo>
                    <a:pt x="135" y="899"/>
                  </a:lnTo>
                  <a:lnTo>
                    <a:pt x="135"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8" y="899"/>
                  </a:lnTo>
                  <a:lnTo>
                    <a:pt x="138" y="899"/>
                  </a:lnTo>
                  <a:lnTo>
                    <a:pt x="138" y="899"/>
                  </a:lnTo>
                  <a:lnTo>
                    <a:pt x="138" y="899"/>
                  </a:lnTo>
                  <a:lnTo>
                    <a:pt x="138" y="899"/>
                  </a:lnTo>
                  <a:lnTo>
                    <a:pt x="138" y="899"/>
                  </a:lnTo>
                  <a:lnTo>
                    <a:pt x="138" y="899"/>
                  </a:lnTo>
                  <a:lnTo>
                    <a:pt x="138" y="899"/>
                  </a:lnTo>
                  <a:lnTo>
                    <a:pt x="138" y="899"/>
                  </a:lnTo>
                  <a:lnTo>
                    <a:pt x="138"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2" y="899"/>
                  </a:lnTo>
                  <a:lnTo>
                    <a:pt x="142" y="899"/>
                  </a:lnTo>
                  <a:lnTo>
                    <a:pt x="142" y="899"/>
                  </a:lnTo>
                  <a:lnTo>
                    <a:pt x="142" y="899"/>
                  </a:lnTo>
                  <a:lnTo>
                    <a:pt x="142" y="899"/>
                  </a:lnTo>
                  <a:lnTo>
                    <a:pt x="142" y="899"/>
                  </a:lnTo>
                  <a:lnTo>
                    <a:pt x="143" y="899"/>
                  </a:lnTo>
                  <a:lnTo>
                    <a:pt x="143" y="899"/>
                  </a:lnTo>
                  <a:lnTo>
                    <a:pt x="144" y="899"/>
                  </a:lnTo>
                  <a:lnTo>
                    <a:pt x="144" y="899"/>
                  </a:lnTo>
                  <a:lnTo>
                    <a:pt x="147" y="899"/>
                  </a:lnTo>
                  <a:lnTo>
                    <a:pt x="147" y="899"/>
                  </a:lnTo>
                  <a:lnTo>
                    <a:pt x="147" y="899"/>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9" y="899"/>
                  </a:lnTo>
                  <a:lnTo>
                    <a:pt x="149"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7" y="899"/>
                  </a:lnTo>
                  <a:lnTo>
                    <a:pt x="167"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5" y="899"/>
                  </a:lnTo>
                  <a:lnTo>
                    <a:pt x="205" y="899"/>
                  </a:lnTo>
                  <a:lnTo>
                    <a:pt x="206" y="899"/>
                  </a:lnTo>
                  <a:lnTo>
                    <a:pt x="206" y="899"/>
                  </a:lnTo>
                  <a:lnTo>
                    <a:pt x="207" y="899"/>
                  </a:lnTo>
                  <a:lnTo>
                    <a:pt x="207" y="899"/>
                  </a:lnTo>
                  <a:lnTo>
                    <a:pt x="207" y="899"/>
                  </a:lnTo>
                  <a:lnTo>
                    <a:pt x="207" y="899"/>
                  </a:lnTo>
                  <a:lnTo>
                    <a:pt x="207" y="899"/>
                  </a:lnTo>
                  <a:lnTo>
                    <a:pt x="207" y="899"/>
                  </a:lnTo>
                  <a:lnTo>
                    <a:pt x="209" y="899"/>
                  </a:lnTo>
                  <a:lnTo>
                    <a:pt x="209" y="899"/>
                  </a:lnTo>
                  <a:lnTo>
                    <a:pt x="209" y="899"/>
                  </a:lnTo>
                  <a:lnTo>
                    <a:pt x="209" y="899"/>
                  </a:lnTo>
                  <a:lnTo>
                    <a:pt x="209" y="899"/>
                  </a:lnTo>
                  <a:lnTo>
                    <a:pt x="209" y="899"/>
                  </a:lnTo>
                  <a:lnTo>
                    <a:pt x="209" y="899"/>
                  </a:lnTo>
                  <a:lnTo>
                    <a:pt x="209" y="899"/>
                  </a:lnTo>
                  <a:lnTo>
                    <a:pt x="209" y="899"/>
                  </a:lnTo>
                  <a:lnTo>
                    <a:pt x="209" y="899"/>
                  </a:lnTo>
                  <a:lnTo>
                    <a:pt x="210" y="899"/>
                  </a:lnTo>
                  <a:lnTo>
                    <a:pt x="210" y="899"/>
                  </a:lnTo>
                  <a:lnTo>
                    <a:pt x="211" y="899"/>
                  </a:lnTo>
                  <a:lnTo>
                    <a:pt x="211" y="899"/>
                  </a:lnTo>
                  <a:lnTo>
                    <a:pt x="213" y="899"/>
                  </a:lnTo>
                  <a:lnTo>
                    <a:pt x="213" y="899"/>
                  </a:lnTo>
                  <a:lnTo>
                    <a:pt x="217" y="899"/>
                  </a:lnTo>
                  <a:lnTo>
                    <a:pt x="217"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20" y="899"/>
                  </a:lnTo>
                  <a:lnTo>
                    <a:pt x="220" y="899"/>
                  </a:lnTo>
                  <a:lnTo>
                    <a:pt x="220" y="899"/>
                  </a:lnTo>
                  <a:lnTo>
                    <a:pt x="220" y="899"/>
                  </a:lnTo>
                  <a:lnTo>
                    <a:pt x="220" y="899"/>
                  </a:lnTo>
                  <a:lnTo>
                    <a:pt x="220" y="899"/>
                  </a:lnTo>
                  <a:lnTo>
                    <a:pt x="220" y="899"/>
                  </a:lnTo>
                  <a:lnTo>
                    <a:pt x="220" y="899"/>
                  </a:lnTo>
                  <a:lnTo>
                    <a:pt x="220" y="899"/>
                  </a:lnTo>
                  <a:lnTo>
                    <a:pt x="220" y="899"/>
                  </a:lnTo>
                  <a:lnTo>
                    <a:pt x="221" y="899"/>
                  </a:lnTo>
                  <a:lnTo>
                    <a:pt x="221" y="899"/>
                  </a:lnTo>
                  <a:lnTo>
                    <a:pt x="221" y="899"/>
                  </a:lnTo>
                  <a:lnTo>
                    <a:pt x="221" y="899"/>
                  </a:lnTo>
                  <a:lnTo>
                    <a:pt x="222" y="899"/>
                  </a:lnTo>
                  <a:lnTo>
                    <a:pt x="222" y="899"/>
                  </a:lnTo>
                  <a:lnTo>
                    <a:pt x="222" y="899"/>
                  </a:lnTo>
                  <a:lnTo>
                    <a:pt x="222" y="899"/>
                  </a:lnTo>
                  <a:lnTo>
                    <a:pt x="223" y="899"/>
                  </a:lnTo>
                  <a:lnTo>
                    <a:pt x="223" y="899"/>
                  </a:lnTo>
                  <a:lnTo>
                    <a:pt x="224" y="899"/>
                  </a:lnTo>
                  <a:lnTo>
                    <a:pt x="224" y="899"/>
                  </a:lnTo>
                  <a:lnTo>
                    <a:pt x="226" y="899"/>
                  </a:lnTo>
                  <a:lnTo>
                    <a:pt x="226" y="899"/>
                  </a:lnTo>
                  <a:lnTo>
                    <a:pt x="228" y="899"/>
                  </a:lnTo>
                  <a:lnTo>
                    <a:pt x="228" y="899"/>
                  </a:lnTo>
                  <a:lnTo>
                    <a:pt x="233" y="899"/>
                  </a:lnTo>
                  <a:lnTo>
                    <a:pt x="233" y="899"/>
                  </a:lnTo>
                  <a:lnTo>
                    <a:pt x="233" y="899"/>
                  </a:lnTo>
                  <a:lnTo>
                    <a:pt x="233" y="1413"/>
                  </a:lnTo>
                  <a:lnTo>
                    <a:pt x="236" y="1413"/>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8" y="899"/>
                  </a:lnTo>
                  <a:lnTo>
                    <a:pt x="238" y="899"/>
                  </a:lnTo>
                  <a:lnTo>
                    <a:pt x="238" y="899"/>
                  </a:lnTo>
                  <a:lnTo>
                    <a:pt x="238" y="899"/>
                  </a:lnTo>
                  <a:lnTo>
                    <a:pt x="238" y="899"/>
                  </a:lnTo>
                  <a:lnTo>
                    <a:pt x="238" y="899"/>
                  </a:lnTo>
                  <a:lnTo>
                    <a:pt x="238" y="899"/>
                  </a:lnTo>
                  <a:lnTo>
                    <a:pt x="238" y="899"/>
                  </a:lnTo>
                  <a:lnTo>
                    <a:pt x="238" y="899"/>
                  </a:lnTo>
                  <a:lnTo>
                    <a:pt x="238"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40" y="899"/>
                  </a:lnTo>
                  <a:lnTo>
                    <a:pt x="240" y="899"/>
                  </a:lnTo>
                  <a:lnTo>
                    <a:pt x="240" y="899"/>
                  </a:lnTo>
                  <a:lnTo>
                    <a:pt x="240" y="899"/>
                  </a:lnTo>
                  <a:lnTo>
                    <a:pt x="241" y="899"/>
                  </a:lnTo>
                  <a:lnTo>
                    <a:pt x="241" y="899"/>
                  </a:lnTo>
                  <a:lnTo>
                    <a:pt x="243" y="899"/>
                  </a:lnTo>
                  <a:lnTo>
                    <a:pt x="243"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66" y="899"/>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899"/>
                  </a:lnTo>
                  <a:lnTo>
                    <a:pt x="309" y="899"/>
                  </a:lnTo>
                  <a:lnTo>
                    <a:pt x="309" y="899"/>
                  </a:lnTo>
                  <a:lnTo>
                    <a:pt x="309" y="899"/>
                  </a:lnTo>
                  <a:lnTo>
                    <a:pt x="309" y="899"/>
                  </a:lnTo>
                  <a:lnTo>
                    <a:pt x="309" y="899"/>
                  </a:lnTo>
                  <a:lnTo>
                    <a:pt x="309" y="899"/>
                  </a:lnTo>
                  <a:lnTo>
                    <a:pt x="309" y="899"/>
                  </a:lnTo>
                  <a:lnTo>
                    <a:pt x="309" y="899"/>
                  </a:lnTo>
                  <a:lnTo>
                    <a:pt x="310" y="899"/>
                  </a:lnTo>
                  <a:lnTo>
                    <a:pt x="310" y="899"/>
                  </a:lnTo>
                  <a:lnTo>
                    <a:pt x="322" y="899"/>
                  </a:lnTo>
                  <a:lnTo>
                    <a:pt x="322" y="899"/>
                  </a:lnTo>
                  <a:lnTo>
                    <a:pt x="322" y="899"/>
                  </a:lnTo>
                  <a:lnTo>
                    <a:pt x="322" y="899"/>
                  </a:lnTo>
                  <a:lnTo>
                    <a:pt x="322" y="899"/>
                  </a:lnTo>
                  <a:lnTo>
                    <a:pt x="322" y="899"/>
                  </a:lnTo>
                  <a:lnTo>
                    <a:pt x="322" y="899"/>
                  </a:lnTo>
                  <a:lnTo>
                    <a:pt x="322"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899"/>
                  </a:lnTo>
                  <a:lnTo>
                    <a:pt x="350" y="899"/>
                  </a:lnTo>
                  <a:lnTo>
                    <a:pt x="350" y="899"/>
                  </a:lnTo>
                  <a:lnTo>
                    <a:pt x="350" y="899"/>
                  </a:lnTo>
                  <a:lnTo>
                    <a:pt x="350"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2" y="899"/>
                  </a:lnTo>
                  <a:lnTo>
                    <a:pt x="352" y="899"/>
                  </a:lnTo>
                  <a:lnTo>
                    <a:pt x="352" y="899"/>
                  </a:lnTo>
                  <a:lnTo>
                    <a:pt x="352" y="899"/>
                  </a:lnTo>
                  <a:lnTo>
                    <a:pt x="354" y="899"/>
                  </a:lnTo>
                  <a:lnTo>
                    <a:pt x="354" y="899"/>
                  </a:lnTo>
                  <a:lnTo>
                    <a:pt x="358" y="899"/>
                  </a:lnTo>
                  <a:lnTo>
                    <a:pt x="358"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8" y="899"/>
                  </a:lnTo>
                  <a:lnTo>
                    <a:pt x="378" y="899"/>
                  </a:lnTo>
                  <a:lnTo>
                    <a:pt x="378" y="899"/>
                  </a:lnTo>
                  <a:lnTo>
                    <a:pt x="378" y="899"/>
                  </a:lnTo>
                  <a:lnTo>
                    <a:pt x="378" y="899"/>
                  </a:lnTo>
                  <a:lnTo>
                    <a:pt x="378" y="899"/>
                  </a:lnTo>
                  <a:lnTo>
                    <a:pt x="378" y="899"/>
                  </a:lnTo>
                  <a:lnTo>
                    <a:pt x="378" y="899"/>
                  </a:lnTo>
                  <a:lnTo>
                    <a:pt x="379" y="899"/>
                  </a:lnTo>
                  <a:lnTo>
                    <a:pt x="379" y="899"/>
                  </a:lnTo>
                  <a:lnTo>
                    <a:pt x="380" y="899"/>
                  </a:lnTo>
                  <a:lnTo>
                    <a:pt x="380" y="899"/>
                  </a:lnTo>
                  <a:lnTo>
                    <a:pt x="381" y="899"/>
                  </a:lnTo>
                  <a:lnTo>
                    <a:pt x="381"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4" y="899"/>
                  </a:lnTo>
                  <a:lnTo>
                    <a:pt x="384" y="899"/>
                  </a:lnTo>
                  <a:lnTo>
                    <a:pt x="387" y="899"/>
                  </a:lnTo>
                  <a:lnTo>
                    <a:pt x="387"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9" y="899"/>
                  </a:lnTo>
                  <a:lnTo>
                    <a:pt x="399" y="899"/>
                  </a:lnTo>
                  <a:lnTo>
                    <a:pt x="399" y="899"/>
                  </a:lnTo>
                  <a:lnTo>
                    <a:pt x="399" y="899"/>
                  </a:lnTo>
                  <a:lnTo>
                    <a:pt x="399" y="899"/>
                  </a:lnTo>
                  <a:lnTo>
                    <a:pt x="399" y="899"/>
                  </a:lnTo>
                  <a:lnTo>
                    <a:pt x="400" y="899"/>
                  </a:lnTo>
                  <a:lnTo>
                    <a:pt x="400" y="899"/>
                  </a:lnTo>
                  <a:lnTo>
                    <a:pt x="400" y="899"/>
                  </a:lnTo>
                  <a:lnTo>
                    <a:pt x="400" y="899"/>
                  </a:lnTo>
                  <a:lnTo>
                    <a:pt x="400" y="899"/>
                  </a:lnTo>
                  <a:lnTo>
                    <a:pt x="400"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3" y="899"/>
                  </a:lnTo>
                  <a:lnTo>
                    <a:pt x="403" y="899"/>
                  </a:lnTo>
                  <a:lnTo>
                    <a:pt x="404" y="899"/>
                  </a:lnTo>
                  <a:lnTo>
                    <a:pt x="404" y="899"/>
                  </a:lnTo>
                  <a:lnTo>
                    <a:pt x="405" y="899"/>
                  </a:lnTo>
                  <a:lnTo>
                    <a:pt x="405" y="899"/>
                  </a:lnTo>
                  <a:lnTo>
                    <a:pt x="405" y="899"/>
                  </a:lnTo>
                  <a:lnTo>
                    <a:pt x="405" y="899"/>
                  </a:lnTo>
                  <a:lnTo>
                    <a:pt x="405" y="899"/>
                  </a:lnTo>
                  <a:lnTo>
                    <a:pt x="405" y="899"/>
                  </a:lnTo>
                  <a:lnTo>
                    <a:pt x="406" y="899"/>
                  </a:lnTo>
                  <a:lnTo>
                    <a:pt x="406" y="899"/>
                  </a:lnTo>
                  <a:lnTo>
                    <a:pt x="407" y="899"/>
                  </a:lnTo>
                  <a:lnTo>
                    <a:pt x="407" y="899"/>
                  </a:lnTo>
                  <a:lnTo>
                    <a:pt x="409" y="899"/>
                  </a:lnTo>
                  <a:lnTo>
                    <a:pt x="409" y="899"/>
                  </a:lnTo>
                  <a:lnTo>
                    <a:pt x="410" y="899"/>
                  </a:lnTo>
                  <a:lnTo>
                    <a:pt x="410" y="899"/>
                  </a:lnTo>
                  <a:lnTo>
                    <a:pt x="412" y="899"/>
                  </a:lnTo>
                  <a:lnTo>
                    <a:pt x="412" y="899"/>
                  </a:lnTo>
                  <a:lnTo>
                    <a:pt x="413" y="899"/>
                  </a:lnTo>
                  <a:lnTo>
                    <a:pt x="413" y="899"/>
                  </a:lnTo>
                  <a:lnTo>
                    <a:pt x="415" y="899"/>
                  </a:lnTo>
                  <a:lnTo>
                    <a:pt x="415" y="899"/>
                  </a:lnTo>
                  <a:lnTo>
                    <a:pt x="418" y="899"/>
                  </a:lnTo>
                  <a:lnTo>
                    <a:pt x="418" y="899"/>
                  </a:lnTo>
                  <a:lnTo>
                    <a:pt x="424" y="899"/>
                  </a:lnTo>
                  <a:lnTo>
                    <a:pt x="424"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1" y="899"/>
                  </a:lnTo>
                  <a:lnTo>
                    <a:pt x="431" y="899"/>
                  </a:lnTo>
                  <a:lnTo>
                    <a:pt x="433" y="899"/>
                  </a:lnTo>
                  <a:lnTo>
                    <a:pt x="433" y="899"/>
                  </a:lnTo>
                  <a:lnTo>
                    <a:pt x="436" y="899"/>
                  </a:lnTo>
                  <a:lnTo>
                    <a:pt x="436" y="899"/>
                  </a:lnTo>
                  <a:lnTo>
                    <a:pt x="439" y="899"/>
                  </a:lnTo>
                  <a:lnTo>
                    <a:pt x="439" y="899"/>
                  </a:lnTo>
                  <a:lnTo>
                    <a:pt x="447" y="899"/>
                  </a:lnTo>
                  <a:lnTo>
                    <a:pt x="447" y="899"/>
                  </a:lnTo>
                  <a:lnTo>
                    <a:pt x="447" y="899"/>
                  </a:lnTo>
                  <a:lnTo>
                    <a:pt x="447"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9" y="899"/>
                  </a:lnTo>
                  <a:lnTo>
                    <a:pt x="449" y="899"/>
                  </a:lnTo>
                  <a:lnTo>
                    <a:pt x="450" y="899"/>
                  </a:lnTo>
                  <a:lnTo>
                    <a:pt x="450" y="899"/>
                  </a:lnTo>
                  <a:lnTo>
                    <a:pt x="451" y="899"/>
                  </a:lnTo>
                  <a:lnTo>
                    <a:pt x="451"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9" y="899"/>
                  </a:lnTo>
                  <a:lnTo>
                    <a:pt x="459" y="899"/>
                  </a:lnTo>
                  <a:lnTo>
                    <a:pt x="460" y="899"/>
                  </a:lnTo>
                  <a:lnTo>
                    <a:pt x="460" y="899"/>
                  </a:lnTo>
                  <a:lnTo>
                    <a:pt x="460" y="899"/>
                  </a:lnTo>
                  <a:lnTo>
                    <a:pt x="460" y="899"/>
                  </a:lnTo>
                  <a:lnTo>
                    <a:pt x="461" y="899"/>
                  </a:lnTo>
                  <a:lnTo>
                    <a:pt x="461" y="899"/>
                  </a:lnTo>
                  <a:lnTo>
                    <a:pt x="462" y="899"/>
                  </a:lnTo>
                  <a:lnTo>
                    <a:pt x="462" y="899"/>
                  </a:lnTo>
                  <a:lnTo>
                    <a:pt x="463" y="899"/>
                  </a:lnTo>
                  <a:lnTo>
                    <a:pt x="463" y="899"/>
                  </a:lnTo>
                  <a:lnTo>
                    <a:pt x="464" y="899"/>
                  </a:lnTo>
                  <a:lnTo>
                    <a:pt x="464" y="899"/>
                  </a:lnTo>
                  <a:lnTo>
                    <a:pt x="470" y="899"/>
                  </a:lnTo>
                  <a:lnTo>
                    <a:pt x="470" y="899"/>
                  </a:lnTo>
                  <a:lnTo>
                    <a:pt x="470" y="899"/>
                  </a:lnTo>
                  <a:lnTo>
                    <a:pt x="470" y="899"/>
                  </a:lnTo>
                  <a:lnTo>
                    <a:pt x="470" y="899"/>
                  </a:lnTo>
                  <a:lnTo>
                    <a:pt x="470" y="899"/>
                  </a:lnTo>
                  <a:lnTo>
                    <a:pt x="471" y="899"/>
                  </a:lnTo>
                  <a:lnTo>
                    <a:pt x="471" y="899"/>
                  </a:lnTo>
                  <a:lnTo>
                    <a:pt x="471" y="899"/>
                  </a:lnTo>
                  <a:lnTo>
                    <a:pt x="471" y="899"/>
                  </a:lnTo>
                  <a:lnTo>
                    <a:pt x="471" y="899"/>
                  </a:lnTo>
                  <a:lnTo>
                    <a:pt x="471" y="899"/>
                  </a:lnTo>
                  <a:lnTo>
                    <a:pt x="471" y="899"/>
                  </a:lnTo>
                  <a:lnTo>
                    <a:pt x="471" y="899"/>
                  </a:lnTo>
                  <a:lnTo>
                    <a:pt x="472" y="899"/>
                  </a:lnTo>
                  <a:lnTo>
                    <a:pt x="472" y="899"/>
                  </a:lnTo>
                  <a:lnTo>
                    <a:pt x="472" y="899"/>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899"/>
                  </a:lnTo>
                  <a:lnTo>
                    <a:pt x="510" y="899"/>
                  </a:lnTo>
                  <a:lnTo>
                    <a:pt x="510" y="899"/>
                  </a:lnTo>
                  <a:lnTo>
                    <a:pt x="510" y="899"/>
                  </a:lnTo>
                  <a:lnTo>
                    <a:pt x="510" y="899"/>
                  </a:lnTo>
                  <a:lnTo>
                    <a:pt x="510" y="899"/>
                  </a:lnTo>
                  <a:lnTo>
                    <a:pt x="510"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2" y="899"/>
                  </a:lnTo>
                  <a:lnTo>
                    <a:pt x="512" y="899"/>
                  </a:lnTo>
                  <a:lnTo>
                    <a:pt x="514" y="899"/>
                  </a:lnTo>
                  <a:lnTo>
                    <a:pt x="514"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899"/>
                  </a:lnTo>
                  <a:lnTo>
                    <a:pt x="530" y="899"/>
                  </a:lnTo>
                  <a:lnTo>
                    <a:pt x="530" y="899"/>
                  </a:lnTo>
                  <a:lnTo>
                    <a:pt x="530" y="899"/>
                  </a:lnTo>
                  <a:lnTo>
                    <a:pt x="530" y="899"/>
                  </a:lnTo>
                  <a:lnTo>
                    <a:pt x="530" y="899"/>
                  </a:lnTo>
                  <a:lnTo>
                    <a:pt x="530" y="899"/>
                  </a:lnTo>
                  <a:lnTo>
                    <a:pt x="530" y="899"/>
                  </a:lnTo>
                  <a:lnTo>
                    <a:pt x="530" y="899"/>
                  </a:lnTo>
                  <a:lnTo>
                    <a:pt x="531" y="899"/>
                  </a:lnTo>
                  <a:lnTo>
                    <a:pt x="531" y="899"/>
                  </a:lnTo>
                  <a:lnTo>
                    <a:pt x="531" y="899"/>
                  </a:lnTo>
                  <a:lnTo>
                    <a:pt x="531" y="899"/>
                  </a:lnTo>
                  <a:lnTo>
                    <a:pt x="532" y="899"/>
                  </a:lnTo>
                  <a:lnTo>
                    <a:pt x="532" y="899"/>
                  </a:lnTo>
                  <a:lnTo>
                    <a:pt x="532" y="899"/>
                  </a:lnTo>
                  <a:lnTo>
                    <a:pt x="532" y="899"/>
                  </a:lnTo>
                  <a:lnTo>
                    <a:pt x="533" y="899"/>
                  </a:lnTo>
                  <a:lnTo>
                    <a:pt x="533" y="899"/>
                  </a:lnTo>
                  <a:lnTo>
                    <a:pt x="534" y="899"/>
                  </a:lnTo>
                  <a:lnTo>
                    <a:pt x="534" y="899"/>
                  </a:lnTo>
                  <a:lnTo>
                    <a:pt x="538" y="899"/>
                  </a:lnTo>
                  <a:lnTo>
                    <a:pt x="53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50" y="899"/>
                  </a:lnTo>
                  <a:lnTo>
                    <a:pt x="550" y="899"/>
                  </a:lnTo>
                  <a:lnTo>
                    <a:pt x="551" y="899"/>
                  </a:lnTo>
                  <a:lnTo>
                    <a:pt x="551" y="899"/>
                  </a:lnTo>
                  <a:lnTo>
                    <a:pt x="554" y="899"/>
                  </a:lnTo>
                  <a:lnTo>
                    <a:pt x="554" y="899"/>
                  </a:lnTo>
                  <a:lnTo>
                    <a:pt x="554" y="899"/>
                  </a:lnTo>
                  <a:lnTo>
                    <a:pt x="554"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4" y="899"/>
                  </a:lnTo>
                  <a:lnTo>
                    <a:pt x="574" y="899"/>
                  </a:lnTo>
                  <a:lnTo>
                    <a:pt x="576" y="899"/>
                  </a:lnTo>
                  <a:lnTo>
                    <a:pt x="576" y="899"/>
                  </a:lnTo>
                  <a:lnTo>
                    <a:pt x="579" y="899"/>
                  </a:lnTo>
                  <a:lnTo>
                    <a:pt x="579" y="899"/>
                  </a:lnTo>
                  <a:lnTo>
                    <a:pt x="580" y="899"/>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7" y="899"/>
                  </a:lnTo>
                  <a:lnTo>
                    <a:pt x="587" y="899"/>
                  </a:lnTo>
                  <a:lnTo>
                    <a:pt x="587" y="899"/>
                  </a:lnTo>
                  <a:lnTo>
                    <a:pt x="587" y="899"/>
                  </a:lnTo>
                  <a:lnTo>
                    <a:pt x="587" y="899"/>
                  </a:lnTo>
                  <a:lnTo>
                    <a:pt x="587" y="899"/>
                  </a:lnTo>
                  <a:lnTo>
                    <a:pt x="588" y="899"/>
                  </a:lnTo>
                  <a:lnTo>
                    <a:pt x="588" y="899"/>
                  </a:lnTo>
                  <a:lnTo>
                    <a:pt x="588" y="899"/>
                  </a:lnTo>
                  <a:lnTo>
                    <a:pt x="588" y="899"/>
                  </a:lnTo>
                  <a:lnTo>
                    <a:pt x="589" y="899"/>
                  </a:lnTo>
                  <a:lnTo>
                    <a:pt x="589" y="899"/>
                  </a:lnTo>
                  <a:lnTo>
                    <a:pt x="590" y="899"/>
                  </a:lnTo>
                  <a:lnTo>
                    <a:pt x="590" y="899"/>
                  </a:lnTo>
                  <a:lnTo>
                    <a:pt x="591" y="899"/>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899"/>
                  </a:lnTo>
                  <a:lnTo>
                    <a:pt x="605" y="899"/>
                  </a:lnTo>
                  <a:lnTo>
                    <a:pt x="605"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7" y="899"/>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50" y="899"/>
                  </a:lnTo>
                  <a:lnTo>
                    <a:pt x="650" y="899"/>
                  </a:lnTo>
                  <a:lnTo>
                    <a:pt x="651" y="899"/>
                  </a:lnTo>
                  <a:lnTo>
                    <a:pt x="651" y="899"/>
                  </a:lnTo>
                  <a:lnTo>
                    <a:pt x="653" y="899"/>
                  </a:lnTo>
                  <a:lnTo>
                    <a:pt x="653" y="899"/>
                  </a:lnTo>
                  <a:lnTo>
                    <a:pt x="663" y="899"/>
                  </a:lnTo>
                  <a:lnTo>
                    <a:pt x="663" y="899"/>
                  </a:lnTo>
                  <a:lnTo>
                    <a:pt x="663" y="899"/>
                  </a:lnTo>
                  <a:lnTo>
                    <a:pt x="663" y="899"/>
                  </a:lnTo>
                  <a:lnTo>
                    <a:pt x="673" y="899"/>
                  </a:lnTo>
                  <a:lnTo>
                    <a:pt x="673" y="899"/>
                  </a:lnTo>
                  <a:lnTo>
                    <a:pt x="673" y="899"/>
                  </a:lnTo>
                  <a:lnTo>
                    <a:pt x="673" y="899"/>
                  </a:lnTo>
                  <a:lnTo>
                    <a:pt x="673" y="899"/>
                  </a:lnTo>
                  <a:lnTo>
                    <a:pt x="673" y="899"/>
                  </a:lnTo>
                  <a:lnTo>
                    <a:pt x="673" y="899"/>
                  </a:lnTo>
                  <a:lnTo>
                    <a:pt x="673" y="899"/>
                  </a:lnTo>
                  <a:lnTo>
                    <a:pt x="674" y="899"/>
                  </a:lnTo>
                  <a:lnTo>
                    <a:pt x="674" y="899"/>
                  </a:lnTo>
                  <a:lnTo>
                    <a:pt x="674" y="899"/>
                  </a:lnTo>
                  <a:lnTo>
                    <a:pt x="674" y="899"/>
                  </a:lnTo>
                  <a:lnTo>
                    <a:pt x="675" y="899"/>
                  </a:lnTo>
                  <a:lnTo>
                    <a:pt x="675"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9" y="899"/>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726" y="899"/>
                  </a:lnTo>
                  <a:lnTo>
                    <a:pt x="726" y="899"/>
                  </a:lnTo>
                  <a:lnTo>
                    <a:pt x="726" y="899"/>
                  </a:lnTo>
                  <a:lnTo>
                    <a:pt x="726" y="899"/>
                  </a:lnTo>
                  <a:lnTo>
                    <a:pt x="726" y="899"/>
                  </a:lnTo>
                  <a:lnTo>
                    <a:pt x="726" y="899"/>
                  </a:lnTo>
                  <a:lnTo>
                    <a:pt x="728" y="899"/>
                  </a:lnTo>
                  <a:lnTo>
                    <a:pt x="728" y="899"/>
                  </a:lnTo>
                  <a:lnTo>
                    <a:pt x="732" y="899"/>
                  </a:lnTo>
                  <a:lnTo>
                    <a:pt x="732"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3" y="899"/>
                  </a:lnTo>
                  <a:lnTo>
                    <a:pt x="753" y="899"/>
                  </a:lnTo>
                  <a:lnTo>
                    <a:pt x="753" y="899"/>
                  </a:lnTo>
                  <a:lnTo>
                    <a:pt x="753" y="899"/>
                  </a:lnTo>
                  <a:lnTo>
                    <a:pt x="754" y="899"/>
                  </a:lnTo>
                  <a:lnTo>
                    <a:pt x="754" y="899"/>
                  </a:lnTo>
                  <a:lnTo>
                    <a:pt x="754" y="899"/>
                  </a:lnTo>
                  <a:lnTo>
                    <a:pt x="754" y="899"/>
                  </a:lnTo>
                  <a:lnTo>
                    <a:pt x="754" y="899"/>
                  </a:lnTo>
                  <a:lnTo>
                    <a:pt x="754" y="899"/>
                  </a:lnTo>
                  <a:lnTo>
                    <a:pt x="755" y="899"/>
                  </a:lnTo>
                  <a:lnTo>
                    <a:pt x="755" y="899"/>
                  </a:lnTo>
                  <a:lnTo>
                    <a:pt x="756" y="899"/>
                  </a:lnTo>
                  <a:lnTo>
                    <a:pt x="756" y="899"/>
                  </a:lnTo>
                  <a:lnTo>
                    <a:pt x="756" y="899"/>
                  </a:lnTo>
                  <a:lnTo>
                    <a:pt x="756" y="899"/>
                  </a:lnTo>
                  <a:lnTo>
                    <a:pt x="757" y="899"/>
                  </a:lnTo>
                  <a:lnTo>
                    <a:pt x="757" y="899"/>
                  </a:lnTo>
                  <a:lnTo>
                    <a:pt x="758" y="899"/>
                  </a:lnTo>
                  <a:lnTo>
                    <a:pt x="758" y="899"/>
                  </a:lnTo>
                  <a:lnTo>
                    <a:pt x="759" y="899"/>
                  </a:lnTo>
                  <a:lnTo>
                    <a:pt x="759" y="899"/>
                  </a:lnTo>
                  <a:lnTo>
                    <a:pt x="760" y="899"/>
                  </a:lnTo>
                  <a:lnTo>
                    <a:pt x="760" y="899"/>
                  </a:lnTo>
                  <a:lnTo>
                    <a:pt x="763" y="899"/>
                  </a:lnTo>
                  <a:lnTo>
                    <a:pt x="763"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899"/>
                  </a:lnTo>
                  <a:lnTo>
                    <a:pt x="768" y="899"/>
                  </a:lnTo>
                  <a:lnTo>
                    <a:pt x="768" y="899"/>
                  </a:lnTo>
                  <a:lnTo>
                    <a:pt x="777" y="899"/>
                  </a:lnTo>
                  <a:lnTo>
                    <a:pt x="777" y="899"/>
                  </a:lnTo>
                  <a:lnTo>
                    <a:pt x="777" y="899"/>
                  </a:lnTo>
                  <a:lnTo>
                    <a:pt x="777" y="899"/>
                  </a:lnTo>
                  <a:lnTo>
                    <a:pt x="777" y="899"/>
                  </a:lnTo>
                  <a:lnTo>
                    <a:pt x="777" y="899"/>
                  </a:lnTo>
                  <a:lnTo>
                    <a:pt x="777" y="899"/>
                  </a:lnTo>
                  <a:lnTo>
                    <a:pt x="777" y="899"/>
                  </a:lnTo>
                  <a:lnTo>
                    <a:pt x="778" y="899"/>
                  </a:lnTo>
                  <a:lnTo>
                    <a:pt x="778" y="899"/>
                  </a:lnTo>
                  <a:lnTo>
                    <a:pt x="778" y="899"/>
                  </a:lnTo>
                  <a:lnTo>
                    <a:pt x="778" y="899"/>
                  </a:lnTo>
                  <a:lnTo>
                    <a:pt x="778" y="899"/>
                  </a:lnTo>
                  <a:lnTo>
                    <a:pt x="778" y="899"/>
                  </a:lnTo>
                  <a:lnTo>
                    <a:pt x="778" y="899"/>
                  </a:lnTo>
                  <a:lnTo>
                    <a:pt x="778" y="899"/>
                  </a:lnTo>
                  <a:lnTo>
                    <a:pt x="779" y="899"/>
                  </a:lnTo>
                  <a:lnTo>
                    <a:pt x="779" y="899"/>
                  </a:lnTo>
                  <a:lnTo>
                    <a:pt x="781" y="899"/>
                  </a:lnTo>
                  <a:lnTo>
                    <a:pt x="781" y="899"/>
                  </a:lnTo>
                  <a:lnTo>
                    <a:pt x="782" y="899"/>
                  </a:lnTo>
                  <a:lnTo>
                    <a:pt x="782" y="899"/>
                  </a:lnTo>
                  <a:lnTo>
                    <a:pt x="786" y="899"/>
                  </a:lnTo>
                  <a:lnTo>
                    <a:pt x="786" y="899"/>
                  </a:lnTo>
                  <a:lnTo>
                    <a:pt x="792" y="899"/>
                  </a:lnTo>
                  <a:lnTo>
                    <a:pt x="792" y="899"/>
                  </a:lnTo>
                  <a:lnTo>
                    <a:pt x="792" y="899"/>
                  </a:lnTo>
                  <a:lnTo>
                    <a:pt x="792" y="899"/>
                  </a:lnTo>
                  <a:lnTo>
                    <a:pt x="792" y="899"/>
                  </a:lnTo>
                  <a:lnTo>
                    <a:pt x="792"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4" y="899"/>
                  </a:lnTo>
                  <a:lnTo>
                    <a:pt x="794" y="899"/>
                  </a:lnTo>
                  <a:lnTo>
                    <a:pt x="794" y="899"/>
                  </a:lnTo>
                  <a:lnTo>
                    <a:pt x="794" y="899"/>
                  </a:lnTo>
                  <a:lnTo>
                    <a:pt x="795" y="899"/>
                  </a:lnTo>
                  <a:lnTo>
                    <a:pt x="795"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9" y="899"/>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7" y="899"/>
                  </a:lnTo>
                  <a:lnTo>
                    <a:pt x="837" y="899"/>
                  </a:lnTo>
                  <a:lnTo>
                    <a:pt x="838" y="899"/>
                  </a:lnTo>
                  <a:lnTo>
                    <a:pt x="838"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8" y="899"/>
                  </a:lnTo>
                  <a:lnTo>
                    <a:pt x="848" y="899"/>
                  </a:lnTo>
                  <a:lnTo>
                    <a:pt x="848" y="899"/>
                  </a:lnTo>
                  <a:lnTo>
                    <a:pt x="848" y="899"/>
                  </a:lnTo>
                  <a:lnTo>
                    <a:pt x="848" y="899"/>
                  </a:lnTo>
                  <a:lnTo>
                    <a:pt x="848" y="899"/>
                  </a:lnTo>
                  <a:lnTo>
                    <a:pt x="848" y="899"/>
                  </a:lnTo>
                  <a:lnTo>
                    <a:pt x="848" y="899"/>
                  </a:lnTo>
                  <a:lnTo>
                    <a:pt x="849" y="899"/>
                  </a:lnTo>
                  <a:lnTo>
                    <a:pt x="849" y="899"/>
                  </a:lnTo>
                  <a:lnTo>
                    <a:pt x="850" y="899"/>
                  </a:lnTo>
                  <a:lnTo>
                    <a:pt x="850"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2" y="899"/>
                  </a:lnTo>
                  <a:lnTo>
                    <a:pt x="852"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3" y="899"/>
                  </a:lnTo>
                  <a:lnTo>
                    <a:pt x="883" y="899"/>
                  </a:lnTo>
                  <a:lnTo>
                    <a:pt x="883" y="899"/>
                  </a:lnTo>
                  <a:lnTo>
                    <a:pt x="883" y="899"/>
                  </a:lnTo>
                  <a:lnTo>
                    <a:pt x="883" y="899"/>
                  </a:lnTo>
                  <a:lnTo>
                    <a:pt x="883" y="899"/>
                  </a:lnTo>
                  <a:lnTo>
                    <a:pt x="883" y="899"/>
                  </a:lnTo>
                  <a:lnTo>
                    <a:pt x="883" y="899"/>
                  </a:lnTo>
                  <a:lnTo>
                    <a:pt x="883" y="899"/>
                  </a:lnTo>
                  <a:lnTo>
                    <a:pt x="883" y="899"/>
                  </a:lnTo>
                  <a:lnTo>
                    <a:pt x="884" y="899"/>
                  </a:lnTo>
                  <a:lnTo>
                    <a:pt x="884" y="899"/>
                  </a:lnTo>
                  <a:lnTo>
                    <a:pt x="884" y="899"/>
                  </a:lnTo>
                  <a:lnTo>
                    <a:pt x="884" y="899"/>
                  </a:lnTo>
                  <a:lnTo>
                    <a:pt x="885" y="899"/>
                  </a:lnTo>
                  <a:lnTo>
                    <a:pt x="885"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7" y="899"/>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9" y="899"/>
                  </a:lnTo>
                  <a:lnTo>
                    <a:pt x="889" y="899"/>
                  </a:lnTo>
                  <a:lnTo>
                    <a:pt x="889" y="899"/>
                  </a:lnTo>
                  <a:lnTo>
                    <a:pt x="889" y="899"/>
                  </a:lnTo>
                  <a:lnTo>
                    <a:pt x="889" y="899"/>
                  </a:lnTo>
                  <a:lnTo>
                    <a:pt x="889" y="899"/>
                  </a:lnTo>
                  <a:lnTo>
                    <a:pt x="890" y="899"/>
                  </a:lnTo>
                  <a:lnTo>
                    <a:pt x="890" y="899"/>
                  </a:lnTo>
                  <a:lnTo>
                    <a:pt x="890" y="899"/>
                  </a:lnTo>
                  <a:lnTo>
                    <a:pt x="890" y="899"/>
                  </a:lnTo>
                  <a:lnTo>
                    <a:pt x="891" y="899"/>
                  </a:lnTo>
                  <a:lnTo>
                    <a:pt x="891" y="899"/>
                  </a:lnTo>
                  <a:lnTo>
                    <a:pt x="891" y="899"/>
                  </a:lnTo>
                  <a:lnTo>
                    <a:pt x="891" y="899"/>
                  </a:lnTo>
                  <a:lnTo>
                    <a:pt x="892" y="899"/>
                  </a:lnTo>
                  <a:lnTo>
                    <a:pt x="892" y="899"/>
                  </a:lnTo>
                  <a:lnTo>
                    <a:pt x="892" y="899"/>
                  </a:lnTo>
                  <a:lnTo>
                    <a:pt x="892" y="899"/>
                  </a:lnTo>
                  <a:lnTo>
                    <a:pt x="893" y="899"/>
                  </a:lnTo>
                  <a:lnTo>
                    <a:pt x="893" y="899"/>
                  </a:lnTo>
                  <a:lnTo>
                    <a:pt x="894" y="899"/>
                  </a:lnTo>
                  <a:lnTo>
                    <a:pt x="894" y="899"/>
                  </a:lnTo>
                  <a:lnTo>
                    <a:pt x="896" y="899"/>
                  </a:lnTo>
                  <a:lnTo>
                    <a:pt x="896" y="899"/>
                  </a:lnTo>
                  <a:lnTo>
                    <a:pt x="899" y="899"/>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4" y="899"/>
                  </a:lnTo>
                  <a:lnTo>
                    <a:pt x="914" y="899"/>
                  </a:lnTo>
                  <a:lnTo>
                    <a:pt x="914" y="899"/>
                  </a:lnTo>
                  <a:lnTo>
                    <a:pt x="914" y="899"/>
                  </a:lnTo>
                  <a:lnTo>
                    <a:pt x="914" y="899"/>
                  </a:lnTo>
                  <a:lnTo>
                    <a:pt x="914" y="899"/>
                  </a:lnTo>
                  <a:lnTo>
                    <a:pt x="915" y="899"/>
                  </a:lnTo>
                  <a:lnTo>
                    <a:pt x="915" y="899"/>
                  </a:lnTo>
                  <a:lnTo>
                    <a:pt x="915" y="899"/>
                  </a:lnTo>
                  <a:lnTo>
                    <a:pt x="915" y="899"/>
                  </a:lnTo>
                  <a:lnTo>
                    <a:pt x="916" y="899"/>
                  </a:lnTo>
                  <a:lnTo>
                    <a:pt x="916" y="899"/>
                  </a:lnTo>
                  <a:lnTo>
                    <a:pt x="917" y="899"/>
                  </a:lnTo>
                  <a:lnTo>
                    <a:pt x="917" y="899"/>
                  </a:lnTo>
                  <a:lnTo>
                    <a:pt x="918" y="899"/>
                  </a:lnTo>
                  <a:lnTo>
                    <a:pt x="918" y="899"/>
                  </a:lnTo>
                  <a:lnTo>
                    <a:pt x="920" y="899"/>
                  </a:lnTo>
                  <a:lnTo>
                    <a:pt x="920" y="899"/>
                  </a:lnTo>
                  <a:lnTo>
                    <a:pt x="923" y="899"/>
                  </a:lnTo>
                  <a:lnTo>
                    <a:pt x="923" y="899"/>
                  </a:lnTo>
                  <a:lnTo>
                    <a:pt x="928" y="899"/>
                  </a:lnTo>
                  <a:lnTo>
                    <a:pt x="928" y="899"/>
                  </a:lnTo>
                  <a:lnTo>
                    <a:pt x="929" y="899"/>
                  </a:lnTo>
                  <a:lnTo>
                    <a:pt x="929" y="899"/>
                  </a:lnTo>
                  <a:lnTo>
                    <a:pt x="931" y="899"/>
                  </a:lnTo>
                  <a:lnTo>
                    <a:pt x="931"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3" y="899"/>
                  </a:lnTo>
                  <a:lnTo>
                    <a:pt x="933" y="899"/>
                  </a:lnTo>
                  <a:lnTo>
                    <a:pt x="933" y="899"/>
                  </a:lnTo>
                  <a:lnTo>
                    <a:pt x="933" y="899"/>
                  </a:lnTo>
                  <a:lnTo>
                    <a:pt x="933" y="899"/>
                  </a:lnTo>
                  <a:lnTo>
                    <a:pt x="933" y="899"/>
                  </a:lnTo>
                  <a:lnTo>
                    <a:pt x="933" y="899"/>
                  </a:lnTo>
                  <a:lnTo>
                    <a:pt x="933" y="899"/>
                  </a:lnTo>
                  <a:lnTo>
                    <a:pt x="934" y="899"/>
                  </a:lnTo>
                  <a:lnTo>
                    <a:pt x="934" y="899"/>
                  </a:lnTo>
                  <a:lnTo>
                    <a:pt x="935" y="899"/>
                  </a:lnTo>
                  <a:lnTo>
                    <a:pt x="935" y="899"/>
                  </a:lnTo>
                  <a:lnTo>
                    <a:pt x="935" y="899"/>
                  </a:lnTo>
                  <a:lnTo>
                    <a:pt x="935" y="899"/>
                  </a:lnTo>
                  <a:lnTo>
                    <a:pt x="935" y="899"/>
                  </a:lnTo>
                  <a:lnTo>
                    <a:pt x="935" y="899"/>
                  </a:lnTo>
                  <a:lnTo>
                    <a:pt x="936" y="899"/>
                  </a:lnTo>
                  <a:lnTo>
                    <a:pt x="936" y="899"/>
                  </a:lnTo>
                  <a:lnTo>
                    <a:pt x="936" y="899"/>
                  </a:lnTo>
                  <a:lnTo>
                    <a:pt x="936" y="899"/>
                  </a:lnTo>
                  <a:lnTo>
                    <a:pt x="938" y="899"/>
                  </a:lnTo>
                  <a:lnTo>
                    <a:pt x="938" y="899"/>
                  </a:lnTo>
                  <a:lnTo>
                    <a:pt x="943" y="899"/>
                  </a:lnTo>
                  <a:lnTo>
                    <a:pt x="943" y="899"/>
                  </a:lnTo>
                  <a:lnTo>
                    <a:pt x="943" y="899"/>
                  </a:lnTo>
                  <a:lnTo>
                    <a:pt x="943" y="899"/>
                  </a:lnTo>
                  <a:lnTo>
                    <a:pt x="943" y="899"/>
                  </a:lnTo>
                  <a:lnTo>
                    <a:pt x="943" y="899"/>
                  </a:lnTo>
                  <a:lnTo>
                    <a:pt x="943" y="899"/>
                  </a:lnTo>
                  <a:lnTo>
                    <a:pt x="943" y="899"/>
                  </a:lnTo>
                  <a:lnTo>
                    <a:pt x="943" y="899"/>
                  </a:lnTo>
                  <a:lnTo>
                    <a:pt x="943" y="899"/>
                  </a:lnTo>
                  <a:lnTo>
                    <a:pt x="944" y="899"/>
                  </a:lnTo>
                  <a:lnTo>
                    <a:pt x="944" y="899"/>
                  </a:lnTo>
                  <a:lnTo>
                    <a:pt x="945" y="899"/>
                  </a:lnTo>
                  <a:lnTo>
                    <a:pt x="945" y="899"/>
                  </a:lnTo>
                  <a:lnTo>
                    <a:pt x="945" y="899"/>
                  </a:lnTo>
                  <a:lnTo>
                    <a:pt x="945" y="899"/>
                  </a:lnTo>
                  <a:lnTo>
                    <a:pt x="946" y="899"/>
                  </a:lnTo>
                  <a:lnTo>
                    <a:pt x="946" y="899"/>
                  </a:lnTo>
                  <a:lnTo>
                    <a:pt x="946" y="899"/>
                  </a:lnTo>
                  <a:lnTo>
                    <a:pt x="946" y="899"/>
                  </a:lnTo>
                  <a:lnTo>
                    <a:pt x="946" y="899"/>
                  </a:lnTo>
                  <a:lnTo>
                    <a:pt x="946" y="899"/>
                  </a:lnTo>
                  <a:lnTo>
                    <a:pt x="946" y="899"/>
                  </a:lnTo>
                  <a:lnTo>
                    <a:pt x="946"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50" y="899"/>
                  </a:lnTo>
                  <a:lnTo>
                    <a:pt x="950" y="899"/>
                  </a:lnTo>
                  <a:lnTo>
                    <a:pt x="950" y="899"/>
                  </a:lnTo>
                  <a:lnTo>
                    <a:pt x="950" y="899"/>
                  </a:lnTo>
                  <a:lnTo>
                    <a:pt x="950" y="899"/>
                  </a:lnTo>
                  <a:lnTo>
                    <a:pt x="950"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7" y="899"/>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90" y="899"/>
                  </a:lnTo>
                  <a:lnTo>
                    <a:pt x="990" y="899"/>
                  </a:lnTo>
                  <a:lnTo>
                    <a:pt x="991" y="899"/>
                  </a:lnTo>
                  <a:lnTo>
                    <a:pt x="991"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3" y="899"/>
                  </a:lnTo>
                  <a:lnTo>
                    <a:pt x="1003"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8" y="899"/>
                  </a:lnTo>
                  <a:lnTo>
                    <a:pt x="1038" y="899"/>
                  </a:lnTo>
                  <a:lnTo>
                    <a:pt x="1039" y="899"/>
                  </a:lnTo>
                  <a:lnTo>
                    <a:pt x="1039" y="899"/>
                  </a:lnTo>
                  <a:lnTo>
                    <a:pt x="1045" y="899"/>
                  </a:lnTo>
                  <a:lnTo>
                    <a:pt x="1045" y="899"/>
                  </a:lnTo>
                  <a:lnTo>
                    <a:pt x="1052" y="899"/>
                  </a:lnTo>
                  <a:lnTo>
                    <a:pt x="1052" y="899"/>
                  </a:lnTo>
                  <a:lnTo>
                    <a:pt x="1061" y="899"/>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71" y="899"/>
                  </a:lnTo>
                  <a:lnTo>
                    <a:pt x="1071" y="899"/>
                  </a:lnTo>
                  <a:lnTo>
                    <a:pt x="1074" y="899"/>
                  </a:lnTo>
                  <a:lnTo>
                    <a:pt x="1074" y="899"/>
                  </a:lnTo>
                  <a:lnTo>
                    <a:pt x="1077" y="899"/>
                  </a:lnTo>
                  <a:lnTo>
                    <a:pt x="1077" y="899"/>
                  </a:lnTo>
                  <a:lnTo>
                    <a:pt x="1101" y="899"/>
                  </a:lnTo>
                  <a:lnTo>
                    <a:pt x="1101" y="899"/>
                  </a:lnTo>
                  <a:lnTo>
                    <a:pt x="1101" y="899"/>
                  </a:lnTo>
                  <a:lnTo>
                    <a:pt x="1101" y="899"/>
                  </a:lnTo>
                  <a:lnTo>
                    <a:pt x="1102" y="899"/>
                  </a:lnTo>
                  <a:lnTo>
                    <a:pt x="1102" y="899"/>
                  </a:lnTo>
                  <a:lnTo>
                    <a:pt x="1102" y="899"/>
                  </a:lnTo>
                  <a:lnTo>
                    <a:pt x="1102" y="899"/>
                  </a:lnTo>
                  <a:lnTo>
                    <a:pt x="1102" y="899"/>
                  </a:lnTo>
                  <a:lnTo>
                    <a:pt x="1102" y="899"/>
                  </a:lnTo>
                  <a:lnTo>
                    <a:pt x="1104" y="899"/>
                  </a:lnTo>
                  <a:lnTo>
                    <a:pt x="1104"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30" y="899"/>
                  </a:lnTo>
                  <a:lnTo>
                    <a:pt x="1130" y="899"/>
                  </a:lnTo>
                  <a:lnTo>
                    <a:pt x="1130" y="899"/>
                  </a:lnTo>
                  <a:lnTo>
                    <a:pt x="1130" y="899"/>
                  </a:lnTo>
                  <a:lnTo>
                    <a:pt x="1130" y="899"/>
                  </a:lnTo>
                  <a:lnTo>
                    <a:pt x="1130" y="899"/>
                  </a:lnTo>
                  <a:lnTo>
                    <a:pt x="1131" y="899"/>
                  </a:lnTo>
                  <a:lnTo>
                    <a:pt x="1131" y="899"/>
                  </a:lnTo>
                  <a:lnTo>
                    <a:pt x="1132" y="899"/>
                  </a:lnTo>
                  <a:lnTo>
                    <a:pt x="1132" y="899"/>
                  </a:lnTo>
                  <a:lnTo>
                    <a:pt x="1134" y="899"/>
                  </a:lnTo>
                  <a:lnTo>
                    <a:pt x="1134" y="899"/>
                  </a:lnTo>
                  <a:lnTo>
                    <a:pt x="1135" y="899"/>
                  </a:lnTo>
                  <a:lnTo>
                    <a:pt x="1135" y="899"/>
                  </a:lnTo>
                  <a:lnTo>
                    <a:pt x="1137" y="899"/>
                  </a:lnTo>
                  <a:lnTo>
                    <a:pt x="1137" y="899"/>
                  </a:lnTo>
                  <a:lnTo>
                    <a:pt x="1138" y="899"/>
                  </a:lnTo>
                  <a:lnTo>
                    <a:pt x="1138" y="899"/>
                  </a:lnTo>
                  <a:lnTo>
                    <a:pt x="1141" y="899"/>
                  </a:lnTo>
                  <a:lnTo>
                    <a:pt x="1141" y="899"/>
                  </a:lnTo>
                  <a:lnTo>
                    <a:pt x="1144" y="899"/>
                  </a:lnTo>
                  <a:lnTo>
                    <a:pt x="1144" y="899"/>
                  </a:lnTo>
                  <a:lnTo>
                    <a:pt x="1147" y="899"/>
                  </a:lnTo>
                  <a:lnTo>
                    <a:pt x="1147" y="899"/>
                  </a:lnTo>
                  <a:lnTo>
                    <a:pt x="1150" y="899"/>
                  </a:lnTo>
                  <a:lnTo>
                    <a:pt x="1150" y="899"/>
                  </a:lnTo>
                  <a:lnTo>
                    <a:pt x="1179" y="899"/>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2" y="899"/>
                  </a:lnTo>
                  <a:lnTo>
                    <a:pt x="1182" y="899"/>
                  </a:lnTo>
                  <a:lnTo>
                    <a:pt x="1182" y="899"/>
                  </a:lnTo>
                  <a:lnTo>
                    <a:pt x="1182" y="899"/>
                  </a:lnTo>
                  <a:lnTo>
                    <a:pt x="1182" y="899"/>
                  </a:lnTo>
                  <a:lnTo>
                    <a:pt x="1182" y="899"/>
                  </a:lnTo>
                  <a:lnTo>
                    <a:pt x="1183" y="899"/>
                  </a:lnTo>
                  <a:lnTo>
                    <a:pt x="1183" y="899"/>
                  </a:lnTo>
                  <a:lnTo>
                    <a:pt x="1184" y="899"/>
                  </a:lnTo>
                  <a:lnTo>
                    <a:pt x="1184" y="899"/>
                  </a:lnTo>
                  <a:lnTo>
                    <a:pt x="1185" y="899"/>
                  </a:lnTo>
                  <a:lnTo>
                    <a:pt x="1185" y="899"/>
                  </a:lnTo>
                  <a:lnTo>
                    <a:pt x="1186" y="899"/>
                  </a:lnTo>
                  <a:lnTo>
                    <a:pt x="1186" y="899"/>
                  </a:lnTo>
                  <a:lnTo>
                    <a:pt x="1190" y="899"/>
                  </a:lnTo>
                  <a:lnTo>
                    <a:pt x="1190" y="899"/>
                  </a:lnTo>
                  <a:lnTo>
                    <a:pt x="1195" y="899"/>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6" y="899"/>
                  </a:lnTo>
                  <a:lnTo>
                    <a:pt x="1226" y="899"/>
                  </a:lnTo>
                  <a:lnTo>
                    <a:pt x="1232" y="899"/>
                  </a:lnTo>
                  <a:lnTo>
                    <a:pt x="1232" y="899"/>
                  </a:lnTo>
                  <a:lnTo>
                    <a:pt x="1238" y="899"/>
                  </a:lnTo>
                  <a:lnTo>
                    <a:pt x="1238" y="899"/>
                  </a:lnTo>
                  <a:lnTo>
                    <a:pt x="1249" y="899"/>
                  </a:lnTo>
                  <a:lnTo>
                    <a:pt x="1249" y="899"/>
                  </a:lnTo>
                  <a:lnTo>
                    <a:pt x="1249" y="899"/>
                  </a:lnTo>
                  <a:lnTo>
                    <a:pt x="1249" y="899"/>
                  </a:lnTo>
                  <a:lnTo>
                    <a:pt x="1249" y="899"/>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899"/>
                  </a:lnTo>
                  <a:lnTo>
                    <a:pt x="1270" y="899"/>
                  </a:lnTo>
                  <a:lnTo>
                    <a:pt x="1270"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9" y="899"/>
                  </a:lnTo>
                  <a:lnTo>
                    <a:pt x="1319"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3" y="899"/>
                  </a:lnTo>
                  <a:lnTo>
                    <a:pt x="1323"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30" y="899"/>
                  </a:lnTo>
                  <a:lnTo>
                    <a:pt x="1330" y="899"/>
                  </a:lnTo>
                  <a:lnTo>
                    <a:pt x="1330" y="899"/>
                  </a:lnTo>
                  <a:lnTo>
                    <a:pt x="1330" y="899"/>
                  </a:lnTo>
                  <a:lnTo>
                    <a:pt x="1330" y="899"/>
                  </a:lnTo>
                  <a:lnTo>
                    <a:pt x="1330" y="899"/>
                  </a:lnTo>
                  <a:lnTo>
                    <a:pt x="1330" y="899"/>
                  </a:lnTo>
                  <a:lnTo>
                    <a:pt x="1330" y="899"/>
                  </a:lnTo>
                  <a:lnTo>
                    <a:pt x="1331" y="899"/>
                  </a:lnTo>
                  <a:lnTo>
                    <a:pt x="1331" y="899"/>
                  </a:lnTo>
                  <a:lnTo>
                    <a:pt x="1331" y="899"/>
                  </a:lnTo>
                  <a:lnTo>
                    <a:pt x="1331" y="899"/>
                  </a:lnTo>
                  <a:lnTo>
                    <a:pt x="1331" y="899"/>
                  </a:lnTo>
                  <a:lnTo>
                    <a:pt x="1331" y="899"/>
                  </a:lnTo>
                  <a:lnTo>
                    <a:pt x="1332" y="899"/>
                  </a:lnTo>
                  <a:lnTo>
                    <a:pt x="1332" y="899"/>
                  </a:lnTo>
                  <a:lnTo>
                    <a:pt x="1332" y="899"/>
                  </a:lnTo>
                  <a:lnTo>
                    <a:pt x="1332" y="899"/>
                  </a:lnTo>
                  <a:lnTo>
                    <a:pt x="1333" y="899"/>
                  </a:lnTo>
                  <a:lnTo>
                    <a:pt x="1333" y="899"/>
                  </a:lnTo>
                  <a:lnTo>
                    <a:pt x="1333" y="899"/>
                  </a:lnTo>
                  <a:lnTo>
                    <a:pt x="1333" y="899"/>
                  </a:lnTo>
                  <a:lnTo>
                    <a:pt x="1334" y="899"/>
                  </a:lnTo>
                  <a:lnTo>
                    <a:pt x="1334" y="899"/>
                  </a:lnTo>
                  <a:lnTo>
                    <a:pt x="1335" y="899"/>
                  </a:lnTo>
                  <a:lnTo>
                    <a:pt x="1335"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8" y="899"/>
                  </a:lnTo>
                  <a:lnTo>
                    <a:pt x="1338" y="899"/>
                  </a:lnTo>
                  <a:lnTo>
                    <a:pt x="1338" y="899"/>
                  </a:lnTo>
                  <a:lnTo>
                    <a:pt x="1338" y="899"/>
                  </a:lnTo>
                  <a:lnTo>
                    <a:pt x="1338" y="899"/>
                  </a:lnTo>
                  <a:lnTo>
                    <a:pt x="1338" y="899"/>
                  </a:lnTo>
                  <a:lnTo>
                    <a:pt x="1338" y="899"/>
                  </a:lnTo>
                  <a:lnTo>
                    <a:pt x="1338" y="899"/>
                  </a:lnTo>
                  <a:lnTo>
                    <a:pt x="1339" y="899"/>
                  </a:lnTo>
                  <a:lnTo>
                    <a:pt x="1339" y="899"/>
                  </a:lnTo>
                  <a:lnTo>
                    <a:pt x="1340" y="899"/>
                  </a:lnTo>
                  <a:lnTo>
                    <a:pt x="1340" y="899"/>
                  </a:lnTo>
                  <a:lnTo>
                    <a:pt x="1341" y="899"/>
                  </a:lnTo>
                  <a:lnTo>
                    <a:pt x="1341" y="899"/>
                  </a:lnTo>
                  <a:lnTo>
                    <a:pt x="1343" y="899"/>
                  </a:lnTo>
                  <a:lnTo>
                    <a:pt x="1343"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5" y="899"/>
                  </a:lnTo>
                  <a:lnTo>
                    <a:pt x="1355" y="899"/>
                  </a:lnTo>
                  <a:lnTo>
                    <a:pt x="1355" y="899"/>
                  </a:lnTo>
                  <a:lnTo>
                    <a:pt x="1355" y="899"/>
                  </a:lnTo>
                  <a:lnTo>
                    <a:pt x="1356" y="899"/>
                  </a:lnTo>
                  <a:lnTo>
                    <a:pt x="1356" y="899"/>
                  </a:lnTo>
                  <a:lnTo>
                    <a:pt x="1356" y="899"/>
                  </a:lnTo>
                  <a:lnTo>
                    <a:pt x="1356"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60" y="899"/>
                  </a:lnTo>
                  <a:lnTo>
                    <a:pt x="1360" y="899"/>
                  </a:lnTo>
                  <a:lnTo>
                    <a:pt x="1361" y="899"/>
                  </a:lnTo>
                  <a:lnTo>
                    <a:pt x="1361" y="899"/>
                  </a:lnTo>
                  <a:lnTo>
                    <a:pt x="1363" y="899"/>
                  </a:lnTo>
                  <a:lnTo>
                    <a:pt x="1363" y="1092"/>
                  </a:lnTo>
                  <a:lnTo>
                    <a:pt x="1363" y="1092"/>
                  </a:lnTo>
                  <a:lnTo>
                    <a:pt x="1363" y="1092"/>
                  </a:lnTo>
                  <a:lnTo>
                    <a:pt x="1364" y="1092"/>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5" y="899"/>
                  </a:lnTo>
                  <a:lnTo>
                    <a:pt x="1365" y="899"/>
                  </a:lnTo>
                  <a:lnTo>
                    <a:pt x="1365" y="899"/>
                  </a:lnTo>
                  <a:lnTo>
                    <a:pt x="1365" y="899"/>
                  </a:lnTo>
                  <a:lnTo>
                    <a:pt x="1365" y="899"/>
                  </a:lnTo>
                  <a:lnTo>
                    <a:pt x="1365" y="899"/>
                  </a:lnTo>
                  <a:lnTo>
                    <a:pt x="1365" y="899"/>
                  </a:lnTo>
                  <a:lnTo>
                    <a:pt x="1365"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7" y="899"/>
                  </a:lnTo>
                  <a:lnTo>
                    <a:pt x="1367"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70" y="899"/>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9" y="899"/>
                  </a:lnTo>
                  <a:lnTo>
                    <a:pt x="1389" y="899"/>
                  </a:lnTo>
                  <a:lnTo>
                    <a:pt x="1389" y="899"/>
                  </a:lnTo>
                  <a:lnTo>
                    <a:pt x="1389" y="899"/>
                  </a:lnTo>
                  <a:lnTo>
                    <a:pt x="1390" y="899"/>
                  </a:lnTo>
                  <a:lnTo>
                    <a:pt x="1390" y="899"/>
                  </a:lnTo>
                  <a:lnTo>
                    <a:pt x="1390" y="899"/>
                  </a:lnTo>
                  <a:lnTo>
                    <a:pt x="1390" y="899"/>
                  </a:lnTo>
                  <a:lnTo>
                    <a:pt x="1390" y="899"/>
                  </a:lnTo>
                  <a:lnTo>
                    <a:pt x="1390" y="899"/>
                  </a:lnTo>
                  <a:lnTo>
                    <a:pt x="1390" y="899"/>
                  </a:lnTo>
                  <a:lnTo>
                    <a:pt x="1390" y="899"/>
                  </a:lnTo>
                  <a:lnTo>
                    <a:pt x="1390" y="899"/>
                  </a:lnTo>
                  <a:lnTo>
                    <a:pt x="1390"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899"/>
                  </a:lnTo>
                  <a:lnTo>
                    <a:pt x="1399" y="899"/>
                  </a:lnTo>
                  <a:lnTo>
                    <a:pt x="1399" y="899"/>
                  </a:lnTo>
                  <a:lnTo>
                    <a:pt x="1403" y="899"/>
                  </a:lnTo>
                  <a:lnTo>
                    <a:pt x="1403" y="899"/>
                  </a:lnTo>
                  <a:lnTo>
                    <a:pt x="1403" y="899"/>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6" y="899"/>
                  </a:lnTo>
                  <a:lnTo>
                    <a:pt x="1406" y="899"/>
                  </a:lnTo>
                  <a:lnTo>
                    <a:pt x="1406" y="899"/>
                  </a:lnTo>
                  <a:lnTo>
                    <a:pt x="1406" y="899"/>
                  </a:lnTo>
                  <a:lnTo>
                    <a:pt x="1407" y="899"/>
                  </a:lnTo>
                  <a:lnTo>
                    <a:pt x="1407"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899"/>
                  </a:lnTo>
                  <a:lnTo>
                    <a:pt x="1422" y="899"/>
                  </a:lnTo>
                  <a:lnTo>
                    <a:pt x="1422" y="899"/>
                  </a:lnTo>
                  <a:lnTo>
                    <a:pt x="1423" y="899"/>
                  </a:lnTo>
                  <a:lnTo>
                    <a:pt x="1423" y="899"/>
                  </a:lnTo>
                  <a:lnTo>
                    <a:pt x="1425" y="899"/>
                  </a:lnTo>
                  <a:lnTo>
                    <a:pt x="1425" y="899"/>
                  </a:lnTo>
                  <a:lnTo>
                    <a:pt x="1432" y="899"/>
                  </a:lnTo>
                  <a:lnTo>
                    <a:pt x="1432" y="899"/>
                  </a:lnTo>
                  <a:lnTo>
                    <a:pt x="1432" y="899"/>
                  </a:lnTo>
                  <a:lnTo>
                    <a:pt x="1432" y="899"/>
                  </a:lnTo>
                  <a:lnTo>
                    <a:pt x="1432" y="899"/>
                  </a:lnTo>
                  <a:lnTo>
                    <a:pt x="1432"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6" y="899"/>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899"/>
                  </a:lnTo>
                  <a:lnTo>
                    <a:pt x="1475" y="899"/>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899"/>
                  </a:lnTo>
                  <a:lnTo>
                    <a:pt x="1478" y="899"/>
                  </a:lnTo>
                  <a:lnTo>
                    <a:pt x="1478" y="899"/>
                  </a:lnTo>
                  <a:lnTo>
                    <a:pt x="1478" y="899"/>
                  </a:lnTo>
                  <a:lnTo>
                    <a:pt x="1478" y="899"/>
                  </a:lnTo>
                  <a:lnTo>
                    <a:pt x="1478" y="899"/>
                  </a:lnTo>
                  <a:lnTo>
                    <a:pt x="1478" y="899"/>
                  </a:lnTo>
                  <a:lnTo>
                    <a:pt x="1478" y="899"/>
                  </a:lnTo>
                  <a:lnTo>
                    <a:pt x="1478" y="899"/>
                  </a:lnTo>
                  <a:lnTo>
                    <a:pt x="1479" y="899"/>
                  </a:lnTo>
                  <a:lnTo>
                    <a:pt x="1479"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899"/>
                  </a:lnTo>
                  <a:lnTo>
                    <a:pt x="1628" y="899"/>
                  </a:lnTo>
                  <a:lnTo>
                    <a:pt x="1628" y="899"/>
                  </a:lnTo>
                  <a:lnTo>
                    <a:pt x="1631" y="899"/>
                  </a:lnTo>
                  <a:lnTo>
                    <a:pt x="1631" y="899"/>
                  </a:lnTo>
                  <a:lnTo>
                    <a:pt x="1637" y="899"/>
                  </a:lnTo>
                  <a:lnTo>
                    <a:pt x="1637"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81" y="899"/>
                  </a:lnTo>
                  <a:lnTo>
                    <a:pt x="1681" y="899"/>
                  </a:lnTo>
                  <a:lnTo>
                    <a:pt x="1683" y="899"/>
                  </a:lnTo>
                  <a:lnTo>
                    <a:pt x="1683" y="899"/>
                  </a:lnTo>
                  <a:lnTo>
                    <a:pt x="1687" y="899"/>
                  </a:lnTo>
                  <a:lnTo>
                    <a:pt x="1687" y="899"/>
                  </a:lnTo>
                  <a:lnTo>
                    <a:pt x="1695" y="899"/>
                  </a:lnTo>
                  <a:lnTo>
                    <a:pt x="1695" y="899"/>
                  </a:lnTo>
                  <a:lnTo>
                    <a:pt x="1695" y="899"/>
                  </a:lnTo>
                  <a:lnTo>
                    <a:pt x="1695" y="899"/>
                  </a:lnTo>
                  <a:lnTo>
                    <a:pt x="1698" y="899"/>
                  </a:lnTo>
                  <a:lnTo>
                    <a:pt x="1698" y="899"/>
                  </a:lnTo>
                  <a:lnTo>
                    <a:pt x="1698" y="899"/>
                  </a:lnTo>
                  <a:lnTo>
                    <a:pt x="1698"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700" y="899"/>
                  </a:lnTo>
                  <a:lnTo>
                    <a:pt x="1700" y="899"/>
                  </a:lnTo>
                  <a:lnTo>
                    <a:pt x="1700" y="899"/>
                  </a:lnTo>
                  <a:lnTo>
                    <a:pt x="1700" y="899"/>
                  </a:lnTo>
                  <a:lnTo>
                    <a:pt x="1700" y="899"/>
                  </a:lnTo>
                  <a:lnTo>
                    <a:pt x="1700" y="899"/>
                  </a:lnTo>
                  <a:lnTo>
                    <a:pt x="1700" y="899"/>
                  </a:lnTo>
                  <a:lnTo>
                    <a:pt x="1700" y="899"/>
                  </a:lnTo>
                  <a:lnTo>
                    <a:pt x="1702" y="899"/>
                  </a:lnTo>
                  <a:lnTo>
                    <a:pt x="1702" y="899"/>
                  </a:lnTo>
                  <a:lnTo>
                    <a:pt x="1702" y="899"/>
                  </a:lnTo>
                  <a:lnTo>
                    <a:pt x="1702" y="899"/>
                  </a:lnTo>
                  <a:lnTo>
                    <a:pt x="1702" y="899"/>
                  </a:lnTo>
                  <a:lnTo>
                    <a:pt x="1702" y="899"/>
                  </a:lnTo>
                  <a:lnTo>
                    <a:pt x="1702" y="899"/>
                  </a:lnTo>
                  <a:lnTo>
                    <a:pt x="1702" y="899"/>
                  </a:lnTo>
                  <a:lnTo>
                    <a:pt x="1702" y="899"/>
                  </a:lnTo>
                  <a:lnTo>
                    <a:pt x="1702" y="899"/>
                  </a:lnTo>
                  <a:lnTo>
                    <a:pt x="1703" y="899"/>
                  </a:lnTo>
                  <a:lnTo>
                    <a:pt x="1703" y="899"/>
                  </a:lnTo>
                  <a:lnTo>
                    <a:pt x="1703" y="899"/>
                  </a:lnTo>
                  <a:lnTo>
                    <a:pt x="1703" y="899"/>
                  </a:lnTo>
                  <a:lnTo>
                    <a:pt x="1706" y="899"/>
                  </a:lnTo>
                  <a:lnTo>
                    <a:pt x="1706" y="899"/>
                  </a:lnTo>
                  <a:lnTo>
                    <a:pt x="1706" y="899"/>
                  </a:lnTo>
                  <a:lnTo>
                    <a:pt x="1706" y="899"/>
                  </a:lnTo>
                  <a:lnTo>
                    <a:pt x="1737" y="899"/>
                  </a:lnTo>
                  <a:lnTo>
                    <a:pt x="1737"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899"/>
                  </a:lnTo>
                  <a:lnTo>
                    <a:pt x="1814" y="899"/>
                  </a:lnTo>
                  <a:lnTo>
                    <a:pt x="1814" y="899"/>
                  </a:lnTo>
                  <a:lnTo>
                    <a:pt x="1814" y="899"/>
                  </a:lnTo>
                  <a:lnTo>
                    <a:pt x="1814" y="899"/>
                  </a:lnTo>
                  <a:lnTo>
                    <a:pt x="1815" y="899"/>
                  </a:lnTo>
                  <a:lnTo>
                    <a:pt x="1815" y="899"/>
                  </a:lnTo>
                  <a:lnTo>
                    <a:pt x="1817" y="899"/>
                  </a:lnTo>
                  <a:lnTo>
                    <a:pt x="1817" y="899"/>
                  </a:lnTo>
                  <a:lnTo>
                    <a:pt x="1817" y="899"/>
                  </a:lnTo>
                  <a:lnTo>
                    <a:pt x="1817" y="899"/>
                  </a:lnTo>
                  <a:lnTo>
                    <a:pt x="1820" y="899"/>
                  </a:lnTo>
                  <a:lnTo>
                    <a:pt x="1820" y="899"/>
                  </a:lnTo>
                  <a:lnTo>
                    <a:pt x="1844" y="899"/>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3" y="899"/>
                  </a:lnTo>
                  <a:lnTo>
                    <a:pt x="1853" y="899"/>
                  </a:lnTo>
                  <a:lnTo>
                    <a:pt x="1853" y="899"/>
                  </a:lnTo>
                  <a:lnTo>
                    <a:pt x="1853" y="899"/>
                  </a:lnTo>
                  <a:lnTo>
                    <a:pt x="1854" y="899"/>
                  </a:lnTo>
                  <a:lnTo>
                    <a:pt x="1854" y="899"/>
                  </a:lnTo>
                  <a:lnTo>
                    <a:pt x="1855" y="899"/>
                  </a:lnTo>
                  <a:lnTo>
                    <a:pt x="1855"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1" y="899"/>
                  </a:lnTo>
                  <a:lnTo>
                    <a:pt x="1861" y="899"/>
                  </a:lnTo>
                  <a:lnTo>
                    <a:pt x="1863" y="899"/>
                  </a:lnTo>
                  <a:lnTo>
                    <a:pt x="1863" y="899"/>
                  </a:lnTo>
                  <a:lnTo>
                    <a:pt x="1868" y="899"/>
                  </a:lnTo>
                  <a:lnTo>
                    <a:pt x="1868" y="948"/>
                  </a:lnTo>
                  <a:lnTo>
                    <a:pt x="1870" y="948"/>
                  </a:lnTo>
                  <a:lnTo>
                    <a:pt x="1870" y="899"/>
                  </a:lnTo>
                  <a:lnTo>
                    <a:pt x="1870" y="899"/>
                  </a:lnTo>
                  <a:lnTo>
                    <a:pt x="1870" y="899"/>
                  </a:lnTo>
                  <a:lnTo>
                    <a:pt x="1870" y="899"/>
                  </a:lnTo>
                  <a:lnTo>
                    <a:pt x="1870" y="899"/>
                  </a:lnTo>
                  <a:lnTo>
                    <a:pt x="1870" y="899"/>
                  </a:lnTo>
                  <a:lnTo>
                    <a:pt x="1870" y="899"/>
                  </a:lnTo>
                  <a:lnTo>
                    <a:pt x="1870" y="899"/>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1" y="899"/>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899"/>
                  </a:lnTo>
                  <a:lnTo>
                    <a:pt x="1901" y="899"/>
                  </a:lnTo>
                  <a:lnTo>
                    <a:pt x="1901" y="899"/>
                  </a:lnTo>
                  <a:lnTo>
                    <a:pt x="1901" y="899"/>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899"/>
                  </a:lnTo>
                  <a:lnTo>
                    <a:pt x="1903" y="899"/>
                  </a:lnTo>
                  <a:lnTo>
                    <a:pt x="1903" y="899"/>
                  </a:lnTo>
                  <a:lnTo>
                    <a:pt x="1903" y="899"/>
                  </a:lnTo>
                  <a:lnTo>
                    <a:pt x="1903" y="899"/>
                  </a:lnTo>
                  <a:lnTo>
                    <a:pt x="1903" y="899"/>
                  </a:lnTo>
                  <a:lnTo>
                    <a:pt x="1903"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5" y="899"/>
                  </a:lnTo>
                  <a:lnTo>
                    <a:pt x="1905" y="899"/>
                  </a:lnTo>
                  <a:lnTo>
                    <a:pt x="1906" y="899"/>
                  </a:lnTo>
                  <a:lnTo>
                    <a:pt x="1906" y="899"/>
                  </a:lnTo>
                  <a:lnTo>
                    <a:pt x="1907" y="899"/>
                  </a:lnTo>
                  <a:lnTo>
                    <a:pt x="1907" y="899"/>
                  </a:lnTo>
                  <a:lnTo>
                    <a:pt x="1907" y="899"/>
                  </a:lnTo>
                  <a:lnTo>
                    <a:pt x="1907" y="899"/>
                  </a:lnTo>
                  <a:lnTo>
                    <a:pt x="1909" y="899"/>
                  </a:lnTo>
                  <a:lnTo>
                    <a:pt x="1909" y="899"/>
                  </a:lnTo>
                  <a:lnTo>
                    <a:pt x="1910" y="899"/>
                  </a:lnTo>
                  <a:lnTo>
                    <a:pt x="1910" y="899"/>
                  </a:lnTo>
                  <a:lnTo>
                    <a:pt x="1912" y="899"/>
                  </a:lnTo>
                  <a:lnTo>
                    <a:pt x="1912" y="899"/>
                  </a:lnTo>
                  <a:lnTo>
                    <a:pt x="1926" y="899"/>
                  </a:lnTo>
                  <a:lnTo>
                    <a:pt x="1926" y="899"/>
                  </a:lnTo>
                  <a:lnTo>
                    <a:pt x="1927" y="899"/>
                  </a:lnTo>
                  <a:lnTo>
                    <a:pt x="1927" y="899"/>
                  </a:lnTo>
                  <a:lnTo>
                    <a:pt x="1929" y="899"/>
                  </a:lnTo>
                  <a:lnTo>
                    <a:pt x="1929" y="899"/>
                  </a:lnTo>
                  <a:lnTo>
                    <a:pt x="1936" y="899"/>
                  </a:lnTo>
                  <a:lnTo>
                    <a:pt x="1936" y="899"/>
                  </a:lnTo>
                  <a:lnTo>
                    <a:pt x="1943" y="899"/>
                  </a:lnTo>
                  <a:lnTo>
                    <a:pt x="1943" y="899"/>
                  </a:lnTo>
                  <a:lnTo>
                    <a:pt x="1943" y="899"/>
                  </a:lnTo>
                  <a:lnTo>
                    <a:pt x="1943"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5" y="899"/>
                  </a:lnTo>
                  <a:lnTo>
                    <a:pt x="1955" y="899"/>
                  </a:lnTo>
                  <a:lnTo>
                    <a:pt x="1958" y="899"/>
                  </a:lnTo>
                  <a:lnTo>
                    <a:pt x="1958" y="899"/>
                  </a:lnTo>
                  <a:lnTo>
                    <a:pt x="1963" y="899"/>
                  </a:lnTo>
                  <a:lnTo>
                    <a:pt x="1963" y="899"/>
                  </a:lnTo>
                  <a:lnTo>
                    <a:pt x="1968" y="899"/>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60" y="899"/>
                  </a:lnTo>
                  <a:lnTo>
                    <a:pt x="2060" y="899"/>
                  </a:lnTo>
                  <a:lnTo>
                    <a:pt x="2060" y="899"/>
                  </a:lnTo>
                  <a:lnTo>
                    <a:pt x="2060" y="899"/>
                  </a:lnTo>
                  <a:lnTo>
                    <a:pt x="2061" y="899"/>
                  </a:lnTo>
                  <a:lnTo>
                    <a:pt x="2061" y="899"/>
                  </a:lnTo>
                  <a:lnTo>
                    <a:pt x="2064" y="899"/>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8" y="899"/>
                  </a:lnTo>
                  <a:lnTo>
                    <a:pt x="2078" y="899"/>
                  </a:lnTo>
                  <a:lnTo>
                    <a:pt x="2078" y="899"/>
                  </a:lnTo>
                  <a:lnTo>
                    <a:pt x="2078" y="899"/>
                  </a:lnTo>
                  <a:lnTo>
                    <a:pt x="2078" y="899"/>
                  </a:lnTo>
                  <a:lnTo>
                    <a:pt x="2078" y="899"/>
                  </a:lnTo>
                  <a:lnTo>
                    <a:pt x="2078" y="899"/>
                  </a:lnTo>
                  <a:lnTo>
                    <a:pt x="2078" y="899"/>
                  </a:lnTo>
                  <a:lnTo>
                    <a:pt x="2079" y="899"/>
                  </a:lnTo>
                  <a:lnTo>
                    <a:pt x="2079"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2" y="899"/>
                  </a:lnTo>
                  <a:lnTo>
                    <a:pt x="2082" y="899"/>
                  </a:lnTo>
                  <a:lnTo>
                    <a:pt x="2082" y="899"/>
                  </a:lnTo>
                  <a:lnTo>
                    <a:pt x="2082" y="899"/>
                  </a:lnTo>
                  <a:lnTo>
                    <a:pt x="2083" y="899"/>
                  </a:lnTo>
                  <a:lnTo>
                    <a:pt x="2083" y="899"/>
                  </a:lnTo>
                  <a:lnTo>
                    <a:pt x="2085" y="899"/>
                  </a:lnTo>
                  <a:lnTo>
                    <a:pt x="2085" y="899"/>
                  </a:lnTo>
                  <a:lnTo>
                    <a:pt x="2085" y="899"/>
                  </a:lnTo>
                  <a:lnTo>
                    <a:pt x="2085" y="899"/>
                  </a:lnTo>
                  <a:lnTo>
                    <a:pt x="2085" y="899"/>
                  </a:lnTo>
                  <a:lnTo>
                    <a:pt x="2085" y="899"/>
                  </a:lnTo>
                  <a:lnTo>
                    <a:pt x="2086" y="899"/>
                  </a:lnTo>
                  <a:lnTo>
                    <a:pt x="2086" y="899"/>
                  </a:lnTo>
                  <a:lnTo>
                    <a:pt x="2086" y="899"/>
                  </a:lnTo>
                  <a:lnTo>
                    <a:pt x="2086" y="884"/>
                  </a:lnTo>
                  <a:lnTo>
                    <a:pt x="2087" y="884"/>
                  </a:lnTo>
                  <a:lnTo>
                    <a:pt x="2087" y="884"/>
                  </a:lnTo>
                  <a:lnTo>
                    <a:pt x="2088" y="884"/>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6" y="899"/>
                  </a:lnTo>
                  <a:lnTo>
                    <a:pt x="2136" y="899"/>
                  </a:lnTo>
                  <a:lnTo>
                    <a:pt x="2138" y="899"/>
                  </a:lnTo>
                  <a:lnTo>
                    <a:pt x="2138" y="899"/>
                  </a:lnTo>
                  <a:lnTo>
                    <a:pt x="2138" y="899"/>
                  </a:lnTo>
                  <a:lnTo>
                    <a:pt x="2138" y="899"/>
                  </a:lnTo>
                  <a:lnTo>
                    <a:pt x="2141" y="899"/>
                  </a:lnTo>
                  <a:lnTo>
                    <a:pt x="2141"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5" y="899"/>
                  </a:lnTo>
                  <a:lnTo>
                    <a:pt x="2145" y="899"/>
                  </a:lnTo>
                  <a:lnTo>
                    <a:pt x="2147" y="899"/>
                  </a:lnTo>
                  <a:lnTo>
                    <a:pt x="2147"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99"/>
                  </a:lnTo>
                  <a:lnTo>
                    <a:pt x="2155" y="899"/>
                  </a:lnTo>
                  <a:lnTo>
                    <a:pt x="2155" y="899"/>
                  </a:lnTo>
                  <a:lnTo>
                    <a:pt x="2158" y="899"/>
                  </a:lnTo>
                  <a:lnTo>
                    <a:pt x="2158" y="899"/>
                  </a:lnTo>
                  <a:lnTo>
                    <a:pt x="2175" y="899"/>
                  </a:lnTo>
                  <a:lnTo>
                    <a:pt x="2175" y="899"/>
                  </a:lnTo>
                  <a:lnTo>
                    <a:pt x="2175" y="899"/>
                  </a:lnTo>
                  <a:lnTo>
                    <a:pt x="2175" y="899"/>
                  </a:lnTo>
                  <a:lnTo>
                    <a:pt x="2175" y="899"/>
                  </a:lnTo>
                  <a:lnTo>
                    <a:pt x="2175" y="899"/>
                  </a:lnTo>
                  <a:lnTo>
                    <a:pt x="2175" y="899"/>
                  </a:lnTo>
                  <a:lnTo>
                    <a:pt x="2175" y="899"/>
                  </a:lnTo>
                  <a:lnTo>
                    <a:pt x="2175" y="899"/>
                  </a:lnTo>
                  <a:lnTo>
                    <a:pt x="2175" y="899"/>
                  </a:lnTo>
                  <a:lnTo>
                    <a:pt x="2176" y="899"/>
                  </a:lnTo>
                  <a:lnTo>
                    <a:pt x="2176" y="899"/>
                  </a:lnTo>
                  <a:lnTo>
                    <a:pt x="2178" y="899"/>
                  </a:lnTo>
                  <a:lnTo>
                    <a:pt x="2178" y="899"/>
                  </a:lnTo>
                  <a:lnTo>
                    <a:pt x="2182" y="899"/>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8" y="899"/>
                  </a:lnTo>
                  <a:lnTo>
                    <a:pt x="2188" y="899"/>
                  </a:lnTo>
                  <a:lnTo>
                    <a:pt x="2190" y="899"/>
                  </a:lnTo>
                  <a:lnTo>
                    <a:pt x="2190" y="899"/>
                  </a:lnTo>
                  <a:lnTo>
                    <a:pt x="2193" y="899"/>
                  </a:lnTo>
                  <a:lnTo>
                    <a:pt x="2193"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8" y="899"/>
                  </a:lnTo>
                  <a:lnTo>
                    <a:pt x="2218" y="899"/>
                  </a:lnTo>
                  <a:lnTo>
                    <a:pt x="2218" y="899"/>
                  </a:lnTo>
                  <a:lnTo>
                    <a:pt x="2218" y="899"/>
                  </a:lnTo>
                  <a:lnTo>
                    <a:pt x="2218" y="899"/>
                  </a:lnTo>
                  <a:lnTo>
                    <a:pt x="2218" y="899"/>
                  </a:lnTo>
                  <a:lnTo>
                    <a:pt x="2218" y="899"/>
                  </a:lnTo>
                  <a:lnTo>
                    <a:pt x="2218"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99"/>
                  </a:lnTo>
                  <a:lnTo>
                    <a:pt x="2266" y="899"/>
                  </a:lnTo>
                  <a:lnTo>
                    <a:pt x="2266" y="899"/>
                  </a:lnTo>
                  <a:lnTo>
                    <a:pt x="2266" y="899"/>
                  </a:lnTo>
                  <a:lnTo>
                    <a:pt x="2266" y="899"/>
                  </a:lnTo>
                  <a:lnTo>
                    <a:pt x="2266" y="899"/>
                  </a:lnTo>
                  <a:lnTo>
                    <a:pt x="2266" y="899"/>
                  </a:lnTo>
                  <a:lnTo>
                    <a:pt x="2266" y="899"/>
                  </a:lnTo>
                  <a:lnTo>
                    <a:pt x="2266" y="899"/>
                  </a:lnTo>
                  <a:lnTo>
                    <a:pt x="2267" y="899"/>
                  </a:lnTo>
                  <a:lnTo>
                    <a:pt x="2267" y="899"/>
                  </a:lnTo>
                  <a:lnTo>
                    <a:pt x="2267" y="899"/>
                  </a:lnTo>
                  <a:lnTo>
                    <a:pt x="2267" y="899"/>
                  </a:lnTo>
                  <a:lnTo>
                    <a:pt x="2269" y="899"/>
                  </a:lnTo>
                  <a:lnTo>
                    <a:pt x="2269" y="899"/>
                  </a:lnTo>
                  <a:lnTo>
                    <a:pt x="2273" y="899"/>
                  </a:lnTo>
                  <a:lnTo>
                    <a:pt x="2273" y="899"/>
                  </a:lnTo>
                  <a:lnTo>
                    <a:pt x="2273" y="899"/>
                  </a:lnTo>
                  <a:lnTo>
                    <a:pt x="2273" y="899"/>
                  </a:lnTo>
                  <a:lnTo>
                    <a:pt x="2273" y="899"/>
                  </a:lnTo>
                  <a:lnTo>
                    <a:pt x="2273" y="899"/>
                  </a:lnTo>
                  <a:lnTo>
                    <a:pt x="2273" y="899"/>
                  </a:lnTo>
                  <a:lnTo>
                    <a:pt x="2273" y="899"/>
                  </a:lnTo>
                  <a:lnTo>
                    <a:pt x="2273" y="899"/>
                  </a:lnTo>
                  <a:lnTo>
                    <a:pt x="2273" y="899"/>
                  </a:lnTo>
                  <a:lnTo>
                    <a:pt x="2275" y="899"/>
                  </a:lnTo>
                  <a:lnTo>
                    <a:pt x="2275" y="899"/>
                  </a:lnTo>
                  <a:lnTo>
                    <a:pt x="2277" y="899"/>
                  </a:lnTo>
                  <a:lnTo>
                    <a:pt x="2277" y="899"/>
                  </a:lnTo>
                  <a:lnTo>
                    <a:pt x="2277" y="899"/>
                  </a:lnTo>
                  <a:lnTo>
                    <a:pt x="2277" y="899"/>
                  </a:lnTo>
                  <a:lnTo>
                    <a:pt x="2277" y="899"/>
                  </a:lnTo>
                  <a:lnTo>
                    <a:pt x="2277" y="899"/>
                  </a:lnTo>
                  <a:lnTo>
                    <a:pt x="2278" y="899"/>
                  </a:lnTo>
                  <a:lnTo>
                    <a:pt x="2278" y="899"/>
                  </a:lnTo>
                  <a:lnTo>
                    <a:pt x="2278" y="899"/>
                  </a:lnTo>
                  <a:lnTo>
                    <a:pt x="2278" y="899"/>
                  </a:lnTo>
                  <a:lnTo>
                    <a:pt x="2279" y="899"/>
                  </a:lnTo>
                  <a:lnTo>
                    <a:pt x="2279" y="899"/>
                  </a:lnTo>
                  <a:lnTo>
                    <a:pt x="2279" y="899"/>
                  </a:lnTo>
                  <a:lnTo>
                    <a:pt x="2279" y="899"/>
                  </a:lnTo>
                  <a:lnTo>
                    <a:pt x="2280" y="899"/>
                  </a:lnTo>
                  <a:lnTo>
                    <a:pt x="2280" y="899"/>
                  </a:lnTo>
                  <a:lnTo>
                    <a:pt x="2282" y="899"/>
                  </a:lnTo>
                  <a:lnTo>
                    <a:pt x="2282" y="899"/>
                  </a:lnTo>
                  <a:lnTo>
                    <a:pt x="2283" y="899"/>
                  </a:lnTo>
                  <a:lnTo>
                    <a:pt x="2283" y="899"/>
                  </a:lnTo>
                  <a:lnTo>
                    <a:pt x="2285" y="899"/>
                  </a:lnTo>
                  <a:lnTo>
                    <a:pt x="2285" y="899"/>
                  </a:lnTo>
                  <a:lnTo>
                    <a:pt x="2288" y="899"/>
                  </a:lnTo>
                  <a:lnTo>
                    <a:pt x="2288" y="899"/>
                  </a:lnTo>
                  <a:lnTo>
                    <a:pt x="2292" y="899"/>
                  </a:lnTo>
                  <a:lnTo>
                    <a:pt x="2292" y="899"/>
                  </a:lnTo>
                  <a:lnTo>
                    <a:pt x="2293" y="899"/>
                  </a:lnTo>
                  <a:lnTo>
                    <a:pt x="2293" y="899"/>
                  </a:lnTo>
                  <a:lnTo>
                    <a:pt x="2294" y="899"/>
                  </a:lnTo>
                  <a:lnTo>
                    <a:pt x="2294"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9" y="899"/>
                  </a:lnTo>
                  <a:lnTo>
                    <a:pt x="2299" y="899"/>
                  </a:lnTo>
                  <a:lnTo>
                    <a:pt x="2308" y="899"/>
                  </a:lnTo>
                  <a:lnTo>
                    <a:pt x="2308" y="899"/>
                  </a:lnTo>
                  <a:lnTo>
                    <a:pt x="2311" y="899"/>
                  </a:lnTo>
                  <a:lnTo>
                    <a:pt x="2311" y="899"/>
                  </a:lnTo>
                  <a:lnTo>
                    <a:pt x="2350" y="899"/>
                  </a:lnTo>
                  <a:lnTo>
                    <a:pt x="2350" y="899"/>
                  </a:lnTo>
                  <a:lnTo>
                    <a:pt x="2350" y="899"/>
                  </a:lnTo>
                  <a:lnTo>
                    <a:pt x="2350" y="899"/>
                  </a:lnTo>
                  <a:lnTo>
                    <a:pt x="2351" y="899"/>
                  </a:lnTo>
                  <a:lnTo>
                    <a:pt x="2351" y="899"/>
                  </a:lnTo>
                  <a:lnTo>
                    <a:pt x="2365" y="899"/>
                  </a:lnTo>
                  <a:lnTo>
                    <a:pt x="2365" y="899"/>
                  </a:lnTo>
                  <a:lnTo>
                    <a:pt x="2365" y="899"/>
                  </a:lnTo>
                  <a:lnTo>
                    <a:pt x="2365" y="899"/>
                  </a:lnTo>
                  <a:lnTo>
                    <a:pt x="2365" y="899"/>
                  </a:lnTo>
                  <a:lnTo>
                    <a:pt x="2365" y="899"/>
                  </a:lnTo>
                  <a:lnTo>
                    <a:pt x="2365" y="899"/>
                  </a:lnTo>
                  <a:lnTo>
                    <a:pt x="2365" y="899"/>
                  </a:lnTo>
                  <a:lnTo>
                    <a:pt x="2366" y="899"/>
                  </a:lnTo>
                  <a:lnTo>
                    <a:pt x="2366" y="899"/>
                  </a:lnTo>
                  <a:lnTo>
                    <a:pt x="2367" y="899"/>
                  </a:lnTo>
                  <a:lnTo>
                    <a:pt x="2367" y="899"/>
                  </a:lnTo>
                  <a:lnTo>
                    <a:pt x="2369" y="899"/>
                  </a:lnTo>
                  <a:lnTo>
                    <a:pt x="2369" y="899"/>
                  </a:lnTo>
                  <a:lnTo>
                    <a:pt x="2371" y="899"/>
                  </a:lnTo>
                  <a:lnTo>
                    <a:pt x="2371" y="899"/>
                  </a:lnTo>
                  <a:lnTo>
                    <a:pt x="2382" y="899"/>
                  </a:lnTo>
                  <a:lnTo>
                    <a:pt x="2382"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11" y="899"/>
                  </a:lnTo>
                  <a:lnTo>
                    <a:pt x="2411" y="899"/>
                  </a:lnTo>
                  <a:lnTo>
                    <a:pt x="2413" y="899"/>
                  </a:lnTo>
                  <a:lnTo>
                    <a:pt x="2413" y="899"/>
                  </a:lnTo>
                  <a:lnTo>
                    <a:pt x="2417" y="899"/>
                  </a:lnTo>
                  <a:lnTo>
                    <a:pt x="2417" y="899"/>
                  </a:lnTo>
                  <a:lnTo>
                    <a:pt x="2422" y="899"/>
                  </a:lnTo>
                  <a:lnTo>
                    <a:pt x="2422" y="899"/>
                  </a:lnTo>
                  <a:lnTo>
                    <a:pt x="2428" y="899"/>
                  </a:lnTo>
                  <a:lnTo>
                    <a:pt x="2428" y="899"/>
                  </a:lnTo>
                  <a:lnTo>
                    <a:pt x="2439" y="899"/>
                  </a:lnTo>
                  <a:lnTo>
                    <a:pt x="2439"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2" y="899"/>
                  </a:lnTo>
                  <a:lnTo>
                    <a:pt x="2452" y="899"/>
                  </a:lnTo>
                  <a:lnTo>
                    <a:pt x="2452" y="899"/>
                  </a:lnTo>
                  <a:lnTo>
                    <a:pt x="2452" y="899"/>
                  </a:lnTo>
                  <a:lnTo>
                    <a:pt x="2453" y="899"/>
                  </a:lnTo>
                  <a:lnTo>
                    <a:pt x="2453" y="899"/>
                  </a:lnTo>
                  <a:lnTo>
                    <a:pt x="2453" y="899"/>
                  </a:lnTo>
                  <a:lnTo>
                    <a:pt x="2453" y="899"/>
                  </a:lnTo>
                  <a:lnTo>
                    <a:pt x="2454" y="899"/>
                  </a:lnTo>
                  <a:lnTo>
                    <a:pt x="2454" y="899"/>
                  </a:lnTo>
                  <a:lnTo>
                    <a:pt x="2456" y="899"/>
                  </a:lnTo>
                  <a:lnTo>
                    <a:pt x="2456" y="899"/>
                  </a:lnTo>
                  <a:lnTo>
                    <a:pt x="2457" y="899"/>
                  </a:lnTo>
                  <a:lnTo>
                    <a:pt x="2457" y="899"/>
                  </a:lnTo>
                  <a:lnTo>
                    <a:pt x="2468" y="899"/>
                  </a:lnTo>
                  <a:lnTo>
                    <a:pt x="2468" y="899"/>
                  </a:lnTo>
                  <a:lnTo>
                    <a:pt x="2468" y="899"/>
                  </a:lnTo>
                  <a:lnTo>
                    <a:pt x="2468" y="899"/>
                  </a:lnTo>
                  <a:lnTo>
                    <a:pt x="2469" y="899"/>
                  </a:lnTo>
                  <a:lnTo>
                    <a:pt x="2469" y="899"/>
                  </a:lnTo>
                  <a:lnTo>
                    <a:pt x="2469" y="899"/>
                  </a:lnTo>
                  <a:lnTo>
                    <a:pt x="2469" y="899"/>
                  </a:lnTo>
                  <a:lnTo>
                    <a:pt x="2471" y="899"/>
                  </a:lnTo>
                  <a:lnTo>
                    <a:pt x="2471" y="899"/>
                  </a:lnTo>
                  <a:lnTo>
                    <a:pt x="2471" y="899"/>
                  </a:lnTo>
                  <a:lnTo>
                    <a:pt x="2471" y="899"/>
                  </a:lnTo>
                  <a:lnTo>
                    <a:pt x="2471" y="899"/>
                  </a:lnTo>
                  <a:lnTo>
                    <a:pt x="2471" y="899"/>
                  </a:lnTo>
                  <a:lnTo>
                    <a:pt x="2472" y="899"/>
                  </a:lnTo>
                  <a:lnTo>
                    <a:pt x="2472" y="899"/>
                  </a:lnTo>
                  <a:lnTo>
                    <a:pt x="2472" y="899"/>
                  </a:lnTo>
                  <a:lnTo>
                    <a:pt x="2472" y="899"/>
                  </a:lnTo>
                  <a:lnTo>
                    <a:pt x="2474" y="899"/>
                  </a:lnTo>
                  <a:lnTo>
                    <a:pt x="2474" y="899"/>
                  </a:lnTo>
                  <a:lnTo>
                    <a:pt x="2476" y="899"/>
                  </a:lnTo>
                  <a:lnTo>
                    <a:pt x="2476" y="899"/>
                  </a:lnTo>
                  <a:lnTo>
                    <a:pt x="2481" y="899"/>
                  </a:lnTo>
                  <a:lnTo>
                    <a:pt x="2481"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9" y="899"/>
                  </a:lnTo>
                  <a:lnTo>
                    <a:pt x="2489" y="899"/>
                  </a:lnTo>
                  <a:lnTo>
                    <a:pt x="2490" y="899"/>
                  </a:lnTo>
                  <a:lnTo>
                    <a:pt x="2490" y="899"/>
                  </a:lnTo>
                  <a:lnTo>
                    <a:pt x="2492" y="899"/>
                  </a:lnTo>
                  <a:lnTo>
                    <a:pt x="2492" y="899"/>
                  </a:lnTo>
                  <a:lnTo>
                    <a:pt x="2493" y="899"/>
                  </a:lnTo>
                  <a:lnTo>
                    <a:pt x="2493" y="899"/>
                  </a:lnTo>
                  <a:lnTo>
                    <a:pt x="2495" y="899"/>
                  </a:lnTo>
                  <a:lnTo>
                    <a:pt x="2495" y="899"/>
                  </a:lnTo>
                  <a:lnTo>
                    <a:pt x="2496" y="899"/>
                  </a:lnTo>
                  <a:lnTo>
                    <a:pt x="2496" y="899"/>
                  </a:lnTo>
                  <a:lnTo>
                    <a:pt x="2499" y="899"/>
                  </a:lnTo>
                  <a:lnTo>
                    <a:pt x="2499" y="899"/>
                  </a:lnTo>
                  <a:lnTo>
                    <a:pt x="2503" y="899"/>
                  </a:lnTo>
                  <a:lnTo>
                    <a:pt x="2503" y="899"/>
                  </a:lnTo>
                  <a:lnTo>
                    <a:pt x="2514" y="899"/>
                  </a:lnTo>
                  <a:lnTo>
                    <a:pt x="2514" y="899"/>
                  </a:lnTo>
                  <a:lnTo>
                    <a:pt x="2524" y="899"/>
                  </a:lnTo>
                  <a:lnTo>
                    <a:pt x="2524"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7" y="899"/>
                  </a:lnTo>
                  <a:lnTo>
                    <a:pt x="2527"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4" y="899"/>
                  </a:lnTo>
                  <a:lnTo>
                    <a:pt x="2534" y="899"/>
                  </a:lnTo>
                  <a:lnTo>
                    <a:pt x="2537" y="899"/>
                  </a:lnTo>
                  <a:lnTo>
                    <a:pt x="2537" y="899"/>
                  </a:lnTo>
                  <a:lnTo>
                    <a:pt x="2541" y="899"/>
                  </a:lnTo>
                  <a:lnTo>
                    <a:pt x="2541"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1" y="899"/>
                  </a:lnTo>
                  <a:lnTo>
                    <a:pt x="2591" y="899"/>
                  </a:lnTo>
                  <a:lnTo>
                    <a:pt x="2591" y="899"/>
                  </a:lnTo>
                  <a:lnTo>
                    <a:pt x="2591" y="899"/>
                  </a:lnTo>
                  <a:lnTo>
                    <a:pt x="2591" y="899"/>
                  </a:lnTo>
                  <a:lnTo>
                    <a:pt x="2591" y="899"/>
                  </a:lnTo>
                  <a:lnTo>
                    <a:pt x="2591" y="899"/>
                  </a:lnTo>
                  <a:lnTo>
                    <a:pt x="2591" y="899"/>
                  </a:lnTo>
                  <a:lnTo>
                    <a:pt x="2592" y="899"/>
                  </a:lnTo>
                  <a:lnTo>
                    <a:pt x="2592" y="899"/>
                  </a:lnTo>
                  <a:lnTo>
                    <a:pt x="2593" y="899"/>
                  </a:lnTo>
                  <a:lnTo>
                    <a:pt x="2593" y="899"/>
                  </a:lnTo>
                  <a:lnTo>
                    <a:pt x="2596" y="899"/>
                  </a:lnTo>
                  <a:lnTo>
                    <a:pt x="2596" y="899"/>
                  </a:lnTo>
                  <a:lnTo>
                    <a:pt x="2599" y="899"/>
                  </a:lnTo>
                  <a:lnTo>
                    <a:pt x="2599" y="899"/>
                  </a:lnTo>
                  <a:lnTo>
                    <a:pt x="2604" y="899"/>
                  </a:lnTo>
                  <a:lnTo>
                    <a:pt x="2604" y="899"/>
                  </a:lnTo>
                  <a:lnTo>
                    <a:pt x="2604" y="899"/>
                  </a:lnTo>
                  <a:lnTo>
                    <a:pt x="2604" y="899"/>
                  </a:lnTo>
                  <a:lnTo>
                    <a:pt x="2605" y="899"/>
                  </a:lnTo>
                  <a:lnTo>
                    <a:pt x="2605" y="899"/>
                  </a:lnTo>
                  <a:lnTo>
                    <a:pt x="2605" y="899"/>
                  </a:lnTo>
                  <a:lnTo>
                    <a:pt x="2605" y="899"/>
                  </a:lnTo>
                  <a:lnTo>
                    <a:pt x="2605" y="899"/>
                  </a:lnTo>
                  <a:lnTo>
                    <a:pt x="2605"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9" y="899"/>
                  </a:lnTo>
                  <a:lnTo>
                    <a:pt x="2609" y="899"/>
                  </a:lnTo>
                  <a:lnTo>
                    <a:pt x="2612" y="899"/>
                  </a:lnTo>
                  <a:lnTo>
                    <a:pt x="2612" y="899"/>
                  </a:lnTo>
                  <a:lnTo>
                    <a:pt x="2612" y="899"/>
                  </a:lnTo>
                  <a:lnTo>
                    <a:pt x="2612" y="899"/>
                  </a:lnTo>
                  <a:lnTo>
                    <a:pt x="2613" y="899"/>
                  </a:lnTo>
                  <a:lnTo>
                    <a:pt x="2613"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1" y="899"/>
                  </a:lnTo>
                  <a:lnTo>
                    <a:pt x="2631"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9" y="899"/>
                  </a:lnTo>
                  <a:lnTo>
                    <a:pt x="2639" y="899"/>
                  </a:lnTo>
                  <a:lnTo>
                    <a:pt x="2639" y="899"/>
                  </a:lnTo>
                  <a:lnTo>
                    <a:pt x="2639"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3" y="899"/>
                  </a:lnTo>
                  <a:lnTo>
                    <a:pt x="2653"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8" y="899"/>
                  </a:lnTo>
                  <a:lnTo>
                    <a:pt x="2658" y="899"/>
                  </a:lnTo>
                  <a:lnTo>
                    <a:pt x="2658" y="899"/>
                  </a:lnTo>
                  <a:lnTo>
                    <a:pt x="2658" y="899"/>
                  </a:lnTo>
                  <a:lnTo>
                    <a:pt x="2658" y="899"/>
                  </a:lnTo>
                  <a:lnTo>
                    <a:pt x="2658" y="899"/>
                  </a:lnTo>
                  <a:lnTo>
                    <a:pt x="2658" y="899"/>
                  </a:lnTo>
                  <a:lnTo>
                    <a:pt x="2658"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899"/>
                  </a:lnTo>
                  <a:lnTo>
                    <a:pt x="2662" y="899"/>
                  </a:lnTo>
                  <a:lnTo>
                    <a:pt x="2662" y="899"/>
                  </a:lnTo>
                  <a:lnTo>
                    <a:pt x="2663" y="899"/>
                  </a:lnTo>
                  <a:lnTo>
                    <a:pt x="2663" y="899"/>
                  </a:lnTo>
                  <a:lnTo>
                    <a:pt x="2665" y="899"/>
                  </a:lnTo>
                  <a:lnTo>
                    <a:pt x="2665" y="899"/>
                  </a:lnTo>
                  <a:lnTo>
                    <a:pt x="2681" y="899"/>
                  </a:lnTo>
                  <a:lnTo>
                    <a:pt x="2681" y="899"/>
                  </a:lnTo>
                  <a:lnTo>
                    <a:pt x="2682" y="899"/>
                  </a:lnTo>
                  <a:lnTo>
                    <a:pt x="2682"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899"/>
                  </a:lnTo>
                  <a:lnTo>
                    <a:pt x="2684" y="899"/>
                  </a:lnTo>
                  <a:lnTo>
                    <a:pt x="2684"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9" y="899"/>
                  </a:lnTo>
                  <a:lnTo>
                    <a:pt x="2689"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6" y="899"/>
                  </a:lnTo>
                  <a:lnTo>
                    <a:pt x="2736" y="899"/>
                  </a:lnTo>
                  <a:lnTo>
                    <a:pt x="2748" y="899"/>
                  </a:lnTo>
                  <a:lnTo>
                    <a:pt x="2748" y="899"/>
                  </a:lnTo>
                  <a:lnTo>
                    <a:pt x="2752" y="899"/>
                  </a:lnTo>
                  <a:lnTo>
                    <a:pt x="2752" y="899"/>
                  </a:lnTo>
                  <a:lnTo>
                    <a:pt x="2775" y="899"/>
                  </a:lnTo>
                  <a:lnTo>
                    <a:pt x="2775" y="899"/>
                  </a:lnTo>
                  <a:lnTo>
                    <a:pt x="2775" y="899"/>
                  </a:lnTo>
                  <a:lnTo>
                    <a:pt x="2775" y="899"/>
                  </a:lnTo>
                  <a:lnTo>
                    <a:pt x="2775" y="899"/>
                  </a:lnTo>
                  <a:lnTo>
                    <a:pt x="2775" y="899"/>
                  </a:lnTo>
                  <a:lnTo>
                    <a:pt x="2775" y="899"/>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899"/>
                  </a:lnTo>
                  <a:lnTo>
                    <a:pt x="2799" y="899"/>
                  </a:lnTo>
                  <a:lnTo>
                    <a:pt x="2799" y="899"/>
                  </a:lnTo>
                  <a:lnTo>
                    <a:pt x="2837" y="899"/>
                  </a:lnTo>
                  <a:lnTo>
                    <a:pt x="2837" y="899"/>
                  </a:lnTo>
                  <a:lnTo>
                    <a:pt x="2837" y="899"/>
                  </a:lnTo>
                  <a:lnTo>
                    <a:pt x="2837" y="899"/>
                  </a:lnTo>
                  <a:lnTo>
                    <a:pt x="2837" y="899"/>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9" y="899"/>
                  </a:lnTo>
                  <a:lnTo>
                    <a:pt x="2899" y="899"/>
                  </a:lnTo>
                  <a:lnTo>
                    <a:pt x="2900" y="899"/>
                  </a:lnTo>
                  <a:lnTo>
                    <a:pt x="2900" y="899"/>
                  </a:lnTo>
                  <a:lnTo>
                    <a:pt x="2901" y="899"/>
                  </a:lnTo>
                  <a:lnTo>
                    <a:pt x="2901" y="899"/>
                  </a:lnTo>
                  <a:lnTo>
                    <a:pt x="2902" y="899"/>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899"/>
                  </a:lnTo>
                  <a:lnTo>
                    <a:pt x="2917" y="899"/>
                  </a:lnTo>
                  <a:lnTo>
                    <a:pt x="2917" y="899"/>
                  </a:lnTo>
                  <a:lnTo>
                    <a:pt x="2918" y="899"/>
                  </a:lnTo>
                  <a:lnTo>
                    <a:pt x="2918" y="899"/>
                  </a:lnTo>
                  <a:lnTo>
                    <a:pt x="2938" y="899"/>
                  </a:lnTo>
                  <a:lnTo>
                    <a:pt x="2938" y="899"/>
                  </a:lnTo>
                  <a:lnTo>
                    <a:pt x="2938" y="899"/>
                  </a:lnTo>
                  <a:lnTo>
                    <a:pt x="2938" y="899"/>
                  </a:lnTo>
                  <a:lnTo>
                    <a:pt x="2939" y="899"/>
                  </a:lnTo>
                  <a:lnTo>
                    <a:pt x="2939"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4" y="899"/>
                  </a:lnTo>
                  <a:lnTo>
                    <a:pt x="2944" y="899"/>
                  </a:lnTo>
                  <a:lnTo>
                    <a:pt x="2945" y="899"/>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899"/>
                  </a:lnTo>
                  <a:lnTo>
                    <a:pt x="2951" y="899"/>
                  </a:lnTo>
                  <a:lnTo>
                    <a:pt x="2951" y="899"/>
                  </a:lnTo>
                  <a:lnTo>
                    <a:pt x="2951" y="899"/>
                  </a:lnTo>
                  <a:lnTo>
                    <a:pt x="2951" y="899"/>
                  </a:lnTo>
                  <a:lnTo>
                    <a:pt x="2952" y="899"/>
                  </a:lnTo>
                  <a:lnTo>
                    <a:pt x="2952" y="899"/>
                  </a:lnTo>
                  <a:lnTo>
                    <a:pt x="2953" y="899"/>
                  </a:lnTo>
                  <a:lnTo>
                    <a:pt x="2953" y="899"/>
                  </a:lnTo>
                  <a:lnTo>
                    <a:pt x="2962" y="899"/>
                  </a:lnTo>
                  <a:lnTo>
                    <a:pt x="2962" y="899"/>
                  </a:lnTo>
                  <a:lnTo>
                    <a:pt x="2962" y="899"/>
                  </a:lnTo>
                  <a:lnTo>
                    <a:pt x="2962" y="539"/>
                  </a:lnTo>
                  <a:lnTo>
                    <a:pt x="2962" y="53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4" y="899"/>
                  </a:lnTo>
                  <a:lnTo>
                    <a:pt x="2964"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7" y="899"/>
                  </a:lnTo>
                  <a:lnTo>
                    <a:pt x="2967" y="899"/>
                  </a:lnTo>
                  <a:lnTo>
                    <a:pt x="2967" y="899"/>
                  </a:lnTo>
                  <a:lnTo>
                    <a:pt x="2967" y="899"/>
                  </a:lnTo>
                  <a:lnTo>
                    <a:pt x="2967" y="899"/>
                  </a:lnTo>
                  <a:lnTo>
                    <a:pt x="2967" y="899"/>
                  </a:lnTo>
                  <a:lnTo>
                    <a:pt x="2968" y="899"/>
                  </a:lnTo>
                  <a:lnTo>
                    <a:pt x="2968" y="899"/>
                  </a:lnTo>
                  <a:lnTo>
                    <a:pt x="2972" y="899"/>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899"/>
                  </a:lnTo>
                  <a:lnTo>
                    <a:pt x="3046" y="899"/>
                  </a:lnTo>
                  <a:lnTo>
                    <a:pt x="3046"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8" y="899"/>
                  </a:lnTo>
                  <a:lnTo>
                    <a:pt x="3048" y="899"/>
                  </a:lnTo>
                  <a:lnTo>
                    <a:pt x="3048" y="899"/>
                  </a:lnTo>
                  <a:lnTo>
                    <a:pt x="3048" y="899"/>
                  </a:lnTo>
                  <a:lnTo>
                    <a:pt x="3048" y="899"/>
                  </a:lnTo>
                  <a:lnTo>
                    <a:pt x="3048" y="899"/>
                  </a:lnTo>
                  <a:lnTo>
                    <a:pt x="3048" y="899"/>
                  </a:lnTo>
                  <a:lnTo>
                    <a:pt x="3048" y="899"/>
                  </a:lnTo>
                  <a:lnTo>
                    <a:pt x="3049" y="899"/>
                  </a:lnTo>
                  <a:lnTo>
                    <a:pt x="3049" y="899"/>
                  </a:lnTo>
                  <a:lnTo>
                    <a:pt x="3050" y="899"/>
                  </a:lnTo>
                  <a:lnTo>
                    <a:pt x="3050" y="899"/>
                  </a:lnTo>
                  <a:lnTo>
                    <a:pt x="3057" y="899"/>
                  </a:lnTo>
                  <a:lnTo>
                    <a:pt x="3057" y="899"/>
                  </a:lnTo>
                  <a:lnTo>
                    <a:pt x="3057" y="899"/>
                  </a:lnTo>
                  <a:lnTo>
                    <a:pt x="3057" y="899"/>
                  </a:lnTo>
                  <a:lnTo>
                    <a:pt x="3058" y="899"/>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899"/>
                  </a:lnTo>
                  <a:lnTo>
                    <a:pt x="3157" y="899"/>
                  </a:lnTo>
                  <a:lnTo>
                    <a:pt x="3157" y="899"/>
                  </a:lnTo>
                  <a:lnTo>
                    <a:pt x="3157" y="899"/>
                  </a:lnTo>
                  <a:lnTo>
                    <a:pt x="3157" y="899"/>
                  </a:lnTo>
                  <a:lnTo>
                    <a:pt x="3159" y="899"/>
                  </a:lnTo>
                  <a:lnTo>
                    <a:pt x="315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71" y="899"/>
                  </a:lnTo>
                  <a:lnTo>
                    <a:pt x="3171" y="899"/>
                  </a:lnTo>
                  <a:lnTo>
                    <a:pt x="3172" y="899"/>
                  </a:lnTo>
                  <a:lnTo>
                    <a:pt x="3172" y="899"/>
                  </a:lnTo>
                  <a:lnTo>
                    <a:pt x="3175" y="89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6" y="899"/>
                  </a:lnTo>
                  <a:lnTo>
                    <a:pt x="3186" y="899"/>
                  </a:lnTo>
                  <a:lnTo>
                    <a:pt x="3186" y="899"/>
                  </a:lnTo>
                  <a:lnTo>
                    <a:pt x="3186" y="899"/>
                  </a:lnTo>
                  <a:lnTo>
                    <a:pt x="3186" y="899"/>
                  </a:lnTo>
                  <a:lnTo>
                    <a:pt x="3186" y="899"/>
                  </a:lnTo>
                  <a:lnTo>
                    <a:pt x="3186" y="899"/>
                  </a:lnTo>
                  <a:lnTo>
                    <a:pt x="3186" y="899"/>
                  </a:lnTo>
                  <a:lnTo>
                    <a:pt x="3186" y="899"/>
                  </a:lnTo>
                  <a:lnTo>
                    <a:pt x="3186" y="899"/>
                  </a:lnTo>
                  <a:lnTo>
                    <a:pt x="3187" y="899"/>
                  </a:lnTo>
                  <a:lnTo>
                    <a:pt x="3187" y="899"/>
                  </a:lnTo>
                  <a:lnTo>
                    <a:pt x="3187" y="899"/>
                  </a:lnTo>
                  <a:lnTo>
                    <a:pt x="3187" y="899"/>
                  </a:lnTo>
                  <a:lnTo>
                    <a:pt x="3187" y="899"/>
                  </a:lnTo>
                  <a:lnTo>
                    <a:pt x="3187" y="899"/>
                  </a:lnTo>
                  <a:lnTo>
                    <a:pt x="3187" y="899"/>
                  </a:lnTo>
                  <a:lnTo>
                    <a:pt x="3187" y="899"/>
                  </a:lnTo>
                  <a:lnTo>
                    <a:pt x="3188" y="899"/>
                  </a:lnTo>
                  <a:lnTo>
                    <a:pt x="3188" y="440"/>
                  </a:lnTo>
                  <a:lnTo>
                    <a:pt x="3189" y="440"/>
                  </a:lnTo>
                  <a:lnTo>
                    <a:pt x="3189" y="440"/>
                  </a:lnTo>
                  <a:lnTo>
                    <a:pt x="3189" y="440"/>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4"/>
                  </a:lnTo>
                  <a:lnTo>
                    <a:pt x="3189" y="434"/>
                  </a:lnTo>
                  <a:lnTo>
                    <a:pt x="3189" y="899"/>
                  </a:lnTo>
                  <a:lnTo>
                    <a:pt x="3189" y="899"/>
                  </a:lnTo>
                  <a:lnTo>
                    <a:pt x="3189" y="899"/>
                  </a:lnTo>
                  <a:lnTo>
                    <a:pt x="3189" y="899"/>
                  </a:lnTo>
                  <a:lnTo>
                    <a:pt x="3189" y="899"/>
                  </a:lnTo>
                  <a:lnTo>
                    <a:pt x="3189" y="899"/>
                  </a:lnTo>
                  <a:lnTo>
                    <a:pt x="3189" y="899"/>
                  </a:lnTo>
                  <a:lnTo>
                    <a:pt x="3190" y="899"/>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899"/>
                  </a:lnTo>
                  <a:lnTo>
                    <a:pt x="3192" y="899"/>
                  </a:lnTo>
                  <a:lnTo>
                    <a:pt x="3192" y="899"/>
                  </a:lnTo>
                  <a:lnTo>
                    <a:pt x="3192" y="899"/>
                  </a:lnTo>
                  <a:lnTo>
                    <a:pt x="3192" y="899"/>
                  </a:lnTo>
                  <a:lnTo>
                    <a:pt x="3192" y="899"/>
                  </a:lnTo>
                  <a:lnTo>
                    <a:pt x="3192" y="899"/>
                  </a:lnTo>
                  <a:lnTo>
                    <a:pt x="3192" y="899"/>
                  </a:lnTo>
                  <a:lnTo>
                    <a:pt x="3192" y="404"/>
                  </a:lnTo>
                  <a:lnTo>
                    <a:pt x="3192" y="404"/>
                  </a:lnTo>
                  <a:lnTo>
                    <a:pt x="3192" y="899"/>
                  </a:lnTo>
                  <a:lnTo>
                    <a:pt x="3192" y="899"/>
                  </a:lnTo>
                  <a:lnTo>
                    <a:pt x="3192"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4" y="899"/>
                  </a:lnTo>
                  <a:lnTo>
                    <a:pt x="3194" y="899"/>
                  </a:lnTo>
                  <a:lnTo>
                    <a:pt x="3194" y="899"/>
                  </a:lnTo>
                  <a:lnTo>
                    <a:pt x="3194" y="899"/>
                  </a:lnTo>
                  <a:lnTo>
                    <a:pt x="3194" y="899"/>
                  </a:lnTo>
                  <a:lnTo>
                    <a:pt x="3194" y="899"/>
                  </a:lnTo>
                  <a:lnTo>
                    <a:pt x="3194" y="899"/>
                  </a:lnTo>
                  <a:lnTo>
                    <a:pt x="3194" y="899"/>
                  </a:lnTo>
                  <a:lnTo>
                    <a:pt x="3195" y="899"/>
                  </a:lnTo>
                  <a:lnTo>
                    <a:pt x="3195" y="899"/>
                  </a:lnTo>
                  <a:lnTo>
                    <a:pt x="3196" y="899"/>
                  </a:lnTo>
                  <a:lnTo>
                    <a:pt x="3196" y="899"/>
                  </a:lnTo>
                  <a:lnTo>
                    <a:pt x="3197" y="899"/>
                  </a:lnTo>
                  <a:lnTo>
                    <a:pt x="3197" y="899"/>
                  </a:lnTo>
                  <a:lnTo>
                    <a:pt x="3201" y="899"/>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899"/>
                  </a:lnTo>
                  <a:lnTo>
                    <a:pt x="3216" y="899"/>
                  </a:lnTo>
                  <a:lnTo>
                    <a:pt x="3216" y="899"/>
                  </a:lnTo>
                  <a:lnTo>
                    <a:pt x="3216" y="899"/>
                  </a:lnTo>
                  <a:lnTo>
                    <a:pt x="3216" y="899"/>
                  </a:lnTo>
                  <a:lnTo>
                    <a:pt x="3216" y="899"/>
                  </a:lnTo>
                  <a:lnTo>
                    <a:pt x="3216" y="364"/>
                  </a:lnTo>
                  <a:lnTo>
                    <a:pt x="3216" y="364"/>
                  </a:lnTo>
                  <a:lnTo>
                    <a:pt x="3216" y="364"/>
                  </a:lnTo>
                  <a:lnTo>
                    <a:pt x="3216" y="364"/>
                  </a:lnTo>
                  <a:lnTo>
                    <a:pt x="3216" y="361"/>
                  </a:lnTo>
                  <a:lnTo>
                    <a:pt x="3216" y="361"/>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0"/>
                  </a:lnTo>
                  <a:lnTo>
                    <a:pt x="3216" y="350"/>
                  </a:lnTo>
                  <a:lnTo>
                    <a:pt x="3216" y="350"/>
                  </a:lnTo>
                  <a:lnTo>
                    <a:pt x="3216" y="350"/>
                  </a:lnTo>
                  <a:lnTo>
                    <a:pt x="3216" y="350"/>
                  </a:lnTo>
                  <a:lnTo>
                    <a:pt x="3217" y="350"/>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5" y="899"/>
                  </a:lnTo>
                  <a:lnTo>
                    <a:pt x="3245" y="899"/>
                  </a:lnTo>
                  <a:lnTo>
                    <a:pt x="3245" y="899"/>
                  </a:lnTo>
                  <a:lnTo>
                    <a:pt x="3245" y="899"/>
                  </a:lnTo>
                  <a:lnTo>
                    <a:pt x="3245" y="899"/>
                  </a:lnTo>
                  <a:lnTo>
                    <a:pt x="3245" y="899"/>
                  </a:lnTo>
                  <a:lnTo>
                    <a:pt x="3246" y="899"/>
                  </a:lnTo>
                  <a:lnTo>
                    <a:pt x="3246" y="899"/>
                  </a:lnTo>
                  <a:lnTo>
                    <a:pt x="3246" y="899"/>
                  </a:lnTo>
                  <a:lnTo>
                    <a:pt x="3246" y="899"/>
                  </a:lnTo>
                  <a:lnTo>
                    <a:pt x="3247" y="899"/>
                  </a:lnTo>
                  <a:lnTo>
                    <a:pt x="3247" y="899"/>
                  </a:lnTo>
                  <a:lnTo>
                    <a:pt x="3247" y="899"/>
                  </a:lnTo>
                  <a:lnTo>
                    <a:pt x="3247"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50" y="899"/>
                  </a:lnTo>
                  <a:lnTo>
                    <a:pt x="3250" y="899"/>
                  </a:lnTo>
                  <a:lnTo>
                    <a:pt x="3250" y="899"/>
                  </a:lnTo>
                  <a:lnTo>
                    <a:pt x="3250" y="221"/>
                  </a:lnTo>
                  <a:lnTo>
                    <a:pt x="3251" y="221"/>
                  </a:lnTo>
                  <a:lnTo>
                    <a:pt x="3251" y="899"/>
                  </a:lnTo>
                  <a:lnTo>
                    <a:pt x="3251" y="899"/>
                  </a:lnTo>
                  <a:lnTo>
                    <a:pt x="3251"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72" y="899"/>
                  </a:lnTo>
                  <a:lnTo>
                    <a:pt x="3272" y="899"/>
                  </a:lnTo>
                  <a:lnTo>
                    <a:pt x="3272" y="899"/>
                  </a:lnTo>
                  <a:lnTo>
                    <a:pt x="3272"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4" y="899"/>
                  </a:lnTo>
                  <a:lnTo>
                    <a:pt x="3274" y="899"/>
                  </a:lnTo>
                  <a:lnTo>
                    <a:pt x="3274" y="899"/>
                  </a:lnTo>
                  <a:lnTo>
                    <a:pt x="3274" y="899"/>
                  </a:lnTo>
                  <a:lnTo>
                    <a:pt x="3277" y="899"/>
                  </a:lnTo>
                  <a:lnTo>
                    <a:pt x="3277" y="899"/>
                  </a:lnTo>
                  <a:lnTo>
                    <a:pt x="3277" y="899"/>
                  </a:lnTo>
                  <a:lnTo>
                    <a:pt x="3277" y="899"/>
                  </a:lnTo>
                  <a:lnTo>
                    <a:pt x="3295" y="899"/>
                  </a:lnTo>
                  <a:lnTo>
                    <a:pt x="3295" y="899"/>
                  </a:lnTo>
                  <a:lnTo>
                    <a:pt x="3295" y="899"/>
                  </a:lnTo>
                  <a:lnTo>
                    <a:pt x="3295" y="899"/>
                  </a:lnTo>
                  <a:lnTo>
                    <a:pt x="3296" y="899"/>
                  </a:lnTo>
                  <a:lnTo>
                    <a:pt x="3296" y="899"/>
                  </a:lnTo>
                  <a:lnTo>
                    <a:pt x="3296" y="899"/>
                  </a:lnTo>
                  <a:lnTo>
                    <a:pt x="3296" y="899"/>
                  </a:lnTo>
                  <a:lnTo>
                    <a:pt x="3297" y="899"/>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899"/>
                  </a:lnTo>
                  <a:lnTo>
                    <a:pt x="3301" y="899"/>
                  </a:lnTo>
                  <a:lnTo>
                    <a:pt x="3301" y="899"/>
                  </a:lnTo>
                  <a:lnTo>
                    <a:pt x="3301" y="899"/>
                  </a:lnTo>
                  <a:lnTo>
                    <a:pt x="3301" y="899"/>
                  </a:lnTo>
                  <a:lnTo>
                    <a:pt x="3315" y="899"/>
                  </a:lnTo>
                  <a:lnTo>
                    <a:pt x="3315" y="0"/>
                  </a:lnTo>
                  <a:lnTo>
                    <a:pt x="3315" y="0"/>
                  </a:lnTo>
                  <a:lnTo>
                    <a:pt x="3315" y="0"/>
                  </a:lnTo>
                  <a:lnTo>
                    <a:pt x="3315" y="0"/>
                  </a:lnTo>
                  <a:lnTo>
                    <a:pt x="3315" y="899"/>
                  </a:lnTo>
                  <a:lnTo>
                    <a:pt x="3315" y="899"/>
                  </a:lnTo>
                  <a:lnTo>
                    <a:pt x="3315" y="899"/>
                  </a:lnTo>
                  <a:lnTo>
                    <a:pt x="3315" y="899"/>
                  </a:lnTo>
                  <a:lnTo>
                    <a:pt x="3315" y="899"/>
                  </a:lnTo>
                  <a:lnTo>
                    <a:pt x="3315" y="899"/>
                  </a:lnTo>
                  <a:lnTo>
                    <a:pt x="3315" y="899"/>
                  </a:lnTo>
                  <a:lnTo>
                    <a:pt x="3315" y="899"/>
                  </a:lnTo>
                  <a:lnTo>
                    <a:pt x="3315"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7" y="899"/>
                  </a:lnTo>
                  <a:lnTo>
                    <a:pt x="3317" y="0"/>
                  </a:lnTo>
                  <a:lnTo>
                    <a:pt x="3317" y="0"/>
                  </a:lnTo>
                  <a:lnTo>
                    <a:pt x="3317" y="0"/>
                  </a:lnTo>
                  <a:lnTo>
                    <a:pt x="3338" y="0"/>
                  </a:lnTo>
                  <a:lnTo>
                    <a:pt x="3338" y="0"/>
                  </a:lnTo>
                  <a:lnTo>
                    <a:pt x="3340" y="0"/>
                  </a:lnTo>
                  <a:lnTo>
                    <a:pt x="3340" y="0"/>
                  </a:lnTo>
                  <a:lnTo>
                    <a:pt x="3340" y="0"/>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1" y="899"/>
                  </a:lnTo>
                  <a:lnTo>
                    <a:pt x="3341" y="899"/>
                  </a:lnTo>
                  <a:lnTo>
                    <a:pt x="3341" y="899"/>
                  </a:lnTo>
                  <a:lnTo>
                    <a:pt x="3341" y="899"/>
                  </a:lnTo>
                  <a:lnTo>
                    <a:pt x="3353" y="899"/>
                  </a:lnTo>
                  <a:lnTo>
                    <a:pt x="3353" y="899"/>
                  </a:lnTo>
                  <a:lnTo>
                    <a:pt x="3353" y="899"/>
                  </a:lnTo>
                  <a:lnTo>
                    <a:pt x="3353" y="899"/>
                  </a:lnTo>
                  <a:lnTo>
                    <a:pt x="3354" y="899"/>
                  </a:lnTo>
                  <a:lnTo>
                    <a:pt x="3354" y="899"/>
                  </a:lnTo>
                  <a:lnTo>
                    <a:pt x="3354" y="899"/>
                  </a:lnTo>
                  <a:lnTo>
                    <a:pt x="3354" y="0"/>
                  </a:lnTo>
                  <a:lnTo>
                    <a:pt x="3355" y="0"/>
                  </a:lnTo>
                  <a:lnTo>
                    <a:pt x="3355" y="0"/>
                  </a:lnTo>
                  <a:lnTo>
                    <a:pt x="3372" y="0"/>
                  </a:lnTo>
                  <a:lnTo>
                    <a:pt x="3372" y="0"/>
                  </a:lnTo>
                  <a:lnTo>
                    <a:pt x="3372" y="0"/>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83" y="899"/>
                  </a:lnTo>
                  <a:lnTo>
                    <a:pt x="3383" y="0"/>
                  </a:lnTo>
                  <a:lnTo>
                    <a:pt x="3383" y="0"/>
                  </a:lnTo>
                  <a:lnTo>
                    <a:pt x="3383" y="0"/>
                  </a:lnTo>
                  <a:lnTo>
                    <a:pt x="3383" y="0"/>
                  </a:lnTo>
                  <a:lnTo>
                    <a:pt x="3383" y="899"/>
                  </a:lnTo>
                  <a:lnTo>
                    <a:pt x="3383" y="899"/>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83"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55" y="899"/>
                  </a:lnTo>
                  <a:lnTo>
                    <a:pt x="3355" y="899"/>
                  </a:lnTo>
                  <a:lnTo>
                    <a:pt x="3354" y="899"/>
                  </a:lnTo>
                  <a:lnTo>
                    <a:pt x="3354" y="899"/>
                  </a:lnTo>
                  <a:lnTo>
                    <a:pt x="3354" y="899"/>
                  </a:lnTo>
                  <a:lnTo>
                    <a:pt x="3354" y="899"/>
                  </a:lnTo>
                  <a:lnTo>
                    <a:pt x="3353" y="899"/>
                  </a:lnTo>
                  <a:lnTo>
                    <a:pt x="3353" y="899"/>
                  </a:lnTo>
                  <a:lnTo>
                    <a:pt x="3353" y="899"/>
                  </a:lnTo>
                  <a:lnTo>
                    <a:pt x="3353" y="899"/>
                  </a:lnTo>
                  <a:lnTo>
                    <a:pt x="3341" y="899"/>
                  </a:lnTo>
                  <a:lnTo>
                    <a:pt x="3341" y="899"/>
                  </a:lnTo>
                  <a:lnTo>
                    <a:pt x="3341" y="899"/>
                  </a:lnTo>
                  <a:lnTo>
                    <a:pt x="3341"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38" y="899"/>
                  </a:lnTo>
                  <a:lnTo>
                    <a:pt x="3338" y="899"/>
                  </a:lnTo>
                  <a:lnTo>
                    <a:pt x="3317" y="899"/>
                  </a:lnTo>
                  <a:lnTo>
                    <a:pt x="3317" y="899"/>
                  </a:lnTo>
                  <a:lnTo>
                    <a:pt x="3317" y="899"/>
                  </a:lnTo>
                  <a:lnTo>
                    <a:pt x="3317"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5" y="899"/>
                  </a:lnTo>
                  <a:lnTo>
                    <a:pt x="3315" y="899"/>
                  </a:lnTo>
                  <a:lnTo>
                    <a:pt x="3315" y="899"/>
                  </a:lnTo>
                  <a:lnTo>
                    <a:pt x="3315" y="899"/>
                  </a:lnTo>
                  <a:lnTo>
                    <a:pt x="3315" y="899"/>
                  </a:lnTo>
                  <a:lnTo>
                    <a:pt x="3315" y="899"/>
                  </a:lnTo>
                  <a:lnTo>
                    <a:pt x="3315" y="899"/>
                  </a:lnTo>
                  <a:lnTo>
                    <a:pt x="3315" y="899"/>
                  </a:lnTo>
                  <a:lnTo>
                    <a:pt x="3315" y="899"/>
                  </a:lnTo>
                  <a:lnTo>
                    <a:pt x="3315" y="899"/>
                  </a:lnTo>
                  <a:lnTo>
                    <a:pt x="3315" y="899"/>
                  </a:lnTo>
                  <a:lnTo>
                    <a:pt x="3315" y="899"/>
                  </a:lnTo>
                  <a:lnTo>
                    <a:pt x="3315" y="899"/>
                  </a:lnTo>
                  <a:lnTo>
                    <a:pt x="3315" y="899"/>
                  </a:lnTo>
                  <a:lnTo>
                    <a:pt x="3301" y="899"/>
                  </a:lnTo>
                  <a:lnTo>
                    <a:pt x="3301" y="899"/>
                  </a:lnTo>
                  <a:lnTo>
                    <a:pt x="3301" y="899"/>
                  </a:lnTo>
                  <a:lnTo>
                    <a:pt x="3301" y="899"/>
                  </a:lnTo>
                  <a:lnTo>
                    <a:pt x="3301" y="899"/>
                  </a:lnTo>
                  <a:lnTo>
                    <a:pt x="3301" y="899"/>
                  </a:lnTo>
                  <a:lnTo>
                    <a:pt x="3301" y="899"/>
                  </a:lnTo>
                  <a:lnTo>
                    <a:pt x="3301" y="899"/>
                  </a:lnTo>
                  <a:lnTo>
                    <a:pt x="3299" y="899"/>
                  </a:lnTo>
                  <a:lnTo>
                    <a:pt x="3299" y="899"/>
                  </a:lnTo>
                  <a:lnTo>
                    <a:pt x="3299" y="899"/>
                  </a:lnTo>
                  <a:lnTo>
                    <a:pt x="3299" y="899"/>
                  </a:lnTo>
                  <a:lnTo>
                    <a:pt x="3299" y="899"/>
                  </a:lnTo>
                  <a:lnTo>
                    <a:pt x="3299" y="899"/>
                  </a:lnTo>
                  <a:lnTo>
                    <a:pt x="3298" y="899"/>
                  </a:lnTo>
                  <a:lnTo>
                    <a:pt x="3298" y="899"/>
                  </a:lnTo>
                  <a:lnTo>
                    <a:pt x="3297" y="899"/>
                  </a:lnTo>
                  <a:lnTo>
                    <a:pt x="3297" y="899"/>
                  </a:lnTo>
                  <a:lnTo>
                    <a:pt x="3296" y="899"/>
                  </a:lnTo>
                  <a:lnTo>
                    <a:pt x="3296" y="899"/>
                  </a:lnTo>
                  <a:lnTo>
                    <a:pt x="3296" y="899"/>
                  </a:lnTo>
                  <a:lnTo>
                    <a:pt x="3296" y="899"/>
                  </a:lnTo>
                  <a:lnTo>
                    <a:pt x="3295" y="899"/>
                  </a:lnTo>
                  <a:lnTo>
                    <a:pt x="3295" y="899"/>
                  </a:lnTo>
                  <a:lnTo>
                    <a:pt x="3295" y="899"/>
                  </a:lnTo>
                  <a:lnTo>
                    <a:pt x="3295" y="899"/>
                  </a:lnTo>
                  <a:lnTo>
                    <a:pt x="3277" y="899"/>
                  </a:lnTo>
                  <a:lnTo>
                    <a:pt x="3277" y="899"/>
                  </a:lnTo>
                  <a:lnTo>
                    <a:pt x="3277" y="899"/>
                  </a:lnTo>
                  <a:lnTo>
                    <a:pt x="3277" y="899"/>
                  </a:lnTo>
                  <a:lnTo>
                    <a:pt x="3274" y="899"/>
                  </a:lnTo>
                  <a:lnTo>
                    <a:pt x="3274" y="899"/>
                  </a:lnTo>
                  <a:lnTo>
                    <a:pt x="3274" y="899"/>
                  </a:lnTo>
                  <a:lnTo>
                    <a:pt x="3274"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2" y="899"/>
                  </a:lnTo>
                  <a:lnTo>
                    <a:pt x="3272" y="899"/>
                  </a:lnTo>
                  <a:lnTo>
                    <a:pt x="3272" y="899"/>
                  </a:lnTo>
                  <a:lnTo>
                    <a:pt x="3272"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1" y="899"/>
                  </a:lnTo>
                  <a:lnTo>
                    <a:pt x="3251" y="899"/>
                  </a:lnTo>
                  <a:lnTo>
                    <a:pt x="3251" y="899"/>
                  </a:lnTo>
                  <a:lnTo>
                    <a:pt x="3251" y="899"/>
                  </a:lnTo>
                  <a:lnTo>
                    <a:pt x="3250" y="899"/>
                  </a:lnTo>
                  <a:lnTo>
                    <a:pt x="3250" y="899"/>
                  </a:lnTo>
                  <a:lnTo>
                    <a:pt x="3250" y="899"/>
                  </a:lnTo>
                  <a:lnTo>
                    <a:pt x="3250"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7" y="899"/>
                  </a:lnTo>
                  <a:lnTo>
                    <a:pt x="3247" y="899"/>
                  </a:lnTo>
                  <a:lnTo>
                    <a:pt x="3247" y="899"/>
                  </a:lnTo>
                  <a:lnTo>
                    <a:pt x="3247" y="899"/>
                  </a:lnTo>
                  <a:lnTo>
                    <a:pt x="3246" y="899"/>
                  </a:lnTo>
                  <a:lnTo>
                    <a:pt x="3246" y="899"/>
                  </a:lnTo>
                  <a:lnTo>
                    <a:pt x="3246" y="899"/>
                  </a:lnTo>
                  <a:lnTo>
                    <a:pt x="3246" y="899"/>
                  </a:lnTo>
                  <a:lnTo>
                    <a:pt x="3245" y="899"/>
                  </a:lnTo>
                  <a:lnTo>
                    <a:pt x="3245" y="899"/>
                  </a:lnTo>
                  <a:lnTo>
                    <a:pt x="3245" y="899"/>
                  </a:lnTo>
                  <a:lnTo>
                    <a:pt x="3245" y="899"/>
                  </a:lnTo>
                  <a:lnTo>
                    <a:pt x="3245" y="899"/>
                  </a:lnTo>
                  <a:lnTo>
                    <a:pt x="3245"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03" y="899"/>
                  </a:lnTo>
                  <a:lnTo>
                    <a:pt x="3203" y="899"/>
                  </a:lnTo>
                  <a:lnTo>
                    <a:pt x="3202" y="899"/>
                  </a:lnTo>
                  <a:lnTo>
                    <a:pt x="3202" y="899"/>
                  </a:lnTo>
                  <a:lnTo>
                    <a:pt x="3202" y="899"/>
                  </a:lnTo>
                  <a:lnTo>
                    <a:pt x="3202" y="899"/>
                  </a:lnTo>
                  <a:lnTo>
                    <a:pt x="3201" y="899"/>
                  </a:lnTo>
                  <a:lnTo>
                    <a:pt x="3201" y="899"/>
                  </a:lnTo>
                  <a:lnTo>
                    <a:pt x="3197" y="899"/>
                  </a:lnTo>
                  <a:lnTo>
                    <a:pt x="3197" y="899"/>
                  </a:lnTo>
                  <a:lnTo>
                    <a:pt x="3196" y="899"/>
                  </a:lnTo>
                  <a:lnTo>
                    <a:pt x="3196" y="899"/>
                  </a:lnTo>
                  <a:lnTo>
                    <a:pt x="3195" y="899"/>
                  </a:lnTo>
                  <a:lnTo>
                    <a:pt x="3195" y="899"/>
                  </a:lnTo>
                  <a:lnTo>
                    <a:pt x="3194" y="899"/>
                  </a:lnTo>
                  <a:lnTo>
                    <a:pt x="3194" y="899"/>
                  </a:lnTo>
                  <a:lnTo>
                    <a:pt x="3194" y="899"/>
                  </a:lnTo>
                  <a:lnTo>
                    <a:pt x="3194" y="899"/>
                  </a:lnTo>
                  <a:lnTo>
                    <a:pt x="3194" y="899"/>
                  </a:lnTo>
                  <a:lnTo>
                    <a:pt x="3194" y="899"/>
                  </a:lnTo>
                  <a:lnTo>
                    <a:pt x="3194" y="899"/>
                  </a:lnTo>
                  <a:lnTo>
                    <a:pt x="3194"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2" y="899"/>
                  </a:lnTo>
                  <a:lnTo>
                    <a:pt x="3192" y="899"/>
                  </a:lnTo>
                  <a:lnTo>
                    <a:pt x="3192" y="899"/>
                  </a:lnTo>
                  <a:lnTo>
                    <a:pt x="3192" y="899"/>
                  </a:lnTo>
                  <a:lnTo>
                    <a:pt x="3192" y="899"/>
                  </a:lnTo>
                  <a:lnTo>
                    <a:pt x="3192" y="899"/>
                  </a:lnTo>
                  <a:lnTo>
                    <a:pt x="3192" y="899"/>
                  </a:lnTo>
                  <a:lnTo>
                    <a:pt x="3192" y="899"/>
                  </a:lnTo>
                  <a:lnTo>
                    <a:pt x="3192" y="899"/>
                  </a:lnTo>
                  <a:lnTo>
                    <a:pt x="3192" y="899"/>
                  </a:lnTo>
                  <a:lnTo>
                    <a:pt x="3192" y="899"/>
                  </a:lnTo>
                  <a:lnTo>
                    <a:pt x="3192" y="899"/>
                  </a:lnTo>
                  <a:lnTo>
                    <a:pt x="3192" y="899"/>
                  </a:lnTo>
                  <a:lnTo>
                    <a:pt x="3192" y="899"/>
                  </a:lnTo>
                  <a:lnTo>
                    <a:pt x="3191" y="899"/>
                  </a:lnTo>
                  <a:lnTo>
                    <a:pt x="3191" y="899"/>
                  </a:lnTo>
                  <a:lnTo>
                    <a:pt x="3191" y="899"/>
                  </a:lnTo>
                  <a:lnTo>
                    <a:pt x="3191" y="899"/>
                  </a:lnTo>
                  <a:lnTo>
                    <a:pt x="3190" y="899"/>
                  </a:lnTo>
                  <a:lnTo>
                    <a:pt x="3190" y="899"/>
                  </a:lnTo>
                  <a:lnTo>
                    <a:pt x="3190" y="899"/>
                  </a:lnTo>
                  <a:lnTo>
                    <a:pt x="3190" y="899"/>
                  </a:lnTo>
                  <a:lnTo>
                    <a:pt x="3190" y="899"/>
                  </a:lnTo>
                  <a:lnTo>
                    <a:pt x="3190"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8" y="899"/>
                  </a:lnTo>
                  <a:lnTo>
                    <a:pt x="3188" y="899"/>
                  </a:lnTo>
                  <a:lnTo>
                    <a:pt x="3187" y="899"/>
                  </a:lnTo>
                  <a:lnTo>
                    <a:pt x="3187" y="899"/>
                  </a:lnTo>
                  <a:lnTo>
                    <a:pt x="3187" y="899"/>
                  </a:lnTo>
                  <a:lnTo>
                    <a:pt x="3187" y="899"/>
                  </a:lnTo>
                  <a:lnTo>
                    <a:pt x="3187" y="899"/>
                  </a:lnTo>
                  <a:lnTo>
                    <a:pt x="3187" y="899"/>
                  </a:lnTo>
                  <a:lnTo>
                    <a:pt x="3187" y="899"/>
                  </a:lnTo>
                  <a:lnTo>
                    <a:pt x="3187" y="899"/>
                  </a:lnTo>
                  <a:lnTo>
                    <a:pt x="3186" y="899"/>
                  </a:lnTo>
                  <a:lnTo>
                    <a:pt x="3186" y="899"/>
                  </a:lnTo>
                  <a:lnTo>
                    <a:pt x="3186" y="899"/>
                  </a:lnTo>
                  <a:lnTo>
                    <a:pt x="3186" y="899"/>
                  </a:lnTo>
                  <a:lnTo>
                    <a:pt x="3186" y="899"/>
                  </a:lnTo>
                  <a:lnTo>
                    <a:pt x="3186" y="899"/>
                  </a:lnTo>
                  <a:lnTo>
                    <a:pt x="3186" y="899"/>
                  </a:lnTo>
                  <a:lnTo>
                    <a:pt x="3186" y="899"/>
                  </a:lnTo>
                  <a:lnTo>
                    <a:pt x="3186" y="899"/>
                  </a:lnTo>
                  <a:lnTo>
                    <a:pt x="3186"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2" y="899"/>
                  </a:lnTo>
                  <a:lnTo>
                    <a:pt x="3182" y="899"/>
                  </a:lnTo>
                  <a:lnTo>
                    <a:pt x="3178" y="899"/>
                  </a:lnTo>
                  <a:lnTo>
                    <a:pt x="3178" y="899"/>
                  </a:lnTo>
                  <a:lnTo>
                    <a:pt x="3176" y="899"/>
                  </a:lnTo>
                  <a:lnTo>
                    <a:pt x="3176" y="899"/>
                  </a:lnTo>
                  <a:lnTo>
                    <a:pt x="3176" y="899"/>
                  </a:lnTo>
                  <a:lnTo>
                    <a:pt x="3176" y="899"/>
                  </a:lnTo>
                  <a:lnTo>
                    <a:pt x="3176" y="899"/>
                  </a:lnTo>
                  <a:lnTo>
                    <a:pt x="3176" y="899"/>
                  </a:lnTo>
                  <a:lnTo>
                    <a:pt x="3175" y="899"/>
                  </a:lnTo>
                  <a:lnTo>
                    <a:pt x="3175" y="899"/>
                  </a:lnTo>
                  <a:lnTo>
                    <a:pt x="3175" y="899"/>
                  </a:lnTo>
                  <a:lnTo>
                    <a:pt x="3175" y="899"/>
                  </a:lnTo>
                  <a:lnTo>
                    <a:pt x="3175" y="899"/>
                  </a:lnTo>
                  <a:lnTo>
                    <a:pt x="3175" y="899"/>
                  </a:lnTo>
                  <a:lnTo>
                    <a:pt x="3175" y="899"/>
                  </a:lnTo>
                  <a:lnTo>
                    <a:pt x="3175" y="899"/>
                  </a:lnTo>
                  <a:lnTo>
                    <a:pt x="3172" y="899"/>
                  </a:lnTo>
                  <a:lnTo>
                    <a:pt x="3172" y="899"/>
                  </a:lnTo>
                  <a:lnTo>
                    <a:pt x="3171" y="899"/>
                  </a:lnTo>
                  <a:lnTo>
                    <a:pt x="3171"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59" y="899"/>
                  </a:lnTo>
                  <a:lnTo>
                    <a:pt x="3159" y="899"/>
                  </a:lnTo>
                  <a:lnTo>
                    <a:pt x="3157" y="899"/>
                  </a:lnTo>
                  <a:lnTo>
                    <a:pt x="3157" y="899"/>
                  </a:lnTo>
                  <a:lnTo>
                    <a:pt x="3157" y="899"/>
                  </a:lnTo>
                  <a:lnTo>
                    <a:pt x="3157" y="899"/>
                  </a:lnTo>
                  <a:lnTo>
                    <a:pt x="3156" y="899"/>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899"/>
                  </a:lnTo>
                  <a:lnTo>
                    <a:pt x="3057" y="899"/>
                  </a:lnTo>
                  <a:lnTo>
                    <a:pt x="3057" y="899"/>
                  </a:lnTo>
                  <a:lnTo>
                    <a:pt x="3057" y="899"/>
                  </a:lnTo>
                  <a:lnTo>
                    <a:pt x="3057" y="899"/>
                  </a:lnTo>
                  <a:lnTo>
                    <a:pt x="3050" y="899"/>
                  </a:lnTo>
                  <a:lnTo>
                    <a:pt x="3050" y="899"/>
                  </a:lnTo>
                  <a:lnTo>
                    <a:pt x="3049" y="899"/>
                  </a:lnTo>
                  <a:lnTo>
                    <a:pt x="3049" y="899"/>
                  </a:lnTo>
                  <a:lnTo>
                    <a:pt x="3048" y="899"/>
                  </a:lnTo>
                  <a:lnTo>
                    <a:pt x="3048" y="899"/>
                  </a:lnTo>
                  <a:lnTo>
                    <a:pt x="3048" y="899"/>
                  </a:lnTo>
                  <a:lnTo>
                    <a:pt x="3048" y="899"/>
                  </a:lnTo>
                  <a:lnTo>
                    <a:pt x="3048" y="899"/>
                  </a:lnTo>
                  <a:lnTo>
                    <a:pt x="3048" y="899"/>
                  </a:lnTo>
                  <a:lnTo>
                    <a:pt x="3048" y="899"/>
                  </a:lnTo>
                  <a:lnTo>
                    <a:pt x="3048"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6" y="899"/>
                  </a:lnTo>
                  <a:lnTo>
                    <a:pt x="3046" y="899"/>
                  </a:lnTo>
                  <a:lnTo>
                    <a:pt x="3046" y="899"/>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899"/>
                  </a:lnTo>
                  <a:lnTo>
                    <a:pt x="2968" y="899"/>
                  </a:lnTo>
                  <a:lnTo>
                    <a:pt x="2968" y="899"/>
                  </a:lnTo>
                  <a:lnTo>
                    <a:pt x="2967" y="899"/>
                  </a:lnTo>
                  <a:lnTo>
                    <a:pt x="2967" y="899"/>
                  </a:lnTo>
                  <a:lnTo>
                    <a:pt x="2967" y="899"/>
                  </a:lnTo>
                  <a:lnTo>
                    <a:pt x="2967" y="899"/>
                  </a:lnTo>
                  <a:lnTo>
                    <a:pt x="2967" y="899"/>
                  </a:lnTo>
                  <a:lnTo>
                    <a:pt x="2967"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4" y="899"/>
                  </a:lnTo>
                  <a:lnTo>
                    <a:pt x="2964"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53" y="899"/>
                  </a:lnTo>
                  <a:lnTo>
                    <a:pt x="2953" y="899"/>
                  </a:lnTo>
                  <a:lnTo>
                    <a:pt x="2952" y="899"/>
                  </a:lnTo>
                  <a:lnTo>
                    <a:pt x="2952" y="899"/>
                  </a:lnTo>
                  <a:lnTo>
                    <a:pt x="2951" y="899"/>
                  </a:lnTo>
                  <a:lnTo>
                    <a:pt x="2951" y="899"/>
                  </a:lnTo>
                  <a:lnTo>
                    <a:pt x="2951" y="899"/>
                  </a:lnTo>
                  <a:lnTo>
                    <a:pt x="2951" y="899"/>
                  </a:lnTo>
                  <a:lnTo>
                    <a:pt x="2951" y="899"/>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899"/>
                  </a:lnTo>
                  <a:lnTo>
                    <a:pt x="2944" y="899"/>
                  </a:lnTo>
                  <a:lnTo>
                    <a:pt x="2944"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39" y="899"/>
                  </a:lnTo>
                  <a:lnTo>
                    <a:pt x="2939" y="899"/>
                  </a:lnTo>
                  <a:lnTo>
                    <a:pt x="2938" y="899"/>
                  </a:lnTo>
                  <a:lnTo>
                    <a:pt x="2938" y="899"/>
                  </a:lnTo>
                  <a:lnTo>
                    <a:pt x="2938" y="899"/>
                  </a:lnTo>
                  <a:lnTo>
                    <a:pt x="2938" y="899"/>
                  </a:lnTo>
                  <a:lnTo>
                    <a:pt x="2918" y="899"/>
                  </a:lnTo>
                  <a:lnTo>
                    <a:pt x="2918" y="899"/>
                  </a:lnTo>
                  <a:lnTo>
                    <a:pt x="2917" y="899"/>
                  </a:lnTo>
                  <a:lnTo>
                    <a:pt x="2917" y="899"/>
                  </a:lnTo>
                  <a:lnTo>
                    <a:pt x="2917" y="899"/>
                  </a:lnTo>
                  <a:lnTo>
                    <a:pt x="2917" y="899"/>
                  </a:lnTo>
                  <a:lnTo>
                    <a:pt x="2913" y="899"/>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899"/>
                  </a:lnTo>
                  <a:lnTo>
                    <a:pt x="2901" y="899"/>
                  </a:lnTo>
                  <a:lnTo>
                    <a:pt x="2901" y="899"/>
                  </a:lnTo>
                  <a:lnTo>
                    <a:pt x="2900" y="899"/>
                  </a:lnTo>
                  <a:lnTo>
                    <a:pt x="2900" y="899"/>
                  </a:lnTo>
                  <a:lnTo>
                    <a:pt x="2899" y="899"/>
                  </a:lnTo>
                  <a:lnTo>
                    <a:pt x="2899"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899"/>
                  </a:lnTo>
                  <a:lnTo>
                    <a:pt x="2837" y="899"/>
                  </a:lnTo>
                  <a:lnTo>
                    <a:pt x="2837" y="899"/>
                  </a:lnTo>
                  <a:lnTo>
                    <a:pt x="2837" y="899"/>
                  </a:lnTo>
                  <a:lnTo>
                    <a:pt x="2837" y="899"/>
                  </a:lnTo>
                  <a:lnTo>
                    <a:pt x="2799" y="899"/>
                  </a:lnTo>
                  <a:lnTo>
                    <a:pt x="2799" y="899"/>
                  </a:lnTo>
                  <a:lnTo>
                    <a:pt x="2798" y="899"/>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899"/>
                  </a:lnTo>
                  <a:lnTo>
                    <a:pt x="2775" y="899"/>
                  </a:lnTo>
                  <a:lnTo>
                    <a:pt x="2775" y="899"/>
                  </a:lnTo>
                  <a:lnTo>
                    <a:pt x="2775" y="899"/>
                  </a:lnTo>
                  <a:lnTo>
                    <a:pt x="2775" y="899"/>
                  </a:lnTo>
                  <a:lnTo>
                    <a:pt x="2775" y="899"/>
                  </a:lnTo>
                  <a:lnTo>
                    <a:pt x="2775" y="899"/>
                  </a:lnTo>
                  <a:lnTo>
                    <a:pt x="2752" y="899"/>
                  </a:lnTo>
                  <a:lnTo>
                    <a:pt x="2752" y="899"/>
                  </a:lnTo>
                  <a:lnTo>
                    <a:pt x="2748" y="899"/>
                  </a:lnTo>
                  <a:lnTo>
                    <a:pt x="2748" y="899"/>
                  </a:lnTo>
                  <a:lnTo>
                    <a:pt x="2736" y="899"/>
                  </a:lnTo>
                  <a:lnTo>
                    <a:pt x="2736"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89" y="899"/>
                  </a:lnTo>
                  <a:lnTo>
                    <a:pt x="2689"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4" y="899"/>
                  </a:lnTo>
                  <a:lnTo>
                    <a:pt x="2684" y="899"/>
                  </a:lnTo>
                  <a:lnTo>
                    <a:pt x="2684" y="899"/>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2" y="899"/>
                  </a:lnTo>
                  <a:lnTo>
                    <a:pt x="2682" y="899"/>
                  </a:lnTo>
                  <a:lnTo>
                    <a:pt x="2681" y="899"/>
                  </a:lnTo>
                  <a:lnTo>
                    <a:pt x="2681" y="899"/>
                  </a:lnTo>
                  <a:lnTo>
                    <a:pt x="2665" y="899"/>
                  </a:lnTo>
                  <a:lnTo>
                    <a:pt x="2665" y="899"/>
                  </a:lnTo>
                  <a:lnTo>
                    <a:pt x="2663" y="899"/>
                  </a:lnTo>
                  <a:lnTo>
                    <a:pt x="2663" y="899"/>
                  </a:lnTo>
                  <a:lnTo>
                    <a:pt x="2662" y="899"/>
                  </a:lnTo>
                  <a:lnTo>
                    <a:pt x="2662" y="899"/>
                  </a:lnTo>
                  <a:lnTo>
                    <a:pt x="2662" y="899"/>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58" y="899"/>
                  </a:lnTo>
                  <a:lnTo>
                    <a:pt x="2658" y="899"/>
                  </a:lnTo>
                  <a:lnTo>
                    <a:pt x="2658" y="899"/>
                  </a:lnTo>
                  <a:lnTo>
                    <a:pt x="2658" y="899"/>
                  </a:lnTo>
                  <a:lnTo>
                    <a:pt x="2658" y="899"/>
                  </a:lnTo>
                  <a:lnTo>
                    <a:pt x="2658" y="899"/>
                  </a:lnTo>
                  <a:lnTo>
                    <a:pt x="2658" y="899"/>
                  </a:lnTo>
                  <a:lnTo>
                    <a:pt x="2658"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3" y="899"/>
                  </a:lnTo>
                  <a:lnTo>
                    <a:pt x="2653"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39" y="899"/>
                  </a:lnTo>
                  <a:lnTo>
                    <a:pt x="2639" y="899"/>
                  </a:lnTo>
                  <a:lnTo>
                    <a:pt x="2639" y="899"/>
                  </a:lnTo>
                  <a:lnTo>
                    <a:pt x="2639"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1" y="899"/>
                  </a:lnTo>
                  <a:lnTo>
                    <a:pt x="2631"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13" y="899"/>
                  </a:lnTo>
                  <a:lnTo>
                    <a:pt x="2613" y="899"/>
                  </a:lnTo>
                  <a:lnTo>
                    <a:pt x="2612" y="899"/>
                  </a:lnTo>
                  <a:lnTo>
                    <a:pt x="2612" y="899"/>
                  </a:lnTo>
                  <a:lnTo>
                    <a:pt x="2612" y="899"/>
                  </a:lnTo>
                  <a:lnTo>
                    <a:pt x="2612" y="899"/>
                  </a:lnTo>
                  <a:lnTo>
                    <a:pt x="2609" y="899"/>
                  </a:lnTo>
                  <a:lnTo>
                    <a:pt x="2609"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5" y="899"/>
                  </a:lnTo>
                  <a:lnTo>
                    <a:pt x="2605" y="899"/>
                  </a:lnTo>
                  <a:lnTo>
                    <a:pt x="2605" y="899"/>
                  </a:lnTo>
                  <a:lnTo>
                    <a:pt x="2605" y="899"/>
                  </a:lnTo>
                  <a:lnTo>
                    <a:pt x="2605" y="899"/>
                  </a:lnTo>
                  <a:lnTo>
                    <a:pt x="2605" y="899"/>
                  </a:lnTo>
                  <a:lnTo>
                    <a:pt x="2604" y="899"/>
                  </a:lnTo>
                  <a:lnTo>
                    <a:pt x="2604" y="899"/>
                  </a:lnTo>
                  <a:lnTo>
                    <a:pt x="2604" y="899"/>
                  </a:lnTo>
                  <a:lnTo>
                    <a:pt x="2604" y="899"/>
                  </a:lnTo>
                  <a:lnTo>
                    <a:pt x="2599" y="899"/>
                  </a:lnTo>
                  <a:lnTo>
                    <a:pt x="2599" y="899"/>
                  </a:lnTo>
                  <a:lnTo>
                    <a:pt x="2596" y="899"/>
                  </a:lnTo>
                  <a:lnTo>
                    <a:pt x="2596" y="899"/>
                  </a:lnTo>
                  <a:lnTo>
                    <a:pt x="2593" y="899"/>
                  </a:lnTo>
                  <a:lnTo>
                    <a:pt x="2593" y="899"/>
                  </a:lnTo>
                  <a:lnTo>
                    <a:pt x="2592" y="899"/>
                  </a:lnTo>
                  <a:lnTo>
                    <a:pt x="2592" y="899"/>
                  </a:lnTo>
                  <a:lnTo>
                    <a:pt x="2591" y="899"/>
                  </a:lnTo>
                  <a:lnTo>
                    <a:pt x="2591" y="899"/>
                  </a:lnTo>
                  <a:lnTo>
                    <a:pt x="2591" y="899"/>
                  </a:lnTo>
                  <a:lnTo>
                    <a:pt x="2591" y="899"/>
                  </a:lnTo>
                  <a:lnTo>
                    <a:pt x="2591" y="899"/>
                  </a:lnTo>
                  <a:lnTo>
                    <a:pt x="2591" y="899"/>
                  </a:lnTo>
                  <a:lnTo>
                    <a:pt x="2591" y="899"/>
                  </a:lnTo>
                  <a:lnTo>
                    <a:pt x="2591"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41" y="899"/>
                  </a:lnTo>
                  <a:lnTo>
                    <a:pt x="2541" y="899"/>
                  </a:lnTo>
                  <a:lnTo>
                    <a:pt x="2537" y="899"/>
                  </a:lnTo>
                  <a:lnTo>
                    <a:pt x="2537" y="899"/>
                  </a:lnTo>
                  <a:lnTo>
                    <a:pt x="2534" y="899"/>
                  </a:lnTo>
                  <a:lnTo>
                    <a:pt x="2534"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27" y="899"/>
                  </a:lnTo>
                  <a:lnTo>
                    <a:pt x="2527"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4" y="899"/>
                  </a:lnTo>
                  <a:lnTo>
                    <a:pt x="2524" y="899"/>
                  </a:lnTo>
                  <a:lnTo>
                    <a:pt x="2514" y="899"/>
                  </a:lnTo>
                  <a:lnTo>
                    <a:pt x="2514" y="899"/>
                  </a:lnTo>
                  <a:lnTo>
                    <a:pt x="2503" y="899"/>
                  </a:lnTo>
                  <a:lnTo>
                    <a:pt x="2503" y="899"/>
                  </a:lnTo>
                  <a:lnTo>
                    <a:pt x="2499" y="899"/>
                  </a:lnTo>
                  <a:lnTo>
                    <a:pt x="2499" y="899"/>
                  </a:lnTo>
                  <a:lnTo>
                    <a:pt x="2496" y="899"/>
                  </a:lnTo>
                  <a:lnTo>
                    <a:pt x="2496" y="899"/>
                  </a:lnTo>
                  <a:lnTo>
                    <a:pt x="2495" y="899"/>
                  </a:lnTo>
                  <a:lnTo>
                    <a:pt x="2495" y="899"/>
                  </a:lnTo>
                  <a:lnTo>
                    <a:pt x="2493" y="899"/>
                  </a:lnTo>
                  <a:lnTo>
                    <a:pt x="2493" y="899"/>
                  </a:lnTo>
                  <a:lnTo>
                    <a:pt x="2492" y="899"/>
                  </a:lnTo>
                  <a:lnTo>
                    <a:pt x="2492" y="899"/>
                  </a:lnTo>
                  <a:lnTo>
                    <a:pt x="2490" y="899"/>
                  </a:lnTo>
                  <a:lnTo>
                    <a:pt x="2490" y="899"/>
                  </a:lnTo>
                  <a:lnTo>
                    <a:pt x="2489" y="899"/>
                  </a:lnTo>
                  <a:lnTo>
                    <a:pt x="2489"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1" y="899"/>
                  </a:lnTo>
                  <a:lnTo>
                    <a:pt x="2481" y="899"/>
                  </a:lnTo>
                  <a:lnTo>
                    <a:pt x="2476" y="899"/>
                  </a:lnTo>
                  <a:lnTo>
                    <a:pt x="2476" y="899"/>
                  </a:lnTo>
                  <a:lnTo>
                    <a:pt x="2474" y="899"/>
                  </a:lnTo>
                  <a:lnTo>
                    <a:pt x="2474" y="899"/>
                  </a:lnTo>
                  <a:lnTo>
                    <a:pt x="2472" y="899"/>
                  </a:lnTo>
                  <a:lnTo>
                    <a:pt x="2472" y="899"/>
                  </a:lnTo>
                  <a:lnTo>
                    <a:pt x="2472" y="899"/>
                  </a:lnTo>
                  <a:lnTo>
                    <a:pt x="2472" y="899"/>
                  </a:lnTo>
                  <a:lnTo>
                    <a:pt x="2471" y="899"/>
                  </a:lnTo>
                  <a:lnTo>
                    <a:pt x="2471" y="899"/>
                  </a:lnTo>
                  <a:lnTo>
                    <a:pt x="2471" y="899"/>
                  </a:lnTo>
                  <a:lnTo>
                    <a:pt x="2471" y="899"/>
                  </a:lnTo>
                  <a:lnTo>
                    <a:pt x="2471" y="899"/>
                  </a:lnTo>
                  <a:lnTo>
                    <a:pt x="2471" y="899"/>
                  </a:lnTo>
                  <a:lnTo>
                    <a:pt x="2469" y="899"/>
                  </a:lnTo>
                  <a:lnTo>
                    <a:pt x="2469" y="899"/>
                  </a:lnTo>
                  <a:lnTo>
                    <a:pt x="2469" y="899"/>
                  </a:lnTo>
                  <a:lnTo>
                    <a:pt x="2469" y="899"/>
                  </a:lnTo>
                  <a:lnTo>
                    <a:pt x="2468" y="899"/>
                  </a:lnTo>
                  <a:lnTo>
                    <a:pt x="2468" y="899"/>
                  </a:lnTo>
                  <a:lnTo>
                    <a:pt x="2468" y="899"/>
                  </a:lnTo>
                  <a:lnTo>
                    <a:pt x="2468" y="899"/>
                  </a:lnTo>
                  <a:lnTo>
                    <a:pt x="2457" y="899"/>
                  </a:lnTo>
                  <a:lnTo>
                    <a:pt x="2457" y="899"/>
                  </a:lnTo>
                  <a:lnTo>
                    <a:pt x="2456" y="899"/>
                  </a:lnTo>
                  <a:lnTo>
                    <a:pt x="2456" y="899"/>
                  </a:lnTo>
                  <a:lnTo>
                    <a:pt x="2454" y="899"/>
                  </a:lnTo>
                  <a:lnTo>
                    <a:pt x="2454" y="899"/>
                  </a:lnTo>
                  <a:lnTo>
                    <a:pt x="2453" y="899"/>
                  </a:lnTo>
                  <a:lnTo>
                    <a:pt x="2453" y="899"/>
                  </a:lnTo>
                  <a:lnTo>
                    <a:pt x="2453" y="899"/>
                  </a:lnTo>
                  <a:lnTo>
                    <a:pt x="2453" y="899"/>
                  </a:lnTo>
                  <a:lnTo>
                    <a:pt x="2452" y="899"/>
                  </a:lnTo>
                  <a:lnTo>
                    <a:pt x="2452" y="899"/>
                  </a:lnTo>
                  <a:lnTo>
                    <a:pt x="2452" y="899"/>
                  </a:lnTo>
                  <a:lnTo>
                    <a:pt x="2452"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39" y="899"/>
                  </a:lnTo>
                  <a:lnTo>
                    <a:pt x="2439" y="899"/>
                  </a:lnTo>
                  <a:lnTo>
                    <a:pt x="2428" y="899"/>
                  </a:lnTo>
                  <a:lnTo>
                    <a:pt x="2428" y="899"/>
                  </a:lnTo>
                  <a:lnTo>
                    <a:pt x="2422" y="899"/>
                  </a:lnTo>
                  <a:lnTo>
                    <a:pt x="2422" y="899"/>
                  </a:lnTo>
                  <a:lnTo>
                    <a:pt x="2417" y="899"/>
                  </a:lnTo>
                  <a:lnTo>
                    <a:pt x="2417" y="899"/>
                  </a:lnTo>
                  <a:lnTo>
                    <a:pt x="2413" y="899"/>
                  </a:lnTo>
                  <a:lnTo>
                    <a:pt x="2413" y="899"/>
                  </a:lnTo>
                  <a:lnTo>
                    <a:pt x="2411" y="899"/>
                  </a:lnTo>
                  <a:lnTo>
                    <a:pt x="2411"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382" y="899"/>
                  </a:lnTo>
                  <a:lnTo>
                    <a:pt x="2382" y="899"/>
                  </a:lnTo>
                  <a:lnTo>
                    <a:pt x="2371" y="899"/>
                  </a:lnTo>
                  <a:lnTo>
                    <a:pt x="2371" y="899"/>
                  </a:lnTo>
                  <a:lnTo>
                    <a:pt x="2369" y="899"/>
                  </a:lnTo>
                  <a:lnTo>
                    <a:pt x="2369" y="899"/>
                  </a:lnTo>
                  <a:lnTo>
                    <a:pt x="2367" y="899"/>
                  </a:lnTo>
                  <a:lnTo>
                    <a:pt x="2367" y="899"/>
                  </a:lnTo>
                  <a:lnTo>
                    <a:pt x="2366" y="899"/>
                  </a:lnTo>
                  <a:lnTo>
                    <a:pt x="2366" y="899"/>
                  </a:lnTo>
                  <a:lnTo>
                    <a:pt x="2365" y="899"/>
                  </a:lnTo>
                  <a:lnTo>
                    <a:pt x="2365" y="899"/>
                  </a:lnTo>
                  <a:lnTo>
                    <a:pt x="2365" y="899"/>
                  </a:lnTo>
                  <a:lnTo>
                    <a:pt x="2365" y="899"/>
                  </a:lnTo>
                  <a:lnTo>
                    <a:pt x="2365" y="899"/>
                  </a:lnTo>
                  <a:lnTo>
                    <a:pt x="2365" y="899"/>
                  </a:lnTo>
                  <a:lnTo>
                    <a:pt x="2365" y="899"/>
                  </a:lnTo>
                  <a:lnTo>
                    <a:pt x="2365" y="899"/>
                  </a:lnTo>
                  <a:lnTo>
                    <a:pt x="2351" y="899"/>
                  </a:lnTo>
                  <a:lnTo>
                    <a:pt x="2351" y="899"/>
                  </a:lnTo>
                  <a:lnTo>
                    <a:pt x="2350" y="899"/>
                  </a:lnTo>
                  <a:lnTo>
                    <a:pt x="2350" y="899"/>
                  </a:lnTo>
                  <a:lnTo>
                    <a:pt x="2350" y="899"/>
                  </a:lnTo>
                  <a:lnTo>
                    <a:pt x="2350" y="899"/>
                  </a:lnTo>
                  <a:lnTo>
                    <a:pt x="2311" y="899"/>
                  </a:lnTo>
                  <a:lnTo>
                    <a:pt x="2311" y="899"/>
                  </a:lnTo>
                  <a:lnTo>
                    <a:pt x="2308" y="899"/>
                  </a:lnTo>
                  <a:lnTo>
                    <a:pt x="2308" y="899"/>
                  </a:lnTo>
                  <a:lnTo>
                    <a:pt x="2299" y="899"/>
                  </a:lnTo>
                  <a:lnTo>
                    <a:pt x="2299"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4" y="899"/>
                  </a:lnTo>
                  <a:lnTo>
                    <a:pt x="2294" y="899"/>
                  </a:lnTo>
                  <a:lnTo>
                    <a:pt x="2293" y="899"/>
                  </a:lnTo>
                  <a:lnTo>
                    <a:pt x="2293" y="899"/>
                  </a:lnTo>
                  <a:lnTo>
                    <a:pt x="2292" y="899"/>
                  </a:lnTo>
                  <a:lnTo>
                    <a:pt x="2292" y="899"/>
                  </a:lnTo>
                  <a:lnTo>
                    <a:pt x="2288" y="899"/>
                  </a:lnTo>
                  <a:lnTo>
                    <a:pt x="2288" y="899"/>
                  </a:lnTo>
                  <a:lnTo>
                    <a:pt x="2285" y="899"/>
                  </a:lnTo>
                  <a:lnTo>
                    <a:pt x="2285" y="899"/>
                  </a:lnTo>
                  <a:lnTo>
                    <a:pt x="2283" y="899"/>
                  </a:lnTo>
                  <a:lnTo>
                    <a:pt x="2283" y="899"/>
                  </a:lnTo>
                  <a:lnTo>
                    <a:pt x="2282" y="899"/>
                  </a:lnTo>
                  <a:lnTo>
                    <a:pt x="2282" y="899"/>
                  </a:lnTo>
                  <a:lnTo>
                    <a:pt x="2280" y="899"/>
                  </a:lnTo>
                  <a:lnTo>
                    <a:pt x="2280" y="899"/>
                  </a:lnTo>
                  <a:lnTo>
                    <a:pt x="2279" y="899"/>
                  </a:lnTo>
                  <a:lnTo>
                    <a:pt x="2279" y="899"/>
                  </a:lnTo>
                  <a:lnTo>
                    <a:pt x="2279" y="899"/>
                  </a:lnTo>
                  <a:lnTo>
                    <a:pt x="2279" y="899"/>
                  </a:lnTo>
                  <a:lnTo>
                    <a:pt x="2278" y="899"/>
                  </a:lnTo>
                  <a:lnTo>
                    <a:pt x="2278" y="899"/>
                  </a:lnTo>
                  <a:lnTo>
                    <a:pt x="2278" y="899"/>
                  </a:lnTo>
                  <a:lnTo>
                    <a:pt x="2278" y="899"/>
                  </a:lnTo>
                  <a:lnTo>
                    <a:pt x="2277" y="899"/>
                  </a:lnTo>
                  <a:lnTo>
                    <a:pt x="2277" y="899"/>
                  </a:lnTo>
                  <a:lnTo>
                    <a:pt x="2277" y="899"/>
                  </a:lnTo>
                  <a:lnTo>
                    <a:pt x="2277" y="899"/>
                  </a:lnTo>
                  <a:lnTo>
                    <a:pt x="2277" y="899"/>
                  </a:lnTo>
                  <a:lnTo>
                    <a:pt x="2277" y="899"/>
                  </a:lnTo>
                  <a:lnTo>
                    <a:pt x="2275" y="899"/>
                  </a:lnTo>
                  <a:lnTo>
                    <a:pt x="2275" y="899"/>
                  </a:lnTo>
                  <a:lnTo>
                    <a:pt x="2273" y="899"/>
                  </a:lnTo>
                  <a:lnTo>
                    <a:pt x="2273" y="899"/>
                  </a:lnTo>
                  <a:lnTo>
                    <a:pt x="2273" y="899"/>
                  </a:lnTo>
                  <a:lnTo>
                    <a:pt x="2273" y="899"/>
                  </a:lnTo>
                  <a:lnTo>
                    <a:pt x="2273" y="899"/>
                  </a:lnTo>
                  <a:lnTo>
                    <a:pt x="2273" y="899"/>
                  </a:lnTo>
                  <a:lnTo>
                    <a:pt x="2273" y="899"/>
                  </a:lnTo>
                  <a:lnTo>
                    <a:pt x="2273" y="899"/>
                  </a:lnTo>
                  <a:lnTo>
                    <a:pt x="2273" y="899"/>
                  </a:lnTo>
                  <a:lnTo>
                    <a:pt x="2273" y="899"/>
                  </a:lnTo>
                  <a:lnTo>
                    <a:pt x="2269" y="899"/>
                  </a:lnTo>
                  <a:lnTo>
                    <a:pt x="2269" y="899"/>
                  </a:lnTo>
                  <a:lnTo>
                    <a:pt x="2267" y="899"/>
                  </a:lnTo>
                  <a:lnTo>
                    <a:pt x="2267" y="899"/>
                  </a:lnTo>
                  <a:lnTo>
                    <a:pt x="2267" y="899"/>
                  </a:lnTo>
                  <a:lnTo>
                    <a:pt x="2267" y="899"/>
                  </a:lnTo>
                  <a:lnTo>
                    <a:pt x="2266" y="899"/>
                  </a:lnTo>
                  <a:lnTo>
                    <a:pt x="2266" y="899"/>
                  </a:lnTo>
                  <a:lnTo>
                    <a:pt x="2266" y="899"/>
                  </a:lnTo>
                  <a:lnTo>
                    <a:pt x="2266" y="899"/>
                  </a:lnTo>
                  <a:lnTo>
                    <a:pt x="2266" y="899"/>
                  </a:lnTo>
                  <a:lnTo>
                    <a:pt x="2266" y="899"/>
                  </a:lnTo>
                  <a:lnTo>
                    <a:pt x="2266" y="899"/>
                  </a:lnTo>
                  <a:lnTo>
                    <a:pt x="2266" y="899"/>
                  </a:lnTo>
                  <a:lnTo>
                    <a:pt x="2266" y="899"/>
                  </a:lnTo>
                  <a:lnTo>
                    <a:pt x="2266" y="899"/>
                  </a:lnTo>
                  <a:lnTo>
                    <a:pt x="2265" y="899"/>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18" y="899"/>
                  </a:lnTo>
                  <a:lnTo>
                    <a:pt x="2218" y="899"/>
                  </a:lnTo>
                  <a:lnTo>
                    <a:pt x="2218" y="899"/>
                  </a:lnTo>
                  <a:lnTo>
                    <a:pt x="2218" y="899"/>
                  </a:lnTo>
                  <a:lnTo>
                    <a:pt x="2218" y="899"/>
                  </a:lnTo>
                  <a:lnTo>
                    <a:pt x="2218" y="899"/>
                  </a:lnTo>
                  <a:lnTo>
                    <a:pt x="2218" y="899"/>
                  </a:lnTo>
                  <a:lnTo>
                    <a:pt x="2218"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193" y="899"/>
                  </a:lnTo>
                  <a:lnTo>
                    <a:pt x="2193" y="899"/>
                  </a:lnTo>
                  <a:lnTo>
                    <a:pt x="2190" y="899"/>
                  </a:lnTo>
                  <a:lnTo>
                    <a:pt x="2190" y="899"/>
                  </a:lnTo>
                  <a:lnTo>
                    <a:pt x="2188" y="899"/>
                  </a:lnTo>
                  <a:lnTo>
                    <a:pt x="2188"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99"/>
                  </a:lnTo>
                  <a:lnTo>
                    <a:pt x="2178" y="899"/>
                  </a:lnTo>
                  <a:lnTo>
                    <a:pt x="2178" y="899"/>
                  </a:lnTo>
                  <a:lnTo>
                    <a:pt x="2176" y="899"/>
                  </a:lnTo>
                  <a:lnTo>
                    <a:pt x="2176" y="899"/>
                  </a:lnTo>
                  <a:lnTo>
                    <a:pt x="2175" y="899"/>
                  </a:lnTo>
                  <a:lnTo>
                    <a:pt x="2175" y="899"/>
                  </a:lnTo>
                  <a:lnTo>
                    <a:pt x="2175" y="899"/>
                  </a:lnTo>
                  <a:lnTo>
                    <a:pt x="2175" y="899"/>
                  </a:lnTo>
                  <a:lnTo>
                    <a:pt x="2175" y="899"/>
                  </a:lnTo>
                  <a:lnTo>
                    <a:pt x="2175" y="899"/>
                  </a:lnTo>
                  <a:lnTo>
                    <a:pt x="2175" y="899"/>
                  </a:lnTo>
                  <a:lnTo>
                    <a:pt x="2175" y="899"/>
                  </a:lnTo>
                  <a:lnTo>
                    <a:pt x="2175" y="899"/>
                  </a:lnTo>
                  <a:lnTo>
                    <a:pt x="2175" y="899"/>
                  </a:lnTo>
                  <a:lnTo>
                    <a:pt x="2158" y="899"/>
                  </a:lnTo>
                  <a:lnTo>
                    <a:pt x="2158" y="899"/>
                  </a:lnTo>
                  <a:lnTo>
                    <a:pt x="2155" y="899"/>
                  </a:lnTo>
                  <a:lnTo>
                    <a:pt x="2155" y="899"/>
                  </a:lnTo>
                  <a:lnTo>
                    <a:pt x="2155" y="899"/>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3" y="899"/>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7" y="899"/>
                  </a:lnTo>
                  <a:lnTo>
                    <a:pt x="2147" y="899"/>
                  </a:lnTo>
                  <a:lnTo>
                    <a:pt x="2145" y="899"/>
                  </a:lnTo>
                  <a:lnTo>
                    <a:pt x="2145"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1" y="899"/>
                  </a:lnTo>
                  <a:lnTo>
                    <a:pt x="2141" y="899"/>
                  </a:lnTo>
                  <a:lnTo>
                    <a:pt x="2138" y="899"/>
                  </a:lnTo>
                  <a:lnTo>
                    <a:pt x="2138" y="899"/>
                  </a:lnTo>
                  <a:lnTo>
                    <a:pt x="2138" y="899"/>
                  </a:lnTo>
                  <a:lnTo>
                    <a:pt x="2138" y="899"/>
                  </a:lnTo>
                  <a:lnTo>
                    <a:pt x="2136" y="899"/>
                  </a:lnTo>
                  <a:lnTo>
                    <a:pt x="2136"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7" y="899"/>
                  </a:lnTo>
                  <a:lnTo>
                    <a:pt x="2087" y="899"/>
                  </a:lnTo>
                  <a:lnTo>
                    <a:pt x="2086" y="899"/>
                  </a:lnTo>
                  <a:lnTo>
                    <a:pt x="2086" y="899"/>
                  </a:lnTo>
                  <a:lnTo>
                    <a:pt x="2086" y="899"/>
                  </a:lnTo>
                  <a:lnTo>
                    <a:pt x="2086" y="899"/>
                  </a:lnTo>
                  <a:lnTo>
                    <a:pt x="2085" y="899"/>
                  </a:lnTo>
                  <a:lnTo>
                    <a:pt x="2085" y="899"/>
                  </a:lnTo>
                  <a:lnTo>
                    <a:pt x="2085" y="899"/>
                  </a:lnTo>
                  <a:lnTo>
                    <a:pt x="2085" y="899"/>
                  </a:lnTo>
                  <a:lnTo>
                    <a:pt x="2085" y="899"/>
                  </a:lnTo>
                  <a:lnTo>
                    <a:pt x="2085" y="899"/>
                  </a:lnTo>
                  <a:lnTo>
                    <a:pt x="2083" y="899"/>
                  </a:lnTo>
                  <a:lnTo>
                    <a:pt x="2083" y="899"/>
                  </a:lnTo>
                  <a:lnTo>
                    <a:pt x="2082" y="899"/>
                  </a:lnTo>
                  <a:lnTo>
                    <a:pt x="2082" y="899"/>
                  </a:lnTo>
                  <a:lnTo>
                    <a:pt x="2082" y="899"/>
                  </a:lnTo>
                  <a:lnTo>
                    <a:pt x="2082"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79" y="899"/>
                  </a:lnTo>
                  <a:lnTo>
                    <a:pt x="2079" y="899"/>
                  </a:lnTo>
                  <a:lnTo>
                    <a:pt x="2078" y="899"/>
                  </a:lnTo>
                  <a:lnTo>
                    <a:pt x="2078" y="899"/>
                  </a:lnTo>
                  <a:lnTo>
                    <a:pt x="2078" y="899"/>
                  </a:lnTo>
                  <a:lnTo>
                    <a:pt x="2078" y="899"/>
                  </a:lnTo>
                  <a:lnTo>
                    <a:pt x="2078" y="899"/>
                  </a:lnTo>
                  <a:lnTo>
                    <a:pt x="2078" y="899"/>
                  </a:lnTo>
                  <a:lnTo>
                    <a:pt x="2078" y="899"/>
                  </a:lnTo>
                  <a:lnTo>
                    <a:pt x="2078"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9"/>
                  </a:lnTo>
                  <a:lnTo>
                    <a:pt x="2061" y="899"/>
                  </a:lnTo>
                  <a:lnTo>
                    <a:pt x="2061" y="899"/>
                  </a:lnTo>
                  <a:lnTo>
                    <a:pt x="2060" y="899"/>
                  </a:lnTo>
                  <a:lnTo>
                    <a:pt x="2060" y="899"/>
                  </a:lnTo>
                  <a:lnTo>
                    <a:pt x="2060" y="899"/>
                  </a:lnTo>
                  <a:lnTo>
                    <a:pt x="2060"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899"/>
                  </a:lnTo>
                  <a:lnTo>
                    <a:pt x="1963" y="899"/>
                  </a:lnTo>
                  <a:lnTo>
                    <a:pt x="1963" y="899"/>
                  </a:lnTo>
                  <a:lnTo>
                    <a:pt x="1958" y="899"/>
                  </a:lnTo>
                  <a:lnTo>
                    <a:pt x="1958" y="899"/>
                  </a:lnTo>
                  <a:lnTo>
                    <a:pt x="1955" y="899"/>
                  </a:lnTo>
                  <a:lnTo>
                    <a:pt x="1955"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3" y="899"/>
                  </a:lnTo>
                  <a:lnTo>
                    <a:pt x="1943" y="899"/>
                  </a:lnTo>
                  <a:lnTo>
                    <a:pt x="1943" y="899"/>
                  </a:lnTo>
                  <a:lnTo>
                    <a:pt x="1943" y="899"/>
                  </a:lnTo>
                  <a:lnTo>
                    <a:pt x="1936" y="899"/>
                  </a:lnTo>
                  <a:lnTo>
                    <a:pt x="1936" y="899"/>
                  </a:lnTo>
                  <a:lnTo>
                    <a:pt x="1929" y="899"/>
                  </a:lnTo>
                  <a:lnTo>
                    <a:pt x="1929" y="899"/>
                  </a:lnTo>
                  <a:lnTo>
                    <a:pt x="1927" y="899"/>
                  </a:lnTo>
                  <a:lnTo>
                    <a:pt x="1927" y="899"/>
                  </a:lnTo>
                  <a:lnTo>
                    <a:pt x="1926" y="899"/>
                  </a:lnTo>
                  <a:lnTo>
                    <a:pt x="1926" y="899"/>
                  </a:lnTo>
                  <a:lnTo>
                    <a:pt x="1912" y="899"/>
                  </a:lnTo>
                  <a:lnTo>
                    <a:pt x="1912" y="899"/>
                  </a:lnTo>
                  <a:lnTo>
                    <a:pt x="1910" y="899"/>
                  </a:lnTo>
                  <a:lnTo>
                    <a:pt x="1910" y="899"/>
                  </a:lnTo>
                  <a:lnTo>
                    <a:pt x="1909" y="899"/>
                  </a:lnTo>
                  <a:lnTo>
                    <a:pt x="1909" y="899"/>
                  </a:lnTo>
                  <a:lnTo>
                    <a:pt x="1907" y="899"/>
                  </a:lnTo>
                  <a:lnTo>
                    <a:pt x="1907" y="899"/>
                  </a:lnTo>
                  <a:lnTo>
                    <a:pt x="1907" y="899"/>
                  </a:lnTo>
                  <a:lnTo>
                    <a:pt x="1907" y="899"/>
                  </a:lnTo>
                  <a:lnTo>
                    <a:pt x="1906" y="899"/>
                  </a:lnTo>
                  <a:lnTo>
                    <a:pt x="1906" y="899"/>
                  </a:lnTo>
                  <a:lnTo>
                    <a:pt x="1905" y="899"/>
                  </a:lnTo>
                  <a:lnTo>
                    <a:pt x="1905"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3" y="899"/>
                  </a:lnTo>
                  <a:lnTo>
                    <a:pt x="1903" y="899"/>
                  </a:lnTo>
                  <a:lnTo>
                    <a:pt x="1903" y="899"/>
                  </a:lnTo>
                  <a:lnTo>
                    <a:pt x="1903" y="899"/>
                  </a:lnTo>
                  <a:lnTo>
                    <a:pt x="1903" y="899"/>
                  </a:lnTo>
                  <a:lnTo>
                    <a:pt x="1903" y="899"/>
                  </a:lnTo>
                  <a:lnTo>
                    <a:pt x="1903" y="899"/>
                  </a:lnTo>
                  <a:lnTo>
                    <a:pt x="1903" y="899"/>
                  </a:lnTo>
                  <a:lnTo>
                    <a:pt x="1902" y="899"/>
                  </a:lnTo>
                  <a:lnTo>
                    <a:pt x="1902"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901" y="899"/>
                  </a:lnTo>
                  <a:lnTo>
                    <a:pt x="1895" y="899"/>
                  </a:lnTo>
                  <a:lnTo>
                    <a:pt x="1895" y="899"/>
                  </a:lnTo>
                  <a:lnTo>
                    <a:pt x="1894" y="899"/>
                  </a:lnTo>
                  <a:lnTo>
                    <a:pt x="1894" y="899"/>
                  </a:lnTo>
                  <a:lnTo>
                    <a:pt x="1891" y="899"/>
                  </a:lnTo>
                  <a:lnTo>
                    <a:pt x="1891" y="899"/>
                  </a:lnTo>
                  <a:lnTo>
                    <a:pt x="1891" y="899"/>
                  </a:lnTo>
                  <a:lnTo>
                    <a:pt x="1891"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76" y="899"/>
                  </a:lnTo>
                  <a:lnTo>
                    <a:pt x="1876" y="899"/>
                  </a:lnTo>
                  <a:lnTo>
                    <a:pt x="1874" y="899"/>
                  </a:lnTo>
                  <a:lnTo>
                    <a:pt x="1874" y="899"/>
                  </a:lnTo>
                  <a:lnTo>
                    <a:pt x="1873" y="899"/>
                  </a:lnTo>
                  <a:lnTo>
                    <a:pt x="1873" y="899"/>
                  </a:lnTo>
                  <a:lnTo>
                    <a:pt x="1872" y="899"/>
                  </a:lnTo>
                  <a:lnTo>
                    <a:pt x="1872" y="899"/>
                  </a:lnTo>
                  <a:lnTo>
                    <a:pt x="1871" y="899"/>
                  </a:lnTo>
                  <a:lnTo>
                    <a:pt x="1871" y="899"/>
                  </a:lnTo>
                  <a:lnTo>
                    <a:pt x="1871" y="899"/>
                  </a:lnTo>
                  <a:lnTo>
                    <a:pt x="1871"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70" y="899"/>
                  </a:lnTo>
                  <a:lnTo>
                    <a:pt x="1868" y="899"/>
                  </a:lnTo>
                  <a:lnTo>
                    <a:pt x="1868" y="899"/>
                  </a:lnTo>
                  <a:lnTo>
                    <a:pt x="1863" y="899"/>
                  </a:lnTo>
                  <a:lnTo>
                    <a:pt x="1863" y="899"/>
                  </a:lnTo>
                  <a:lnTo>
                    <a:pt x="1861" y="899"/>
                  </a:lnTo>
                  <a:lnTo>
                    <a:pt x="1861"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55" y="899"/>
                  </a:lnTo>
                  <a:lnTo>
                    <a:pt x="1855" y="899"/>
                  </a:lnTo>
                  <a:lnTo>
                    <a:pt x="1854" y="899"/>
                  </a:lnTo>
                  <a:lnTo>
                    <a:pt x="1854" y="899"/>
                  </a:lnTo>
                  <a:lnTo>
                    <a:pt x="1853" y="899"/>
                  </a:lnTo>
                  <a:lnTo>
                    <a:pt x="1853" y="899"/>
                  </a:lnTo>
                  <a:lnTo>
                    <a:pt x="1853" y="899"/>
                  </a:lnTo>
                  <a:lnTo>
                    <a:pt x="1853"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47" y="899"/>
                  </a:lnTo>
                  <a:lnTo>
                    <a:pt x="1847" y="899"/>
                  </a:lnTo>
                  <a:lnTo>
                    <a:pt x="1846" y="899"/>
                  </a:lnTo>
                  <a:lnTo>
                    <a:pt x="1846" y="899"/>
                  </a:lnTo>
                  <a:lnTo>
                    <a:pt x="1845" y="899"/>
                  </a:lnTo>
                  <a:lnTo>
                    <a:pt x="1845" y="899"/>
                  </a:lnTo>
                  <a:lnTo>
                    <a:pt x="1845" y="899"/>
                  </a:lnTo>
                  <a:lnTo>
                    <a:pt x="1845" y="899"/>
                  </a:lnTo>
                  <a:lnTo>
                    <a:pt x="1844" y="899"/>
                  </a:lnTo>
                  <a:lnTo>
                    <a:pt x="1844" y="899"/>
                  </a:lnTo>
                  <a:lnTo>
                    <a:pt x="1820" y="899"/>
                  </a:lnTo>
                  <a:lnTo>
                    <a:pt x="1820" y="899"/>
                  </a:lnTo>
                  <a:lnTo>
                    <a:pt x="1817" y="899"/>
                  </a:lnTo>
                  <a:lnTo>
                    <a:pt x="1817" y="899"/>
                  </a:lnTo>
                  <a:lnTo>
                    <a:pt x="1817" y="899"/>
                  </a:lnTo>
                  <a:lnTo>
                    <a:pt x="1817" y="899"/>
                  </a:lnTo>
                  <a:lnTo>
                    <a:pt x="1815" y="899"/>
                  </a:lnTo>
                  <a:lnTo>
                    <a:pt x="1815" y="899"/>
                  </a:lnTo>
                  <a:lnTo>
                    <a:pt x="1814" y="899"/>
                  </a:lnTo>
                  <a:lnTo>
                    <a:pt x="1814" y="899"/>
                  </a:lnTo>
                  <a:lnTo>
                    <a:pt x="1814" y="899"/>
                  </a:lnTo>
                  <a:lnTo>
                    <a:pt x="1814" y="899"/>
                  </a:lnTo>
                  <a:lnTo>
                    <a:pt x="1814" y="899"/>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37" y="899"/>
                  </a:lnTo>
                  <a:lnTo>
                    <a:pt x="1737" y="899"/>
                  </a:lnTo>
                  <a:lnTo>
                    <a:pt x="1706" y="899"/>
                  </a:lnTo>
                  <a:lnTo>
                    <a:pt x="1706" y="899"/>
                  </a:lnTo>
                  <a:lnTo>
                    <a:pt x="1706" y="899"/>
                  </a:lnTo>
                  <a:lnTo>
                    <a:pt x="1706" y="899"/>
                  </a:lnTo>
                  <a:lnTo>
                    <a:pt x="1703" y="899"/>
                  </a:lnTo>
                  <a:lnTo>
                    <a:pt x="1703" y="899"/>
                  </a:lnTo>
                  <a:lnTo>
                    <a:pt x="1703" y="899"/>
                  </a:lnTo>
                  <a:lnTo>
                    <a:pt x="1703" y="899"/>
                  </a:lnTo>
                  <a:lnTo>
                    <a:pt x="1702" y="899"/>
                  </a:lnTo>
                  <a:lnTo>
                    <a:pt x="1702" y="899"/>
                  </a:lnTo>
                  <a:lnTo>
                    <a:pt x="1702" y="899"/>
                  </a:lnTo>
                  <a:lnTo>
                    <a:pt x="1702" y="899"/>
                  </a:lnTo>
                  <a:lnTo>
                    <a:pt x="1702" y="899"/>
                  </a:lnTo>
                  <a:lnTo>
                    <a:pt x="1702" y="899"/>
                  </a:lnTo>
                  <a:lnTo>
                    <a:pt x="1702" y="899"/>
                  </a:lnTo>
                  <a:lnTo>
                    <a:pt x="1702" y="899"/>
                  </a:lnTo>
                  <a:lnTo>
                    <a:pt x="1702" y="899"/>
                  </a:lnTo>
                  <a:lnTo>
                    <a:pt x="1702" y="899"/>
                  </a:lnTo>
                  <a:lnTo>
                    <a:pt x="1700" y="899"/>
                  </a:lnTo>
                  <a:lnTo>
                    <a:pt x="1700" y="899"/>
                  </a:lnTo>
                  <a:lnTo>
                    <a:pt x="1700" y="899"/>
                  </a:lnTo>
                  <a:lnTo>
                    <a:pt x="1700" y="899"/>
                  </a:lnTo>
                  <a:lnTo>
                    <a:pt x="1700" y="899"/>
                  </a:lnTo>
                  <a:lnTo>
                    <a:pt x="1700" y="899"/>
                  </a:lnTo>
                  <a:lnTo>
                    <a:pt x="1700" y="899"/>
                  </a:lnTo>
                  <a:lnTo>
                    <a:pt x="1700"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8" y="899"/>
                  </a:lnTo>
                  <a:lnTo>
                    <a:pt x="1698" y="899"/>
                  </a:lnTo>
                  <a:lnTo>
                    <a:pt x="1698" y="899"/>
                  </a:lnTo>
                  <a:lnTo>
                    <a:pt x="1698" y="899"/>
                  </a:lnTo>
                  <a:lnTo>
                    <a:pt x="1695" y="899"/>
                  </a:lnTo>
                  <a:lnTo>
                    <a:pt x="1695" y="899"/>
                  </a:lnTo>
                  <a:lnTo>
                    <a:pt x="1695" y="899"/>
                  </a:lnTo>
                  <a:lnTo>
                    <a:pt x="1695" y="899"/>
                  </a:lnTo>
                  <a:lnTo>
                    <a:pt x="1687" y="899"/>
                  </a:lnTo>
                  <a:lnTo>
                    <a:pt x="1687" y="899"/>
                  </a:lnTo>
                  <a:lnTo>
                    <a:pt x="1683" y="899"/>
                  </a:lnTo>
                  <a:lnTo>
                    <a:pt x="1683" y="899"/>
                  </a:lnTo>
                  <a:lnTo>
                    <a:pt x="1681" y="899"/>
                  </a:lnTo>
                  <a:lnTo>
                    <a:pt x="1681"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37" y="899"/>
                  </a:lnTo>
                  <a:lnTo>
                    <a:pt x="1637" y="899"/>
                  </a:lnTo>
                  <a:lnTo>
                    <a:pt x="1631" y="899"/>
                  </a:lnTo>
                  <a:lnTo>
                    <a:pt x="1631" y="899"/>
                  </a:lnTo>
                  <a:lnTo>
                    <a:pt x="1628" y="899"/>
                  </a:lnTo>
                  <a:lnTo>
                    <a:pt x="1628" y="899"/>
                  </a:lnTo>
                  <a:lnTo>
                    <a:pt x="1626" y="899"/>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79" y="899"/>
                  </a:lnTo>
                  <a:lnTo>
                    <a:pt x="1479" y="899"/>
                  </a:lnTo>
                  <a:lnTo>
                    <a:pt x="1478" y="899"/>
                  </a:lnTo>
                  <a:lnTo>
                    <a:pt x="1478" y="899"/>
                  </a:lnTo>
                  <a:lnTo>
                    <a:pt x="1478" y="899"/>
                  </a:lnTo>
                  <a:lnTo>
                    <a:pt x="1478" y="899"/>
                  </a:lnTo>
                  <a:lnTo>
                    <a:pt x="1478" y="899"/>
                  </a:lnTo>
                  <a:lnTo>
                    <a:pt x="1478" y="899"/>
                  </a:lnTo>
                  <a:lnTo>
                    <a:pt x="1478" y="899"/>
                  </a:lnTo>
                  <a:lnTo>
                    <a:pt x="1478" y="899"/>
                  </a:lnTo>
                  <a:lnTo>
                    <a:pt x="1478" y="89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899"/>
                  </a:lnTo>
                  <a:lnTo>
                    <a:pt x="1474" y="899"/>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2" y="899"/>
                  </a:lnTo>
                  <a:lnTo>
                    <a:pt x="1432" y="899"/>
                  </a:lnTo>
                  <a:lnTo>
                    <a:pt x="1432" y="899"/>
                  </a:lnTo>
                  <a:lnTo>
                    <a:pt x="1432" y="899"/>
                  </a:lnTo>
                  <a:lnTo>
                    <a:pt x="1432" y="899"/>
                  </a:lnTo>
                  <a:lnTo>
                    <a:pt x="1432" y="899"/>
                  </a:lnTo>
                  <a:lnTo>
                    <a:pt x="1425" y="899"/>
                  </a:lnTo>
                  <a:lnTo>
                    <a:pt x="1425" y="899"/>
                  </a:lnTo>
                  <a:lnTo>
                    <a:pt x="1423" y="899"/>
                  </a:lnTo>
                  <a:lnTo>
                    <a:pt x="1423" y="899"/>
                  </a:lnTo>
                  <a:lnTo>
                    <a:pt x="1422" y="899"/>
                  </a:lnTo>
                  <a:lnTo>
                    <a:pt x="1422" y="899"/>
                  </a:lnTo>
                  <a:lnTo>
                    <a:pt x="1421" y="899"/>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7" y="899"/>
                  </a:lnTo>
                  <a:lnTo>
                    <a:pt x="1407" y="899"/>
                  </a:lnTo>
                  <a:lnTo>
                    <a:pt x="1406" y="899"/>
                  </a:lnTo>
                  <a:lnTo>
                    <a:pt x="1406" y="899"/>
                  </a:lnTo>
                  <a:lnTo>
                    <a:pt x="1406" y="899"/>
                  </a:lnTo>
                  <a:lnTo>
                    <a:pt x="1406"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899"/>
                  </a:lnTo>
                  <a:lnTo>
                    <a:pt x="1403" y="899"/>
                  </a:lnTo>
                  <a:lnTo>
                    <a:pt x="1403" y="899"/>
                  </a:lnTo>
                  <a:lnTo>
                    <a:pt x="1399" y="899"/>
                  </a:lnTo>
                  <a:lnTo>
                    <a:pt x="1399" y="899"/>
                  </a:lnTo>
                  <a:lnTo>
                    <a:pt x="1399" y="899"/>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0" y="899"/>
                  </a:lnTo>
                  <a:lnTo>
                    <a:pt x="1390" y="899"/>
                  </a:lnTo>
                  <a:lnTo>
                    <a:pt x="1390" y="899"/>
                  </a:lnTo>
                  <a:lnTo>
                    <a:pt x="1390" y="899"/>
                  </a:lnTo>
                  <a:lnTo>
                    <a:pt x="1390" y="899"/>
                  </a:lnTo>
                  <a:lnTo>
                    <a:pt x="1390" y="899"/>
                  </a:lnTo>
                  <a:lnTo>
                    <a:pt x="1390" y="899"/>
                  </a:lnTo>
                  <a:lnTo>
                    <a:pt x="1390" y="899"/>
                  </a:lnTo>
                  <a:lnTo>
                    <a:pt x="1390" y="899"/>
                  </a:lnTo>
                  <a:lnTo>
                    <a:pt x="1390" y="899"/>
                  </a:lnTo>
                  <a:lnTo>
                    <a:pt x="1389" y="899"/>
                  </a:lnTo>
                  <a:lnTo>
                    <a:pt x="1389" y="899"/>
                  </a:lnTo>
                  <a:lnTo>
                    <a:pt x="1389" y="899"/>
                  </a:lnTo>
                  <a:lnTo>
                    <a:pt x="1389"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7" y="899"/>
                  </a:lnTo>
                  <a:lnTo>
                    <a:pt x="1367"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5" y="899"/>
                  </a:lnTo>
                  <a:lnTo>
                    <a:pt x="1365" y="899"/>
                  </a:lnTo>
                  <a:lnTo>
                    <a:pt x="1365" y="899"/>
                  </a:lnTo>
                  <a:lnTo>
                    <a:pt x="1365" y="899"/>
                  </a:lnTo>
                  <a:lnTo>
                    <a:pt x="1365" y="899"/>
                  </a:lnTo>
                  <a:lnTo>
                    <a:pt x="1365" y="899"/>
                  </a:lnTo>
                  <a:lnTo>
                    <a:pt x="1365" y="899"/>
                  </a:lnTo>
                  <a:lnTo>
                    <a:pt x="1365"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3" y="899"/>
                  </a:lnTo>
                  <a:lnTo>
                    <a:pt x="1363" y="899"/>
                  </a:lnTo>
                  <a:lnTo>
                    <a:pt x="1363" y="899"/>
                  </a:lnTo>
                  <a:lnTo>
                    <a:pt x="1363" y="899"/>
                  </a:lnTo>
                  <a:lnTo>
                    <a:pt x="1361" y="899"/>
                  </a:lnTo>
                  <a:lnTo>
                    <a:pt x="1361" y="899"/>
                  </a:lnTo>
                  <a:lnTo>
                    <a:pt x="1360" y="899"/>
                  </a:lnTo>
                  <a:lnTo>
                    <a:pt x="1360"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6" y="899"/>
                  </a:lnTo>
                  <a:lnTo>
                    <a:pt x="1356" y="899"/>
                  </a:lnTo>
                  <a:lnTo>
                    <a:pt x="1356" y="899"/>
                  </a:lnTo>
                  <a:lnTo>
                    <a:pt x="1356" y="899"/>
                  </a:lnTo>
                  <a:lnTo>
                    <a:pt x="1355" y="899"/>
                  </a:lnTo>
                  <a:lnTo>
                    <a:pt x="1355" y="899"/>
                  </a:lnTo>
                  <a:lnTo>
                    <a:pt x="1355" y="899"/>
                  </a:lnTo>
                  <a:lnTo>
                    <a:pt x="1355"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43" y="899"/>
                  </a:lnTo>
                  <a:lnTo>
                    <a:pt x="1343" y="899"/>
                  </a:lnTo>
                  <a:lnTo>
                    <a:pt x="1341" y="899"/>
                  </a:lnTo>
                  <a:lnTo>
                    <a:pt x="1341" y="899"/>
                  </a:lnTo>
                  <a:lnTo>
                    <a:pt x="1340" y="899"/>
                  </a:lnTo>
                  <a:lnTo>
                    <a:pt x="1340" y="899"/>
                  </a:lnTo>
                  <a:lnTo>
                    <a:pt x="1339" y="899"/>
                  </a:lnTo>
                  <a:lnTo>
                    <a:pt x="1339" y="899"/>
                  </a:lnTo>
                  <a:lnTo>
                    <a:pt x="1338" y="899"/>
                  </a:lnTo>
                  <a:lnTo>
                    <a:pt x="1338" y="899"/>
                  </a:lnTo>
                  <a:lnTo>
                    <a:pt x="1338" y="899"/>
                  </a:lnTo>
                  <a:lnTo>
                    <a:pt x="1338" y="899"/>
                  </a:lnTo>
                  <a:lnTo>
                    <a:pt x="1338" y="899"/>
                  </a:lnTo>
                  <a:lnTo>
                    <a:pt x="1338" y="899"/>
                  </a:lnTo>
                  <a:lnTo>
                    <a:pt x="1338" y="899"/>
                  </a:lnTo>
                  <a:lnTo>
                    <a:pt x="1338"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5" y="899"/>
                  </a:lnTo>
                  <a:lnTo>
                    <a:pt x="1335" y="899"/>
                  </a:lnTo>
                  <a:lnTo>
                    <a:pt x="1334" y="899"/>
                  </a:lnTo>
                  <a:lnTo>
                    <a:pt x="1334" y="899"/>
                  </a:lnTo>
                  <a:lnTo>
                    <a:pt x="1333" y="899"/>
                  </a:lnTo>
                  <a:lnTo>
                    <a:pt x="1333" y="899"/>
                  </a:lnTo>
                  <a:lnTo>
                    <a:pt x="1333" y="899"/>
                  </a:lnTo>
                  <a:lnTo>
                    <a:pt x="1333" y="899"/>
                  </a:lnTo>
                  <a:lnTo>
                    <a:pt x="1332" y="899"/>
                  </a:lnTo>
                  <a:lnTo>
                    <a:pt x="1332" y="899"/>
                  </a:lnTo>
                  <a:lnTo>
                    <a:pt x="1332" y="899"/>
                  </a:lnTo>
                  <a:lnTo>
                    <a:pt x="1332" y="899"/>
                  </a:lnTo>
                  <a:lnTo>
                    <a:pt x="1331" y="899"/>
                  </a:lnTo>
                  <a:lnTo>
                    <a:pt x="1331" y="899"/>
                  </a:lnTo>
                  <a:lnTo>
                    <a:pt x="1331" y="899"/>
                  </a:lnTo>
                  <a:lnTo>
                    <a:pt x="1331" y="899"/>
                  </a:lnTo>
                  <a:lnTo>
                    <a:pt x="1331" y="899"/>
                  </a:lnTo>
                  <a:lnTo>
                    <a:pt x="1331" y="899"/>
                  </a:lnTo>
                  <a:lnTo>
                    <a:pt x="1330" y="899"/>
                  </a:lnTo>
                  <a:lnTo>
                    <a:pt x="1330" y="899"/>
                  </a:lnTo>
                  <a:lnTo>
                    <a:pt x="1330" y="899"/>
                  </a:lnTo>
                  <a:lnTo>
                    <a:pt x="1330" y="899"/>
                  </a:lnTo>
                  <a:lnTo>
                    <a:pt x="1330" y="899"/>
                  </a:lnTo>
                  <a:lnTo>
                    <a:pt x="1330" y="899"/>
                  </a:lnTo>
                  <a:lnTo>
                    <a:pt x="1330" y="899"/>
                  </a:lnTo>
                  <a:lnTo>
                    <a:pt x="1330"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3" y="899"/>
                  </a:lnTo>
                  <a:lnTo>
                    <a:pt x="1323"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19" y="899"/>
                  </a:lnTo>
                  <a:lnTo>
                    <a:pt x="1319"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270" y="899"/>
                  </a:lnTo>
                  <a:lnTo>
                    <a:pt x="1270" y="899"/>
                  </a:lnTo>
                  <a:lnTo>
                    <a:pt x="1263" y="899"/>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899"/>
                  </a:lnTo>
                  <a:lnTo>
                    <a:pt x="1249" y="899"/>
                  </a:lnTo>
                  <a:lnTo>
                    <a:pt x="1249" y="899"/>
                  </a:lnTo>
                  <a:lnTo>
                    <a:pt x="1249" y="899"/>
                  </a:lnTo>
                  <a:lnTo>
                    <a:pt x="1249" y="899"/>
                  </a:lnTo>
                  <a:lnTo>
                    <a:pt x="1238" y="899"/>
                  </a:lnTo>
                  <a:lnTo>
                    <a:pt x="1238" y="899"/>
                  </a:lnTo>
                  <a:lnTo>
                    <a:pt x="1232" y="899"/>
                  </a:lnTo>
                  <a:lnTo>
                    <a:pt x="1232" y="899"/>
                  </a:lnTo>
                  <a:lnTo>
                    <a:pt x="1226" y="899"/>
                  </a:lnTo>
                  <a:lnTo>
                    <a:pt x="1226"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899"/>
                  </a:lnTo>
                  <a:lnTo>
                    <a:pt x="1190" y="899"/>
                  </a:lnTo>
                  <a:lnTo>
                    <a:pt x="1190" y="899"/>
                  </a:lnTo>
                  <a:lnTo>
                    <a:pt x="1186" y="899"/>
                  </a:lnTo>
                  <a:lnTo>
                    <a:pt x="1186" y="899"/>
                  </a:lnTo>
                  <a:lnTo>
                    <a:pt x="1185" y="899"/>
                  </a:lnTo>
                  <a:lnTo>
                    <a:pt x="1185" y="899"/>
                  </a:lnTo>
                  <a:lnTo>
                    <a:pt x="1184" y="899"/>
                  </a:lnTo>
                  <a:lnTo>
                    <a:pt x="1184" y="899"/>
                  </a:lnTo>
                  <a:lnTo>
                    <a:pt x="1183" y="899"/>
                  </a:lnTo>
                  <a:lnTo>
                    <a:pt x="1183" y="899"/>
                  </a:lnTo>
                  <a:lnTo>
                    <a:pt x="1182" y="899"/>
                  </a:lnTo>
                  <a:lnTo>
                    <a:pt x="1182" y="899"/>
                  </a:lnTo>
                  <a:lnTo>
                    <a:pt x="1182" y="899"/>
                  </a:lnTo>
                  <a:lnTo>
                    <a:pt x="1182" y="899"/>
                  </a:lnTo>
                  <a:lnTo>
                    <a:pt x="1182" y="899"/>
                  </a:lnTo>
                  <a:lnTo>
                    <a:pt x="1182"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899"/>
                  </a:lnTo>
                  <a:lnTo>
                    <a:pt x="1150" y="899"/>
                  </a:lnTo>
                  <a:lnTo>
                    <a:pt x="1150" y="899"/>
                  </a:lnTo>
                  <a:lnTo>
                    <a:pt x="1147" y="899"/>
                  </a:lnTo>
                  <a:lnTo>
                    <a:pt x="1147" y="899"/>
                  </a:lnTo>
                  <a:lnTo>
                    <a:pt x="1144" y="899"/>
                  </a:lnTo>
                  <a:lnTo>
                    <a:pt x="1144" y="899"/>
                  </a:lnTo>
                  <a:lnTo>
                    <a:pt x="1141" y="899"/>
                  </a:lnTo>
                  <a:lnTo>
                    <a:pt x="1141" y="899"/>
                  </a:lnTo>
                  <a:lnTo>
                    <a:pt x="1138" y="899"/>
                  </a:lnTo>
                  <a:lnTo>
                    <a:pt x="1138" y="899"/>
                  </a:lnTo>
                  <a:lnTo>
                    <a:pt x="1137" y="899"/>
                  </a:lnTo>
                  <a:lnTo>
                    <a:pt x="1137" y="899"/>
                  </a:lnTo>
                  <a:lnTo>
                    <a:pt x="1135" y="899"/>
                  </a:lnTo>
                  <a:lnTo>
                    <a:pt x="1135" y="899"/>
                  </a:lnTo>
                  <a:lnTo>
                    <a:pt x="1134" y="899"/>
                  </a:lnTo>
                  <a:lnTo>
                    <a:pt x="1134" y="899"/>
                  </a:lnTo>
                  <a:lnTo>
                    <a:pt x="1132" y="899"/>
                  </a:lnTo>
                  <a:lnTo>
                    <a:pt x="1132" y="899"/>
                  </a:lnTo>
                  <a:lnTo>
                    <a:pt x="1131" y="899"/>
                  </a:lnTo>
                  <a:lnTo>
                    <a:pt x="1131" y="899"/>
                  </a:lnTo>
                  <a:lnTo>
                    <a:pt x="1130" y="899"/>
                  </a:lnTo>
                  <a:lnTo>
                    <a:pt x="1130" y="899"/>
                  </a:lnTo>
                  <a:lnTo>
                    <a:pt x="1130" y="899"/>
                  </a:lnTo>
                  <a:lnTo>
                    <a:pt x="1130" y="899"/>
                  </a:lnTo>
                  <a:lnTo>
                    <a:pt x="1130" y="899"/>
                  </a:lnTo>
                  <a:lnTo>
                    <a:pt x="1130"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04" y="899"/>
                  </a:lnTo>
                  <a:lnTo>
                    <a:pt x="1104" y="899"/>
                  </a:lnTo>
                  <a:lnTo>
                    <a:pt x="1102" y="899"/>
                  </a:lnTo>
                  <a:lnTo>
                    <a:pt x="1102" y="899"/>
                  </a:lnTo>
                  <a:lnTo>
                    <a:pt x="1102" y="899"/>
                  </a:lnTo>
                  <a:lnTo>
                    <a:pt x="1102" y="899"/>
                  </a:lnTo>
                  <a:lnTo>
                    <a:pt x="1102" y="899"/>
                  </a:lnTo>
                  <a:lnTo>
                    <a:pt x="1102" y="899"/>
                  </a:lnTo>
                  <a:lnTo>
                    <a:pt x="1101" y="899"/>
                  </a:lnTo>
                  <a:lnTo>
                    <a:pt x="1101" y="899"/>
                  </a:lnTo>
                  <a:lnTo>
                    <a:pt x="1101" y="899"/>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899"/>
                  </a:lnTo>
                  <a:lnTo>
                    <a:pt x="1052" y="899"/>
                  </a:lnTo>
                  <a:lnTo>
                    <a:pt x="1052" y="899"/>
                  </a:lnTo>
                  <a:lnTo>
                    <a:pt x="1045" y="899"/>
                  </a:lnTo>
                  <a:lnTo>
                    <a:pt x="1045" y="899"/>
                  </a:lnTo>
                  <a:lnTo>
                    <a:pt x="1039" y="899"/>
                  </a:lnTo>
                  <a:lnTo>
                    <a:pt x="1039" y="899"/>
                  </a:lnTo>
                  <a:lnTo>
                    <a:pt x="1038" y="899"/>
                  </a:lnTo>
                  <a:lnTo>
                    <a:pt x="1038"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3" y="899"/>
                  </a:lnTo>
                  <a:lnTo>
                    <a:pt x="1003"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991" y="899"/>
                  </a:lnTo>
                  <a:lnTo>
                    <a:pt x="991" y="899"/>
                  </a:lnTo>
                  <a:lnTo>
                    <a:pt x="990" y="899"/>
                  </a:lnTo>
                  <a:lnTo>
                    <a:pt x="990"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0" y="899"/>
                  </a:lnTo>
                  <a:lnTo>
                    <a:pt x="950" y="899"/>
                  </a:lnTo>
                  <a:lnTo>
                    <a:pt x="950" y="899"/>
                  </a:lnTo>
                  <a:lnTo>
                    <a:pt x="950" y="899"/>
                  </a:lnTo>
                  <a:lnTo>
                    <a:pt x="950" y="899"/>
                  </a:lnTo>
                  <a:lnTo>
                    <a:pt x="950"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6" y="899"/>
                  </a:lnTo>
                  <a:lnTo>
                    <a:pt x="946" y="899"/>
                  </a:lnTo>
                  <a:lnTo>
                    <a:pt x="946" y="899"/>
                  </a:lnTo>
                  <a:lnTo>
                    <a:pt x="946" y="899"/>
                  </a:lnTo>
                  <a:lnTo>
                    <a:pt x="946" y="899"/>
                  </a:lnTo>
                  <a:lnTo>
                    <a:pt x="946" y="899"/>
                  </a:lnTo>
                  <a:lnTo>
                    <a:pt x="946" y="899"/>
                  </a:lnTo>
                  <a:lnTo>
                    <a:pt x="946" y="899"/>
                  </a:lnTo>
                  <a:lnTo>
                    <a:pt x="945" y="899"/>
                  </a:lnTo>
                  <a:lnTo>
                    <a:pt x="945" y="899"/>
                  </a:lnTo>
                  <a:lnTo>
                    <a:pt x="945" y="899"/>
                  </a:lnTo>
                  <a:lnTo>
                    <a:pt x="945" y="899"/>
                  </a:lnTo>
                  <a:lnTo>
                    <a:pt x="944" y="899"/>
                  </a:lnTo>
                  <a:lnTo>
                    <a:pt x="944" y="899"/>
                  </a:lnTo>
                  <a:lnTo>
                    <a:pt x="943" y="899"/>
                  </a:lnTo>
                  <a:lnTo>
                    <a:pt x="943" y="899"/>
                  </a:lnTo>
                  <a:lnTo>
                    <a:pt x="943" y="899"/>
                  </a:lnTo>
                  <a:lnTo>
                    <a:pt x="943" y="899"/>
                  </a:lnTo>
                  <a:lnTo>
                    <a:pt x="943" y="899"/>
                  </a:lnTo>
                  <a:lnTo>
                    <a:pt x="943" y="899"/>
                  </a:lnTo>
                  <a:lnTo>
                    <a:pt x="943" y="899"/>
                  </a:lnTo>
                  <a:lnTo>
                    <a:pt x="943" y="899"/>
                  </a:lnTo>
                  <a:lnTo>
                    <a:pt x="943" y="899"/>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899"/>
                  </a:lnTo>
                  <a:lnTo>
                    <a:pt x="933" y="899"/>
                  </a:lnTo>
                  <a:lnTo>
                    <a:pt x="933" y="899"/>
                  </a:lnTo>
                  <a:lnTo>
                    <a:pt x="933" y="899"/>
                  </a:lnTo>
                  <a:lnTo>
                    <a:pt x="933" y="899"/>
                  </a:lnTo>
                  <a:lnTo>
                    <a:pt x="933" y="899"/>
                  </a:lnTo>
                  <a:lnTo>
                    <a:pt x="933"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1" y="899"/>
                  </a:lnTo>
                  <a:lnTo>
                    <a:pt x="931" y="899"/>
                  </a:lnTo>
                  <a:lnTo>
                    <a:pt x="929" y="899"/>
                  </a:lnTo>
                  <a:lnTo>
                    <a:pt x="929" y="899"/>
                  </a:lnTo>
                  <a:lnTo>
                    <a:pt x="928" y="899"/>
                  </a:lnTo>
                  <a:lnTo>
                    <a:pt x="928" y="899"/>
                  </a:lnTo>
                  <a:lnTo>
                    <a:pt x="923" y="899"/>
                  </a:lnTo>
                  <a:lnTo>
                    <a:pt x="923" y="899"/>
                  </a:lnTo>
                  <a:lnTo>
                    <a:pt x="920" y="899"/>
                  </a:lnTo>
                  <a:lnTo>
                    <a:pt x="920" y="899"/>
                  </a:lnTo>
                  <a:lnTo>
                    <a:pt x="918" y="899"/>
                  </a:lnTo>
                  <a:lnTo>
                    <a:pt x="918" y="899"/>
                  </a:lnTo>
                  <a:lnTo>
                    <a:pt x="917" y="899"/>
                  </a:lnTo>
                  <a:lnTo>
                    <a:pt x="917" y="899"/>
                  </a:lnTo>
                  <a:lnTo>
                    <a:pt x="916" y="899"/>
                  </a:lnTo>
                  <a:lnTo>
                    <a:pt x="916" y="899"/>
                  </a:lnTo>
                  <a:lnTo>
                    <a:pt x="915" y="899"/>
                  </a:lnTo>
                  <a:lnTo>
                    <a:pt x="915" y="899"/>
                  </a:lnTo>
                  <a:lnTo>
                    <a:pt x="915" y="899"/>
                  </a:lnTo>
                  <a:lnTo>
                    <a:pt x="915" y="899"/>
                  </a:lnTo>
                  <a:lnTo>
                    <a:pt x="914" y="899"/>
                  </a:lnTo>
                  <a:lnTo>
                    <a:pt x="914" y="899"/>
                  </a:lnTo>
                  <a:lnTo>
                    <a:pt x="914" y="899"/>
                  </a:lnTo>
                  <a:lnTo>
                    <a:pt x="914" y="899"/>
                  </a:lnTo>
                  <a:lnTo>
                    <a:pt x="914" y="899"/>
                  </a:lnTo>
                  <a:lnTo>
                    <a:pt x="914"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899"/>
                  </a:lnTo>
                  <a:lnTo>
                    <a:pt x="896" y="899"/>
                  </a:lnTo>
                  <a:lnTo>
                    <a:pt x="896" y="899"/>
                  </a:lnTo>
                  <a:lnTo>
                    <a:pt x="894" y="899"/>
                  </a:lnTo>
                  <a:lnTo>
                    <a:pt x="894" y="899"/>
                  </a:lnTo>
                  <a:lnTo>
                    <a:pt x="893" y="899"/>
                  </a:lnTo>
                  <a:lnTo>
                    <a:pt x="893" y="899"/>
                  </a:lnTo>
                  <a:lnTo>
                    <a:pt x="892" y="899"/>
                  </a:lnTo>
                  <a:lnTo>
                    <a:pt x="892" y="899"/>
                  </a:lnTo>
                  <a:lnTo>
                    <a:pt x="892" y="899"/>
                  </a:lnTo>
                  <a:lnTo>
                    <a:pt x="892" y="899"/>
                  </a:lnTo>
                  <a:lnTo>
                    <a:pt x="891" y="899"/>
                  </a:lnTo>
                  <a:lnTo>
                    <a:pt x="891" y="899"/>
                  </a:lnTo>
                  <a:lnTo>
                    <a:pt x="891" y="899"/>
                  </a:lnTo>
                  <a:lnTo>
                    <a:pt x="891" y="899"/>
                  </a:lnTo>
                  <a:lnTo>
                    <a:pt x="890" y="899"/>
                  </a:lnTo>
                  <a:lnTo>
                    <a:pt x="890" y="899"/>
                  </a:lnTo>
                  <a:lnTo>
                    <a:pt x="890" y="899"/>
                  </a:lnTo>
                  <a:lnTo>
                    <a:pt x="890" y="899"/>
                  </a:lnTo>
                  <a:lnTo>
                    <a:pt x="889" y="899"/>
                  </a:lnTo>
                  <a:lnTo>
                    <a:pt x="889" y="899"/>
                  </a:lnTo>
                  <a:lnTo>
                    <a:pt x="889" y="899"/>
                  </a:lnTo>
                  <a:lnTo>
                    <a:pt x="889" y="899"/>
                  </a:lnTo>
                  <a:lnTo>
                    <a:pt x="889" y="899"/>
                  </a:lnTo>
                  <a:lnTo>
                    <a:pt x="889"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5" y="899"/>
                  </a:lnTo>
                  <a:lnTo>
                    <a:pt x="885" y="899"/>
                  </a:lnTo>
                  <a:lnTo>
                    <a:pt x="884" y="899"/>
                  </a:lnTo>
                  <a:lnTo>
                    <a:pt x="884" y="899"/>
                  </a:lnTo>
                  <a:lnTo>
                    <a:pt x="884" y="899"/>
                  </a:lnTo>
                  <a:lnTo>
                    <a:pt x="884" y="899"/>
                  </a:lnTo>
                  <a:lnTo>
                    <a:pt x="883" y="899"/>
                  </a:lnTo>
                  <a:lnTo>
                    <a:pt x="883" y="899"/>
                  </a:lnTo>
                  <a:lnTo>
                    <a:pt x="883" y="899"/>
                  </a:lnTo>
                  <a:lnTo>
                    <a:pt x="883" y="899"/>
                  </a:lnTo>
                  <a:lnTo>
                    <a:pt x="883" y="899"/>
                  </a:lnTo>
                  <a:lnTo>
                    <a:pt x="883" y="899"/>
                  </a:lnTo>
                  <a:lnTo>
                    <a:pt x="883" y="899"/>
                  </a:lnTo>
                  <a:lnTo>
                    <a:pt x="883" y="899"/>
                  </a:lnTo>
                  <a:lnTo>
                    <a:pt x="883" y="899"/>
                  </a:lnTo>
                  <a:lnTo>
                    <a:pt x="883"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52" y="899"/>
                  </a:lnTo>
                  <a:lnTo>
                    <a:pt x="852"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0" y="899"/>
                  </a:lnTo>
                  <a:lnTo>
                    <a:pt x="850" y="899"/>
                  </a:lnTo>
                  <a:lnTo>
                    <a:pt x="849" y="899"/>
                  </a:lnTo>
                  <a:lnTo>
                    <a:pt x="849" y="899"/>
                  </a:lnTo>
                  <a:lnTo>
                    <a:pt x="848" y="899"/>
                  </a:lnTo>
                  <a:lnTo>
                    <a:pt x="848" y="899"/>
                  </a:lnTo>
                  <a:lnTo>
                    <a:pt x="848" y="899"/>
                  </a:lnTo>
                  <a:lnTo>
                    <a:pt x="848" y="899"/>
                  </a:lnTo>
                  <a:lnTo>
                    <a:pt x="848" y="899"/>
                  </a:lnTo>
                  <a:lnTo>
                    <a:pt x="848" y="899"/>
                  </a:lnTo>
                  <a:lnTo>
                    <a:pt x="848" y="899"/>
                  </a:lnTo>
                  <a:lnTo>
                    <a:pt x="848"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38" y="899"/>
                  </a:lnTo>
                  <a:lnTo>
                    <a:pt x="838" y="899"/>
                  </a:lnTo>
                  <a:lnTo>
                    <a:pt x="837" y="899"/>
                  </a:lnTo>
                  <a:lnTo>
                    <a:pt x="837"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795" y="899"/>
                  </a:lnTo>
                  <a:lnTo>
                    <a:pt x="795" y="899"/>
                  </a:lnTo>
                  <a:lnTo>
                    <a:pt x="794" y="899"/>
                  </a:lnTo>
                  <a:lnTo>
                    <a:pt x="794" y="899"/>
                  </a:lnTo>
                  <a:lnTo>
                    <a:pt x="794" y="899"/>
                  </a:lnTo>
                  <a:lnTo>
                    <a:pt x="794"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2" y="899"/>
                  </a:lnTo>
                  <a:lnTo>
                    <a:pt x="792" y="899"/>
                  </a:lnTo>
                  <a:lnTo>
                    <a:pt x="792" y="899"/>
                  </a:lnTo>
                  <a:lnTo>
                    <a:pt x="792" y="899"/>
                  </a:lnTo>
                  <a:lnTo>
                    <a:pt x="792" y="899"/>
                  </a:lnTo>
                  <a:lnTo>
                    <a:pt x="792" y="899"/>
                  </a:lnTo>
                  <a:lnTo>
                    <a:pt x="786" y="899"/>
                  </a:lnTo>
                  <a:lnTo>
                    <a:pt x="786" y="899"/>
                  </a:lnTo>
                  <a:lnTo>
                    <a:pt x="782" y="899"/>
                  </a:lnTo>
                  <a:lnTo>
                    <a:pt x="782" y="899"/>
                  </a:lnTo>
                  <a:lnTo>
                    <a:pt x="781" y="899"/>
                  </a:lnTo>
                  <a:lnTo>
                    <a:pt x="781" y="899"/>
                  </a:lnTo>
                  <a:lnTo>
                    <a:pt x="779" y="899"/>
                  </a:lnTo>
                  <a:lnTo>
                    <a:pt x="779" y="899"/>
                  </a:lnTo>
                  <a:lnTo>
                    <a:pt x="778" y="899"/>
                  </a:lnTo>
                  <a:lnTo>
                    <a:pt x="778" y="899"/>
                  </a:lnTo>
                  <a:lnTo>
                    <a:pt x="778" y="899"/>
                  </a:lnTo>
                  <a:lnTo>
                    <a:pt x="778" y="899"/>
                  </a:lnTo>
                  <a:lnTo>
                    <a:pt x="778" y="899"/>
                  </a:lnTo>
                  <a:lnTo>
                    <a:pt x="778" y="899"/>
                  </a:lnTo>
                  <a:lnTo>
                    <a:pt x="778" y="899"/>
                  </a:lnTo>
                  <a:lnTo>
                    <a:pt x="778" y="899"/>
                  </a:lnTo>
                  <a:lnTo>
                    <a:pt x="777" y="899"/>
                  </a:lnTo>
                  <a:lnTo>
                    <a:pt x="777" y="899"/>
                  </a:lnTo>
                  <a:lnTo>
                    <a:pt x="777" y="899"/>
                  </a:lnTo>
                  <a:lnTo>
                    <a:pt x="777" y="899"/>
                  </a:lnTo>
                  <a:lnTo>
                    <a:pt x="777" y="899"/>
                  </a:lnTo>
                  <a:lnTo>
                    <a:pt x="777" y="899"/>
                  </a:lnTo>
                  <a:lnTo>
                    <a:pt x="777" y="899"/>
                  </a:lnTo>
                  <a:lnTo>
                    <a:pt x="777" y="899"/>
                  </a:lnTo>
                  <a:lnTo>
                    <a:pt x="768" y="899"/>
                  </a:lnTo>
                  <a:lnTo>
                    <a:pt x="768" y="899"/>
                  </a:lnTo>
                  <a:lnTo>
                    <a:pt x="768" y="899"/>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3" y="899"/>
                  </a:lnTo>
                  <a:lnTo>
                    <a:pt x="763" y="899"/>
                  </a:lnTo>
                  <a:lnTo>
                    <a:pt x="760" y="899"/>
                  </a:lnTo>
                  <a:lnTo>
                    <a:pt x="760" y="899"/>
                  </a:lnTo>
                  <a:lnTo>
                    <a:pt x="759" y="899"/>
                  </a:lnTo>
                  <a:lnTo>
                    <a:pt x="759" y="899"/>
                  </a:lnTo>
                  <a:lnTo>
                    <a:pt x="758" y="899"/>
                  </a:lnTo>
                  <a:lnTo>
                    <a:pt x="758" y="899"/>
                  </a:lnTo>
                  <a:lnTo>
                    <a:pt x="757" y="899"/>
                  </a:lnTo>
                  <a:lnTo>
                    <a:pt x="757" y="899"/>
                  </a:lnTo>
                  <a:lnTo>
                    <a:pt x="756" y="899"/>
                  </a:lnTo>
                  <a:lnTo>
                    <a:pt x="756" y="899"/>
                  </a:lnTo>
                  <a:lnTo>
                    <a:pt x="756" y="899"/>
                  </a:lnTo>
                  <a:lnTo>
                    <a:pt x="756" y="899"/>
                  </a:lnTo>
                  <a:lnTo>
                    <a:pt x="755" y="899"/>
                  </a:lnTo>
                  <a:lnTo>
                    <a:pt x="755" y="899"/>
                  </a:lnTo>
                  <a:lnTo>
                    <a:pt x="754" y="899"/>
                  </a:lnTo>
                  <a:lnTo>
                    <a:pt x="754" y="899"/>
                  </a:lnTo>
                  <a:lnTo>
                    <a:pt x="754" y="899"/>
                  </a:lnTo>
                  <a:lnTo>
                    <a:pt x="754" y="899"/>
                  </a:lnTo>
                  <a:lnTo>
                    <a:pt x="754" y="899"/>
                  </a:lnTo>
                  <a:lnTo>
                    <a:pt x="754" y="899"/>
                  </a:lnTo>
                  <a:lnTo>
                    <a:pt x="753" y="899"/>
                  </a:lnTo>
                  <a:lnTo>
                    <a:pt x="753" y="899"/>
                  </a:lnTo>
                  <a:lnTo>
                    <a:pt x="753" y="899"/>
                  </a:lnTo>
                  <a:lnTo>
                    <a:pt x="753"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2" y="899"/>
                  </a:lnTo>
                  <a:lnTo>
                    <a:pt x="732" y="899"/>
                  </a:lnTo>
                  <a:lnTo>
                    <a:pt x="728" y="899"/>
                  </a:lnTo>
                  <a:lnTo>
                    <a:pt x="728" y="899"/>
                  </a:lnTo>
                  <a:lnTo>
                    <a:pt x="726" y="899"/>
                  </a:lnTo>
                  <a:lnTo>
                    <a:pt x="726" y="899"/>
                  </a:lnTo>
                  <a:lnTo>
                    <a:pt x="726" y="899"/>
                  </a:lnTo>
                  <a:lnTo>
                    <a:pt x="726" y="899"/>
                  </a:lnTo>
                  <a:lnTo>
                    <a:pt x="726" y="899"/>
                  </a:lnTo>
                  <a:lnTo>
                    <a:pt x="726"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5" y="899"/>
                  </a:lnTo>
                  <a:lnTo>
                    <a:pt x="675" y="899"/>
                  </a:lnTo>
                  <a:lnTo>
                    <a:pt x="674" y="899"/>
                  </a:lnTo>
                  <a:lnTo>
                    <a:pt x="674" y="899"/>
                  </a:lnTo>
                  <a:lnTo>
                    <a:pt x="674" y="899"/>
                  </a:lnTo>
                  <a:lnTo>
                    <a:pt x="674" y="899"/>
                  </a:lnTo>
                  <a:lnTo>
                    <a:pt x="673" y="899"/>
                  </a:lnTo>
                  <a:lnTo>
                    <a:pt x="673" y="899"/>
                  </a:lnTo>
                  <a:lnTo>
                    <a:pt x="673" y="899"/>
                  </a:lnTo>
                  <a:lnTo>
                    <a:pt x="673" y="899"/>
                  </a:lnTo>
                  <a:lnTo>
                    <a:pt x="673" y="899"/>
                  </a:lnTo>
                  <a:lnTo>
                    <a:pt x="673" y="899"/>
                  </a:lnTo>
                  <a:lnTo>
                    <a:pt x="673" y="899"/>
                  </a:lnTo>
                  <a:lnTo>
                    <a:pt x="673" y="899"/>
                  </a:lnTo>
                  <a:lnTo>
                    <a:pt x="663" y="899"/>
                  </a:lnTo>
                  <a:lnTo>
                    <a:pt x="663" y="899"/>
                  </a:lnTo>
                  <a:lnTo>
                    <a:pt x="663" y="899"/>
                  </a:lnTo>
                  <a:lnTo>
                    <a:pt x="663" y="899"/>
                  </a:lnTo>
                  <a:lnTo>
                    <a:pt x="653" y="899"/>
                  </a:lnTo>
                  <a:lnTo>
                    <a:pt x="653" y="899"/>
                  </a:lnTo>
                  <a:lnTo>
                    <a:pt x="651" y="899"/>
                  </a:lnTo>
                  <a:lnTo>
                    <a:pt x="651" y="899"/>
                  </a:lnTo>
                  <a:lnTo>
                    <a:pt x="650" y="899"/>
                  </a:lnTo>
                  <a:lnTo>
                    <a:pt x="650"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5" y="899"/>
                  </a:lnTo>
                  <a:lnTo>
                    <a:pt x="605" y="899"/>
                  </a:lnTo>
                  <a:lnTo>
                    <a:pt x="605" y="899"/>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899"/>
                  </a:lnTo>
                  <a:lnTo>
                    <a:pt x="590" y="899"/>
                  </a:lnTo>
                  <a:lnTo>
                    <a:pt x="590" y="899"/>
                  </a:lnTo>
                  <a:lnTo>
                    <a:pt x="589" y="899"/>
                  </a:lnTo>
                  <a:lnTo>
                    <a:pt x="589" y="899"/>
                  </a:lnTo>
                  <a:lnTo>
                    <a:pt x="588" y="899"/>
                  </a:lnTo>
                  <a:lnTo>
                    <a:pt x="588" y="899"/>
                  </a:lnTo>
                  <a:lnTo>
                    <a:pt x="588" y="899"/>
                  </a:lnTo>
                  <a:lnTo>
                    <a:pt x="588" y="899"/>
                  </a:lnTo>
                  <a:lnTo>
                    <a:pt x="587" y="899"/>
                  </a:lnTo>
                  <a:lnTo>
                    <a:pt x="587" y="899"/>
                  </a:lnTo>
                  <a:lnTo>
                    <a:pt x="587" y="899"/>
                  </a:lnTo>
                  <a:lnTo>
                    <a:pt x="587" y="899"/>
                  </a:lnTo>
                  <a:lnTo>
                    <a:pt x="587" y="899"/>
                  </a:lnTo>
                  <a:lnTo>
                    <a:pt x="587"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899"/>
                  </a:lnTo>
                  <a:lnTo>
                    <a:pt x="579" y="899"/>
                  </a:lnTo>
                  <a:lnTo>
                    <a:pt x="579" y="899"/>
                  </a:lnTo>
                  <a:lnTo>
                    <a:pt x="576" y="899"/>
                  </a:lnTo>
                  <a:lnTo>
                    <a:pt x="576" y="899"/>
                  </a:lnTo>
                  <a:lnTo>
                    <a:pt x="574" y="899"/>
                  </a:lnTo>
                  <a:lnTo>
                    <a:pt x="574"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54" y="899"/>
                  </a:lnTo>
                  <a:lnTo>
                    <a:pt x="554" y="899"/>
                  </a:lnTo>
                  <a:lnTo>
                    <a:pt x="554" y="899"/>
                  </a:lnTo>
                  <a:lnTo>
                    <a:pt x="554" y="899"/>
                  </a:lnTo>
                  <a:lnTo>
                    <a:pt x="551" y="899"/>
                  </a:lnTo>
                  <a:lnTo>
                    <a:pt x="551" y="899"/>
                  </a:lnTo>
                  <a:lnTo>
                    <a:pt x="550" y="899"/>
                  </a:lnTo>
                  <a:lnTo>
                    <a:pt x="550"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38" y="899"/>
                  </a:lnTo>
                  <a:lnTo>
                    <a:pt x="538" y="899"/>
                  </a:lnTo>
                  <a:lnTo>
                    <a:pt x="534" y="899"/>
                  </a:lnTo>
                  <a:lnTo>
                    <a:pt x="534" y="899"/>
                  </a:lnTo>
                  <a:lnTo>
                    <a:pt x="533" y="899"/>
                  </a:lnTo>
                  <a:lnTo>
                    <a:pt x="533" y="899"/>
                  </a:lnTo>
                  <a:lnTo>
                    <a:pt x="532" y="899"/>
                  </a:lnTo>
                  <a:lnTo>
                    <a:pt x="532" y="899"/>
                  </a:lnTo>
                  <a:lnTo>
                    <a:pt x="532" y="899"/>
                  </a:lnTo>
                  <a:lnTo>
                    <a:pt x="532" y="899"/>
                  </a:lnTo>
                  <a:lnTo>
                    <a:pt x="531" y="899"/>
                  </a:lnTo>
                  <a:lnTo>
                    <a:pt x="531" y="899"/>
                  </a:lnTo>
                  <a:lnTo>
                    <a:pt x="531" y="899"/>
                  </a:lnTo>
                  <a:lnTo>
                    <a:pt x="531" y="899"/>
                  </a:lnTo>
                  <a:lnTo>
                    <a:pt x="530" y="899"/>
                  </a:lnTo>
                  <a:lnTo>
                    <a:pt x="530" y="899"/>
                  </a:lnTo>
                  <a:lnTo>
                    <a:pt x="530" y="899"/>
                  </a:lnTo>
                  <a:lnTo>
                    <a:pt x="530" y="899"/>
                  </a:lnTo>
                  <a:lnTo>
                    <a:pt x="530" y="899"/>
                  </a:lnTo>
                  <a:lnTo>
                    <a:pt x="530" y="899"/>
                  </a:lnTo>
                  <a:lnTo>
                    <a:pt x="530" y="899"/>
                  </a:lnTo>
                  <a:lnTo>
                    <a:pt x="530" y="899"/>
                  </a:lnTo>
                  <a:lnTo>
                    <a:pt x="530" y="899"/>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0" y="899"/>
                  </a:lnTo>
                  <a:lnTo>
                    <a:pt x="510" y="899"/>
                  </a:lnTo>
                  <a:lnTo>
                    <a:pt x="510" y="899"/>
                  </a:lnTo>
                  <a:lnTo>
                    <a:pt x="510" y="899"/>
                  </a:lnTo>
                  <a:lnTo>
                    <a:pt x="510" y="899"/>
                  </a:lnTo>
                  <a:lnTo>
                    <a:pt x="510" y="899"/>
                  </a:lnTo>
                  <a:lnTo>
                    <a:pt x="477" y="899"/>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899"/>
                  </a:lnTo>
                  <a:lnTo>
                    <a:pt x="472" y="899"/>
                  </a:lnTo>
                  <a:lnTo>
                    <a:pt x="472" y="899"/>
                  </a:lnTo>
                  <a:lnTo>
                    <a:pt x="471" y="899"/>
                  </a:lnTo>
                  <a:lnTo>
                    <a:pt x="471" y="899"/>
                  </a:lnTo>
                  <a:lnTo>
                    <a:pt x="471" y="899"/>
                  </a:lnTo>
                  <a:lnTo>
                    <a:pt x="471" y="899"/>
                  </a:lnTo>
                  <a:lnTo>
                    <a:pt x="471" y="899"/>
                  </a:lnTo>
                  <a:lnTo>
                    <a:pt x="471" y="899"/>
                  </a:lnTo>
                  <a:lnTo>
                    <a:pt x="471" y="899"/>
                  </a:lnTo>
                  <a:lnTo>
                    <a:pt x="471" y="899"/>
                  </a:lnTo>
                  <a:lnTo>
                    <a:pt x="470" y="899"/>
                  </a:lnTo>
                  <a:lnTo>
                    <a:pt x="470" y="899"/>
                  </a:lnTo>
                  <a:lnTo>
                    <a:pt x="470" y="899"/>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1" y="899"/>
                  </a:lnTo>
                  <a:lnTo>
                    <a:pt x="451" y="899"/>
                  </a:lnTo>
                  <a:lnTo>
                    <a:pt x="450" y="899"/>
                  </a:lnTo>
                  <a:lnTo>
                    <a:pt x="450" y="899"/>
                  </a:lnTo>
                  <a:lnTo>
                    <a:pt x="449" y="899"/>
                  </a:lnTo>
                  <a:lnTo>
                    <a:pt x="449"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7" y="899"/>
                  </a:lnTo>
                  <a:lnTo>
                    <a:pt x="447" y="899"/>
                  </a:lnTo>
                  <a:lnTo>
                    <a:pt x="447" y="899"/>
                  </a:lnTo>
                  <a:lnTo>
                    <a:pt x="447" y="899"/>
                  </a:lnTo>
                  <a:lnTo>
                    <a:pt x="439" y="899"/>
                  </a:lnTo>
                  <a:lnTo>
                    <a:pt x="439" y="899"/>
                  </a:lnTo>
                  <a:lnTo>
                    <a:pt x="436" y="899"/>
                  </a:lnTo>
                  <a:lnTo>
                    <a:pt x="436" y="899"/>
                  </a:lnTo>
                  <a:lnTo>
                    <a:pt x="433" y="899"/>
                  </a:lnTo>
                  <a:lnTo>
                    <a:pt x="433" y="899"/>
                  </a:lnTo>
                  <a:lnTo>
                    <a:pt x="431" y="899"/>
                  </a:lnTo>
                  <a:lnTo>
                    <a:pt x="431"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24" y="899"/>
                  </a:lnTo>
                  <a:lnTo>
                    <a:pt x="424" y="899"/>
                  </a:lnTo>
                  <a:lnTo>
                    <a:pt x="418" y="899"/>
                  </a:lnTo>
                  <a:lnTo>
                    <a:pt x="418" y="899"/>
                  </a:lnTo>
                  <a:lnTo>
                    <a:pt x="415" y="899"/>
                  </a:lnTo>
                  <a:lnTo>
                    <a:pt x="415" y="899"/>
                  </a:lnTo>
                  <a:lnTo>
                    <a:pt x="413" y="899"/>
                  </a:lnTo>
                  <a:lnTo>
                    <a:pt x="413" y="899"/>
                  </a:lnTo>
                  <a:lnTo>
                    <a:pt x="412" y="899"/>
                  </a:lnTo>
                  <a:lnTo>
                    <a:pt x="412" y="899"/>
                  </a:lnTo>
                  <a:lnTo>
                    <a:pt x="410" y="899"/>
                  </a:lnTo>
                  <a:lnTo>
                    <a:pt x="410" y="899"/>
                  </a:lnTo>
                  <a:lnTo>
                    <a:pt x="409" y="899"/>
                  </a:lnTo>
                  <a:lnTo>
                    <a:pt x="409" y="899"/>
                  </a:lnTo>
                  <a:lnTo>
                    <a:pt x="407" y="899"/>
                  </a:lnTo>
                  <a:lnTo>
                    <a:pt x="407" y="899"/>
                  </a:lnTo>
                  <a:lnTo>
                    <a:pt x="406" y="899"/>
                  </a:lnTo>
                  <a:lnTo>
                    <a:pt x="406" y="899"/>
                  </a:lnTo>
                  <a:lnTo>
                    <a:pt x="405" y="899"/>
                  </a:lnTo>
                  <a:lnTo>
                    <a:pt x="405" y="899"/>
                  </a:lnTo>
                  <a:lnTo>
                    <a:pt x="405" y="899"/>
                  </a:lnTo>
                  <a:lnTo>
                    <a:pt x="405" y="899"/>
                  </a:lnTo>
                  <a:lnTo>
                    <a:pt x="405" y="899"/>
                  </a:lnTo>
                  <a:lnTo>
                    <a:pt x="405" y="899"/>
                  </a:lnTo>
                  <a:lnTo>
                    <a:pt x="404" y="899"/>
                  </a:lnTo>
                  <a:lnTo>
                    <a:pt x="404" y="899"/>
                  </a:lnTo>
                  <a:lnTo>
                    <a:pt x="403" y="899"/>
                  </a:lnTo>
                  <a:lnTo>
                    <a:pt x="403"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0" y="899"/>
                  </a:lnTo>
                  <a:lnTo>
                    <a:pt x="400" y="899"/>
                  </a:lnTo>
                  <a:lnTo>
                    <a:pt x="400" y="899"/>
                  </a:lnTo>
                  <a:lnTo>
                    <a:pt x="400" y="899"/>
                  </a:lnTo>
                  <a:lnTo>
                    <a:pt x="400" y="899"/>
                  </a:lnTo>
                  <a:lnTo>
                    <a:pt x="400" y="899"/>
                  </a:lnTo>
                  <a:lnTo>
                    <a:pt x="399" y="899"/>
                  </a:lnTo>
                  <a:lnTo>
                    <a:pt x="399" y="899"/>
                  </a:lnTo>
                  <a:lnTo>
                    <a:pt x="399" y="899"/>
                  </a:lnTo>
                  <a:lnTo>
                    <a:pt x="399" y="899"/>
                  </a:lnTo>
                  <a:lnTo>
                    <a:pt x="399" y="899"/>
                  </a:lnTo>
                  <a:lnTo>
                    <a:pt x="399"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1" y="899"/>
                  </a:lnTo>
                  <a:lnTo>
                    <a:pt x="381" y="899"/>
                  </a:lnTo>
                  <a:lnTo>
                    <a:pt x="380" y="899"/>
                  </a:lnTo>
                  <a:lnTo>
                    <a:pt x="380" y="899"/>
                  </a:lnTo>
                  <a:lnTo>
                    <a:pt x="379" y="899"/>
                  </a:lnTo>
                  <a:lnTo>
                    <a:pt x="379" y="899"/>
                  </a:lnTo>
                  <a:lnTo>
                    <a:pt x="378" y="899"/>
                  </a:lnTo>
                  <a:lnTo>
                    <a:pt x="378" y="899"/>
                  </a:lnTo>
                  <a:lnTo>
                    <a:pt x="378" y="899"/>
                  </a:lnTo>
                  <a:lnTo>
                    <a:pt x="378" y="899"/>
                  </a:lnTo>
                  <a:lnTo>
                    <a:pt x="378" y="899"/>
                  </a:lnTo>
                  <a:lnTo>
                    <a:pt x="378" y="899"/>
                  </a:lnTo>
                  <a:lnTo>
                    <a:pt x="378" y="899"/>
                  </a:lnTo>
                  <a:lnTo>
                    <a:pt x="378"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58" y="899"/>
                  </a:lnTo>
                  <a:lnTo>
                    <a:pt x="358" y="899"/>
                  </a:lnTo>
                  <a:lnTo>
                    <a:pt x="354" y="899"/>
                  </a:lnTo>
                  <a:lnTo>
                    <a:pt x="354" y="899"/>
                  </a:lnTo>
                  <a:lnTo>
                    <a:pt x="352" y="899"/>
                  </a:lnTo>
                  <a:lnTo>
                    <a:pt x="352" y="899"/>
                  </a:lnTo>
                  <a:lnTo>
                    <a:pt x="352" y="899"/>
                  </a:lnTo>
                  <a:lnTo>
                    <a:pt x="352"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0" y="899"/>
                  </a:lnTo>
                  <a:lnTo>
                    <a:pt x="350" y="899"/>
                  </a:lnTo>
                  <a:lnTo>
                    <a:pt x="350" y="899"/>
                  </a:lnTo>
                  <a:lnTo>
                    <a:pt x="350" y="899"/>
                  </a:lnTo>
                  <a:lnTo>
                    <a:pt x="350" y="899"/>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2" y="899"/>
                  </a:lnTo>
                  <a:lnTo>
                    <a:pt x="322" y="899"/>
                  </a:lnTo>
                  <a:lnTo>
                    <a:pt x="322" y="899"/>
                  </a:lnTo>
                  <a:lnTo>
                    <a:pt x="322" y="899"/>
                  </a:lnTo>
                  <a:lnTo>
                    <a:pt x="322" y="899"/>
                  </a:lnTo>
                  <a:lnTo>
                    <a:pt x="322" y="899"/>
                  </a:lnTo>
                  <a:lnTo>
                    <a:pt x="322" y="899"/>
                  </a:lnTo>
                  <a:lnTo>
                    <a:pt x="322" y="899"/>
                  </a:lnTo>
                  <a:lnTo>
                    <a:pt x="310" y="899"/>
                  </a:lnTo>
                  <a:lnTo>
                    <a:pt x="310" y="899"/>
                  </a:lnTo>
                  <a:lnTo>
                    <a:pt x="309" y="899"/>
                  </a:lnTo>
                  <a:lnTo>
                    <a:pt x="309" y="899"/>
                  </a:lnTo>
                  <a:lnTo>
                    <a:pt x="309" y="899"/>
                  </a:lnTo>
                  <a:lnTo>
                    <a:pt x="309" y="899"/>
                  </a:lnTo>
                  <a:lnTo>
                    <a:pt x="309" y="899"/>
                  </a:lnTo>
                  <a:lnTo>
                    <a:pt x="309" y="899"/>
                  </a:lnTo>
                  <a:lnTo>
                    <a:pt x="309" y="899"/>
                  </a:lnTo>
                  <a:lnTo>
                    <a:pt x="309" y="899"/>
                  </a:lnTo>
                  <a:lnTo>
                    <a:pt x="309" y="899"/>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3" y="899"/>
                  </a:lnTo>
                  <a:lnTo>
                    <a:pt x="243" y="899"/>
                  </a:lnTo>
                  <a:lnTo>
                    <a:pt x="241" y="899"/>
                  </a:lnTo>
                  <a:lnTo>
                    <a:pt x="241" y="899"/>
                  </a:lnTo>
                  <a:lnTo>
                    <a:pt x="240" y="899"/>
                  </a:lnTo>
                  <a:lnTo>
                    <a:pt x="240" y="899"/>
                  </a:lnTo>
                  <a:lnTo>
                    <a:pt x="240" y="899"/>
                  </a:lnTo>
                  <a:lnTo>
                    <a:pt x="240"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8" y="899"/>
                  </a:lnTo>
                  <a:lnTo>
                    <a:pt x="238" y="899"/>
                  </a:lnTo>
                  <a:lnTo>
                    <a:pt x="238" y="899"/>
                  </a:lnTo>
                  <a:lnTo>
                    <a:pt x="238" y="899"/>
                  </a:lnTo>
                  <a:lnTo>
                    <a:pt x="238" y="899"/>
                  </a:lnTo>
                  <a:lnTo>
                    <a:pt x="238" y="899"/>
                  </a:lnTo>
                  <a:lnTo>
                    <a:pt x="238" y="899"/>
                  </a:lnTo>
                  <a:lnTo>
                    <a:pt x="238" y="899"/>
                  </a:lnTo>
                  <a:lnTo>
                    <a:pt x="238" y="899"/>
                  </a:lnTo>
                  <a:lnTo>
                    <a:pt x="238"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3" y="899"/>
                  </a:lnTo>
                  <a:lnTo>
                    <a:pt x="233" y="899"/>
                  </a:lnTo>
                  <a:lnTo>
                    <a:pt x="233" y="899"/>
                  </a:lnTo>
                  <a:lnTo>
                    <a:pt x="233" y="899"/>
                  </a:lnTo>
                  <a:lnTo>
                    <a:pt x="228" y="899"/>
                  </a:lnTo>
                  <a:lnTo>
                    <a:pt x="228" y="899"/>
                  </a:lnTo>
                  <a:lnTo>
                    <a:pt x="226" y="899"/>
                  </a:lnTo>
                  <a:lnTo>
                    <a:pt x="226" y="899"/>
                  </a:lnTo>
                  <a:lnTo>
                    <a:pt x="224" y="899"/>
                  </a:lnTo>
                  <a:lnTo>
                    <a:pt x="224" y="899"/>
                  </a:lnTo>
                  <a:lnTo>
                    <a:pt x="223" y="899"/>
                  </a:lnTo>
                  <a:lnTo>
                    <a:pt x="223" y="899"/>
                  </a:lnTo>
                  <a:lnTo>
                    <a:pt x="222" y="899"/>
                  </a:lnTo>
                  <a:lnTo>
                    <a:pt x="222" y="899"/>
                  </a:lnTo>
                  <a:lnTo>
                    <a:pt x="222" y="899"/>
                  </a:lnTo>
                  <a:lnTo>
                    <a:pt x="222" y="899"/>
                  </a:lnTo>
                  <a:lnTo>
                    <a:pt x="221" y="899"/>
                  </a:lnTo>
                  <a:lnTo>
                    <a:pt x="221" y="899"/>
                  </a:lnTo>
                  <a:lnTo>
                    <a:pt x="221" y="899"/>
                  </a:lnTo>
                  <a:lnTo>
                    <a:pt x="221" y="899"/>
                  </a:lnTo>
                  <a:lnTo>
                    <a:pt x="220" y="899"/>
                  </a:lnTo>
                  <a:lnTo>
                    <a:pt x="220" y="899"/>
                  </a:lnTo>
                  <a:lnTo>
                    <a:pt x="220" y="899"/>
                  </a:lnTo>
                  <a:lnTo>
                    <a:pt x="220" y="899"/>
                  </a:lnTo>
                  <a:lnTo>
                    <a:pt x="220" y="899"/>
                  </a:lnTo>
                  <a:lnTo>
                    <a:pt x="220" y="899"/>
                  </a:lnTo>
                  <a:lnTo>
                    <a:pt x="220" y="899"/>
                  </a:lnTo>
                  <a:lnTo>
                    <a:pt x="220" y="899"/>
                  </a:lnTo>
                  <a:lnTo>
                    <a:pt x="220" y="899"/>
                  </a:lnTo>
                  <a:lnTo>
                    <a:pt x="220"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7" y="899"/>
                  </a:lnTo>
                  <a:lnTo>
                    <a:pt x="217" y="899"/>
                  </a:lnTo>
                  <a:lnTo>
                    <a:pt x="213" y="899"/>
                  </a:lnTo>
                  <a:lnTo>
                    <a:pt x="213" y="899"/>
                  </a:lnTo>
                  <a:lnTo>
                    <a:pt x="211" y="899"/>
                  </a:lnTo>
                  <a:lnTo>
                    <a:pt x="211" y="899"/>
                  </a:lnTo>
                  <a:lnTo>
                    <a:pt x="210" y="899"/>
                  </a:lnTo>
                  <a:lnTo>
                    <a:pt x="210" y="899"/>
                  </a:lnTo>
                  <a:lnTo>
                    <a:pt x="209" y="899"/>
                  </a:lnTo>
                  <a:lnTo>
                    <a:pt x="209" y="899"/>
                  </a:lnTo>
                  <a:lnTo>
                    <a:pt x="209" y="899"/>
                  </a:lnTo>
                  <a:lnTo>
                    <a:pt x="209" y="899"/>
                  </a:lnTo>
                  <a:lnTo>
                    <a:pt x="209" y="899"/>
                  </a:lnTo>
                  <a:lnTo>
                    <a:pt x="209" y="899"/>
                  </a:lnTo>
                  <a:lnTo>
                    <a:pt x="209" y="899"/>
                  </a:lnTo>
                  <a:lnTo>
                    <a:pt x="209" y="899"/>
                  </a:lnTo>
                  <a:lnTo>
                    <a:pt x="209" y="899"/>
                  </a:lnTo>
                  <a:lnTo>
                    <a:pt x="209" y="899"/>
                  </a:lnTo>
                  <a:lnTo>
                    <a:pt x="207" y="899"/>
                  </a:lnTo>
                  <a:lnTo>
                    <a:pt x="207" y="899"/>
                  </a:lnTo>
                  <a:lnTo>
                    <a:pt x="207" y="899"/>
                  </a:lnTo>
                  <a:lnTo>
                    <a:pt x="207" y="899"/>
                  </a:lnTo>
                  <a:lnTo>
                    <a:pt x="207" y="899"/>
                  </a:lnTo>
                  <a:lnTo>
                    <a:pt x="207" y="899"/>
                  </a:lnTo>
                  <a:lnTo>
                    <a:pt x="206" y="899"/>
                  </a:lnTo>
                  <a:lnTo>
                    <a:pt x="206" y="899"/>
                  </a:lnTo>
                  <a:lnTo>
                    <a:pt x="205" y="899"/>
                  </a:lnTo>
                  <a:lnTo>
                    <a:pt x="205"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167" y="899"/>
                  </a:lnTo>
                  <a:lnTo>
                    <a:pt x="167"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52" y="899"/>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49" y="899"/>
                  </a:lnTo>
                  <a:lnTo>
                    <a:pt x="149"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8" y="899"/>
                  </a:lnTo>
                  <a:lnTo>
                    <a:pt x="138" y="899"/>
                  </a:lnTo>
                  <a:lnTo>
                    <a:pt x="138" y="899"/>
                  </a:lnTo>
                  <a:lnTo>
                    <a:pt x="138" y="899"/>
                  </a:lnTo>
                  <a:lnTo>
                    <a:pt x="138" y="899"/>
                  </a:lnTo>
                  <a:lnTo>
                    <a:pt x="138" y="899"/>
                  </a:lnTo>
                  <a:lnTo>
                    <a:pt x="138" y="899"/>
                  </a:lnTo>
                  <a:lnTo>
                    <a:pt x="138" y="899"/>
                  </a:lnTo>
                  <a:lnTo>
                    <a:pt x="138" y="899"/>
                  </a:lnTo>
                  <a:lnTo>
                    <a:pt x="138"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5" y="899"/>
                  </a:lnTo>
                  <a:lnTo>
                    <a:pt x="135" y="899"/>
                  </a:lnTo>
                  <a:lnTo>
                    <a:pt x="135" y="899"/>
                  </a:lnTo>
                  <a:lnTo>
                    <a:pt x="135" y="899"/>
                  </a:lnTo>
                  <a:lnTo>
                    <a:pt x="135" y="899"/>
                  </a:lnTo>
                  <a:lnTo>
                    <a:pt x="135" y="899"/>
                  </a:lnTo>
                  <a:lnTo>
                    <a:pt x="135" y="899"/>
                  </a:lnTo>
                  <a:lnTo>
                    <a:pt x="135" y="899"/>
                  </a:lnTo>
                  <a:lnTo>
                    <a:pt x="135" y="899"/>
                  </a:lnTo>
                  <a:lnTo>
                    <a:pt x="135" y="899"/>
                  </a:lnTo>
                  <a:lnTo>
                    <a:pt x="133" y="899"/>
                  </a:lnTo>
                  <a:lnTo>
                    <a:pt x="133" y="899"/>
                  </a:lnTo>
                  <a:lnTo>
                    <a:pt x="131" y="899"/>
                  </a:lnTo>
                  <a:lnTo>
                    <a:pt x="131" y="899"/>
                  </a:lnTo>
                  <a:lnTo>
                    <a:pt x="131" y="899"/>
                  </a:lnTo>
                  <a:lnTo>
                    <a:pt x="131" y="899"/>
                  </a:lnTo>
                  <a:lnTo>
                    <a:pt x="129" y="899"/>
                  </a:lnTo>
                  <a:lnTo>
                    <a:pt x="129" y="899"/>
                  </a:lnTo>
                  <a:lnTo>
                    <a:pt x="128" y="899"/>
                  </a:lnTo>
                  <a:lnTo>
                    <a:pt x="128" y="899"/>
                  </a:lnTo>
                  <a:lnTo>
                    <a:pt x="128" y="899"/>
                  </a:lnTo>
                  <a:lnTo>
                    <a:pt x="128"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5" y="899"/>
                  </a:lnTo>
                  <a:lnTo>
                    <a:pt x="115" y="899"/>
                  </a:lnTo>
                  <a:lnTo>
                    <a:pt x="112" y="899"/>
                  </a:lnTo>
                  <a:lnTo>
                    <a:pt x="112" y="899"/>
                  </a:lnTo>
                  <a:lnTo>
                    <a:pt x="110" y="899"/>
                  </a:lnTo>
                  <a:lnTo>
                    <a:pt x="110" y="899"/>
                  </a:lnTo>
                  <a:lnTo>
                    <a:pt x="108" y="899"/>
                  </a:lnTo>
                  <a:lnTo>
                    <a:pt x="108" y="899"/>
                  </a:lnTo>
                  <a:lnTo>
                    <a:pt x="107" y="899"/>
                  </a:lnTo>
                  <a:lnTo>
                    <a:pt x="107" y="899"/>
                  </a:lnTo>
                  <a:lnTo>
                    <a:pt x="107" y="899"/>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899"/>
                  </a:lnTo>
                  <a:lnTo>
                    <a:pt x="94" y="899"/>
                  </a:lnTo>
                  <a:lnTo>
                    <a:pt x="94" y="899"/>
                  </a:lnTo>
                  <a:lnTo>
                    <a:pt x="93" y="899"/>
                  </a:lnTo>
                  <a:lnTo>
                    <a:pt x="93" y="899"/>
                  </a:lnTo>
                  <a:lnTo>
                    <a:pt x="93" y="899"/>
                  </a:lnTo>
                  <a:lnTo>
                    <a:pt x="93" y="899"/>
                  </a:lnTo>
                  <a:lnTo>
                    <a:pt x="92" y="899"/>
                  </a:lnTo>
                  <a:lnTo>
                    <a:pt x="92" y="899"/>
                  </a:lnTo>
                  <a:lnTo>
                    <a:pt x="89" y="899"/>
                  </a:lnTo>
                  <a:lnTo>
                    <a:pt x="89" y="899"/>
                  </a:lnTo>
                  <a:lnTo>
                    <a:pt x="89" y="899"/>
                  </a:lnTo>
                  <a:lnTo>
                    <a:pt x="89" y="899"/>
                  </a:lnTo>
                  <a:lnTo>
                    <a:pt x="89" y="899"/>
                  </a:lnTo>
                  <a:lnTo>
                    <a:pt x="89" y="899"/>
                  </a:lnTo>
                  <a:lnTo>
                    <a:pt x="89" y="899"/>
                  </a:lnTo>
                  <a:lnTo>
                    <a:pt x="89" y="899"/>
                  </a:lnTo>
                  <a:lnTo>
                    <a:pt x="89" y="899"/>
                  </a:lnTo>
                  <a:lnTo>
                    <a:pt x="89"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899"/>
                  </a:lnTo>
                  <a:lnTo>
                    <a:pt x="76" y="899"/>
                  </a:lnTo>
                  <a:lnTo>
                    <a:pt x="76" y="899"/>
                  </a:lnTo>
                  <a:lnTo>
                    <a:pt x="72" y="899"/>
                  </a:lnTo>
                  <a:lnTo>
                    <a:pt x="72"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899"/>
                  </a:lnTo>
                  <a:lnTo>
                    <a:pt x="65" y="899"/>
                  </a:lnTo>
                  <a:lnTo>
                    <a:pt x="65" y="899"/>
                  </a:lnTo>
                  <a:lnTo>
                    <a:pt x="65" y="899"/>
                  </a:lnTo>
                  <a:lnTo>
                    <a:pt x="65" y="899"/>
                  </a:lnTo>
                  <a:lnTo>
                    <a:pt x="65" y="899"/>
                  </a:lnTo>
                  <a:lnTo>
                    <a:pt x="65" y="899"/>
                  </a:lnTo>
                  <a:lnTo>
                    <a:pt x="65" y="899"/>
                  </a:lnTo>
                  <a:lnTo>
                    <a:pt x="65"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3" y="899"/>
                  </a:lnTo>
                  <a:lnTo>
                    <a:pt x="63" y="899"/>
                  </a:lnTo>
                  <a:lnTo>
                    <a:pt x="62" y="899"/>
                  </a:lnTo>
                  <a:lnTo>
                    <a:pt x="62" y="899"/>
                  </a:lnTo>
                  <a:lnTo>
                    <a:pt x="62" y="899"/>
                  </a:lnTo>
                  <a:lnTo>
                    <a:pt x="62" y="899"/>
                  </a:lnTo>
                  <a:lnTo>
                    <a:pt x="62" y="899"/>
                  </a:lnTo>
                  <a:lnTo>
                    <a:pt x="62" y="899"/>
                  </a:lnTo>
                  <a:lnTo>
                    <a:pt x="62" y="899"/>
                  </a:lnTo>
                  <a:lnTo>
                    <a:pt x="62" y="899"/>
                  </a:lnTo>
                  <a:lnTo>
                    <a:pt x="60" y="899"/>
                  </a:lnTo>
                  <a:lnTo>
                    <a:pt x="60" y="899"/>
                  </a:lnTo>
                  <a:lnTo>
                    <a:pt x="58" y="899"/>
                  </a:lnTo>
                  <a:lnTo>
                    <a:pt x="58" y="899"/>
                  </a:lnTo>
                  <a:lnTo>
                    <a:pt x="56" y="899"/>
                  </a:lnTo>
                  <a:lnTo>
                    <a:pt x="56" y="899"/>
                  </a:lnTo>
                  <a:lnTo>
                    <a:pt x="56" y="899"/>
                  </a:lnTo>
                  <a:lnTo>
                    <a:pt x="56"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0" y="899"/>
                  </a:lnTo>
                  <a:lnTo>
                    <a:pt x="50" y="899"/>
                  </a:lnTo>
                  <a:lnTo>
                    <a:pt x="47" y="899"/>
                  </a:lnTo>
                  <a:lnTo>
                    <a:pt x="47" y="899"/>
                  </a:lnTo>
                  <a:lnTo>
                    <a:pt x="46" y="899"/>
                  </a:lnTo>
                  <a:lnTo>
                    <a:pt x="46" y="899"/>
                  </a:lnTo>
                  <a:lnTo>
                    <a:pt x="46" y="899"/>
                  </a:lnTo>
                  <a:lnTo>
                    <a:pt x="46" y="899"/>
                  </a:lnTo>
                  <a:lnTo>
                    <a:pt x="46" y="899"/>
                  </a:lnTo>
                  <a:lnTo>
                    <a:pt x="46" y="899"/>
                  </a:lnTo>
                  <a:lnTo>
                    <a:pt x="46" y="899"/>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2" y="899"/>
                  </a:lnTo>
                  <a:lnTo>
                    <a:pt x="42" y="899"/>
                  </a:lnTo>
                  <a:lnTo>
                    <a:pt x="42" y="899"/>
                  </a:lnTo>
                  <a:lnTo>
                    <a:pt x="42" y="899"/>
                  </a:lnTo>
                  <a:lnTo>
                    <a:pt x="41" y="899"/>
                  </a:lnTo>
                  <a:lnTo>
                    <a:pt x="41" y="899"/>
                  </a:lnTo>
                  <a:lnTo>
                    <a:pt x="41" y="899"/>
                  </a:lnTo>
                  <a:lnTo>
                    <a:pt x="41" y="899"/>
                  </a:lnTo>
                  <a:lnTo>
                    <a:pt x="41" y="899"/>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899"/>
                  </a:lnTo>
                  <a:lnTo>
                    <a:pt x="36" y="899"/>
                  </a:lnTo>
                  <a:lnTo>
                    <a:pt x="36" y="899"/>
                  </a:lnTo>
                  <a:lnTo>
                    <a:pt x="36" y="899"/>
                  </a:lnTo>
                  <a:lnTo>
                    <a:pt x="36" y="899"/>
                  </a:lnTo>
                  <a:lnTo>
                    <a:pt x="36" y="899"/>
                  </a:lnTo>
                  <a:lnTo>
                    <a:pt x="36"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2" y="899"/>
                  </a:lnTo>
                  <a:lnTo>
                    <a:pt x="32" y="899"/>
                  </a:lnTo>
                  <a:lnTo>
                    <a:pt x="32" y="899"/>
                  </a:lnTo>
                  <a:lnTo>
                    <a:pt x="32" y="899"/>
                  </a:lnTo>
                  <a:lnTo>
                    <a:pt x="31" y="899"/>
                  </a:lnTo>
                  <a:lnTo>
                    <a:pt x="31" y="899"/>
                  </a:lnTo>
                  <a:lnTo>
                    <a:pt x="31" y="899"/>
                  </a:lnTo>
                  <a:lnTo>
                    <a:pt x="31" y="899"/>
                  </a:lnTo>
                  <a:lnTo>
                    <a:pt x="31" y="899"/>
                  </a:lnTo>
                  <a:lnTo>
                    <a:pt x="31" y="899"/>
                  </a:lnTo>
                  <a:lnTo>
                    <a:pt x="30" y="899"/>
                  </a:lnTo>
                  <a:lnTo>
                    <a:pt x="30" y="899"/>
                  </a:lnTo>
                  <a:lnTo>
                    <a:pt x="30" y="899"/>
                  </a:lnTo>
                  <a:lnTo>
                    <a:pt x="30" y="899"/>
                  </a:lnTo>
                  <a:lnTo>
                    <a:pt x="30" y="899"/>
                  </a:lnTo>
                  <a:lnTo>
                    <a:pt x="30" y="899"/>
                  </a:lnTo>
                  <a:lnTo>
                    <a:pt x="30" y="899"/>
                  </a:lnTo>
                  <a:lnTo>
                    <a:pt x="30" y="899"/>
                  </a:lnTo>
                  <a:lnTo>
                    <a:pt x="29" y="899"/>
                  </a:lnTo>
                  <a:lnTo>
                    <a:pt x="29" y="899"/>
                  </a:lnTo>
                  <a:lnTo>
                    <a:pt x="28" y="899"/>
                  </a:lnTo>
                  <a:lnTo>
                    <a:pt x="28" y="899"/>
                  </a:lnTo>
                  <a:lnTo>
                    <a:pt x="28" y="899"/>
                  </a:lnTo>
                  <a:lnTo>
                    <a:pt x="28" y="899"/>
                  </a:lnTo>
                  <a:lnTo>
                    <a:pt x="27" y="899"/>
                  </a:lnTo>
                  <a:lnTo>
                    <a:pt x="27" y="899"/>
                  </a:lnTo>
                  <a:lnTo>
                    <a:pt x="25" y="899"/>
                  </a:lnTo>
                  <a:lnTo>
                    <a:pt x="25" y="899"/>
                  </a:lnTo>
                  <a:lnTo>
                    <a:pt x="25" y="899"/>
                  </a:lnTo>
                  <a:lnTo>
                    <a:pt x="25" y="899"/>
                  </a:lnTo>
                  <a:lnTo>
                    <a:pt x="25" y="899"/>
                  </a:lnTo>
                  <a:lnTo>
                    <a:pt x="25" y="899"/>
                  </a:lnTo>
                  <a:lnTo>
                    <a:pt x="25" y="899"/>
                  </a:lnTo>
                  <a:lnTo>
                    <a:pt x="25" y="899"/>
                  </a:lnTo>
                  <a:lnTo>
                    <a:pt x="24" y="899"/>
                  </a:lnTo>
                  <a:lnTo>
                    <a:pt x="24" y="899"/>
                  </a:lnTo>
                  <a:lnTo>
                    <a:pt x="24" y="899"/>
                  </a:lnTo>
                  <a:lnTo>
                    <a:pt x="24" y="899"/>
                  </a:lnTo>
                  <a:lnTo>
                    <a:pt x="24" y="899"/>
                  </a:lnTo>
                  <a:lnTo>
                    <a:pt x="24" y="899"/>
                  </a:lnTo>
                  <a:lnTo>
                    <a:pt x="24" y="899"/>
                  </a:lnTo>
                  <a:lnTo>
                    <a:pt x="24"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1" y="899"/>
                  </a:lnTo>
                  <a:lnTo>
                    <a:pt x="21" y="899"/>
                  </a:lnTo>
                  <a:lnTo>
                    <a:pt x="21" y="899"/>
                  </a:lnTo>
                  <a:lnTo>
                    <a:pt x="21" y="899"/>
                  </a:lnTo>
                  <a:lnTo>
                    <a:pt x="21" y="899"/>
                  </a:lnTo>
                  <a:lnTo>
                    <a:pt x="21" y="899"/>
                  </a:lnTo>
                  <a:lnTo>
                    <a:pt x="21" y="899"/>
                  </a:lnTo>
                  <a:lnTo>
                    <a:pt x="21"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899"/>
                  </a:lnTo>
                  <a:lnTo>
                    <a:pt x="17" y="899"/>
                  </a:lnTo>
                  <a:lnTo>
                    <a:pt x="17" y="899"/>
                  </a:lnTo>
                  <a:lnTo>
                    <a:pt x="17" y="899"/>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9" y="899"/>
                  </a:lnTo>
                  <a:lnTo>
                    <a:pt x="9" y="899"/>
                  </a:lnTo>
                  <a:lnTo>
                    <a:pt x="9" y="899"/>
                  </a:lnTo>
                  <a:lnTo>
                    <a:pt x="9" y="899"/>
                  </a:lnTo>
                  <a:lnTo>
                    <a:pt x="9" y="899"/>
                  </a:lnTo>
                  <a:lnTo>
                    <a:pt x="9" y="899"/>
                  </a:lnTo>
                  <a:lnTo>
                    <a:pt x="9" y="899"/>
                  </a:lnTo>
                  <a:lnTo>
                    <a:pt x="9" y="899"/>
                  </a:lnTo>
                  <a:lnTo>
                    <a:pt x="8" y="899"/>
                  </a:lnTo>
                  <a:lnTo>
                    <a:pt x="8" y="899"/>
                  </a:lnTo>
                  <a:lnTo>
                    <a:pt x="7" y="899"/>
                  </a:lnTo>
                  <a:lnTo>
                    <a:pt x="7" y="899"/>
                  </a:lnTo>
                  <a:lnTo>
                    <a:pt x="6" y="899"/>
                  </a:lnTo>
                  <a:lnTo>
                    <a:pt x="6" y="899"/>
                  </a:lnTo>
                  <a:lnTo>
                    <a:pt x="6" y="899"/>
                  </a:lnTo>
                  <a:lnTo>
                    <a:pt x="6" y="899"/>
                  </a:lnTo>
                  <a:lnTo>
                    <a:pt x="6" y="899"/>
                  </a:lnTo>
                  <a:lnTo>
                    <a:pt x="6" y="899"/>
                  </a:lnTo>
                  <a:lnTo>
                    <a:pt x="6" y="899"/>
                  </a:lnTo>
                  <a:lnTo>
                    <a:pt x="6"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AFAF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68">
              <a:extLst>
                <a:ext uri="{FF2B5EF4-FFF2-40B4-BE49-F238E27FC236}">
                  <a16:creationId xmlns:a16="http://schemas.microsoft.com/office/drawing/2014/main" id="{0CA44E24-E273-4C52-B9A3-51552A6DA736}"/>
                </a:ext>
              </a:extLst>
            </p:cNvPr>
            <p:cNvSpPr>
              <a:spLocks/>
            </p:cNvSpPr>
            <p:nvPr/>
          </p:nvSpPr>
          <p:spPr bwMode="auto">
            <a:xfrm>
              <a:off x="1077913" y="1011238"/>
              <a:ext cx="5370513" cy="2792413"/>
            </a:xfrm>
            <a:custGeom>
              <a:avLst/>
              <a:gdLst>
                <a:gd name="T0" fmla="*/ 20 w 3383"/>
                <a:gd name="T1" fmla="*/ 899 h 1759"/>
                <a:gd name="T2" fmla="*/ 44 w 3383"/>
                <a:gd name="T3" fmla="*/ 899 h 1759"/>
                <a:gd name="T4" fmla="*/ 116 w 3383"/>
                <a:gd name="T5" fmla="*/ 899 h 1759"/>
                <a:gd name="T6" fmla="*/ 136 w 3383"/>
                <a:gd name="T7" fmla="*/ 899 h 1759"/>
                <a:gd name="T8" fmla="*/ 160 w 3383"/>
                <a:gd name="T9" fmla="*/ 899 h 1759"/>
                <a:gd name="T10" fmla="*/ 309 w 3383"/>
                <a:gd name="T11" fmla="*/ 899 h 1759"/>
                <a:gd name="T12" fmla="*/ 345 w 3383"/>
                <a:gd name="T13" fmla="*/ 899 h 1759"/>
                <a:gd name="T14" fmla="*/ 456 w 3383"/>
                <a:gd name="T15" fmla="*/ 899 h 1759"/>
                <a:gd name="T16" fmla="*/ 548 w 3383"/>
                <a:gd name="T17" fmla="*/ 899 h 1759"/>
                <a:gd name="T18" fmla="*/ 737 w 3383"/>
                <a:gd name="T19" fmla="*/ 899 h 1759"/>
                <a:gd name="T20" fmla="*/ 836 w 3383"/>
                <a:gd name="T21" fmla="*/ 899 h 1759"/>
                <a:gd name="T22" fmla="*/ 913 w 3383"/>
                <a:gd name="T23" fmla="*/ 899 h 1759"/>
                <a:gd name="T24" fmla="*/ 1004 w 3383"/>
                <a:gd name="T25" fmla="*/ 899 h 1759"/>
                <a:gd name="T26" fmla="*/ 1224 w 3383"/>
                <a:gd name="T27" fmla="*/ 899 h 1759"/>
                <a:gd name="T28" fmla="*/ 1337 w 3383"/>
                <a:gd name="T29" fmla="*/ 1106 h 1759"/>
                <a:gd name="T30" fmla="*/ 1390 w 3383"/>
                <a:gd name="T31" fmla="*/ 899 h 1759"/>
                <a:gd name="T32" fmla="*/ 1484 w 3383"/>
                <a:gd name="T33" fmla="*/ 899 h 1759"/>
                <a:gd name="T34" fmla="*/ 1852 w 3383"/>
                <a:gd name="T35" fmla="*/ 899 h 1759"/>
                <a:gd name="T36" fmla="*/ 1955 w 3383"/>
                <a:gd name="T37" fmla="*/ 910 h 1759"/>
                <a:gd name="T38" fmla="*/ 2056 w 3383"/>
                <a:gd name="T39" fmla="*/ 899 h 1759"/>
                <a:gd name="T40" fmla="*/ 2056 w 3383"/>
                <a:gd name="T41" fmla="*/ 899 h 1759"/>
                <a:gd name="T42" fmla="*/ 2056 w 3383"/>
                <a:gd name="T43" fmla="*/ 899 h 1759"/>
                <a:gd name="T44" fmla="*/ 2151 w 3383"/>
                <a:gd name="T45" fmla="*/ 899 h 1759"/>
                <a:gd name="T46" fmla="*/ 2231 w 3383"/>
                <a:gd name="T47" fmla="*/ 899 h 1759"/>
                <a:gd name="T48" fmla="*/ 2451 w 3383"/>
                <a:gd name="T49" fmla="*/ 795 h 1759"/>
                <a:gd name="T50" fmla="*/ 2613 w 3383"/>
                <a:gd name="T51" fmla="*/ 760 h 1759"/>
                <a:gd name="T52" fmla="*/ 2687 w 3383"/>
                <a:gd name="T53" fmla="*/ 694 h 1759"/>
                <a:gd name="T54" fmla="*/ 2898 w 3383"/>
                <a:gd name="T55" fmla="*/ 899 h 1759"/>
                <a:gd name="T56" fmla="*/ 3185 w 3383"/>
                <a:gd name="T57" fmla="*/ 469 h 1759"/>
                <a:gd name="T58" fmla="*/ 3243 w 3383"/>
                <a:gd name="T59" fmla="*/ 899 h 1759"/>
                <a:gd name="T60" fmla="*/ 3315 w 3383"/>
                <a:gd name="T61" fmla="*/ 0 h 1759"/>
                <a:gd name="T62" fmla="*/ 3383 w 3383"/>
                <a:gd name="T63" fmla="*/ 0 h 1759"/>
                <a:gd name="T64" fmla="*/ 3299 w 3383"/>
                <a:gd name="T65" fmla="*/ 0 h 1759"/>
                <a:gd name="T66" fmla="*/ 3218 w 3383"/>
                <a:gd name="T67" fmla="*/ 899 h 1759"/>
                <a:gd name="T68" fmla="*/ 3176 w 3383"/>
                <a:gd name="T69" fmla="*/ 476 h 1759"/>
                <a:gd name="T70" fmla="*/ 2896 w 3383"/>
                <a:gd name="T71" fmla="*/ 899 h 1759"/>
                <a:gd name="T72" fmla="*/ 2684 w 3383"/>
                <a:gd name="T73" fmla="*/ 899 h 1759"/>
                <a:gd name="T74" fmla="*/ 2608 w 3383"/>
                <a:gd name="T75" fmla="*/ 899 h 1759"/>
                <a:gd name="T76" fmla="*/ 2451 w 3383"/>
                <a:gd name="T77" fmla="*/ 899 h 1759"/>
                <a:gd name="T78" fmla="*/ 2218 w 3383"/>
                <a:gd name="T79" fmla="*/ 899 h 1759"/>
                <a:gd name="T80" fmla="*/ 2149 w 3383"/>
                <a:gd name="T81" fmla="*/ 899 h 1759"/>
                <a:gd name="T82" fmla="*/ 2056 w 3383"/>
                <a:gd name="T83" fmla="*/ 899 h 1759"/>
                <a:gd name="T84" fmla="*/ 2056 w 3383"/>
                <a:gd name="T85" fmla="*/ 899 h 1759"/>
                <a:gd name="T86" fmla="*/ 2056 w 3383"/>
                <a:gd name="T87" fmla="*/ 899 h 1759"/>
                <a:gd name="T88" fmla="*/ 1951 w 3383"/>
                <a:gd name="T89" fmla="*/ 899 h 1759"/>
                <a:gd name="T90" fmla="*/ 1852 w 3383"/>
                <a:gd name="T91" fmla="*/ 899 h 1759"/>
                <a:gd name="T92" fmla="*/ 1482 w 3383"/>
                <a:gd name="T93" fmla="*/ 899 h 1759"/>
                <a:gd name="T94" fmla="*/ 1388 w 3383"/>
                <a:gd name="T95" fmla="*/ 899 h 1759"/>
                <a:gd name="T96" fmla="*/ 1337 w 3383"/>
                <a:gd name="T97" fmla="*/ 899 h 1759"/>
                <a:gd name="T98" fmla="*/ 1223 w 3383"/>
                <a:gd name="T99" fmla="*/ 899 h 1759"/>
                <a:gd name="T100" fmla="*/ 1002 w 3383"/>
                <a:gd name="T101" fmla="*/ 899 h 1759"/>
                <a:gd name="T102" fmla="*/ 912 w 3383"/>
                <a:gd name="T103" fmla="*/ 899 h 1759"/>
                <a:gd name="T104" fmla="*/ 835 w 3383"/>
                <a:gd name="T105" fmla="*/ 899 h 1759"/>
                <a:gd name="T106" fmla="*/ 732 w 3383"/>
                <a:gd name="T107" fmla="*/ 899 h 1759"/>
                <a:gd name="T108" fmla="*/ 548 w 3383"/>
                <a:gd name="T109" fmla="*/ 899 h 1759"/>
                <a:gd name="T110" fmla="*/ 453 w 3383"/>
                <a:gd name="T111" fmla="*/ 899 h 1759"/>
                <a:gd name="T112" fmla="*/ 344 w 3383"/>
                <a:gd name="T113" fmla="*/ 899 h 1759"/>
                <a:gd name="T114" fmla="*/ 301 w 3383"/>
                <a:gd name="T115" fmla="*/ 899 h 1759"/>
                <a:gd name="T116" fmla="*/ 151 w 3383"/>
                <a:gd name="T117" fmla="*/ 899 h 1759"/>
                <a:gd name="T118" fmla="*/ 136 w 3383"/>
                <a:gd name="T119" fmla="*/ 899 h 1759"/>
                <a:gd name="T120" fmla="*/ 107 w 3383"/>
                <a:gd name="T121" fmla="*/ 899 h 1759"/>
                <a:gd name="T122" fmla="*/ 43 w 3383"/>
                <a:gd name="T123" fmla="*/ 899 h 1759"/>
                <a:gd name="T124" fmla="*/ 18 w 3383"/>
                <a:gd name="T125" fmla="*/ 899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759">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6" y="899"/>
                  </a:lnTo>
                  <a:lnTo>
                    <a:pt x="6" y="899"/>
                  </a:lnTo>
                  <a:lnTo>
                    <a:pt x="6" y="899"/>
                  </a:lnTo>
                  <a:lnTo>
                    <a:pt x="6" y="899"/>
                  </a:lnTo>
                  <a:lnTo>
                    <a:pt x="6" y="899"/>
                  </a:lnTo>
                  <a:lnTo>
                    <a:pt x="6" y="899"/>
                  </a:lnTo>
                  <a:lnTo>
                    <a:pt x="6" y="899"/>
                  </a:lnTo>
                  <a:lnTo>
                    <a:pt x="6" y="899"/>
                  </a:lnTo>
                  <a:lnTo>
                    <a:pt x="7" y="899"/>
                  </a:lnTo>
                  <a:lnTo>
                    <a:pt x="7" y="899"/>
                  </a:lnTo>
                  <a:lnTo>
                    <a:pt x="8" y="899"/>
                  </a:lnTo>
                  <a:lnTo>
                    <a:pt x="8" y="899"/>
                  </a:lnTo>
                  <a:lnTo>
                    <a:pt x="9" y="899"/>
                  </a:lnTo>
                  <a:lnTo>
                    <a:pt x="9" y="899"/>
                  </a:lnTo>
                  <a:lnTo>
                    <a:pt x="9" y="899"/>
                  </a:lnTo>
                  <a:lnTo>
                    <a:pt x="9" y="899"/>
                  </a:lnTo>
                  <a:lnTo>
                    <a:pt x="9" y="899"/>
                  </a:lnTo>
                  <a:lnTo>
                    <a:pt x="9" y="899"/>
                  </a:lnTo>
                  <a:lnTo>
                    <a:pt x="9" y="899"/>
                  </a:lnTo>
                  <a:lnTo>
                    <a:pt x="9"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2" y="899"/>
                  </a:lnTo>
                  <a:lnTo>
                    <a:pt x="12" y="899"/>
                  </a:lnTo>
                  <a:lnTo>
                    <a:pt x="15" y="899"/>
                  </a:lnTo>
                  <a:lnTo>
                    <a:pt x="15" y="899"/>
                  </a:lnTo>
                  <a:lnTo>
                    <a:pt x="15" y="899"/>
                  </a:lnTo>
                  <a:lnTo>
                    <a:pt x="15" y="899"/>
                  </a:lnTo>
                  <a:lnTo>
                    <a:pt x="15" y="899"/>
                  </a:lnTo>
                  <a:lnTo>
                    <a:pt x="15" y="899"/>
                  </a:lnTo>
                  <a:lnTo>
                    <a:pt x="15" y="899"/>
                  </a:lnTo>
                  <a:lnTo>
                    <a:pt x="15" y="899"/>
                  </a:lnTo>
                  <a:lnTo>
                    <a:pt x="16" y="899"/>
                  </a:lnTo>
                  <a:lnTo>
                    <a:pt x="16" y="899"/>
                  </a:lnTo>
                  <a:lnTo>
                    <a:pt x="17" y="899"/>
                  </a:lnTo>
                  <a:lnTo>
                    <a:pt x="17" y="899"/>
                  </a:lnTo>
                  <a:lnTo>
                    <a:pt x="17" y="899"/>
                  </a:lnTo>
                  <a:lnTo>
                    <a:pt x="17" y="899"/>
                  </a:lnTo>
                  <a:lnTo>
                    <a:pt x="17" y="899"/>
                  </a:lnTo>
                  <a:lnTo>
                    <a:pt x="17" y="899"/>
                  </a:lnTo>
                  <a:lnTo>
                    <a:pt x="17" y="899"/>
                  </a:lnTo>
                  <a:lnTo>
                    <a:pt x="17"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1" y="899"/>
                  </a:lnTo>
                  <a:lnTo>
                    <a:pt x="21" y="899"/>
                  </a:lnTo>
                  <a:lnTo>
                    <a:pt x="21" y="899"/>
                  </a:lnTo>
                  <a:lnTo>
                    <a:pt x="21" y="899"/>
                  </a:lnTo>
                  <a:lnTo>
                    <a:pt x="21" y="899"/>
                  </a:lnTo>
                  <a:lnTo>
                    <a:pt x="21" y="899"/>
                  </a:lnTo>
                  <a:lnTo>
                    <a:pt x="21" y="899"/>
                  </a:lnTo>
                  <a:lnTo>
                    <a:pt x="21" y="1759"/>
                  </a:lnTo>
                  <a:lnTo>
                    <a:pt x="23" y="175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4" y="899"/>
                  </a:lnTo>
                  <a:lnTo>
                    <a:pt x="24" y="899"/>
                  </a:lnTo>
                  <a:lnTo>
                    <a:pt x="24" y="899"/>
                  </a:lnTo>
                  <a:lnTo>
                    <a:pt x="24" y="899"/>
                  </a:lnTo>
                  <a:lnTo>
                    <a:pt x="24" y="899"/>
                  </a:lnTo>
                  <a:lnTo>
                    <a:pt x="24" y="899"/>
                  </a:lnTo>
                  <a:lnTo>
                    <a:pt x="24" y="899"/>
                  </a:lnTo>
                  <a:lnTo>
                    <a:pt x="24" y="899"/>
                  </a:lnTo>
                  <a:lnTo>
                    <a:pt x="25" y="899"/>
                  </a:lnTo>
                  <a:lnTo>
                    <a:pt x="25" y="899"/>
                  </a:lnTo>
                  <a:lnTo>
                    <a:pt x="25" y="899"/>
                  </a:lnTo>
                  <a:lnTo>
                    <a:pt x="25" y="899"/>
                  </a:lnTo>
                  <a:lnTo>
                    <a:pt x="25" y="899"/>
                  </a:lnTo>
                  <a:lnTo>
                    <a:pt x="25" y="899"/>
                  </a:lnTo>
                  <a:lnTo>
                    <a:pt x="25" y="899"/>
                  </a:lnTo>
                  <a:lnTo>
                    <a:pt x="25" y="899"/>
                  </a:lnTo>
                  <a:lnTo>
                    <a:pt x="27" y="899"/>
                  </a:lnTo>
                  <a:lnTo>
                    <a:pt x="27" y="899"/>
                  </a:lnTo>
                  <a:lnTo>
                    <a:pt x="28" y="899"/>
                  </a:lnTo>
                  <a:lnTo>
                    <a:pt x="28" y="899"/>
                  </a:lnTo>
                  <a:lnTo>
                    <a:pt x="28" y="899"/>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6" y="899"/>
                  </a:lnTo>
                  <a:lnTo>
                    <a:pt x="36" y="899"/>
                  </a:lnTo>
                  <a:lnTo>
                    <a:pt x="36" y="899"/>
                  </a:lnTo>
                  <a:lnTo>
                    <a:pt x="36" y="899"/>
                  </a:lnTo>
                  <a:lnTo>
                    <a:pt x="36" y="899"/>
                  </a:lnTo>
                  <a:lnTo>
                    <a:pt x="36" y="899"/>
                  </a:lnTo>
                  <a:lnTo>
                    <a:pt x="37" y="899"/>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899"/>
                  </a:lnTo>
                  <a:lnTo>
                    <a:pt x="41" y="899"/>
                  </a:lnTo>
                  <a:lnTo>
                    <a:pt x="41" y="899"/>
                  </a:lnTo>
                  <a:lnTo>
                    <a:pt x="41" y="899"/>
                  </a:lnTo>
                  <a:lnTo>
                    <a:pt x="41" y="899"/>
                  </a:lnTo>
                  <a:lnTo>
                    <a:pt x="42" y="899"/>
                  </a:lnTo>
                  <a:lnTo>
                    <a:pt x="42" y="899"/>
                  </a:lnTo>
                  <a:lnTo>
                    <a:pt x="42" y="899"/>
                  </a:lnTo>
                  <a:lnTo>
                    <a:pt x="42"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899"/>
                  </a:lnTo>
                  <a:lnTo>
                    <a:pt x="46" y="899"/>
                  </a:lnTo>
                  <a:lnTo>
                    <a:pt x="46" y="1644"/>
                  </a:lnTo>
                  <a:lnTo>
                    <a:pt x="46" y="1644"/>
                  </a:lnTo>
                  <a:lnTo>
                    <a:pt x="46" y="899"/>
                  </a:lnTo>
                  <a:lnTo>
                    <a:pt x="46" y="899"/>
                  </a:lnTo>
                  <a:lnTo>
                    <a:pt x="46" y="899"/>
                  </a:lnTo>
                  <a:lnTo>
                    <a:pt x="46" y="899"/>
                  </a:lnTo>
                  <a:lnTo>
                    <a:pt x="46" y="899"/>
                  </a:lnTo>
                  <a:lnTo>
                    <a:pt x="47" y="899"/>
                  </a:lnTo>
                  <a:lnTo>
                    <a:pt x="47" y="899"/>
                  </a:lnTo>
                  <a:lnTo>
                    <a:pt x="50" y="899"/>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899"/>
                  </a:lnTo>
                  <a:lnTo>
                    <a:pt x="62" y="899"/>
                  </a:lnTo>
                  <a:lnTo>
                    <a:pt x="62" y="899"/>
                  </a:lnTo>
                  <a:lnTo>
                    <a:pt x="62" y="899"/>
                  </a:lnTo>
                  <a:lnTo>
                    <a:pt x="62" y="899"/>
                  </a:lnTo>
                  <a:lnTo>
                    <a:pt x="62" y="899"/>
                  </a:lnTo>
                  <a:lnTo>
                    <a:pt x="62" y="899"/>
                  </a:lnTo>
                  <a:lnTo>
                    <a:pt x="63" y="899"/>
                  </a:lnTo>
                  <a:lnTo>
                    <a:pt x="63"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5" y="899"/>
                  </a:lnTo>
                  <a:lnTo>
                    <a:pt x="65" y="899"/>
                  </a:lnTo>
                  <a:lnTo>
                    <a:pt x="65" y="899"/>
                  </a:lnTo>
                  <a:lnTo>
                    <a:pt x="65" y="899"/>
                  </a:lnTo>
                  <a:lnTo>
                    <a:pt x="65" y="899"/>
                  </a:lnTo>
                  <a:lnTo>
                    <a:pt x="65" y="899"/>
                  </a:lnTo>
                  <a:lnTo>
                    <a:pt x="65" y="899"/>
                  </a:lnTo>
                  <a:lnTo>
                    <a:pt x="65" y="899"/>
                  </a:lnTo>
                  <a:lnTo>
                    <a:pt x="66" y="899"/>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2" y="899"/>
                  </a:lnTo>
                  <a:lnTo>
                    <a:pt x="72" y="899"/>
                  </a:lnTo>
                  <a:lnTo>
                    <a:pt x="76" y="899"/>
                  </a:lnTo>
                  <a:lnTo>
                    <a:pt x="76" y="899"/>
                  </a:lnTo>
                  <a:lnTo>
                    <a:pt x="81" y="899"/>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9" y="899"/>
                  </a:lnTo>
                  <a:lnTo>
                    <a:pt x="89" y="899"/>
                  </a:lnTo>
                  <a:lnTo>
                    <a:pt x="89" y="899"/>
                  </a:lnTo>
                  <a:lnTo>
                    <a:pt x="89" y="899"/>
                  </a:lnTo>
                  <a:lnTo>
                    <a:pt x="89" y="899"/>
                  </a:lnTo>
                  <a:lnTo>
                    <a:pt x="89" y="899"/>
                  </a:lnTo>
                  <a:lnTo>
                    <a:pt x="89" y="899"/>
                  </a:lnTo>
                  <a:lnTo>
                    <a:pt x="89" y="899"/>
                  </a:lnTo>
                  <a:lnTo>
                    <a:pt x="89" y="899"/>
                  </a:lnTo>
                  <a:lnTo>
                    <a:pt x="89" y="899"/>
                  </a:lnTo>
                  <a:lnTo>
                    <a:pt x="92" y="899"/>
                  </a:lnTo>
                  <a:lnTo>
                    <a:pt x="92" y="899"/>
                  </a:lnTo>
                  <a:lnTo>
                    <a:pt x="93" y="899"/>
                  </a:lnTo>
                  <a:lnTo>
                    <a:pt x="93" y="1544"/>
                  </a:lnTo>
                  <a:lnTo>
                    <a:pt x="93" y="1544"/>
                  </a:lnTo>
                  <a:lnTo>
                    <a:pt x="93" y="899"/>
                  </a:lnTo>
                  <a:lnTo>
                    <a:pt x="94" y="899"/>
                  </a:lnTo>
                  <a:lnTo>
                    <a:pt x="94" y="1544"/>
                  </a:lnTo>
                  <a:lnTo>
                    <a:pt x="101" y="1544"/>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1532"/>
                  </a:lnTo>
                  <a:lnTo>
                    <a:pt x="107" y="1532"/>
                  </a:lnTo>
                  <a:lnTo>
                    <a:pt x="107" y="899"/>
                  </a:lnTo>
                  <a:lnTo>
                    <a:pt x="108" y="899"/>
                  </a:lnTo>
                  <a:lnTo>
                    <a:pt x="108" y="899"/>
                  </a:lnTo>
                  <a:lnTo>
                    <a:pt x="110" y="899"/>
                  </a:lnTo>
                  <a:lnTo>
                    <a:pt x="110" y="899"/>
                  </a:lnTo>
                  <a:lnTo>
                    <a:pt x="112" y="899"/>
                  </a:lnTo>
                  <a:lnTo>
                    <a:pt x="112" y="1532"/>
                  </a:lnTo>
                  <a:lnTo>
                    <a:pt x="115" y="1532"/>
                  </a:lnTo>
                  <a:lnTo>
                    <a:pt x="115"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899"/>
                  </a:lnTo>
                  <a:lnTo>
                    <a:pt x="123" y="899"/>
                  </a:lnTo>
                  <a:lnTo>
                    <a:pt x="123" y="1510"/>
                  </a:lnTo>
                  <a:lnTo>
                    <a:pt x="123" y="1510"/>
                  </a:lnTo>
                  <a:lnTo>
                    <a:pt x="123" y="1510"/>
                  </a:lnTo>
                  <a:lnTo>
                    <a:pt x="125" y="1510"/>
                  </a:lnTo>
                  <a:lnTo>
                    <a:pt x="125" y="1510"/>
                  </a:lnTo>
                  <a:lnTo>
                    <a:pt x="125" y="1510"/>
                  </a:lnTo>
                  <a:lnTo>
                    <a:pt x="125" y="1510"/>
                  </a:lnTo>
                  <a:lnTo>
                    <a:pt x="125" y="1510"/>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899"/>
                  </a:lnTo>
                  <a:lnTo>
                    <a:pt x="131" y="899"/>
                  </a:lnTo>
                  <a:lnTo>
                    <a:pt x="131" y="899"/>
                  </a:lnTo>
                  <a:lnTo>
                    <a:pt x="133" y="899"/>
                  </a:lnTo>
                  <a:lnTo>
                    <a:pt x="133" y="899"/>
                  </a:lnTo>
                  <a:lnTo>
                    <a:pt x="135" y="899"/>
                  </a:lnTo>
                  <a:lnTo>
                    <a:pt x="135" y="899"/>
                  </a:lnTo>
                  <a:lnTo>
                    <a:pt x="135" y="899"/>
                  </a:lnTo>
                  <a:lnTo>
                    <a:pt x="135" y="899"/>
                  </a:lnTo>
                  <a:lnTo>
                    <a:pt x="135" y="899"/>
                  </a:lnTo>
                  <a:lnTo>
                    <a:pt x="135" y="899"/>
                  </a:lnTo>
                  <a:lnTo>
                    <a:pt x="135" y="899"/>
                  </a:lnTo>
                  <a:lnTo>
                    <a:pt x="135" y="899"/>
                  </a:lnTo>
                  <a:lnTo>
                    <a:pt x="135" y="899"/>
                  </a:lnTo>
                  <a:lnTo>
                    <a:pt x="135"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8" y="899"/>
                  </a:lnTo>
                  <a:lnTo>
                    <a:pt x="138" y="899"/>
                  </a:lnTo>
                  <a:lnTo>
                    <a:pt x="138" y="899"/>
                  </a:lnTo>
                  <a:lnTo>
                    <a:pt x="138" y="899"/>
                  </a:lnTo>
                  <a:lnTo>
                    <a:pt x="138" y="899"/>
                  </a:lnTo>
                  <a:lnTo>
                    <a:pt x="138" y="899"/>
                  </a:lnTo>
                  <a:lnTo>
                    <a:pt x="138" y="899"/>
                  </a:lnTo>
                  <a:lnTo>
                    <a:pt x="138" y="899"/>
                  </a:lnTo>
                  <a:lnTo>
                    <a:pt x="138" y="899"/>
                  </a:lnTo>
                  <a:lnTo>
                    <a:pt x="138"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2" y="899"/>
                  </a:lnTo>
                  <a:lnTo>
                    <a:pt x="142" y="899"/>
                  </a:lnTo>
                  <a:lnTo>
                    <a:pt x="142" y="899"/>
                  </a:lnTo>
                  <a:lnTo>
                    <a:pt x="142" y="899"/>
                  </a:lnTo>
                  <a:lnTo>
                    <a:pt x="142" y="899"/>
                  </a:lnTo>
                  <a:lnTo>
                    <a:pt x="142" y="899"/>
                  </a:lnTo>
                  <a:lnTo>
                    <a:pt x="143" y="899"/>
                  </a:lnTo>
                  <a:lnTo>
                    <a:pt x="143" y="899"/>
                  </a:lnTo>
                  <a:lnTo>
                    <a:pt x="144" y="899"/>
                  </a:lnTo>
                  <a:lnTo>
                    <a:pt x="144" y="899"/>
                  </a:lnTo>
                  <a:lnTo>
                    <a:pt x="147" y="899"/>
                  </a:lnTo>
                  <a:lnTo>
                    <a:pt x="147" y="899"/>
                  </a:lnTo>
                  <a:lnTo>
                    <a:pt x="147" y="899"/>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9" y="899"/>
                  </a:lnTo>
                  <a:lnTo>
                    <a:pt x="149"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7" y="899"/>
                  </a:lnTo>
                  <a:lnTo>
                    <a:pt x="167"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5" y="899"/>
                  </a:lnTo>
                  <a:lnTo>
                    <a:pt x="205" y="899"/>
                  </a:lnTo>
                  <a:lnTo>
                    <a:pt x="206" y="899"/>
                  </a:lnTo>
                  <a:lnTo>
                    <a:pt x="206" y="899"/>
                  </a:lnTo>
                  <a:lnTo>
                    <a:pt x="207" y="899"/>
                  </a:lnTo>
                  <a:lnTo>
                    <a:pt x="207" y="899"/>
                  </a:lnTo>
                  <a:lnTo>
                    <a:pt x="207" y="899"/>
                  </a:lnTo>
                  <a:lnTo>
                    <a:pt x="207" y="1420"/>
                  </a:lnTo>
                  <a:lnTo>
                    <a:pt x="207" y="1420"/>
                  </a:lnTo>
                  <a:lnTo>
                    <a:pt x="207" y="1420"/>
                  </a:lnTo>
                  <a:lnTo>
                    <a:pt x="209" y="1420"/>
                  </a:lnTo>
                  <a:lnTo>
                    <a:pt x="209" y="899"/>
                  </a:lnTo>
                  <a:lnTo>
                    <a:pt x="209" y="899"/>
                  </a:lnTo>
                  <a:lnTo>
                    <a:pt x="209" y="1420"/>
                  </a:lnTo>
                  <a:lnTo>
                    <a:pt x="209" y="1420"/>
                  </a:lnTo>
                  <a:lnTo>
                    <a:pt x="209" y="1420"/>
                  </a:lnTo>
                  <a:lnTo>
                    <a:pt x="209" y="1420"/>
                  </a:lnTo>
                  <a:lnTo>
                    <a:pt x="209" y="899"/>
                  </a:lnTo>
                  <a:lnTo>
                    <a:pt x="209" y="899"/>
                  </a:lnTo>
                  <a:lnTo>
                    <a:pt x="209" y="899"/>
                  </a:lnTo>
                  <a:lnTo>
                    <a:pt x="210" y="899"/>
                  </a:lnTo>
                  <a:lnTo>
                    <a:pt x="210" y="899"/>
                  </a:lnTo>
                  <a:lnTo>
                    <a:pt x="211" y="899"/>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20" y="899"/>
                  </a:lnTo>
                  <a:lnTo>
                    <a:pt x="220" y="899"/>
                  </a:lnTo>
                  <a:lnTo>
                    <a:pt x="220" y="899"/>
                  </a:lnTo>
                  <a:lnTo>
                    <a:pt x="220" y="899"/>
                  </a:lnTo>
                  <a:lnTo>
                    <a:pt x="220" y="899"/>
                  </a:lnTo>
                  <a:lnTo>
                    <a:pt x="220" y="899"/>
                  </a:lnTo>
                  <a:lnTo>
                    <a:pt x="220" y="899"/>
                  </a:lnTo>
                  <a:lnTo>
                    <a:pt x="220" y="899"/>
                  </a:lnTo>
                  <a:lnTo>
                    <a:pt x="220" y="899"/>
                  </a:lnTo>
                  <a:lnTo>
                    <a:pt x="220" y="899"/>
                  </a:lnTo>
                  <a:lnTo>
                    <a:pt x="221" y="899"/>
                  </a:lnTo>
                  <a:lnTo>
                    <a:pt x="221" y="899"/>
                  </a:lnTo>
                  <a:lnTo>
                    <a:pt x="221" y="899"/>
                  </a:lnTo>
                  <a:lnTo>
                    <a:pt x="221" y="899"/>
                  </a:lnTo>
                  <a:lnTo>
                    <a:pt x="222" y="899"/>
                  </a:lnTo>
                  <a:lnTo>
                    <a:pt x="222" y="899"/>
                  </a:lnTo>
                  <a:lnTo>
                    <a:pt x="222" y="899"/>
                  </a:lnTo>
                  <a:lnTo>
                    <a:pt x="222" y="899"/>
                  </a:lnTo>
                  <a:lnTo>
                    <a:pt x="223" y="899"/>
                  </a:lnTo>
                  <a:lnTo>
                    <a:pt x="223" y="899"/>
                  </a:lnTo>
                  <a:lnTo>
                    <a:pt x="224" y="899"/>
                  </a:lnTo>
                  <a:lnTo>
                    <a:pt x="224" y="899"/>
                  </a:lnTo>
                  <a:lnTo>
                    <a:pt x="226" y="899"/>
                  </a:lnTo>
                  <a:lnTo>
                    <a:pt x="226" y="899"/>
                  </a:lnTo>
                  <a:lnTo>
                    <a:pt x="228" y="899"/>
                  </a:lnTo>
                  <a:lnTo>
                    <a:pt x="228" y="899"/>
                  </a:lnTo>
                  <a:lnTo>
                    <a:pt x="233" y="899"/>
                  </a:lnTo>
                  <a:lnTo>
                    <a:pt x="233" y="899"/>
                  </a:lnTo>
                  <a:lnTo>
                    <a:pt x="233" y="899"/>
                  </a:lnTo>
                  <a:lnTo>
                    <a:pt x="233" y="1413"/>
                  </a:lnTo>
                  <a:lnTo>
                    <a:pt x="236" y="1413"/>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8" y="899"/>
                  </a:lnTo>
                  <a:lnTo>
                    <a:pt x="238" y="899"/>
                  </a:lnTo>
                  <a:lnTo>
                    <a:pt x="238" y="899"/>
                  </a:lnTo>
                  <a:lnTo>
                    <a:pt x="238" y="899"/>
                  </a:lnTo>
                  <a:lnTo>
                    <a:pt x="238" y="899"/>
                  </a:lnTo>
                  <a:lnTo>
                    <a:pt x="238" y="899"/>
                  </a:lnTo>
                  <a:lnTo>
                    <a:pt x="238" y="899"/>
                  </a:lnTo>
                  <a:lnTo>
                    <a:pt x="238" y="899"/>
                  </a:lnTo>
                  <a:lnTo>
                    <a:pt x="238" y="899"/>
                  </a:lnTo>
                  <a:lnTo>
                    <a:pt x="238"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1404"/>
                  </a:lnTo>
                  <a:lnTo>
                    <a:pt x="247" y="1404"/>
                  </a:lnTo>
                  <a:lnTo>
                    <a:pt x="247" y="1404"/>
                  </a:lnTo>
                  <a:lnTo>
                    <a:pt x="266" y="1404"/>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899"/>
                  </a:lnTo>
                  <a:lnTo>
                    <a:pt x="309" y="899"/>
                  </a:lnTo>
                  <a:lnTo>
                    <a:pt x="309" y="899"/>
                  </a:lnTo>
                  <a:lnTo>
                    <a:pt x="309" y="899"/>
                  </a:lnTo>
                  <a:lnTo>
                    <a:pt x="309" y="899"/>
                  </a:lnTo>
                  <a:lnTo>
                    <a:pt x="309" y="899"/>
                  </a:lnTo>
                  <a:lnTo>
                    <a:pt x="309" y="899"/>
                  </a:lnTo>
                  <a:lnTo>
                    <a:pt x="309" y="899"/>
                  </a:lnTo>
                  <a:lnTo>
                    <a:pt x="309" y="899"/>
                  </a:lnTo>
                  <a:lnTo>
                    <a:pt x="310" y="899"/>
                  </a:lnTo>
                  <a:lnTo>
                    <a:pt x="310" y="1372"/>
                  </a:lnTo>
                  <a:lnTo>
                    <a:pt x="322" y="1372"/>
                  </a:lnTo>
                  <a:lnTo>
                    <a:pt x="322" y="899"/>
                  </a:lnTo>
                  <a:lnTo>
                    <a:pt x="322" y="899"/>
                  </a:lnTo>
                  <a:lnTo>
                    <a:pt x="322" y="899"/>
                  </a:lnTo>
                  <a:lnTo>
                    <a:pt x="322" y="899"/>
                  </a:lnTo>
                  <a:lnTo>
                    <a:pt x="322" y="899"/>
                  </a:lnTo>
                  <a:lnTo>
                    <a:pt x="322" y="899"/>
                  </a:lnTo>
                  <a:lnTo>
                    <a:pt x="322" y="1371"/>
                  </a:lnTo>
                  <a:lnTo>
                    <a:pt x="326" y="1371"/>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1359"/>
                  </a:lnTo>
                  <a:lnTo>
                    <a:pt x="342" y="1359"/>
                  </a:lnTo>
                  <a:lnTo>
                    <a:pt x="342" y="1359"/>
                  </a:lnTo>
                  <a:lnTo>
                    <a:pt x="344" y="1359"/>
                  </a:lnTo>
                  <a:lnTo>
                    <a:pt x="344" y="1359"/>
                  </a:lnTo>
                  <a:lnTo>
                    <a:pt x="344" y="135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899"/>
                  </a:lnTo>
                  <a:lnTo>
                    <a:pt x="350" y="899"/>
                  </a:lnTo>
                  <a:lnTo>
                    <a:pt x="350" y="899"/>
                  </a:lnTo>
                  <a:lnTo>
                    <a:pt x="350" y="899"/>
                  </a:lnTo>
                  <a:lnTo>
                    <a:pt x="350"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2" y="899"/>
                  </a:lnTo>
                  <a:lnTo>
                    <a:pt x="352" y="899"/>
                  </a:lnTo>
                  <a:lnTo>
                    <a:pt x="352" y="899"/>
                  </a:lnTo>
                  <a:lnTo>
                    <a:pt x="352" y="899"/>
                  </a:lnTo>
                  <a:lnTo>
                    <a:pt x="354" y="899"/>
                  </a:lnTo>
                  <a:lnTo>
                    <a:pt x="354" y="899"/>
                  </a:lnTo>
                  <a:lnTo>
                    <a:pt x="358" y="899"/>
                  </a:lnTo>
                  <a:lnTo>
                    <a:pt x="358"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8" y="899"/>
                  </a:lnTo>
                  <a:lnTo>
                    <a:pt x="378" y="899"/>
                  </a:lnTo>
                  <a:lnTo>
                    <a:pt x="378" y="899"/>
                  </a:lnTo>
                  <a:lnTo>
                    <a:pt x="378" y="899"/>
                  </a:lnTo>
                  <a:lnTo>
                    <a:pt x="378" y="899"/>
                  </a:lnTo>
                  <a:lnTo>
                    <a:pt x="378" y="899"/>
                  </a:lnTo>
                  <a:lnTo>
                    <a:pt x="378" y="899"/>
                  </a:lnTo>
                  <a:lnTo>
                    <a:pt x="378" y="899"/>
                  </a:lnTo>
                  <a:lnTo>
                    <a:pt x="379" y="899"/>
                  </a:lnTo>
                  <a:lnTo>
                    <a:pt x="379" y="899"/>
                  </a:lnTo>
                  <a:lnTo>
                    <a:pt x="380" y="899"/>
                  </a:lnTo>
                  <a:lnTo>
                    <a:pt x="380" y="899"/>
                  </a:lnTo>
                  <a:lnTo>
                    <a:pt x="381" y="899"/>
                  </a:lnTo>
                  <a:lnTo>
                    <a:pt x="381"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4" y="899"/>
                  </a:lnTo>
                  <a:lnTo>
                    <a:pt x="384" y="899"/>
                  </a:lnTo>
                  <a:lnTo>
                    <a:pt x="387" y="899"/>
                  </a:lnTo>
                  <a:lnTo>
                    <a:pt x="387"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9" y="899"/>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3" y="899"/>
                  </a:lnTo>
                  <a:lnTo>
                    <a:pt x="403" y="899"/>
                  </a:lnTo>
                  <a:lnTo>
                    <a:pt x="404" y="899"/>
                  </a:lnTo>
                  <a:lnTo>
                    <a:pt x="404" y="899"/>
                  </a:lnTo>
                  <a:lnTo>
                    <a:pt x="405" y="899"/>
                  </a:lnTo>
                  <a:lnTo>
                    <a:pt x="405" y="899"/>
                  </a:lnTo>
                  <a:lnTo>
                    <a:pt x="405" y="899"/>
                  </a:lnTo>
                  <a:lnTo>
                    <a:pt x="405" y="899"/>
                  </a:lnTo>
                  <a:lnTo>
                    <a:pt x="405" y="899"/>
                  </a:lnTo>
                  <a:lnTo>
                    <a:pt x="405" y="899"/>
                  </a:lnTo>
                  <a:lnTo>
                    <a:pt x="406" y="899"/>
                  </a:lnTo>
                  <a:lnTo>
                    <a:pt x="406" y="899"/>
                  </a:lnTo>
                  <a:lnTo>
                    <a:pt x="407" y="899"/>
                  </a:lnTo>
                  <a:lnTo>
                    <a:pt x="407" y="899"/>
                  </a:lnTo>
                  <a:lnTo>
                    <a:pt x="409" y="899"/>
                  </a:lnTo>
                  <a:lnTo>
                    <a:pt x="409" y="899"/>
                  </a:lnTo>
                  <a:lnTo>
                    <a:pt x="410" y="899"/>
                  </a:lnTo>
                  <a:lnTo>
                    <a:pt x="410" y="899"/>
                  </a:lnTo>
                  <a:lnTo>
                    <a:pt x="412" y="899"/>
                  </a:lnTo>
                  <a:lnTo>
                    <a:pt x="412" y="899"/>
                  </a:lnTo>
                  <a:lnTo>
                    <a:pt x="413" y="899"/>
                  </a:lnTo>
                  <a:lnTo>
                    <a:pt x="413" y="899"/>
                  </a:lnTo>
                  <a:lnTo>
                    <a:pt x="415" y="899"/>
                  </a:lnTo>
                  <a:lnTo>
                    <a:pt x="415" y="899"/>
                  </a:lnTo>
                  <a:lnTo>
                    <a:pt x="418" y="899"/>
                  </a:lnTo>
                  <a:lnTo>
                    <a:pt x="418" y="899"/>
                  </a:lnTo>
                  <a:lnTo>
                    <a:pt x="424" y="899"/>
                  </a:lnTo>
                  <a:lnTo>
                    <a:pt x="424"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1" y="899"/>
                  </a:lnTo>
                  <a:lnTo>
                    <a:pt x="431" y="899"/>
                  </a:lnTo>
                  <a:lnTo>
                    <a:pt x="433" y="899"/>
                  </a:lnTo>
                  <a:lnTo>
                    <a:pt x="433" y="899"/>
                  </a:lnTo>
                  <a:lnTo>
                    <a:pt x="436" y="899"/>
                  </a:lnTo>
                  <a:lnTo>
                    <a:pt x="436" y="899"/>
                  </a:lnTo>
                  <a:lnTo>
                    <a:pt x="439" y="899"/>
                  </a:lnTo>
                  <a:lnTo>
                    <a:pt x="439" y="899"/>
                  </a:lnTo>
                  <a:lnTo>
                    <a:pt x="447" y="899"/>
                  </a:lnTo>
                  <a:lnTo>
                    <a:pt x="447" y="899"/>
                  </a:lnTo>
                  <a:lnTo>
                    <a:pt x="447" y="899"/>
                  </a:lnTo>
                  <a:lnTo>
                    <a:pt x="447"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9" y="899"/>
                  </a:lnTo>
                  <a:lnTo>
                    <a:pt x="449" y="899"/>
                  </a:lnTo>
                  <a:lnTo>
                    <a:pt x="450" y="899"/>
                  </a:lnTo>
                  <a:lnTo>
                    <a:pt x="450" y="899"/>
                  </a:lnTo>
                  <a:lnTo>
                    <a:pt x="451" y="899"/>
                  </a:lnTo>
                  <a:lnTo>
                    <a:pt x="451" y="899"/>
                  </a:lnTo>
                  <a:lnTo>
                    <a:pt x="453" y="899"/>
                  </a:lnTo>
                  <a:lnTo>
                    <a:pt x="453" y="899"/>
                  </a:lnTo>
                  <a:lnTo>
                    <a:pt x="453" y="899"/>
                  </a:lnTo>
                  <a:lnTo>
                    <a:pt x="453" y="899"/>
                  </a:lnTo>
                  <a:lnTo>
                    <a:pt x="453" y="899"/>
                  </a:lnTo>
                  <a:lnTo>
                    <a:pt x="453" y="899"/>
                  </a:lnTo>
                  <a:lnTo>
                    <a:pt x="453" y="899"/>
                  </a:lnTo>
                  <a:lnTo>
                    <a:pt x="453" y="899"/>
                  </a:lnTo>
                  <a:lnTo>
                    <a:pt x="453" y="899"/>
                  </a:lnTo>
                  <a:lnTo>
                    <a:pt x="453" y="1324"/>
                  </a:lnTo>
                  <a:lnTo>
                    <a:pt x="453" y="1324"/>
                  </a:lnTo>
                  <a:lnTo>
                    <a:pt x="453" y="899"/>
                  </a:lnTo>
                  <a:lnTo>
                    <a:pt x="453" y="899"/>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9" y="899"/>
                  </a:lnTo>
                  <a:lnTo>
                    <a:pt x="459" y="899"/>
                  </a:lnTo>
                  <a:lnTo>
                    <a:pt x="460" y="899"/>
                  </a:lnTo>
                  <a:lnTo>
                    <a:pt x="460" y="899"/>
                  </a:lnTo>
                  <a:lnTo>
                    <a:pt x="460" y="899"/>
                  </a:lnTo>
                  <a:lnTo>
                    <a:pt x="460" y="899"/>
                  </a:lnTo>
                  <a:lnTo>
                    <a:pt x="461" y="899"/>
                  </a:lnTo>
                  <a:lnTo>
                    <a:pt x="461" y="899"/>
                  </a:lnTo>
                  <a:lnTo>
                    <a:pt x="462" y="899"/>
                  </a:lnTo>
                  <a:lnTo>
                    <a:pt x="462" y="899"/>
                  </a:lnTo>
                  <a:lnTo>
                    <a:pt x="463" y="899"/>
                  </a:lnTo>
                  <a:lnTo>
                    <a:pt x="463" y="899"/>
                  </a:lnTo>
                  <a:lnTo>
                    <a:pt x="464" y="899"/>
                  </a:lnTo>
                  <a:lnTo>
                    <a:pt x="464" y="899"/>
                  </a:lnTo>
                  <a:lnTo>
                    <a:pt x="470" y="899"/>
                  </a:lnTo>
                  <a:lnTo>
                    <a:pt x="470" y="899"/>
                  </a:lnTo>
                  <a:lnTo>
                    <a:pt x="470" y="899"/>
                  </a:lnTo>
                  <a:lnTo>
                    <a:pt x="470" y="899"/>
                  </a:lnTo>
                  <a:lnTo>
                    <a:pt x="470" y="899"/>
                  </a:lnTo>
                  <a:lnTo>
                    <a:pt x="470" y="899"/>
                  </a:lnTo>
                  <a:lnTo>
                    <a:pt x="471" y="899"/>
                  </a:lnTo>
                  <a:lnTo>
                    <a:pt x="471" y="899"/>
                  </a:lnTo>
                  <a:lnTo>
                    <a:pt x="471" y="899"/>
                  </a:lnTo>
                  <a:lnTo>
                    <a:pt x="471" y="899"/>
                  </a:lnTo>
                  <a:lnTo>
                    <a:pt x="471" y="899"/>
                  </a:lnTo>
                  <a:lnTo>
                    <a:pt x="471" y="899"/>
                  </a:lnTo>
                  <a:lnTo>
                    <a:pt x="471" y="899"/>
                  </a:lnTo>
                  <a:lnTo>
                    <a:pt x="471" y="899"/>
                  </a:lnTo>
                  <a:lnTo>
                    <a:pt x="472" y="899"/>
                  </a:lnTo>
                  <a:lnTo>
                    <a:pt x="472" y="899"/>
                  </a:lnTo>
                  <a:lnTo>
                    <a:pt x="472" y="899"/>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899"/>
                  </a:lnTo>
                  <a:lnTo>
                    <a:pt x="510" y="899"/>
                  </a:lnTo>
                  <a:lnTo>
                    <a:pt x="510" y="899"/>
                  </a:lnTo>
                  <a:lnTo>
                    <a:pt x="510" y="899"/>
                  </a:lnTo>
                  <a:lnTo>
                    <a:pt x="510" y="899"/>
                  </a:lnTo>
                  <a:lnTo>
                    <a:pt x="510" y="899"/>
                  </a:lnTo>
                  <a:lnTo>
                    <a:pt x="510"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2" y="899"/>
                  </a:lnTo>
                  <a:lnTo>
                    <a:pt x="512" y="899"/>
                  </a:lnTo>
                  <a:lnTo>
                    <a:pt x="514" y="899"/>
                  </a:lnTo>
                  <a:lnTo>
                    <a:pt x="514"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899"/>
                  </a:lnTo>
                  <a:lnTo>
                    <a:pt x="530" y="899"/>
                  </a:lnTo>
                  <a:lnTo>
                    <a:pt x="530" y="899"/>
                  </a:lnTo>
                  <a:lnTo>
                    <a:pt x="530" y="899"/>
                  </a:lnTo>
                  <a:lnTo>
                    <a:pt x="530" y="899"/>
                  </a:lnTo>
                  <a:lnTo>
                    <a:pt x="530" y="899"/>
                  </a:lnTo>
                  <a:lnTo>
                    <a:pt x="530" y="899"/>
                  </a:lnTo>
                  <a:lnTo>
                    <a:pt x="530" y="899"/>
                  </a:lnTo>
                  <a:lnTo>
                    <a:pt x="530" y="899"/>
                  </a:lnTo>
                  <a:lnTo>
                    <a:pt x="531" y="899"/>
                  </a:lnTo>
                  <a:lnTo>
                    <a:pt x="531" y="899"/>
                  </a:lnTo>
                  <a:lnTo>
                    <a:pt x="531" y="899"/>
                  </a:lnTo>
                  <a:lnTo>
                    <a:pt x="531" y="899"/>
                  </a:lnTo>
                  <a:lnTo>
                    <a:pt x="532" y="899"/>
                  </a:lnTo>
                  <a:lnTo>
                    <a:pt x="532" y="899"/>
                  </a:lnTo>
                  <a:lnTo>
                    <a:pt x="532" y="899"/>
                  </a:lnTo>
                  <a:lnTo>
                    <a:pt x="532" y="899"/>
                  </a:lnTo>
                  <a:lnTo>
                    <a:pt x="533" y="899"/>
                  </a:lnTo>
                  <a:lnTo>
                    <a:pt x="533" y="899"/>
                  </a:lnTo>
                  <a:lnTo>
                    <a:pt x="534" y="899"/>
                  </a:lnTo>
                  <a:lnTo>
                    <a:pt x="534" y="899"/>
                  </a:lnTo>
                  <a:lnTo>
                    <a:pt x="538" y="899"/>
                  </a:lnTo>
                  <a:lnTo>
                    <a:pt x="53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50" y="899"/>
                  </a:lnTo>
                  <a:lnTo>
                    <a:pt x="550" y="899"/>
                  </a:lnTo>
                  <a:lnTo>
                    <a:pt x="551" y="899"/>
                  </a:lnTo>
                  <a:lnTo>
                    <a:pt x="551" y="899"/>
                  </a:lnTo>
                  <a:lnTo>
                    <a:pt x="554" y="899"/>
                  </a:lnTo>
                  <a:lnTo>
                    <a:pt x="554" y="899"/>
                  </a:lnTo>
                  <a:lnTo>
                    <a:pt x="554" y="899"/>
                  </a:lnTo>
                  <a:lnTo>
                    <a:pt x="554"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4" y="899"/>
                  </a:lnTo>
                  <a:lnTo>
                    <a:pt x="574" y="899"/>
                  </a:lnTo>
                  <a:lnTo>
                    <a:pt x="576" y="899"/>
                  </a:lnTo>
                  <a:lnTo>
                    <a:pt x="576" y="899"/>
                  </a:lnTo>
                  <a:lnTo>
                    <a:pt x="579" y="899"/>
                  </a:lnTo>
                  <a:lnTo>
                    <a:pt x="579" y="1292"/>
                  </a:lnTo>
                  <a:lnTo>
                    <a:pt x="580" y="1292"/>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7" y="899"/>
                  </a:lnTo>
                  <a:lnTo>
                    <a:pt x="587" y="899"/>
                  </a:lnTo>
                  <a:lnTo>
                    <a:pt x="587" y="899"/>
                  </a:lnTo>
                  <a:lnTo>
                    <a:pt x="587" y="899"/>
                  </a:lnTo>
                  <a:lnTo>
                    <a:pt x="587" y="899"/>
                  </a:lnTo>
                  <a:lnTo>
                    <a:pt x="587" y="899"/>
                  </a:lnTo>
                  <a:lnTo>
                    <a:pt x="588" y="899"/>
                  </a:lnTo>
                  <a:lnTo>
                    <a:pt x="588" y="899"/>
                  </a:lnTo>
                  <a:lnTo>
                    <a:pt x="588" y="899"/>
                  </a:lnTo>
                  <a:lnTo>
                    <a:pt x="588" y="899"/>
                  </a:lnTo>
                  <a:lnTo>
                    <a:pt x="589" y="899"/>
                  </a:lnTo>
                  <a:lnTo>
                    <a:pt x="589" y="899"/>
                  </a:lnTo>
                  <a:lnTo>
                    <a:pt x="590" y="899"/>
                  </a:lnTo>
                  <a:lnTo>
                    <a:pt x="590" y="899"/>
                  </a:lnTo>
                  <a:lnTo>
                    <a:pt x="591" y="899"/>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899"/>
                  </a:lnTo>
                  <a:lnTo>
                    <a:pt x="605" y="899"/>
                  </a:lnTo>
                  <a:lnTo>
                    <a:pt x="605"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7" y="899"/>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50" y="899"/>
                  </a:lnTo>
                  <a:lnTo>
                    <a:pt x="650" y="899"/>
                  </a:lnTo>
                  <a:lnTo>
                    <a:pt x="651" y="899"/>
                  </a:lnTo>
                  <a:lnTo>
                    <a:pt x="651" y="899"/>
                  </a:lnTo>
                  <a:lnTo>
                    <a:pt x="653" y="899"/>
                  </a:lnTo>
                  <a:lnTo>
                    <a:pt x="653" y="899"/>
                  </a:lnTo>
                  <a:lnTo>
                    <a:pt x="663" y="899"/>
                  </a:lnTo>
                  <a:lnTo>
                    <a:pt x="663" y="899"/>
                  </a:lnTo>
                  <a:lnTo>
                    <a:pt x="663" y="899"/>
                  </a:lnTo>
                  <a:lnTo>
                    <a:pt x="663" y="899"/>
                  </a:lnTo>
                  <a:lnTo>
                    <a:pt x="673" y="899"/>
                  </a:lnTo>
                  <a:lnTo>
                    <a:pt x="673" y="1276"/>
                  </a:lnTo>
                  <a:lnTo>
                    <a:pt x="673" y="1276"/>
                  </a:lnTo>
                  <a:lnTo>
                    <a:pt x="673" y="1276"/>
                  </a:lnTo>
                  <a:lnTo>
                    <a:pt x="673" y="1276"/>
                  </a:lnTo>
                  <a:lnTo>
                    <a:pt x="673" y="899"/>
                  </a:lnTo>
                  <a:lnTo>
                    <a:pt x="673" y="899"/>
                  </a:lnTo>
                  <a:lnTo>
                    <a:pt x="673" y="899"/>
                  </a:lnTo>
                  <a:lnTo>
                    <a:pt x="674" y="899"/>
                  </a:lnTo>
                  <a:lnTo>
                    <a:pt x="674" y="899"/>
                  </a:lnTo>
                  <a:lnTo>
                    <a:pt x="674" y="899"/>
                  </a:lnTo>
                  <a:lnTo>
                    <a:pt x="674" y="1276"/>
                  </a:lnTo>
                  <a:lnTo>
                    <a:pt x="675" y="1276"/>
                  </a:lnTo>
                  <a:lnTo>
                    <a:pt x="675" y="1276"/>
                  </a:lnTo>
                  <a:lnTo>
                    <a:pt x="677" y="1276"/>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1273"/>
                  </a:lnTo>
                  <a:lnTo>
                    <a:pt x="677" y="1273"/>
                  </a:lnTo>
                  <a:lnTo>
                    <a:pt x="677" y="1273"/>
                  </a:lnTo>
                  <a:lnTo>
                    <a:pt x="679" y="1273"/>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1269"/>
                  </a:lnTo>
                  <a:lnTo>
                    <a:pt x="726" y="1269"/>
                  </a:lnTo>
                  <a:lnTo>
                    <a:pt x="726" y="1266"/>
                  </a:lnTo>
                  <a:lnTo>
                    <a:pt x="726" y="1266"/>
                  </a:lnTo>
                  <a:lnTo>
                    <a:pt x="726" y="899"/>
                  </a:lnTo>
                  <a:lnTo>
                    <a:pt x="726" y="899"/>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3" y="899"/>
                  </a:lnTo>
                  <a:lnTo>
                    <a:pt x="753" y="899"/>
                  </a:lnTo>
                  <a:lnTo>
                    <a:pt x="753" y="899"/>
                  </a:lnTo>
                  <a:lnTo>
                    <a:pt x="753" y="899"/>
                  </a:lnTo>
                  <a:lnTo>
                    <a:pt x="754" y="899"/>
                  </a:lnTo>
                  <a:lnTo>
                    <a:pt x="754" y="899"/>
                  </a:lnTo>
                  <a:lnTo>
                    <a:pt x="754" y="899"/>
                  </a:lnTo>
                  <a:lnTo>
                    <a:pt x="754" y="899"/>
                  </a:lnTo>
                  <a:lnTo>
                    <a:pt x="754" y="899"/>
                  </a:lnTo>
                  <a:lnTo>
                    <a:pt x="754" y="899"/>
                  </a:lnTo>
                  <a:lnTo>
                    <a:pt x="755" y="899"/>
                  </a:lnTo>
                  <a:lnTo>
                    <a:pt x="755" y="899"/>
                  </a:lnTo>
                  <a:lnTo>
                    <a:pt x="756" y="899"/>
                  </a:lnTo>
                  <a:lnTo>
                    <a:pt x="756" y="899"/>
                  </a:lnTo>
                  <a:lnTo>
                    <a:pt x="756" y="899"/>
                  </a:lnTo>
                  <a:lnTo>
                    <a:pt x="756" y="899"/>
                  </a:lnTo>
                  <a:lnTo>
                    <a:pt x="757" y="899"/>
                  </a:lnTo>
                  <a:lnTo>
                    <a:pt x="757" y="899"/>
                  </a:lnTo>
                  <a:lnTo>
                    <a:pt x="758" y="899"/>
                  </a:lnTo>
                  <a:lnTo>
                    <a:pt x="758" y="899"/>
                  </a:lnTo>
                  <a:lnTo>
                    <a:pt x="759" y="899"/>
                  </a:lnTo>
                  <a:lnTo>
                    <a:pt x="759" y="899"/>
                  </a:lnTo>
                  <a:lnTo>
                    <a:pt x="760" y="899"/>
                  </a:lnTo>
                  <a:lnTo>
                    <a:pt x="760" y="899"/>
                  </a:lnTo>
                  <a:lnTo>
                    <a:pt x="763" y="899"/>
                  </a:lnTo>
                  <a:lnTo>
                    <a:pt x="763"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1253"/>
                  </a:lnTo>
                  <a:lnTo>
                    <a:pt x="768" y="1253"/>
                  </a:lnTo>
                  <a:lnTo>
                    <a:pt x="768" y="1253"/>
                  </a:lnTo>
                  <a:lnTo>
                    <a:pt x="777" y="1253"/>
                  </a:lnTo>
                  <a:lnTo>
                    <a:pt x="777" y="899"/>
                  </a:lnTo>
                  <a:lnTo>
                    <a:pt x="777" y="899"/>
                  </a:lnTo>
                  <a:lnTo>
                    <a:pt x="777" y="899"/>
                  </a:lnTo>
                  <a:lnTo>
                    <a:pt x="777" y="899"/>
                  </a:lnTo>
                  <a:lnTo>
                    <a:pt x="777" y="899"/>
                  </a:lnTo>
                  <a:lnTo>
                    <a:pt x="777" y="899"/>
                  </a:lnTo>
                  <a:lnTo>
                    <a:pt x="777" y="899"/>
                  </a:lnTo>
                  <a:lnTo>
                    <a:pt x="778" y="899"/>
                  </a:lnTo>
                  <a:lnTo>
                    <a:pt x="778" y="899"/>
                  </a:lnTo>
                  <a:lnTo>
                    <a:pt x="778" y="899"/>
                  </a:lnTo>
                  <a:lnTo>
                    <a:pt x="778" y="899"/>
                  </a:lnTo>
                  <a:lnTo>
                    <a:pt x="778" y="899"/>
                  </a:lnTo>
                  <a:lnTo>
                    <a:pt x="778" y="899"/>
                  </a:lnTo>
                  <a:lnTo>
                    <a:pt x="778" y="899"/>
                  </a:lnTo>
                  <a:lnTo>
                    <a:pt x="778" y="899"/>
                  </a:lnTo>
                  <a:lnTo>
                    <a:pt x="779" y="899"/>
                  </a:lnTo>
                  <a:lnTo>
                    <a:pt x="779" y="899"/>
                  </a:lnTo>
                  <a:lnTo>
                    <a:pt x="781" y="899"/>
                  </a:lnTo>
                  <a:lnTo>
                    <a:pt x="781" y="899"/>
                  </a:lnTo>
                  <a:lnTo>
                    <a:pt x="782" y="899"/>
                  </a:lnTo>
                  <a:lnTo>
                    <a:pt x="782" y="899"/>
                  </a:lnTo>
                  <a:lnTo>
                    <a:pt x="786" y="899"/>
                  </a:lnTo>
                  <a:lnTo>
                    <a:pt x="786" y="899"/>
                  </a:lnTo>
                  <a:lnTo>
                    <a:pt x="792" y="899"/>
                  </a:lnTo>
                  <a:lnTo>
                    <a:pt x="792" y="1250"/>
                  </a:lnTo>
                  <a:lnTo>
                    <a:pt x="792" y="1250"/>
                  </a:lnTo>
                  <a:lnTo>
                    <a:pt x="792" y="1250"/>
                  </a:lnTo>
                  <a:lnTo>
                    <a:pt x="792" y="1250"/>
                  </a:lnTo>
                  <a:lnTo>
                    <a:pt x="792"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4" y="899"/>
                  </a:lnTo>
                  <a:lnTo>
                    <a:pt x="794" y="899"/>
                  </a:lnTo>
                  <a:lnTo>
                    <a:pt x="794" y="899"/>
                  </a:lnTo>
                  <a:lnTo>
                    <a:pt x="794" y="899"/>
                  </a:lnTo>
                  <a:lnTo>
                    <a:pt x="795" y="899"/>
                  </a:lnTo>
                  <a:lnTo>
                    <a:pt x="795"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7" y="899"/>
                  </a:lnTo>
                  <a:lnTo>
                    <a:pt x="837" y="899"/>
                  </a:lnTo>
                  <a:lnTo>
                    <a:pt x="838" y="899"/>
                  </a:lnTo>
                  <a:lnTo>
                    <a:pt x="838"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899"/>
                  </a:lnTo>
                  <a:lnTo>
                    <a:pt x="847" y="899"/>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1220"/>
                  </a:lnTo>
                  <a:lnTo>
                    <a:pt x="847" y="1220"/>
                  </a:lnTo>
                  <a:lnTo>
                    <a:pt x="847" y="899"/>
                  </a:lnTo>
                  <a:lnTo>
                    <a:pt x="847" y="899"/>
                  </a:lnTo>
                  <a:lnTo>
                    <a:pt x="847" y="899"/>
                  </a:lnTo>
                  <a:lnTo>
                    <a:pt x="847" y="899"/>
                  </a:lnTo>
                  <a:lnTo>
                    <a:pt x="847" y="899"/>
                  </a:lnTo>
                  <a:lnTo>
                    <a:pt x="847" y="899"/>
                  </a:lnTo>
                  <a:lnTo>
                    <a:pt x="847" y="899"/>
                  </a:lnTo>
                  <a:lnTo>
                    <a:pt x="848" y="899"/>
                  </a:lnTo>
                  <a:lnTo>
                    <a:pt x="848" y="1220"/>
                  </a:lnTo>
                  <a:lnTo>
                    <a:pt x="848" y="1220"/>
                  </a:lnTo>
                  <a:lnTo>
                    <a:pt x="848" y="1220"/>
                  </a:lnTo>
                  <a:lnTo>
                    <a:pt x="848" y="1220"/>
                  </a:lnTo>
                  <a:lnTo>
                    <a:pt x="848" y="899"/>
                  </a:lnTo>
                  <a:lnTo>
                    <a:pt x="848" y="899"/>
                  </a:lnTo>
                  <a:lnTo>
                    <a:pt x="848" y="1220"/>
                  </a:lnTo>
                  <a:lnTo>
                    <a:pt x="849" y="1220"/>
                  </a:lnTo>
                  <a:lnTo>
                    <a:pt x="849" y="1220"/>
                  </a:lnTo>
                  <a:lnTo>
                    <a:pt x="850" y="1220"/>
                  </a:lnTo>
                  <a:lnTo>
                    <a:pt x="850"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2" y="899"/>
                  </a:lnTo>
                  <a:lnTo>
                    <a:pt x="852"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3" y="899"/>
                  </a:lnTo>
                  <a:lnTo>
                    <a:pt x="883" y="899"/>
                  </a:lnTo>
                  <a:lnTo>
                    <a:pt x="883" y="899"/>
                  </a:lnTo>
                  <a:lnTo>
                    <a:pt x="883" y="899"/>
                  </a:lnTo>
                  <a:lnTo>
                    <a:pt x="883" y="899"/>
                  </a:lnTo>
                  <a:lnTo>
                    <a:pt x="883" y="899"/>
                  </a:lnTo>
                  <a:lnTo>
                    <a:pt x="883" y="899"/>
                  </a:lnTo>
                  <a:lnTo>
                    <a:pt x="883" y="899"/>
                  </a:lnTo>
                  <a:lnTo>
                    <a:pt x="883" y="899"/>
                  </a:lnTo>
                  <a:lnTo>
                    <a:pt x="883" y="899"/>
                  </a:lnTo>
                  <a:lnTo>
                    <a:pt x="884" y="899"/>
                  </a:lnTo>
                  <a:lnTo>
                    <a:pt x="884" y="899"/>
                  </a:lnTo>
                  <a:lnTo>
                    <a:pt x="884" y="899"/>
                  </a:lnTo>
                  <a:lnTo>
                    <a:pt x="884" y="899"/>
                  </a:lnTo>
                  <a:lnTo>
                    <a:pt x="885" y="899"/>
                  </a:lnTo>
                  <a:lnTo>
                    <a:pt x="885"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7" y="899"/>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9" y="899"/>
                  </a:lnTo>
                  <a:lnTo>
                    <a:pt x="889" y="899"/>
                  </a:lnTo>
                  <a:lnTo>
                    <a:pt x="889" y="899"/>
                  </a:lnTo>
                  <a:lnTo>
                    <a:pt x="889" y="899"/>
                  </a:lnTo>
                  <a:lnTo>
                    <a:pt x="889" y="899"/>
                  </a:lnTo>
                  <a:lnTo>
                    <a:pt x="889" y="899"/>
                  </a:lnTo>
                  <a:lnTo>
                    <a:pt x="890" y="899"/>
                  </a:lnTo>
                  <a:lnTo>
                    <a:pt x="890" y="899"/>
                  </a:lnTo>
                  <a:lnTo>
                    <a:pt x="890" y="899"/>
                  </a:lnTo>
                  <a:lnTo>
                    <a:pt x="890" y="899"/>
                  </a:lnTo>
                  <a:lnTo>
                    <a:pt x="891" y="899"/>
                  </a:lnTo>
                  <a:lnTo>
                    <a:pt x="891" y="899"/>
                  </a:lnTo>
                  <a:lnTo>
                    <a:pt x="891" y="899"/>
                  </a:lnTo>
                  <a:lnTo>
                    <a:pt x="891" y="899"/>
                  </a:lnTo>
                  <a:lnTo>
                    <a:pt x="892" y="899"/>
                  </a:lnTo>
                  <a:lnTo>
                    <a:pt x="892" y="899"/>
                  </a:lnTo>
                  <a:lnTo>
                    <a:pt x="892" y="899"/>
                  </a:lnTo>
                  <a:lnTo>
                    <a:pt x="892" y="899"/>
                  </a:lnTo>
                  <a:lnTo>
                    <a:pt x="893" y="899"/>
                  </a:lnTo>
                  <a:lnTo>
                    <a:pt x="893" y="899"/>
                  </a:lnTo>
                  <a:lnTo>
                    <a:pt x="894" y="899"/>
                  </a:lnTo>
                  <a:lnTo>
                    <a:pt x="894" y="899"/>
                  </a:lnTo>
                  <a:lnTo>
                    <a:pt x="896" y="899"/>
                  </a:lnTo>
                  <a:lnTo>
                    <a:pt x="896" y="899"/>
                  </a:lnTo>
                  <a:lnTo>
                    <a:pt x="899" y="899"/>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4" y="899"/>
                  </a:lnTo>
                  <a:lnTo>
                    <a:pt x="914" y="899"/>
                  </a:lnTo>
                  <a:lnTo>
                    <a:pt x="914" y="899"/>
                  </a:lnTo>
                  <a:lnTo>
                    <a:pt x="914" y="899"/>
                  </a:lnTo>
                  <a:lnTo>
                    <a:pt x="914" y="899"/>
                  </a:lnTo>
                  <a:lnTo>
                    <a:pt x="914" y="899"/>
                  </a:lnTo>
                  <a:lnTo>
                    <a:pt x="915" y="899"/>
                  </a:lnTo>
                  <a:lnTo>
                    <a:pt x="915" y="899"/>
                  </a:lnTo>
                  <a:lnTo>
                    <a:pt x="915" y="899"/>
                  </a:lnTo>
                  <a:lnTo>
                    <a:pt x="915" y="899"/>
                  </a:lnTo>
                  <a:lnTo>
                    <a:pt x="916" y="899"/>
                  </a:lnTo>
                  <a:lnTo>
                    <a:pt x="916" y="899"/>
                  </a:lnTo>
                  <a:lnTo>
                    <a:pt x="917" y="899"/>
                  </a:lnTo>
                  <a:lnTo>
                    <a:pt x="917" y="899"/>
                  </a:lnTo>
                  <a:lnTo>
                    <a:pt x="918" y="899"/>
                  </a:lnTo>
                  <a:lnTo>
                    <a:pt x="918" y="899"/>
                  </a:lnTo>
                  <a:lnTo>
                    <a:pt x="920" y="899"/>
                  </a:lnTo>
                  <a:lnTo>
                    <a:pt x="920" y="899"/>
                  </a:lnTo>
                  <a:lnTo>
                    <a:pt x="923" y="899"/>
                  </a:lnTo>
                  <a:lnTo>
                    <a:pt x="923" y="899"/>
                  </a:lnTo>
                  <a:lnTo>
                    <a:pt x="928" y="899"/>
                  </a:lnTo>
                  <a:lnTo>
                    <a:pt x="928" y="899"/>
                  </a:lnTo>
                  <a:lnTo>
                    <a:pt x="929" y="899"/>
                  </a:lnTo>
                  <a:lnTo>
                    <a:pt x="929" y="899"/>
                  </a:lnTo>
                  <a:lnTo>
                    <a:pt x="931" y="899"/>
                  </a:lnTo>
                  <a:lnTo>
                    <a:pt x="931"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3" y="899"/>
                  </a:lnTo>
                  <a:lnTo>
                    <a:pt x="933" y="899"/>
                  </a:lnTo>
                  <a:lnTo>
                    <a:pt x="933" y="899"/>
                  </a:lnTo>
                  <a:lnTo>
                    <a:pt x="933" y="899"/>
                  </a:lnTo>
                  <a:lnTo>
                    <a:pt x="933" y="899"/>
                  </a:lnTo>
                  <a:lnTo>
                    <a:pt x="933" y="899"/>
                  </a:lnTo>
                  <a:lnTo>
                    <a:pt x="933" y="899"/>
                  </a:lnTo>
                  <a:lnTo>
                    <a:pt x="933" y="899"/>
                  </a:lnTo>
                  <a:lnTo>
                    <a:pt x="934" y="899"/>
                  </a:lnTo>
                  <a:lnTo>
                    <a:pt x="934" y="899"/>
                  </a:lnTo>
                  <a:lnTo>
                    <a:pt x="935" y="899"/>
                  </a:lnTo>
                  <a:lnTo>
                    <a:pt x="935" y="899"/>
                  </a:lnTo>
                  <a:lnTo>
                    <a:pt x="935" y="899"/>
                  </a:lnTo>
                  <a:lnTo>
                    <a:pt x="935" y="899"/>
                  </a:lnTo>
                  <a:lnTo>
                    <a:pt x="935" y="899"/>
                  </a:lnTo>
                  <a:lnTo>
                    <a:pt x="935" y="899"/>
                  </a:lnTo>
                  <a:lnTo>
                    <a:pt x="936" y="899"/>
                  </a:lnTo>
                  <a:lnTo>
                    <a:pt x="936" y="899"/>
                  </a:lnTo>
                  <a:lnTo>
                    <a:pt x="936" y="899"/>
                  </a:lnTo>
                  <a:lnTo>
                    <a:pt x="936" y="899"/>
                  </a:lnTo>
                  <a:lnTo>
                    <a:pt x="938" y="899"/>
                  </a:lnTo>
                  <a:lnTo>
                    <a:pt x="938" y="899"/>
                  </a:lnTo>
                  <a:lnTo>
                    <a:pt x="943" y="899"/>
                  </a:lnTo>
                  <a:lnTo>
                    <a:pt x="943" y="899"/>
                  </a:lnTo>
                  <a:lnTo>
                    <a:pt x="943" y="899"/>
                  </a:lnTo>
                  <a:lnTo>
                    <a:pt x="943" y="899"/>
                  </a:lnTo>
                  <a:lnTo>
                    <a:pt x="943" y="899"/>
                  </a:lnTo>
                  <a:lnTo>
                    <a:pt x="943" y="899"/>
                  </a:lnTo>
                  <a:lnTo>
                    <a:pt x="943" y="899"/>
                  </a:lnTo>
                  <a:lnTo>
                    <a:pt x="943" y="899"/>
                  </a:lnTo>
                  <a:lnTo>
                    <a:pt x="943" y="899"/>
                  </a:lnTo>
                  <a:lnTo>
                    <a:pt x="943" y="899"/>
                  </a:lnTo>
                  <a:lnTo>
                    <a:pt x="944" y="899"/>
                  </a:lnTo>
                  <a:lnTo>
                    <a:pt x="944" y="899"/>
                  </a:lnTo>
                  <a:lnTo>
                    <a:pt x="945" y="899"/>
                  </a:lnTo>
                  <a:lnTo>
                    <a:pt x="945" y="899"/>
                  </a:lnTo>
                  <a:lnTo>
                    <a:pt x="945" y="899"/>
                  </a:lnTo>
                  <a:lnTo>
                    <a:pt x="945" y="899"/>
                  </a:lnTo>
                  <a:lnTo>
                    <a:pt x="946" y="899"/>
                  </a:lnTo>
                  <a:lnTo>
                    <a:pt x="946" y="899"/>
                  </a:lnTo>
                  <a:lnTo>
                    <a:pt x="946" y="899"/>
                  </a:lnTo>
                  <a:lnTo>
                    <a:pt x="946" y="899"/>
                  </a:lnTo>
                  <a:lnTo>
                    <a:pt x="946" y="899"/>
                  </a:lnTo>
                  <a:lnTo>
                    <a:pt x="946" y="899"/>
                  </a:lnTo>
                  <a:lnTo>
                    <a:pt x="946" y="899"/>
                  </a:lnTo>
                  <a:lnTo>
                    <a:pt x="946"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50" y="899"/>
                  </a:lnTo>
                  <a:lnTo>
                    <a:pt x="950" y="899"/>
                  </a:lnTo>
                  <a:lnTo>
                    <a:pt x="950" y="899"/>
                  </a:lnTo>
                  <a:lnTo>
                    <a:pt x="950" y="899"/>
                  </a:lnTo>
                  <a:lnTo>
                    <a:pt x="950" y="899"/>
                  </a:lnTo>
                  <a:lnTo>
                    <a:pt x="950"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899"/>
                  </a:lnTo>
                  <a:lnTo>
                    <a:pt x="989" y="899"/>
                  </a:lnTo>
                  <a:lnTo>
                    <a:pt x="989" y="899"/>
                  </a:lnTo>
                  <a:lnTo>
                    <a:pt x="989" y="899"/>
                  </a:lnTo>
                  <a:lnTo>
                    <a:pt x="989" y="899"/>
                  </a:lnTo>
                  <a:lnTo>
                    <a:pt x="989" y="899"/>
                  </a:lnTo>
                  <a:lnTo>
                    <a:pt x="989" y="1173"/>
                  </a:lnTo>
                  <a:lnTo>
                    <a:pt x="989" y="1173"/>
                  </a:lnTo>
                  <a:lnTo>
                    <a:pt x="989" y="899"/>
                  </a:lnTo>
                  <a:lnTo>
                    <a:pt x="990" y="899"/>
                  </a:lnTo>
                  <a:lnTo>
                    <a:pt x="990" y="1173"/>
                  </a:lnTo>
                  <a:lnTo>
                    <a:pt x="991" y="1173"/>
                  </a:lnTo>
                  <a:lnTo>
                    <a:pt x="991"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3" y="899"/>
                  </a:lnTo>
                  <a:lnTo>
                    <a:pt x="1003"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71" y="899"/>
                  </a:lnTo>
                  <a:lnTo>
                    <a:pt x="1071" y="899"/>
                  </a:lnTo>
                  <a:lnTo>
                    <a:pt x="1074" y="899"/>
                  </a:lnTo>
                  <a:lnTo>
                    <a:pt x="1074" y="899"/>
                  </a:lnTo>
                  <a:lnTo>
                    <a:pt x="1077" y="899"/>
                  </a:lnTo>
                  <a:lnTo>
                    <a:pt x="1077" y="899"/>
                  </a:lnTo>
                  <a:lnTo>
                    <a:pt x="1101" y="899"/>
                  </a:lnTo>
                  <a:lnTo>
                    <a:pt x="1101" y="899"/>
                  </a:lnTo>
                  <a:lnTo>
                    <a:pt x="1101" y="899"/>
                  </a:lnTo>
                  <a:lnTo>
                    <a:pt x="1101" y="899"/>
                  </a:lnTo>
                  <a:lnTo>
                    <a:pt x="1102" y="899"/>
                  </a:lnTo>
                  <a:lnTo>
                    <a:pt x="1102" y="899"/>
                  </a:lnTo>
                  <a:lnTo>
                    <a:pt x="1102" y="899"/>
                  </a:lnTo>
                  <a:lnTo>
                    <a:pt x="1102" y="899"/>
                  </a:lnTo>
                  <a:lnTo>
                    <a:pt x="1102" y="899"/>
                  </a:lnTo>
                  <a:lnTo>
                    <a:pt x="1102" y="899"/>
                  </a:lnTo>
                  <a:lnTo>
                    <a:pt x="1104" y="899"/>
                  </a:lnTo>
                  <a:lnTo>
                    <a:pt x="1104" y="899"/>
                  </a:lnTo>
                  <a:lnTo>
                    <a:pt x="1129" y="899"/>
                  </a:lnTo>
                  <a:lnTo>
                    <a:pt x="1129" y="899"/>
                  </a:lnTo>
                  <a:lnTo>
                    <a:pt x="1129" y="899"/>
                  </a:lnTo>
                  <a:lnTo>
                    <a:pt x="1129" y="1136"/>
                  </a:lnTo>
                  <a:lnTo>
                    <a:pt x="1129" y="1136"/>
                  </a:lnTo>
                  <a:lnTo>
                    <a:pt x="1129" y="899"/>
                  </a:lnTo>
                  <a:lnTo>
                    <a:pt x="1129" y="899"/>
                  </a:lnTo>
                  <a:lnTo>
                    <a:pt x="1129" y="899"/>
                  </a:lnTo>
                  <a:lnTo>
                    <a:pt x="1129" y="899"/>
                  </a:lnTo>
                  <a:lnTo>
                    <a:pt x="1129" y="1136"/>
                  </a:lnTo>
                  <a:lnTo>
                    <a:pt x="1129" y="1136"/>
                  </a:lnTo>
                  <a:lnTo>
                    <a:pt x="1129" y="1136"/>
                  </a:lnTo>
                  <a:lnTo>
                    <a:pt x="1129" y="1136"/>
                  </a:lnTo>
                  <a:lnTo>
                    <a:pt x="1129" y="1136"/>
                  </a:lnTo>
                  <a:lnTo>
                    <a:pt x="1129" y="1136"/>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899"/>
                  </a:lnTo>
                  <a:lnTo>
                    <a:pt x="1129" y="899"/>
                  </a:lnTo>
                  <a:lnTo>
                    <a:pt x="1129" y="899"/>
                  </a:lnTo>
                  <a:lnTo>
                    <a:pt x="1129" y="899"/>
                  </a:lnTo>
                  <a:lnTo>
                    <a:pt x="1129" y="899"/>
                  </a:lnTo>
                  <a:lnTo>
                    <a:pt x="1130" y="899"/>
                  </a:lnTo>
                  <a:lnTo>
                    <a:pt x="1130" y="899"/>
                  </a:lnTo>
                  <a:lnTo>
                    <a:pt x="1130" y="899"/>
                  </a:lnTo>
                  <a:lnTo>
                    <a:pt x="1130" y="899"/>
                  </a:lnTo>
                  <a:lnTo>
                    <a:pt x="1130" y="899"/>
                  </a:lnTo>
                  <a:lnTo>
                    <a:pt x="1130" y="1136"/>
                  </a:lnTo>
                  <a:lnTo>
                    <a:pt x="1131" y="1136"/>
                  </a:lnTo>
                  <a:lnTo>
                    <a:pt x="1131" y="1136"/>
                  </a:lnTo>
                  <a:lnTo>
                    <a:pt x="1132" y="1136"/>
                  </a:lnTo>
                  <a:lnTo>
                    <a:pt x="1132" y="1136"/>
                  </a:lnTo>
                  <a:lnTo>
                    <a:pt x="1134" y="1136"/>
                  </a:lnTo>
                  <a:lnTo>
                    <a:pt x="1134" y="1136"/>
                  </a:lnTo>
                  <a:lnTo>
                    <a:pt x="1135" y="1136"/>
                  </a:lnTo>
                  <a:lnTo>
                    <a:pt x="1135" y="899"/>
                  </a:lnTo>
                  <a:lnTo>
                    <a:pt x="1137" y="899"/>
                  </a:lnTo>
                  <a:lnTo>
                    <a:pt x="1137" y="1136"/>
                  </a:lnTo>
                  <a:lnTo>
                    <a:pt x="1138" y="1136"/>
                  </a:lnTo>
                  <a:lnTo>
                    <a:pt x="1138" y="1136"/>
                  </a:lnTo>
                  <a:lnTo>
                    <a:pt x="1141" y="1136"/>
                  </a:lnTo>
                  <a:lnTo>
                    <a:pt x="1141" y="1136"/>
                  </a:lnTo>
                  <a:lnTo>
                    <a:pt x="1144" y="1136"/>
                  </a:lnTo>
                  <a:lnTo>
                    <a:pt x="1144" y="1136"/>
                  </a:lnTo>
                  <a:lnTo>
                    <a:pt x="1147" y="1136"/>
                  </a:lnTo>
                  <a:lnTo>
                    <a:pt x="1147" y="899"/>
                  </a:lnTo>
                  <a:lnTo>
                    <a:pt x="1150" y="899"/>
                  </a:lnTo>
                  <a:lnTo>
                    <a:pt x="1150" y="1136"/>
                  </a:lnTo>
                  <a:lnTo>
                    <a:pt x="1179" y="1136"/>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2" y="899"/>
                  </a:lnTo>
                  <a:lnTo>
                    <a:pt x="1182" y="899"/>
                  </a:lnTo>
                  <a:lnTo>
                    <a:pt x="1182" y="899"/>
                  </a:lnTo>
                  <a:lnTo>
                    <a:pt x="1182" y="899"/>
                  </a:lnTo>
                  <a:lnTo>
                    <a:pt x="1182" y="899"/>
                  </a:lnTo>
                  <a:lnTo>
                    <a:pt x="1182" y="899"/>
                  </a:lnTo>
                  <a:lnTo>
                    <a:pt x="1183" y="899"/>
                  </a:lnTo>
                  <a:lnTo>
                    <a:pt x="1183" y="899"/>
                  </a:lnTo>
                  <a:lnTo>
                    <a:pt x="1184" y="899"/>
                  </a:lnTo>
                  <a:lnTo>
                    <a:pt x="1184" y="899"/>
                  </a:lnTo>
                  <a:lnTo>
                    <a:pt x="1185" y="899"/>
                  </a:lnTo>
                  <a:lnTo>
                    <a:pt x="1185" y="899"/>
                  </a:lnTo>
                  <a:lnTo>
                    <a:pt x="1186" y="899"/>
                  </a:lnTo>
                  <a:lnTo>
                    <a:pt x="1186" y="899"/>
                  </a:lnTo>
                  <a:lnTo>
                    <a:pt x="1190" y="899"/>
                  </a:lnTo>
                  <a:lnTo>
                    <a:pt x="1190" y="899"/>
                  </a:lnTo>
                  <a:lnTo>
                    <a:pt x="1195" y="899"/>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899"/>
                  </a:lnTo>
                  <a:lnTo>
                    <a:pt x="1225" y="899"/>
                  </a:lnTo>
                  <a:lnTo>
                    <a:pt x="1225" y="899"/>
                  </a:lnTo>
                  <a:lnTo>
                    <a:pt x="1225" y="899"/>
                  </a:lnTo>
                  <a:lnTo>
                    <a:pt x="1225" y="899"/>
                  </a:lnTo>
                  <a:lnTo>
                    <a:pt x="1225" y="899"/>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899"/>
                  </a:lnTo>
                  <a:lnTo>
                    <a:pt x="1249" y="899"/>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899"/>
                  </a:lnTo>
                  <a:lnTo>
                    <a:pt x="1270" y="899"/>
                  </a:lnTo>
                  <a:lnTo>
                    <a:pt x="1270"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9" y="899"/>
                  </a:lnTo>
                  <a:lnTo>
                    <a:pt x="1319" y="899"/>
                  </a:lnTo>
                  <a:lnTo>
                    <a:pt x="1322" y="899"/>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30" y="899"/>
                  </a:lnTo>
                  <a:lnTo>
                    <a:pt x="1330" y="899"/>
                  </a:lnTo>
                  <a:lnTo>
                    <a:pt x="1330" y="899"/>
                  </a:lnTo>
                  <a:lnTo>
                    <a:pt x="1330" y="899"/>
                  </a:lnTo>
                  <a:lnTo>
                    <a:pt x="1330" y="899"/>
                  </a:lnTo>
                  <a:lnTo>
                    <a:pt x="1330" y="899"/>
                  </a:lnTo>
                  <a:lnTo>
                    <a:pt x="1330" y="899"/>
                  </a:lnTo>
                  <a:lnTo>
                    <a:pt x="1330" y="899"/>
                  </a:lnTo>
                  <a:lnTo>
                    <a:pt x="1331" y="899"/>
                  </a:lnTo>
                  <a:lnTo>
                    <a:pt x="1331" y="899"/>
                  </a:lnTo>
                  <a:lnTo>
                    <a:pt x="1331" y="899"/>
                  </a:lnTo>
                  <a:lnTo>
                    <a:pt x="1331" y="899"/>
                  </a:lnTo>
                  <a:lnTo>
                    <a:pt x="1331" y="899"/>
                  </a:lnTo>
                  <a:lnTo>
                    <a:pt x="1331" y="899"/>
                  </a:lnTo>
                  <a:lnTo>
                    <a:pt x="1332" y="899"/>
                  </a:lnTo>
                  <a:lnTo>
                    <a:pt x="1332" y="899"/>
                  </a:lnTo>
                  <a:lnTo>
                    <a:pt x="1332" y="899"/>
                  </a:lnTo>
                  <a:lnTo>
                    <a:pt x="1332" y="899"/>
                  </a:lnTo>
                  <a:lnTo>
                    <a:pt x="1333" y="899"/>
                  </a:lnTo>
                  <a:lnTo>
                    <a:pt x="1333" y="899"/>
                  </a:lnTo>
                  <a:lnTo>
                    <a:pt x="1333" y="899"/>
                  </a:lnTo>
                  <a:lnTo>
                    <a:pt x="1333" y="899"/>
                  </a:lnTo>
                  <a:lnTo>
                    <a:pt x="1334" y="899"/>
                  </a:lnTo>
                  <a:lnTo>
                    <a:pt x="1334" y="899"/>
                  </a:lnTo>
                  <a:lnTo>
                    <a:pt x="1335" y="899"/>
                  </a:lnTo>
                  <a:lnTo>
                    <a:pt x="1335" y="899"/>
                  </a:lnTo>
                  <a:lnTo>
                    <a:pt x="1337" y="899"/>
                  </a:lnTo>
                  <a:lnTo>
                    <a:pt x="1337" y="899"/>
                  </a:lnTo>
                  <a:lnTo>
                    <a:pt x="1337" y="899"/>
                  </a:lnTo>
                  <a:lnTo>
                    <a:pt x="1337" y="899"/>
                  </a:lnTo>
                  <a:lnTo>
                    <a:pt x="1337" y="899"/>
                  </a:lnTo>
                  <a:lnTo>
                    <a:pt x="1337" y="899"/>
                  </a:lnTo>
                  <a:lnTo>
                    <a:pt x="1337" y="899"/>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899"/>
                  </a:lnTo>
                  <a:lnTo>
                    <a:pt x="1338" y="899"/>
                  </a:lnTo>
                  <a:lnTo>
                    <a:pt x="1338" y="1106"/>
                  </a:lnTo>
                  <a:lnTo>
                    <a:pt x="1338" y="1106"/>
                  </a:lnTo>
                  <a:lnTo>
                    <a:pt x="1338" y="899"/>
                  </a:lnTo>
                  <a:lnTo>
                    <a:pt x="1338" y="899"/>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5" y="899"/>
                  </a:lnTo>
                  <a:lnTo>
                    <a:pt x="1355" y="899"/>
                  </a:lnTo>
                  <a:lnTo>
                    <a:pt x="1355" y="899"/>
                  </a:lnTo>
                  <a:lnTo>
                    <a:pt x="1355" y="899"/>
                  </a:lnTo>
                  <a:lnTo>
                    <a:pt x="1356" y="899"/>
                  </a:lnTo>
                  <a:lnTo>
                    <a:pt x="1356" y="899"/>
                  </a:lnTo>
                  <a:lnTo>
                    <a:pt x="1356" y="899"/>
                  </a:lnTo>
                  <a:lnTo>
                    <a:pt x="1356" y="899"/>
                  </a:lnTo>
                  <a:lnTo>
                    <a:pt x="1359" y="8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899"/>
                  </a:lnTo>
                  <a:lnTo>
                    <a:pt x="1359" y="899"/>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899"/>
                  </a:lnTo>
                  <a:lnTo>
                    <a:pt x="1360" y="899"/>
                  </a:lnTo>
                  <a:lnTo>
                    <a:pt x="1360" y="1094"/>
                  </a:lnTo>
                  <a:lnTo>
                    <a:pt x="1361" y="1094"/>
                  </a:lnTo>
                  <a:lnTo>
                    <a:pt x="1361" y="1094"/>
                  </a:lnTo>
                  <a:lnTo>
                    <a:pt x="1363" y="1094"/>
                  </a:lnTo>
                  <a:lnTo>
                    <a:pt x="1363" y="1092"/>
                  </a:lnTo>
                  <a:lnTo>
                    <a:pt x="1363" y="1092"/>
                  </a:lnTo>
                  <a:lnTo>
                    <a:pt x="1363" y="1092"/>
                  </a:lnTo>
                  <a:lnTo>
                    <a:pt x="1364" y="1092"/>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5" y="899"/>
                  </a:lnTo>
                  <a:lnTo>
                    <a:pt x="1365" y="899"/>
                  </a:lnTo>
                  <a:lnTo>
                    <a:pt x="1365" y="899"/>
                  </a:lnTo>
                  <a:lnTo>
                    <a:pt x="1365" y="899"/>
                  </a:lnTo>
                  <a:lnTo>
                    <a:pt x="1365" y="899"/>
                  </a:lnTo>
                  <a:lnTo>
                    <a:pt x="1365" y="899"/>
                  </a:lnTo>
                  <a:lnTo>
                    <a:pt x="1365" y="899"/>
                  </a:lnTo>
                  <a:lnTo>
                    <a:pt x="1365"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899"/>
                  </a:lnTo>
                  <a:lnTo>
                    <a:pt x="1366" y="899"/>
                  </a:lnTo>
                  <a:lnTo>
                    <a:pt x="1366" y="1083"/>
                  </a:lnTo>
                  <a:lnTo>
                    <a:pt x="1366" y="1083"/>
                  </a:lnTo>
                  <a:lnTo>
                    <a:pt x="1366" y="899"/>
                  </a:lnTo>
                  <a:lnTo>
                    <a:pt x="1366" y="899"/>
                  </a:lnTo>
                  <a:lnTo>
                    <a:pt x="1366" y="899"/>
                  </a:lnTo>
                  <a:lnTo>
                    <a:pt x="1366" y="899"/>
                  </a:lnTo>
                  <a:lnTo>
                    <a:pt x="1366" y="1083"/>
                  </a:lnTo>
                  <a:lnTo>
                    <a:pt x="1366" y="1083"/>
                  </a:lnTo>
                  <a:lnTo>
                    <a:pt x="1366" y="899"/>
                  </a:lnTo>
                  <a:lnTo>
                    <a:pt x="1366" y="899"/>
                  </a:lnTo>
                  <a:lnTo>
                    <a:pt x="1366" y="899"/>
                  </a:lnTo>
                  <a:lnTo>
                    <a:pt x="1366" y="899"/>
                  </a:lnTo>
                  <a:lnTo>
                    <a:pt x="1366" y="899"/>
                  </a:lnTo>
                  <a:lnTo>
                    <a:pt x="1366" y="899"/>
                  </a:lnTo>
                  <a:lnTo>
                    <a:pt x="1366" y="1083"/>
                  </a:lnTo>
                  <a:lnTo>
                    <a:pt x="1366" y="1083"/>
                  </a:lnTo>
                  <a:lnTo>
                    <a:pt x="1366" y="899"/>
                  </a:lnTo>
                  <a:lnTo>
                    <a:pt x="1367" y="899"/>
                  </a:lnTo>
                  <a:lnTo>
                    <a:pt x="1367" y="1083"/>
                  </a:lnTo>
                  <a:lnTo>
                    <a:pt x="1368" y="1083"/>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899"/>
                  </a:lnTo>
                  <a:lnTo>
                    <a:pt x="1388" y="899"/>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6" y="899"/>
                  </a:lnTo>
                  <a:lnTo>
                    <a:pt x="1406" y="899"/>
                  </a:lnTo>
                  <a:lnTo>
                    <a:pt x="1406" y="899"/>
                  </a:lnTo>
                  <a:lnTo>
                    <a:pt x="1406" y="899"/>
                  </a:lnTo>
                  <a:lnTo>
                    <a:pt x="1407" y="899"/>
                  </a:lnTo>
                  <a:lnTo>
                    <a:pt x="1407"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899"/>
                  </a:lnTo>
                  <a:lnTo>
                    <a:pt x="1422" y="899"/>
                  </a:lnTo>
                  <a:lnTo>
                    <a:pt x="1422" y="899"/>
                  </a:lnTo>
                  <a:lnTo>
                    <a:pt x="1423" y="899"/>
                  </a:lnTo>
                  <a:lnTo>
                    <a:pt x="1423" y="899"/>
                  </a:lnTo>
                  <a:lnTo>
                    <a:pt x="1425" y="899"/>
                  </a:lnTo>
                  <a:lnTo>
                    <a:pt x="1425" y="899"/>
                  </a:lnTo>
                  <a:lnTo>
                    <a:pt x="1432" y="899"/>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899"/>
                  </a:lnTo>
                  <a:lnTo>
                    <a:pt x="1475" y="899"/>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899"/>
                  </a:lnTo>
                  <a:lnTo>
                    <a:pt x="1478" y="899"/>
                  </a:lnTo>
                  <a:lnTo>
                    <a:pt x="1478" y="899"/>
                  </a:lnTo>
                  <a:lnTo>
                    <a:pt x="1478" y="899"/>
                  </a:lnTo>
                  <a:lnTo>
                    <a:pt x="1478" y="899"/>
                  </a:lnTo>
                  <a:lnTo>
                    <a:pt x="1478" y="899"/>
                  </a:lnTo>
                  <a:lnTo>
                    <a:pt x="1478" y="899"/>
                  </a:lnTo>
                  <a:lnTo>
                    <a:pt x="1478" y="899"/>
                  </a:lnTo>
                  <a:lnTo>
                    <a:pt x="1478" y="899"/>
                  </a:lnTo>
                  <a:lnTo>
                    <a:pt x="1479" y="899"/>
                  </a:lnTo>
                  <a:lnTo>
                    <a:pt x="1479"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899"/>
                  </a:lnTo>
                  <a:lnTo>
                    <a:pt x="1628" y="899"/>
                  </a:lnTo>
                  <a:lnTo>
                    <a:pt x="1628" y="899"/>
                  </a:lnTo>
                  <a:lnTo>
                    <a:pt x="1631" y="899"/>
                  </a:lnTo>
                  <a:lnTo>
                    <a:pt x="1631" y="899"/>
                  </a:lnTo>
                  <a:lnTo>
                    <a:pt x="1637" y="899"/>
                  </a:lnTo>
                  <a:lnTo>
                    <a:pt x="1637"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81" y="899"/>
                  </a:lnTo>
                  <a:lnTo>
                    <a:pt x="1681" y="899"/>
                  </a:lnTo>
                  <a:lnTo>
                    <a:pt x="1683" y="899"/>
                  </a:lnTo>
                  <a:lnTo>
                    <a:pt x="1683" y="899"/>
                  </a:lnTo>
                  <a:lnTo>
                    <a:pt x="1687" y="899"/>
                  </a:lnTo>
                  <a:lnTo>
                    <a:pt x="1687" y="899"/>
                  </a:lnTo>
                  <a:lnTo>
                    <a:pt x="1695" y="899"/>
                  </a:lnTo>
                  <a:lnTo>
                    <a:pt x="1695" y="899"/>
                  </a:lnTo>
                  <a:lnTo>
                    <a:pt x="1695" y="899"/>
                  </a:lnTo>
                  <a:lnTo>
                    <a:pt x="1695" y="899"/>
                  </a:lnTo>
                  <a:lnTo>
                    <a:pt x="1698" y="899"/>
                  </a:lnTo>
                  <a:lnTo>
                    <a:pt x="1698" y="899"/>
                  </a:lnTo>
                  <a:lnTo>
                    <a:pt x="1698" y="899"/>
                  </a:lnTo>
                  <a:lnTo>
                    <a:pt x="1698"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899"/>
                  </a:lnTo>
                  <a:lnTo>
                    <a:pt x="1814" y="899"/>
                  </a:lnTo>
                  <a:lnTo>
                    <a:pt x="1814" y="899"/>
                  </a:lnTo>
                  <a:lnTo>
                    <a:pt x="1814" y="899"/>
                  </a:lnTo>
                  <a:lnTo>
                    <a:pt x="1814" y="899"/>
                  </a:lnTo>
                  <a:lnTo>
                    <a:pt x="1815" y="899"/>
                  </a:lnTo>
                  <a:lnTo>
                    <a:pt x="1815" y="899"/>
                  </a:lnTo>
                  <a:lnTo>
                    <a:pt x="1817" y="899"/>
                  </a:lnTo>
                  <a:lnTo>
                    <a:pt x="1817" y="899"/>
                  </a:lnTo>
                  <a:lnTo>
                    <a:pt x="1817" y="899"/>
                  </a:lnTo>
                  <a:lnTo>
                    <a:pt x="1817" y="899"/>
                  </a:lnTo>
                  <a:lnTo>
                    <a:pt x="1820" y="899"/>
                  </a:lnTo>
                  <a:lnTo>
                    <a:pt x="1820" y="899"/>
                  </a:lnTo>
                  <a:lnTo>
                    <a:pt x="1844" y="899"/>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899"/>
                  </a:lnTo>
                  <a:lnTo>
                    <a:pt x="1855" y="899"/>
                  </a:lnTo>
                  <a:lnTo>
                    <a:pt x="1855" y="952"/>
                  </a:lnTo>
                  <a:lnTo>
                    <a:pt x="1860" y="952"/>
                  </a:lnTo>
                  <a:lnTo>
                    <a:pt x="1860" y="899"/>
                  </a:lnTo>
                  <a:lnTo>
                    <a:pt x="1860" y="899"/>
                  </a:lnTo>
                  <a:lnTo>
                    <a:pt x="1860" y="948"/>
                  </a:lnTo>
                  <a:lnTo>
                    <a:pt x="1860" y="948"/>
                  </a:lnTo>
                  <a:lnTo>
                    <a:pt x="1860" y="948"/>
                  </a:lnTo>
                  <a:lnTo>
                    <a:pt x="1860" y="948"/>
                  </a:lnTo>
                  <a:lnTo>
                    <a:pt x="1860" y="948"/>
                  </a:lnTo>
                  <a:lnTo>
                    <a:pt x="1860" y="948"/>
                  </a:lnTo>
                  <a:lnTo>
                    <a:pt x="1860" y="899"/>
                  </a:lnTo>
                  <a:lnTo>
                    <a:pt x="1860" y="899"/>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899"/>
                  </a:lnTo>
                  <a:lnTo>
                    <a:pt x="1870" y="899"/>
                  </a:lnTo>
                  <a:lnTo>
                    <a:pt x="1870" y="899"/>
                  </a:lnTo>
                  <a:lnTo>
                    <a:pt x="1870" y="899"/>
                  </a:lnTo>
                  <a:lnTo>
                    <a:pt x="1870" y="899"/>
                  </a:lnTo>
                  <a:lnTo>
                    <a:pt x="1870" y="899"/>
                  </a:lnTo>
                  <a:lnTo>
                    <a:pt x="1870" y="899"/>
                  </a:lnTo>
                  <a:lnTo>
                    <a:pt x="1870" y="899"/>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899"/>
                  </a:lnTo>
                  <a:lnTo>
                    <a:pt x="1901" y="899"/>
                  </a:lnTo>
                  <a:lnTo>
                    <a:pt x="1901" y="899"/>
                  </a:lnTo>
                  <a:lnTo>
                    <a:pt x="1901" y="899"/>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920"/>
                  </a:lnTo>
                  <a:lnTo>
                    <a:pt x="1944" y="920"/>
                  </a:lnTo>
                  <a:lnTo>
                    <a:pt x="1944" y="920"/>
                  </a:lnTo>
                  <a:lnTo>
                    <a:pt x="1945" y="920"/>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9"/>
                  </a:lnTo>
                  <a:lnTo>
                    <a:pt x="2059" y="899"/>
                  </a:lnTo>
                  <a:lnTo>
                    <a:pt x="2059" y="899"/>
                  </a:lnTo>
                  <a:lnTo>
                    <a:pt x="2059" y="899"/>
                  </a:lnTo>
                  <a:lnTo>
                    <a:pt x="2059" y="899"/>
                  </a:lnTo>
                  <a:lnTo>
                    <a:pt x="2059" y="899"/>
                  </a:lnTo>
                  <a:lnTo>
                    <a:pt x="2059" y="899"/>
                  </a:lnTo>
                  <a:lnTo>
                    <a:pt x="2059" y="899"/>
                  </a:lnTo>
                  <a:lnTo>
                    <a:pt x="2059" y="899"/>
                  </a:lnTo>
                  <a:lnTo>
                    <a:pt x="2060" y="899"/>
                  </a:lnTo>
                  <a:lnTo>
                    <a:pt x="2060" y="899"/>
                  </a:lnTo>
                  <a:lnTo>
                    <a:pt x="2060" y="899"/>
                  </a:lnTo>
                  <a:lnTo>
                    <a:pt x="2060" y="899"/>
                  </a:lnTo>
                  <a:lnTo>
                    <a:pt x="2061" y="899"/>
                  </a:lnTo>
                  <a:lnTo>
                    <a:pt x="2061" y="899"/>
                  </a:lnTo>
                  <a:lnTo>
                    <a:pt x="2064" y="899"/>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8" y="899"/>
                  </a:lnTo>
                  <a:lnTo>
                    <a:pt x="2078" y="899"/>
                  </a:lnTo>
                  <a:lnTo>
                    <a:pt x="2078" y="899"/>
                  </a:lnTo>
                  <a:lnTo>
                    <a:pt x="2078" y="899"/>
                  </a:lnTo>
                  <a:lnTo>
                    <a:pt x="2078" y="899"/>
                  </a:lnTo>
                  <a:lnTo>
                    <a:pt x="2078" y="899"/>
                  </a:lnTo>
                  <a:lnTo>
                    <a:pt x="2078" y="899"/>
                  </a:lnTo>
                  <a:lnTo>
                    <a:pt x="2078" y="899"/>
                  </a:lnTo>
                  <a:lnTo>
                    <a:pt x="2079" y="899"/>
                  </a:lnTo>
                  <a:lnTo>
                    <a:pt x="2079"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2" y="899"/>
                  </a:lnTo>
                  <a:lnTo>
                    <a:pt x="2082" y="899"/>
                  </a:lnTo>
                  <a:lnTo>
                    <a:pt x="2082" y="899"/>
                  </a:lnTo>
                  <a:lnTo>
                    <a:pt x="2082" y="899"/>
                  </a:lnTo>
                  <a:lnTo>
                    <a:pt x="2083" y="899"/>
                  </a:lnTo>
                  <a:lnTo>
                    <a:pt x="2083" y="899"/>
                  </a:lnTo>
                  <a:lnTo>
                    <a:pt x="2085" y="899"/>
                  </a:lnTo>
                  <a:lnTo>
                    <a:pt x="2085" y="899"/>
                  </a:lnTo>
                  <a:lnTo>
                    <a:pt x="2085" y="899"/>
                  </a:lnTo>
                  <a:lnTo>
                    <a:pt x="2085" y="899"/>
                  </a:lnTo>
                  <a:lnTo>
                    <a:pt x="2085" y="899"/>
                  </a:lnTo>
                  <a:lnTo>
                    <a:pt x="2085" y="899"/>
                  </a:lnTo>
                  <a:lnTo>
                    <a:pt x="2086" y="899"/>
                  </a:lnTo>
                  <a:lnTo>
                    <a:pt x="2086" y="899"/>
                  </a:lnTo>
                  <a:lnTo>
                    <a:pt x="2086" y="899"/>
                  </a:lnTo>
                  <a:lnTo>
                    <a:pt x="2086" y="884"/>
                  </a:lnTo>
                  <a:lnTo>
                    <a:pt x="2087" y="884"/>
                  </a:lnTo>
                  <a:lnTo>
                    <a:pt x="2087" y="884"/>
                  </a:lnTo>
                  <a:lnTo>
                    <a:pt x="2088" y="884"/>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6" y="899"/>
                  </a:lnTo>
                  <a:lnTo>
                    <a:pt x="2136" y="882"/>
                  </a:lnTo>
                  <a:lnTo>
                    <a:pt x="2138" y="882"/>
                  </a:lnTo>
                  <a:lnTo>
                    <a:pt x="2138" y="899"/>
                  </a:lnTo>
                  <a:lnTo>
                    <a:pt x="2138" y="899"/>
                  </a:lnTo>
                  <a:lnTo>
                    <a:pt x="2138" y="899"/>
                  </a:lnTo>
                  <a:lnTo>
                    <a:pt x="2141" y="899"/>
                  </a:lnTo>
                  <a:lnTo>
                    <a:pt x="2141" y="899"/>
                  </a:lnTo>
                  <a:lnTo>
                    <a:pt x="2144" y="899"/>
                  </a:lnTo>
                  <a:lnTo>
                    <a:pt x="2144" y="899"/>
                  </a:lnTo>
                  <a:lnTo>
                    <a:pt x="2144" y="899"/>
                  </a:lnTo>
                  <a:lnTo>
                    <a:pt x="2144" y="899"/>
                  </a:lnTo>
                  <a:lnTo>
                    <a:pt x="2144" y="899"/>
                  </a:lnTo>
                  <a:lnTo>
                    <a:pt x="2144" y="899"/>
                  </a:lnTo>
                  <a:lnTo>
                    <a:pt x="2144" y="899"/>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99"/>
                  </a:lnTo>
                  <a:lnTo>
                    <a:pt x="2155" y="899"/>
                  </a:lnTo>
                  <a:lnTo>
                    <a:pt x="2155" y="899"/>
                  </a:lnTo>
                  <a:lnTo>
                    <a:pt x="2158" y="899"/>
                  </a:lnTo>
                  <a:lnTo>
                    <a:pt x="2158" y="899"/>
                  </a:lnTo>
                  <a:lnTo>
                    <a:pt x="2175" y="899"/>
                  </a:lnTo>
                  <a:lnTo>
                    <a:pt x="2175" y="899"/>
                  </a:lnTo>
                  <a:lnTo>
                    <a:pt x="2175" y="899"/>
                  </a:lnTo>
                  <a:lnTo>
                    <a:pt x="2175" y="899"/>
                  </a:lnTo>
                  <a:lnTo>
                    <a:pt x="2175" y="899"/>
                  </a:lnTo>
                  <a:lnTo>
                    <a:pt x="2175" y="899"/>
                  </a:lnTo>
                  <a:lnTo>
                    <a:pt x="2175" y="899"/>
                  </a:lnTo>
                  <a:lnTo>
                    <a:pt x="2175" y="862"/>
                  </a:lnTo>
                  <a:lnTo>
                    <a:pt x="2175" y="862"/>
                  </a:lnTo>
                  <a:lnTo>
                    <a:pt x="2175" y="899"/>
                  </a:lnTo>
                  <a:lnTo>
                    <a:pt x="2176" y="899"/>
                  </a:lnTo>
                  <a:lnTo>
                    <a:pt x="2176" y="862"/>
                  </a:lnTo>
                  <a:lnTo>
                    <a:pt x="2178" y="862"/>
                  </a:lnTo>
                  <a:lnTo>
                    <a:pt x="2178" y="899"/>
                  </a:lnTo>
                  <a:lnTo>
                    <a:pt x="2182" y="899"/>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37"/>
                  </a:lnTo>
                  <a:lnTo>
                    <a:pt x="2187" y="837"/>
                  </a:lnTo>
                  <a:lnTo>
                    <a:pt x="2187" y="899"/>
                  </a:lnTo>
                  <a:lnTo>
                    <a:pt x="2187" y="899"/>
                  </a:lnTo>
                  <a:lnTo>
                    <a:pt x="2187" y="899"/>
                  </a:lnTo>
                  <a:lnTo>
                    <a:pt x="2188" y="899"/>
                  </a:lnTo>
                  <a:lnTo>
                    <a:pt x="2188" y="899"/>
                  </a:lnTo>
                  <a:lnTo>
                    <a:pt x="2190" y="899"/>
                  </a:lnTo>
                  <a:lnTo>
                    <a:pt x="2190" y="899"/>
                  </a:lnTo>
                  <a:lnTo>
                    <a:pt x="2193" y="899"/>
                  </a:lnTo>
                  <a:lnTo>
                    <a:pt x="2193"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27"/>
                  </a:lnTo>
                  <a:lnTo>
                    <a:pt x="2217" y="827"/>
                  </a:lnTo>
                  <a:lnTo>
                    <a:pt x="2217" y="827"/>
                  </a:lnTo>
                  <a:lnTo>
                    <a:pt x="2218" y="827"/>
                  </a:lnTo>
                  <a:lnTo>
                    <a:pt x="2218" y="827"/>
                  </a:lnTo>
                  <a:lnTo>
                    <a:pt x="2218" y="827"/>
                  </a:lnTo>
                  <a:lnTo>
                    <a:pt x="2218" y="899"/>
                  </a:lnTo>
                  <a:lnTo>
                    <a:pt x="2218" y="899"/>
                  </a:lnTo>
                  <a:lnTo>
                    <a:pt x="2218" y="899"/>
                  </a:lnTo>
                  <a:lnTo>
                    <a:pt x="2218" y="899"/>
                  </a:lnTo>
                  <a:lnTo>
                    <a:pt x="2218"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99"/>
                  </a:lnTo>
                  <a:lnTo>
                    <a:pt x="2273" y="899"/>
                  </a:lnTo>
                  <a:lnTo>
                    <a:pt x="2273" y="899"/>
                  </a:lnTo>
                  <a:lnTo>
                    <a:pt x="2273" y="899"/>
                  </a:lnTo>
                  <a:lnTo>
                    <a:pt x="2273" y="899"/>
                  </a:lnTo>
                  <a:lnTo>
                    <a:pt x="2273" y="899"/>
                  </a:lnTo>
                  <a:lnTo>
                    <a:pt x="2273" y="899"/>
                  </a:lnTo>
                  <a:lnTo>
                    <a:pt x="2273" y="899"/>
                  </a:lnTo>
                  <a:lnTo>
                    <a:pt x="2273" y="899"/>
                  </a:lnTo>
                  <a:lnTo>
                    <a:pt x="2275" y="899"/>
                  </a:lnTo>
                  <a:lnTo>
                    <a:pt x="2275" y="899"/>
                  </a:lnTo>
                  <a:lnTo>
                    <a:pt x="2277" y="899"/>
                  </a:lnTo>
                  <a:lnTo>
                    <a:pt x="2277" y="899"/>
                  </a:lnTo>
                  <a:lnTo>
                    <a:pt x="2277" y="899"/>
                  </a:lnTo>
                  <a:lnTo>
                    <a:pt x="2277" y="899"/>
                  </a:lnTo>
                  <a:lnTo>
                    <a:pt x="2277" y="899"/>
                  </a:lnTo>
                  <a:lnTo>
                    <a:pt x="2277" y="899"/>
                  </a:lnTo>
                  <a:lnTo>
                    <a:pt x="2278" y="899"/>
                  </a:lnTo>
                  <a:lnTo>
                    <a:pt x="2278" y="899"/>
                  </a:lnTo>
                  <a:lnTo>
                    <a:pt x="2278" y="899"/>
                  </a:lnTo>
                  <a:lnTo>
                    <a:pt x="2278" y="899"/>
                  </a:lnTo>
                  <a:lnTo>
                    <a:pt x="2279" y="899"/>
                  </a:lnTo>
                  <a:lnTo>
                    <a:pt x="2279" y="899"/>
                  </a:lnTo>
                  <a:lnTo>
                    <a:pt x="2279" y="899"/>
                  </a:lnTo>
                  <a:lnTo>
                    <a:pt x="2279" y="899"/>
                  </a:lnTo>
                  <a:lnTo>
                    <a:pt x="2280" y="899"/>
                  </a:lnTo>
                  <a:lnTo>
                    <a:pt x="2280" y="899"/>
                  </a:lnTo>
                  <a:lnTo>
                    <a:pt x="2282" y="899"/>
                  </a:lnTo>
                  <a:lnTo>
                    <a:pt x="2282" y="899"/>
                  </a:lnTo>
                  <a:lnTo>
                    <a:pt x="2283" y="899"/>
                  </a:lnTo>
                  <a:lnTo>
                    <a:pt x="2283" y="899"/>
                  </a:lnTo>
                  <a:lnTo>
                    <a:pt x="2285" y="899"/>
                  </a:lnTo>
                  <a:lnTo>
                    <a:pt x="2285" y="899"/>
                  </a:lnTo>
                  <a:lnTo>
                    <a:pt x="2288" y="899"/>
                  </a:lnTo>
                  <a:lnTo>
                    <a:pt x="2288" y="899"/>
                  </a:lnTo>
                  <a:lnTo>
                    <a:pt x="2292" y="899"/>
                  </a:lnTo>
                  <a:lnTo>
                    <a:pt x="2292" y="899"/>
                  </a:lnTo>
                  <a:lnTo>
                    <a:pt x="2293" y="899"/>
                  </a:lnTo>
                  <a:lnTo>
                    <a:pt x="2293" y="899"/>
                  </a:lnTo>
                  <a:lnTo>
                    <a:pt x="2294" y="899"/>
                  </a:lnTo>
                  <a:lnTo>
                    <a:pt x="2294"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9" y="899"/>
                  </a:lnTo>
                  <a:lnTo>
                    <a:pt x="2299" y="899"/>
                  </a:lnTo>
                  <a:lnTo>
                    <a:pt x="2308" y="899"/>
                  </a:lnTo>
                  <a:lnTo>
                    <a:pt x="2308" y="899"/>
                  </a:lnTo>
                  <a:lnTo>
                    <a:pt x="2311" y="899"/>
                  </a:lnTo>
                  <a:lnTo>
                    <a:pt x="2311" y="899"/>
                  </a:lnTo>
                  <a:lnTo>
                    <a:pt x="2350" y="899"/>
                  </a:lnTo>
                  <a:lnTo>
                    <a:pt x="2350" y="899"/>
                  </a:lnTo>
                  <a:lnTo>
                    <a:pt x="2350" y="899"/>
                  </a:lnTo>
                  <a:lnTo>
                    <a:pt x="2350" y="899"/>
                  </a:lnTo>
                  <a:lnTo>
                    <a:pt x="2351" y="899"/>
                  </a:lnTo>
                  <a:lnTo>
                    <a:pt x="2351" y="899"/>
                  </a:lnTo>
                  <a:lnTo>
                    <a:pt x="2365" y="899"/>
                  </a:lnTo>
                  <a:lnTo>
                    <a:pt x="2365" y="899"/>
                  </a:lnTo>
                  <a:lnTo>
                    <a:pt x="2365" y="899"/>
                  </a:lnTo>
                  <a:lnTo>
                    <a:pt x="2365" y="899"/>
                  </a:lnTo>
                  <a:lnTo>
                    <a:pt x="2365" y="899"/>
                  </a:lnTo>
                  <a:lnTo>
                    <a:pt x="2365" y="899"/>
                  </a:lnTo>
                  <a:lnTo>
                    <a:pt x="2365" y="899"/>
                  </a:lnTo>
                  <a:lnTo>
                    <a:pt x="2365" y="899"/>
                  </a:lnTo>
                  <a:lnTo>
                    <a:pt x="2366" y="899"/>
                  </a:lnTo>
                  <a:lnTo>
                    <a:pt x="2366" y="899"/>
                  </a:lnTo>
                  <a:lnTo>
                    <a:pt x="2367" y="899"/>
                  </a:lnTo>
                  <a:lnTo>
                    <a:pt x="2367" y="899"/>
                  </a:lnTo>
                  <a:lnTo>
                    <a:pt x="2369" y="899"/>
                  </a:lnTo>
                  <a:lnTo>
                    <a:pt x="2369" y="899"/>
                  </a:lnTo>
                  <a:lnTo>
                    <a:pt x="2371" y="899"/>
                  </a:lnTo>
                  <a:lnTo>
                    <a:pt x="2371" y="899"/>
                  </a:lnTo>
                  <a:lnTo>
                    <a:pt x="2382" y="899"/>
                  </a:lnTo>
                  <a:lnTo>
                    <a:pt x="2382"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11" y="899"/>
                  </a:lnTo>
                  <a:lnTo>
                    <a:pt x="2411" y="899"/>
                  </a:lnTo>
                  <a:lnTo>
                    <a:pt x="2413" y="899"/>
                  </a:lnTo>
                  <a:lnTo>
                    <a:pt x="2413" y="899"/>
                  </a:lnTo>
                  <a:lnTo>
                    <a:pt x="2417" y="899"/>
                  </a:lnTo>
                  <a:lnTo>
                    <a:pt x="2417" y="899"/>
                  </a:lnTo>
                  <a:lnTo>
                    <a:pt x="2422" y="899"/>
                  </a:lnTo>
                  <a:lnTo>
                    <a:pt x="2422" y="899"/>
                  </a:lnTo>
                  <a:lnTo>
                    <a:pt x="2428" y="899"/>
                  </a:lnTo>
                  <a:lnTo>
                    <a:pt x="2428" y="899"/>
                  </a:lnTo>
                  <a:lnTo>
                    <a:pt x="2439" y="899"/>
                  </a:lnTo>
                  <a:lnTo>
                    <a:pt x="2439" y="899"/>
                  </a:lnTo>
                  <a:lnTo>
                    <a:pt x="2451" y="899"/>
                  </a:lnTo>
                  <a:lnTo>
                    <a:pt x="2451" y="899"/>
                  </a:lnTo>
                  <a:lnTo>
                    <a:pt x="2451" y="899"/>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899"/>
                  </a:lnTo>
                  <a:lnTo>
                    <a:pt x="2468" y="899"/>
                  </a:lnTo>
                  <a:lnTo>
                    <a:pt x="2468" y="899"/>
                  </a:lnTo>
                  <a:lnTo>
                    <a:pt x="2469" y="899"/>
                  </a:lnTo>
                  <a:lnTo>
                    <a:pt x="2469" y="899"/>
                  </a:lnTo>
                  <a:lnTo>
                    <a:pt x="2469" y="899"/>
                  </a:lnTo>
                  <a:lnTo>
                    <a:pt x="2469" y="899"/>
                  </a:lnTo>
                  <a:lnTo>
                    <a:pt x="2471" y="899"/>
                  </a:lnTo>
                  <a:lnTo>
                    <a:pt x="2471" y="899"/>
                  </a:lnTo>
                  <a:lnTo>
                    <a:pt x="2471" y="899"/>
                  </a:lnTo>
                  <a:lnTo>
                    <a:pt x="2471" y="899"/>
                  </a:lnTo>
                  <a:lnTo>
                    <a:pt x="2471" y="899"/>
                  </a:lnTo>
                  <a:lnTo>
                    <a:pt x="2471" y="899"/>
                  </a:lnTo>
                  <a:lnTo>
                    <a:pt x="2472" y="899"/>
                  </a:lnTo>
                  <a:lnTo>
                    <a:pt x="2472" y="899"/>
                  </a:lnTo>
                  <a:lnTo>
                    <a:pt x="2472" y="899"/>
                  </a:lnTo>
                  <a:lnTo>
                    <a:pt x="2472" y="899"/>
                  </a:lnTo>
                  <a:lnTo>
                    <a:pt x="2474" y="899"/>
                  </a:lnTo>
                  <a:lnTo>
                    <a:pt x="2474" y="899"/>
                  </a:lnTo>
                  <a:lnTo>
                    <a:pt x="2476" y="899"/>
                  </a:lnTo>
                  <a:lnTo>
                    <a:pt x="2476" y="899"/>
                  </a:lnTo>
                  <a:lnTo>
                    <a:pt x="2481" y="899"/>
                  </a:lnTo>
                  <a:lnTo>
                    <a:pt x="2481"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9" y="899"/>
                  </a:lnTo>
                  <a:lnTo>
                    <a:pt x="2489" y="899"/>
                  </a:lnTo>
                  <a:lnTo>
                    <a:pt x="2490" y="899"/>
                  </a:lnTo>
                  <a:lnTo>
                    <a:pt x="2490" y="899"/>
                  </a:lnTo>
                  <a:lnTo>
                    <a:pt x="2492" y="899"/>
                  </a:lnTo>
                  <a:lnTo>
                    <a:pt x="2492" y="899"/>
                  </a:lnTo>
                  <a:lnTo>
                    <a:pt x="2493" y="899"/>
                  </a:lnTo>
                  <a:lnTo>
                    <a:pt x="2493" y="899"/>
                  </a:lnTo>
                  <a:lnTo>
                    <a:pt x="2495" y="899"/>
                  </a:lnTo>
                  <a:lnTo>
                    <a:pt x="2495" y="899"/>
                  </a:lnTo>
                  <a:lnTo>
                    <a:pt x="2496" y="899"/>
                  </a:lnTo>
                  <a:lnTo>
                    <a:pt x="2496" y="899"/>
                  </a:lnTo>
                  <a:lnTo>
                    <a:pt x="2499" y="899"/>
                  </a:lnTo>
                  <a:lnTo>
                    <a:pt x="2499" y="899"/>
                  </a:lnTo>
                  <a:lnTo>
                    <a:pt x="2503" y="899"/>
                  </a:lnTo>
                  <a:lnTo>
                    <a:pt x="2503" y="899"/>
                  </a:lnTo>
                  <a:lnTo>
                    <a:pt x="2514" y="899"/>
                  </a:lnTo>
                  <a:lnTo>
                    <a:pt x="2514" y="899"/>
                  </a:lnTo>
                  <a:lnTo>
                    <a:pt x="2524" y="899"/>
                  </a:lnTo>
                  <a:lnTo>
                    <a:pt x="2524"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7" y="899"/>
                  </a:lnTo>
                  <a:lnTo>
                    <a:pt x="2527"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2" y="899"/>
                  </a:lnTo>
                  <a:lnTo>
                    <a:pt x="2532" y="899"/>
                  </a:lnTo>
                  <a:lnTo>
                    <a:pt x="2532" y="899"/>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1" y="765"/>
                  </a:lnTo>
                  <a:lnTo>
                    <a:pt x="2591" y="899"/>
                  </a:lnTo>
                  <a:lnTo>
                    <a:pt x="2591" y="899"/>
                  </a:lnTo>
                  <a:lnTo>
                    <a:pt x="2591" y="765"/>
                  </a:lnTo>
                  <a:lnTo>
                    <a:pt x="2591" y="765"/>
                  </a:lnTo>
                  <a:lnTo>
                    <a:pt x="2591" y="765"/>
                  </a:lnTo>
                  <a:lnTo>
                    <a:pt x="2591" y="765"/>
                  </a:lnTo>
                  <a:lnTo>
                    <a:pt x="2591" y="899"/>
                  </a:lnTo>
                  <a:lnTo>
                    <a:pt x="2592" y="899"/>
                  </a:lnTo>
                  <a:lnTo>
                    <a:pt x="2592" y="765"/>
                  </a:lnTo>
                  <a:lnTo>
                    <a:pt x="2593" y="765"/>
                  </a:lnTo>
                  <a:lnTo>
                    <a:pt x="2593" y="899"/>
                  </a:lnTo>
                  <a:lnTo>
                    <a:pt x="2596" y="899"/>
                  </a:lnTo>
                  <a:lnTo>
                    <a:pt x="2596" y="899"/>
                  </a:lnTo>
                  <a:lnTo>
                    <a:pt x="2599" y="899"/>
                  </a:lnTo>
                  <a:lnTo>
                    <a:pt x="2599" y="765"/>
                  </a:lnTo>
                  <a:lnTo>
                    <a:pt x="2604" y="765"/>
                  </a:lnTo>
                  <a:lnTo>
                    <a:pt x="2604" y="899"/>
                  </a:lnTo>
                  <a:lnTo>
                    <a:pt x="2604" y="899"/>
                  </a:lnTo>
                  <a:lnTo>
                    <a:pt x="2604" y="899"/>
                  </a:lnTo>
                  <a:lnTo>
                    <a:pt x="2605" y="899"/>
                  </a:lnTo>
                  <a:lnTo>
                    <a:pt x="2605" y="899"/>
                  </a:lnTo>
                  <a:lnTo>
                    <a:pt x="2605" y="899"/>
                  </a:lnTo>
                  <a:lnTo>
                    <a:pt x="2605" y="899"/>
                  </a:lnTo>
                  <a:lnTo>
                    <a:pt x="2605" y="899"/>
                  </a:lnTo>
                  <a:lnTo>
                    <a:pt x="2605"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9" y="899"/>
                  </a:lnTo>
                  <a:lnTo>
                    <a:pt x="2609" y="899"/>
                  </a:lnTo>
                  <a:lnTo>
                    <a:pt x="2612" y="899"/>
                  </a:lnTo>
                  <a:lnTo>
                    <a:pt x="2612" y="760"/>
                  </a:lnTo>
                  <a:lnTo>
                    <a:pt x="2612" y="760"/>
                  </a:lnTo>
                  <a:lnTo>
                    <a:pt x="2612" y="760"/>
                  </a:lnTo>
                  <a:lnTo>
                    <a:pt x="2613" y="760"/>
                  </a:lnTo>
                  <a:lnTo>
                    <a:pt x="2613"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9" y="899"/>
                  </a:lnTo>
                  <a:lnTo>
                    <a:pt x="2639" y="899"/>
                  </a:lnTo>
                  <a:lnTo>
                    <a:pt x="2639" y="899"/>
                  </a:lnTo>
                  <a:lnTo>
                    <a:pt x="2639"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3" y="899"/>
                  </a:lnTo>
                  <a:lnTo>
                    <a:pt x="2653"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8" y="899"/>
                  </a:lnTo>
                  <a:lnTo>
                    <a:pt x="2658" y="899"/>
                  </a:lnTo>
                  <a:lnTo>
                    <a:pt x="2658" y="899"/>
                  </a:lnTo>
                  <a:lnTo>
                    <a:pt x="2658" y="899"/>
                  </a:lnTo>
                  <a:lnTo>
                    <a:pt x="2658" y="899"/>
                  </a:lnTo>
                  <a:lnTo>
                    <a:pt x="2658" y="899"/>
                  </a:lnTo>
                  <a:lnTo>
                    <a:pt x="2658" y="899"/>
                  </a:lnTo>
                  <a:lnTo>
                    <a:pt x="2658"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899"/>
                  </a:lnTo>
                  <a:lnTo>
                    <a:pt x="2662" y="899"/>
                  </a:lnTo>
                  <a:lnTo>
                    <a:pt x="2662" y="899"/>
                  </a:lnTo>
                  <a:lnTo>
                    <a:pt x="2663" y="899"/>
                  </a:lnTo>
                  <a:lnTo>
                    <a:pt x="2663" y="899"/>
                  </a:lnTo>
                  <a:lnTo>
                    <a:pt x="2665" y="899"/>
                  </a:lnTo>
                  <a:lnTo>
                    <a:pt x="2665" y="899"/>
                  </a:lnTo>
                  <a:lnTo>
                    <a:pt x="2681" y="899"/>
                  </a:lnTo>
                  <a:lnTo>
                    <a:pt x="2681" y="899"/>
                  </a:lnTo>
                  <a:lnTo>
                    <a:pt x="2682" y="899"/>
                  </a:lnTo>
                  <a:lnTo>
                    <a:pt x="2682"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9" y="899"/>
                  </a:lnTo>
                  <a:lnTo>
                    <a:pt x="2689"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2" y="899"/>
                  </a:lnTo>
                  <a:lnTo>
                    <a:pt x="2692" y="899"/>
                  </a:lnTo>
                  <a:lnTo>
                    <a:pt x="2692" y="899"/>
                  </a:lnTo>
                  <a:lnTo>
                    <a:pt x="2692" y="899"/>
                  </a:lnTo>
                  <a:lnTo>
                    <a:pt x="2692" y="899"/>
                  </a:lnTo>
                  <a:lnTo>
                    <a:pt x="2692" y="899"/>
                  </a:lnTo>
                  <a:lnTo>
                    <a:pt x="2692" y="899"/>
                  </a:lnTo>
                  <a:lnTo>
                    <a:pt x="2692" y="899"/>
                  </a:lnTo>
                  <a:lnTo>
                    <a:pt x="2692" y="899"/>
                  </a:lnTo>
                  <a:lnTo>
                    <a:pt x="2692" y="676"/>
                  </a:lnTo>
                  <a:lnTo>
                    <a:pt x="2692" y="676"/>
                  </a:lnTo>
                  <a:lnTo>
                    <a:pt x="2692" y="899"/>
                  </a:lnTo>
                  <a:lnTo>
                    <a:pt x="2692" y="899"/>
                  </a:lnTo>
                  <a:lnTo>
                    <a:pt x="2692" y="899"/>
                  </a:lnTo>
                  <a:lnTo>
                    <a:pt x="2693" y="899"/>
                  </a:lnTo>
                  <a:lnTo>
                    <a:pt x="2693" y="899"/>
                  </a:lnTo>
                  <a:lnTo>
                    <a:pt x="2693" y="899"/>
                  </a:lnTo>
                  <a:lnTo>
                    <a:pt x="2693" y="676"/>
                  </a:lnTo>
                  <a:lnTo>
                    <a:pt x="2693" y="676"/>
                  </a:lnTo>
                  <a:lnTo>
                    <a:pt x="2693" y="676"/>
                  </a:lnTo>
                  <a:lnTo>
                    <a:pt x="2693" y="676"/>
                  </a:lnTo>
                  <a:lnTo>
                    <a:pt x="2693" y="676"/>
                  </a:lnTo>
                  <a:lnTo>
                    <a:pt x="2693" y="676"/>
                  </a:lnTo>
                  <a:lnTo>
                    <a:pt x="2693" y="676"/>
                  </a:lnTo>
                  <a:lnTo>
                    <a:pt x="2693" y="676"/>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6" y="899"/>
                  </a:lnTo>
                  <a:lnTo>
                    <a:pt x="2736" y="899"/>
                  </a:lnTo>
                  <a:lnTo>
                    <a:pt x="2748" y="899"/>
                  </a:lnTo>
                  <a:lnTo>
                    <a:pt x="2748" y="899"/>
                  </a:lnTo>
                  <a:lnTo>
                    <a:pt x="2752" y="899"/>
                  </a:lnTo>
                  <a:lnTo>
                    <a:pt x="2752" y="899"/>
                  </a:lnTo>
                  <a:lnTo>
                    <a:pt x="2775" y="899"/>
                  </a:lnTo>
                  <a:lnTo>
                    <a:pt x="2775" y="652"/>
                  </a:lnTo>
                  <a:lnTo>
                    <a:pt x="2775" y="652"/>
                  </a:lnTo>
                  <a:lnTo>
                    <a:pt x="2775" y="899"/>
                  </a:lnTo>
                  <a:lnTo>
                    <a:pt x="2775" y="899"/>
                  </a:lnTo>
                  <a:lnTo>
                    <a:pt x="2775" y="652"/>
                  </a:lnTo>
                  <a:lnTo>
                    <a:pt x="2775" y="652"/>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899"/>
                  </a:lnTo>
                  <a:lnTo>
                    <a:pt x="2837" y="899"/>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9" y="899"/>
                  </a:lnTo>
                  <a:lnTo>
                    <a:pt x="2899" y="899"/>
                  </a:lnTo>
                  <a:lnTo>
                    <a:pt x="2900" y="899"/>
                  </a:lnTo>
                  <a:lnTo>
                    <a:pt x="2900" y="899"/>
                  </a:lnTo>
                  <a:lnTo>
                    <a:pt x="2901" y="899"/>
                  </a:lnTo>
                  <a:lnTo>
                    <a:pt x="2901" y="899"/>
                  </a:lnTo>
                  <a:lnTo>
                    <a:pt x="2902" y="899"/>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899"/>
                  </a:lnTo>
                  <a:lnTo>
                    <a:pt x="2943" y="899"/>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899"/>
                  </a:lnTo>
                  <a:lnTo>
                    <a:pt x="3057" y="899"/>
                  </a:lnTo>
                  <a:lnTo>
                    <a:pt x="3057" y="899"/>
                  </a:lnTo>
                  <a:lnTo>
                    <a:pt x="3058" y="899"/>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899"/>
                  </a:lnTo>
                  <a:lnTo>
                    <a:pt x="3157" y="899"/>
                  </a:lnTo>
                  <a:lnTo>
                    <a:pt x="3157" y="899"/>
                  </a:lnTo>
                  <a:lnTo>
                    <a:pt x="3157" y="899"/>
                  </a:lnTo>
                  <a:lnTo>
                    <a:pt x="3157" y="899"/>
                  </a:lnTo>
                  <a:lnTo>
                    <a:pt x="3159" y="899"/>
                  </a:lnTo>
                  <a:lnTo>
                    <a:pt x="3159" y="899"/>
                  </a:lnTo>
                  <a:lnTo>
                    <a:pt x="3169" y="899"/>
                  </a:lnTo>
                  <a:lnTo>
                    <a:pt x="3169" y="899"/>
                  </a:lnTo>
                  <a:lnTo>
                    <a:pt x="3169" y="899"/>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899"/>
                  </a:lnTo>
                  <a:lnTo>
                    <a:pt x="3192" y="899"/>
                  </a:lnTo>
                  <a:lnTo>
                    <a:pt x="3192" y="899"/>
                  </a:lnTo>
                  <a:lnTo>
                    <a:pt x="3192" y="899"/>
                  </a:lnTo>
                  <a:lnTo>
                    <a:pt x="3192" y="899"/>
                  </a:lnTo>
                  <a:lnTo>
                    <a:pt x="3192" y="899"/>
                  </a:lnTo>
                  <a:lnTo>
                    <a:pt x="3192" y="899"/>
                  </a:lnTo>
                  <a:lnTo>
                    <a:pt x="3192" y="899"/>
                  </a:lnTo>
                  <a:lnTo>
                    <a:pt x="3192" y="404"/>
                  </a:lnTo>
                  <a:lnTo>
                    <a:pt x="3192" y="404"/>
                  </a:lnTo>
                  <a:lnTo>
                    <a:pt x="3192" y="402"/>
                  </a:lnTo>
                  <a:lnTo>
                    <a:pt x="3192" y="402"/>
                  </a:lnTo>
                  <a:lnTo>
                    <a:pt x="3192" y="402"/>
                  </a:lnTo>
                  <a:lnTo>
                    <a:pt x="3193" y="402"/>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4" y="899"/>
                  </a:lnTo>
                  <a:lnTo>
                    <a:pt x="3194" y="899"/>
                  </a:lnTo>
                  <a:lnTo>
                    <a:pt x="3194" y="899"/>
                  </a:lnTo>
                  <a:lnTo>
                    <a:pt x="3194" y="899"/>
                  </a:lnTo>
                  <a:lnTo>
                    <a:pt x="3194" y="899"/>
                  </a:lnTo>
                  <a:lnTo>
                    <a:pt x="3194" y="899"/>
                  </a:lnTo>
                  <a:lnTo>
                    <a:pt x="3194" y="899"/>
                  </a:lnTo>
                  <a:lnTo>
                    <a:pt x="3194" y="899"/>
                  </a:lnTo>
                  <a:lnTo>
                    <a:pt x="3195" y="899"/>
                  </a:lnTo>
                  <a:lnTo>
                    <a:pt x="3195" y="899"/>
                  </a:lnTo>
                  <a:lnTo>
                    <a:pt x="3196" y="899"/>
                  </a:lnTo>
                  <a:lnTo>
                    <a:pt x="3196" y="899"/>
                  </a:lnTo>
                  <a:lnTo>
                    <a:pt x="3197" y="899"/>
                  </a:lnTo>
                  <a:lnTo>
                    <a:pt x="3197" y="899"/>
                  </a:lnTo>
                  <a:lnTo>
                    <a:pt x="3201" y="899"/>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899"/>
                  </a:lnTo>
                  <a:lnTo>
                    <a:pt x="3216" y="899"/>
                  </a:lnTo>
                  <a:lnTo>
                    <a:pt x="3216" y="899"/>
                  </a:lnTo>
                  <a:lnTo>
                    <a:pt x="3216" y="899"/>
                  </a:lnTo>
                  <a:lnTo>
                    <a:pt x="3216" y="899"/>
                  </a:lnTo>
                  <a:lnTo>
                    <a:pt x="3216" y="899"/>
                  </a:lnTo>
                  <a:lnTo>
                    <a:pt x="3216" y="364"/>
                  </a:lnTo>
                  <a:lnTo>
                    <a:pt x="3216" y="364"/>
                  </a:lnTo>
                  <a:lnTo>
                    <a:pt x="3216" y="364"/>
                  </a:lnTo>
                  <a:lnTo>
                    <a:pt x="3216" y="364"/>
                  </a:lnTo>
                  <a:lnTo>
                    <a:pt x="3216" y="361"/>
                  </a:lnTo>
                  <a:lnTo>
                    <a:pt x="3216" y="361"/>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0"/>
                  </a:lnTo>
                  <a:lnTo>
                    <a:pt x="3216" y="350"/>
                  </a:lnTo>
                  <a:lnTo>
                    <a:pt x="3216" y="350"/>
                  </a:lnTo>
                  <a:lnTo>
                    <a:pt x="3216" y="350"/>
                  </a:lnTo>
                  <a:lnTo>
                    <a:pt x="3216" y="350"/>
                  </a:lnTo>
                  <a:lnTo>
                    <a:pt x="3217" y="350"/>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8" y="899"/>
                  </a:lnTo>
                  <a:lnTo>
                    <a:pt x="3218" y="899"/>
                  </a:lnTo>
                  <a:lnTo>
                    <a:pt x="3218" y="899"/>
                  </a:lnTo>
                  <a:lnTo>
                    <a:pt x="3218" y="899"/>
                  </a:lnTo>
                  <a:lnTo>
                    <a:pt x="3218" y="899"/>
                  </a:lnTo>
                  <a:lnTo>
                    <a:pt x="3218" y="899"/>
                  </a:lnTo>
                  <a:lnTo>
                    <a:pt x="3218" y="899"/>
                  </a:lnTo>
                  <a:lnTo>
                    <a:pt x="3218" y="899"/>
                  </a:lnTo>
                  <a:lnTo>
                    <a:pt x="3218" y="899"/>
                  </a:lnTo>
                  <a:lnTo>
                    <a:pt x="3218" y="324"/>
                  </a:lnTo>
                  <a:lnTo>
                    <a:pt x="3218" y="324"/>
                  </a:lnTo>
                  <a:lnTo>
                    <a:pt x="3218" y="324"/>
                  </a:lnTo>
                  <a:lnTo>
                    <a:pt x="3243" y="324"/>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1"/>
                  </a:lnTo>
                  <a:lnTo>
                    <a:pt x="3243" y="321"/>
                  </a:lnTo>
                  <a:lnTo>
                    <a:pt x="3243" y="321"/>
                  </a:lnTo>
                  <a:lnTo>
                    <a:pt x="3244" y="321"/>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5" y="899"/>
                  </a:lnTo>
                  <a:lnTo>
                    <a:pt x="3245" y="899"/>
                  </a:lnTo>
                  <a:lnTo>
                    <a:pt x="3245" y="899"/>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50" y="899"/>
                  </a:lnTo>
                  <a:lnTo>
                    <a:pt x="3250" y="899"/>
                  </a:lnTo>
                  <a:lnTo>
                    <a:pt x="3250" y="899"/>
                  </a:lnTo>
                  <a:lnTo>
                    <a:pt x="3250" y="221"/>
                  </a:lnTo>
                  <a:lnTo>
                    <a:pt x="3251" y="221"/>
                  </a:lnTo>
                  <a:lnTo>
                    <a:pt x="3251" y="899"/>
                  </a:lnTo>
                  <a:lnTo>
                    <a:pt x="3251" y="899"/>
                  </a:lnTo>
                  <a:lnTo>
                    <a:pt x="3251"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204"/>
                  </a:lnTo>
                  <a:lnTo>
                    <a:pt x="3252" y="204"/>
                  </a:lnTo>
                  <a:lnTo>
                    <a:pt x="3252" y="204"/>
                  </a:lnTo>
                  <a:lnTo>
                    <a:pt x="3253" y="204"/>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899"/>
                  </a:lnTo>
                  <a:lnTo>
                    <a:pt x="3383" y="899"/>
                  </a:lnTo>
                  <a:lnTo>
                    <a:pt x="3383" y="0"/>
                  </a:lnTo>
                  <a:lnTo>
                    <a:pt x="3383" y="0"/>
                  </a:lnTo>
                  <a:lnTo>
                    <a:pt x="3383" y="0"/>
                  </a:lnTo>
                  <a:lnTo>
                    <a:pt x="3383" y="0"/>
                  </a:lnTo>
                  <a:lnTo>
                    <a:pt x="3383"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899"/>
                  </a:lnTo>
                  <a:lnTo>
                    <a:pt x="3372" y="0"/>
                  </a:lnTo>
                  <a:lnTo>
                    <a:pt x="3372" y="0"/>
                  </a:lnTo>
                  <a:lnTo>
                    <a:pt x="3372" y="0"/>
                  </a:lnTo>
                  <a:lnTo>
                    <a:pt x="3355" y="0"/>
                  </a:lnTo>
                  <a:lnTo>
                    <a:pt x="3355" y="0"/>
                  </a:lnTo>
                  <a:lnTo>
                    <a:pt x="3354" y="0"/>
                  </a:lnTo>
                  <a:lnTo>
                    <a:pt x="3354" y="899"/>
                  </a:lnTo>
                  <a:lnTo>
                    <a:pt x="3354" y="899"/>
                  </a:lnTo>
                  <a:lnTo>
                    <a:pt x="3354" y="899"/>
                  </a:lnTo>
                  <a:lnTo>
                    <a:pt x="3353" y="899"/>
                  </a:lnTo>
                  <a:lnTo>
                    <a:pt x="3353" y="899"/>
                  </a:lnTo>
                  <a:lnTo>
                    <a:pt x="3353" y="899"/>
                  </a:lnTo>
                  <a:lnTo>
                    <a:pt x="3353" y="899"/>
                  </a:lnTo>
                  <a:lnTo>
                    <a:pt x="3341" y="899"/>
                  </a:lnTo>
                  <a:lnTo>
                    <a:pt x="3341" y="899"/>
                  </a:lnTo>
                  <a:lnTo>
                    <a:pt x="3341" y="899"/>
                  </a:lnTo>
                  <a:lnTo>
                    <a:pt x="3341"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899"/>
                  </a:lnTo>
                  <a:lnTo>
                    <a:pt x="3340" y="0"/>
                  </a:lnTo>
                  <a:lnTo>
                    <a:pt x="3340" y="0"/>
                  </a:lnTo>
                  <a:lnTo>
                    <a:pt x="3340" y="0"/>
                  </a:lnTo>
                  <a:lnTo>
                    <a:pt x="3338" y="0"/>
                  </a:lnTo>
                  <a:lnTo>
                    <a:pt x="3338" y="0"/>
                  </a:lnTo>
                  <a:lnTo>
                    <a:pt x="3317" y="0"/>
                  </a:lnTo>
                  <a:lnTo>
                    <a:pt x="3317" y="0"/>
                  </a:lnTo>
                  <a:lnTo>
                    <a:pt x="3317" y="0"/>
                  </a:lnTo>
                  <a:lnTo>
                    <a:pt x="3317"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6" y="899"/>
                  </a:lnTo>
                  <a:lnTo>
                    <a:pt x="3315" y="899"/>
                  </a:lnTo>
                  <a:lnTo>
                    <a:pt x="3315" y="899"/>
                  </a:lnTo>
                  <a:lnTo>
                    <a:pt x="3315" y="899"/>
                  </a:lnTo>
                  <a:lnTo>
                    <a:pt x="3315" y="899"/>
                  </a:lnTo>
                  <a:lnTo>
                    <a:pt x="3315" y="899"/>
                  </a:lnTo>
                  <a:lnTo>
                    <a:pt x="3315" y="899"/>
                  </a:lnTo>
                  <a:lnTo>
                    <a:pt x="3315" y="899"/>
                  </a:lnTo>
                  <a:lnTo>
                    <a:pt x="3315" y="899"/>
                  </a:lnTo>
                  <a:lnTo>
                    <a:pt x="3315" y="899"/>
                  </a:lnTo>
                  <a:lnTo>
                    <a:pt x="3315" y="0"/>
                  </a:lnTo>
                  <a:lnTo>
                    <a:pt x="3315" y="0"/>
                  </a:lnTo>
                  <a:lnTo>
                    <a:pt x="3315" y="0"/>
                  </a:lnTo>
                  <a:lnTo>
                    <a:pt x="3315" y="0"/>
                  </a:lnTo>
                  <a:lnTo>
                    <a:pt x="3315" y="899"/>
                  </a:lnTo>
                  <a:lnTo>
                    <a:pt x="3301" y="899"/>
                  </a:lnTo>
                  <a:lnTo>
                    <a:pt x="3301" y="899"/>
                  </a:lnTo>
                  <a:lnTo>
                    <a:pt x="3301" y="899"/>
                  </a:lnTo>
                  <a:lnTo>
                    <a:pt x="3301" y="899"/>
                  </a:lnTo>
                  <a:lnTo>
                    <a:pt x="3301" y="899"/>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899"/>
                  </a:lnTo>
                  <a:lnTo>
                    <a:pt x="3296" y="899"/>
                  </a:lnTo>
                  <a:lnTo>
                    <a:pt x="3296" y="899"/>
                  </a:lnTo>
                  <a:lnTo>
                    <a:pt x="3296" y="899"/>
                  </a:lnTo>
                  <a:lnTo>
                    <a:pt x="3296" y="899"/>
                  </a:lnTo>
                  <a:lnTo>
                    <a:pt x="3295" y="899"/>
                  </a:lnTo>
                  <a:lnTo>
                    <a:pt x="3295" y="899"/>
                  </a:lnTo>
                  <a:lnTo>
                    <a:pt x="3295" y="899"/>
                  </a:lnTo>
                  <a:lnTo>
                    <a:pt x="3295" y="899"/>
                  </a:lnTo>
                  <a:lnTo>
                    <a:pt x="3277" y="899"/>
                  </a:lnTo>
                  <a:lnTo>
                    <a:pt x="3277" y="899"/>
                  </a:lnTo>
                  <a:lnTo>
                    <a:pt x="3277" y="899"/>
                  </a:lnTo>
                  <a:lnTo>
                    <a:pt x="3277" y="899"/>
                  </a:lnTo>
                  <a:lnTo>
                    <a:pt x="3274" y="899"/>
                  </a:lnTo>
                  <a:lnTo>
                    <a:pt x="3274" y="899"/>
                  </a:lnTo>
                  <a:lnTo>
                    <a:pt x="3274" y="899"/>
                  </a:lnTo>
                  <a:lnTo>
                    <a:pt x="3274"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3" y="899"/>
                  </a:lnTo>
                  <a:lnTo>
                    <a:pt x="3272" y="899"/>
                  </a:lnTo>
                  <a:lnTo>
                    <a:pt x="3272" y="899"/>
                  </a:lnTo>
                  <a:lnTo>
                    <a:pt x="3272" y="899"/>
                  </a:lnTo>
                  <a:lnTo>
                    <a:pt x="3272"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1" y="899"/>
                  </a:lnTo>
                  <a:lnTo>
                    <a:pt x="3251" y="899"/>
                  </a:lnTo>
                  <a:lnTo>
                    <a:pt x="3251" y="899"/>
                  </a:lnTo>
                  <a:lnTo>
                    <a:pt x="3251" y="221"/>
                  </a:lnTo>
                  <a:lnTo>
                    <a:pt x="3250" y="221"/>
                  </a:lnTo>
                  <a:lnTo>
                    <a:pt x="3250" y="899"/>
                  </a:lnTo>
                  <a:lnTo>
                    <a:pt x="3250" y="899"/>
                  </a:lnTo>
                  <a:lnTo>
                    <a:pt x="3250"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8" y="899"/>
                  </a:lnTo>
                  <a:lnTo>
                    <a:pt x="3247" y="899"/>
                  </a:lnTo>
                  <a:lnTo>
                    <a:pt x="3247" y="899"/>
                  </a:lnTo>
                  <a:lnTo>
                    <a:pt x="3247" y="899"/>
                  </a:lnTo>
                  <a:lnTo>
                    <a:pt x="3247" y="899"/>
                  </a:lnTo>
                  <a:lnTo>
                    <a:pt x="3246" y="899"/>
                  </a:lnTo>
                  <a:lnTo>
                    <a:pt x="3246" y="899"/>
                  </a:lnTo>
                  <a:lnTo>
                    <a:pt x="3246" y="899"/>
                  </a:lnTo>
                  <a:lnTo>
                    <a:pt x="3246" y="899"/>
                  </a:lnTo>
                  <a:lnTo>
                    <a:pt x="3245" y="899"/>
                  </a:lnTo>
                  <a:lnTo>
                    <a:pt x="3245" y="899"/>
                  </a:lnTo>
                  <a:lnTo>
                    <a:pt x="3245" y="899"/>
                  </a:lnTo>
                  <a:lnTo>
                    <a:pt x="3245" y="899"/>
                  </a:lnTo>
                  <a:lnTo>
                    <a:pt x="3245" y="899"/>
                  </a:lnTo>
                  <a:lnTo>
                    <a:pt x="3245"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8"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350"/>
                  </a:lnTo>
                  <a:lnTo>
                    <a:pt x="3216" y="350"/>
                  </a:lnTo>
                  <a:lnTo>
                    <a:pt x="3216" y="350"/>
                  </a:lnTo>
                  <a:lnTo>
                    <a:pt x="3216" y="350"/>
                  </a:lnTo>
                  <a:lnTo>
                    <a:pt x="3216" y="350"/>
                  </a:lnTo>
                  <a:lnTo>
                    <a:pt x="3216" y="350"/>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61"/>
                  </a:lnTo>
                  <a:lnTo>
                    <a:pt x="3216" y="361"/>
                  </a:lnTo>
                  <a:lnTo>
                    <a:pt x="3216" y="364"/>
                  </a:lnTo>
                  <a:lnTo>
                    <a:pt x="3216" y="364"/>
                  </a:lnTo>
                  <a:lnTo>
                    <a:pt x="3216" y="364"/>
                  </a:lnTo>
                  <a:lnTo>
                    <a:pt x="3216" y="364"/>
                  </a:lnTo>
                  <a:lnTo>
                    <a:pt x="3216" y="899"/>
                  </a:lnTo>
                  <a:lnTo>
                    <a:pt x="3216" y="899"/>
                  </a:lnTo>
                  <a:lnTo>
                    <a:pt x="3216" y="899"/>
                  </a:lnTo>
                  <a:lnTo>
                    <a:pt x="3216" y="899"/>
                  </a:lnTo>
                  <a:lnTo>
                    <a:pt x="3216" y="899"/>
                  </a:lnTo>
                  <a:lnTo>
                    <a:pt x="3216" y="899"/>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899"/>
                  </a:lnTo>
                  <a:lnTo>
                    <a:pt x="3197" y="899"/>
                  </a:lnTo>
                  <a:lnTo>
                    <a:pt x="3197" y="899"/>
                  </a:lnTo>
                  <a:lnTo>
                    <a:pt x="3196" y="899"/>
                  </a:lnTo>
                  <a:lnTo>
                    <a:pt x="3196" y="899"/>
                  </a:lnTo>
                  <a:lnTo>
                    <a:pt x="3195" y="899"/>
                  </a:lnTo>
                  <a:lnTo>
                    <a:pt x="3195" y="899"/>
                  </a:lnTo>
                  <a:lnTo>
                    <a:pt x="3194" y="899"/>
                  </a:lnTo>
                  <a:lnTo>
                    <a:pt x="3194" y="899"/>
                  </a:lnTo>
                  <a:lnTo>
                    <a:pt x="3194" y="899"/>
                  </a:lnTo>
                  <a:lnTo>
                    <a:pt x="3194" y="899"/>
                  </a:lnTo>
                  <a:lnTo>
                    <a:pt x="3194" y="899"/>
                  </a:lnTo>
                  <a:lnTo>
                    <a:pt x="3194" y="899"/>
                  </a:lnTo>
                  <a:lnTo>
                    <a:pt x="3194" y="899"/>
                  </a:lnTo>
                  <a:lnTo>
                    <a:pt x="3194"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2" y="899"/>
                  </a:lnTo>
                  <a:lnTo>
                    <a:pt x="3192" y="899"/>
                  </a:lnTo>
                  <a:lnTo>
                    <a:pt x="3192" y="899"/>
                  </a:lnTo>
                  <a:lnTo>
                    <a:pt x="3192" y="404"/>
                  </a:lnTo>
                  <a:lnTo>
                    <a:pt x="3192" y="404"/>
                  </a:lnTo>
                  <a:lnTo>
                    <a:pt x="3192" y="899"/>
                  </a:lnTo>
                  <a:lnTo>
                    <a:pt x="3192" y="899"/>
                  </a:lnTo>
                  <a:lnTo>
                    <a:pt x="3192" y="899"/>
                  </a:lnTo>
                  <a:lnTo>
                    <a:pt x="3192" y="899"/>
                  </a:lnTo>
                  <a:lnTo>
                    <a:pt x="3192" y="899"/>
                  </a:lnTo>
                  <a:lnTo>
                    <a:pt x="3192" y="899"/>
                  </a:lnTo>
                  <a:lnTo>
                    <a:pt x="3192" y="899"/>
                  </a:lnTo>
                  <a:lnTo>
                    <a:pt x="3192" y="899"/>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899"/>
                  </a:lnTo>
                  <a:lnTo>
                    <a:pt x="3189" y="899"/>
                  </a:lnTo>
                  <a:lnTo>
                    <a:pt x="3189" y="899"/>
                  </a:lnTo>
                  <a:lnTo>
                    <a:pt x="3189" y="899"/>
                  </a:lnTo>
                  <a:lnTo>
                    <a:pt x="3189" y="899"/>
                  </a:lnTo>
                  <a:lnTo>
                    <a:pt x="3189" y="899"/>
                  </a:lnTo>
                  <a:lnTo>
                    <a:pt x="3189" y="899"/>
                  </a:lnTo>
                  <a:lnTo>
                    <a:pt x="3189" y="899"/>
                  </a:lnTo>
                  <a:lnTo>
                    <a:pt x="3189" y="434"/>
                  </a:lnTo>
                  <a:lnTo>
                    <a:pt x="3189" y="434"/>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40"/>
                  </a:lnTo>
                  <a:lnTo>
                    <a:pt x="3189" y="440"/>
                  </a:lnTo>
                  <a:lnTo>
                    <a:pt x="3189" y="440"/>
                  </a:lnTo>
                  <a:lnTo>
                    <a:pt x="3188" y="440"/>
                  </a:lnTo>
                  <a:lnTo>
                    <a:pt x="3188" y="899"/>
                  </a:lnTo>
                  <a:lnTo>
                    <a:pt x="3187" y="899"/>
                  </a:lnTo>
                  <a:lnTo>
                    <a:pt x="3187" y="899"/>
                  </a:lnTo>
                  <a:lnTo>
                    <a:pt x="3187" y="899"/>
                  </a:lnTo>
                  <a:lnTo>
                    <a:pt x="3187" y="899"/>
                  </a:lnTo>
                  <a:lnTo>
                    <a:pt x="3187" y="899"/>
                  </a:lnTo>
                  <a:lnTo>
                    <a:pt x="3187" y="899"/>
                  </a:lnTo>
                  <a:lnTo>
                    <a:pt x="3187" y="899"/>
                  </a:lnTo>
                  <a:lnTo>
                    <a:pt x="3187" y="899"/>
                  </a:lnTo>
                  <a:lnTo>
                    <a:pt x="3186" y="899"/>
                  </a:lnTo>
                  <a:lnTo>
                    <a:pt x="3186" y="899"/>
                  </a:lnTo>
                  <a:lnTo>
                    <a:pt x="3186" y="899"/>
                  </a:lnTo>
                  <a:lnTo>
                    <a:pt x="3186" y="899"/>
                  </a:lnTo>
                  <a:lnTo>
                    <a:pt x="3186" y="899"/>
                  </a:lnTo>
                  <a:lnTo>
                    <a:pt x="3186" y="899"/>
                  </a:lnTo>
                  <a:lnTo>
                    <a:pt x="3186" y="899"/>
                  </a:lnTo>
                  <a:lnTo>
                    <a:pt x="3186" y="899"/>
                  </a:lnTo>
                  <a:lnTo>
                    <a:pt x="3186" y="899"/>
                  </a:lnTo>
                  <a:lnTo>
                    <a:pt x="3186"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89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899"/>
                  </a:lnTo>
                  <a:lnTo>
                    <a:pt x="3172" y="899"/>
                  </a:lnTo>
                  <a:lnTo>
                    <a:pt x="3172" y="899"/>
                  </a:lnTo>
                  <a:lnTo>
                    <a:pt x="3171" y="899"/>
                  </a:lnTo>
                  <a:lnTo>
                    <a:pt x="3171"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69" y="899"/>
                  </a:lnTo>
                  <a:lnTo>
                    <a:pt x="3159" y="899"/>
                  </a:lnTo>
                  <a:lnTo>
                    <a:pt x="3159" y="899"/>
                  </a:lnTo>
                  <a:lnTo>
                    <a:pt x="3157" y="899"/>
                  </a:lnTo>
                  <a:lnTo>
                    <a:pt x="3157" y="899"/>
                  </a:lnTo>
                  <a:lnTo>
                    <a:pt x="3157" y="899"/>
                  </a:lnTo>
                  <a:lnTo>
                    <a:pt x="3157" y="899"/>
                  </a:lnTo>
                  <a:lnTo>
                    <a:pt x="3156" y="899"/>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899"/>
                  </a:lnTo>
                  <a:lnTo>
                    <a:pt x="3057" y="899"/>
                  </a:lnTo>
                  <a:lnTo>
                    <a:pt x="3057" y="899"/>
                  </a:lnTo>
                  <a:lnTo>
                    <a:pt x="3057" y="899"/>
                  </a:lnTo>
                  <a:lnTo>
                    <a:pt x="3057" y="899"/>
                  </a:lnTo>
                  <a:lnTo>
                    <a:pt x="3050" y="899"/>
                  </a:lnTo>
                  <a:lnTo>
                    <a:pt x="3050" y="899"/>
                  </a:lnTo>
                  <a:lnTo>
                    <a:pt x="3049" y="899"/>
                  </a:lnTo>
                  <a:lnTo>
                    <a:pt x="3049" y="899"/>
                  </a:lnTo>
                  <a:lnTo>
                    <a:pt x="3048" y="899"/>
                  </a:lnTo>
                  <a:lnTo>
                    <a:pt x="3048" y="899"/>
                  </a:lnTo>
                  <a:lnTo>
                    <a:pt x="3048" y="899"/>
                  </a:lnTo>
                  <a:lnTo>
                    <a:pt x="3048" y="899"/>
                  </a:lnTo>
                  <a:lnTo>
                    <a:pt x="3048" y="899"/>
                  </a:lnTo>
                  <a:lnTo>
                    <a:pt x="3048" y="899"/>
                  </a:lnTo>
                  <a:lnTo>
                    <a:pt x="3048" y="899"/>
                  </a:lnTo>
                  <a:lnTo>
                    <a:pt x="3048"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7" y="899"/>
                  </a:lnTo>
                  <a:lnTo>
                    <a:pt x="3046" y="899"/>
                  </a:lnTo>
                  <a:lnTo>
                    <a:pt x="3046" y="899"/>
                  </a:lnTo>
                  <a:lnTo>
                    <a:pt x="3046" y="899"/>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899"/>
                  </a:lnTo>
                  <a:lnTo>
                    <a:pt x="2968" y="899"/>
                  </a:lnTo>
                  <a:lnTo>
                    <a:pt x="2968" y="899"/>
                  </a:lnTo>
                  <a:lnTo>
                    <a:pt x="2967" y="899"/>
                  </a:lnTo>
                  <a:lnTo>
                    <a:pt x="2967" y="899"/>
                  </a:lnTo>
                  <a:lnTo>
                    <a:pt x="2967" y="899"/>
                  </a:lnTo>
                  <a:lnTo>
                    <a:pt x="2967" y="899"/>
                  </a:lnTo>
                  <a:lnTo>
                    <a:pt x="2967" y="899"/>
                  </a:lnTo>
                  <a:lnTo>
                    <a:pt x="2967"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6" y="899"/>
                  </a:lnTo>
                  <a:lnTo>
                    <a:pt x="2964" y="899"/>
                  </a:lnTo>
                  <a:lnTo>
                    <a:pt x="2964"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899"/>
                  </a:lnTo>
                  <a:lnTo>
                    <a:pt x="2962" y="539"/>
                  </a:lnTo>
                  <a:lnTo>
                    <a:pt x="2962" y="539"/>
                  </a:lnTo>
                  <a:lnTo>
                    <a:pt x="2962" y="899"/>
                  </a:lnTo>
                  <a:lnTo>
                    <a:pt x="2962" y="899"/>
                  </a:lnTo>
                  <a:lnTo>
                    <a:pt x="2962" y="899"/>
                  </a:lnTo>
                  <a:lnTo>
                    <a:pt x="2953" y="899"/>
                  </a:lnTo>
                  <a:lnTo>
                    <a:pt x="2953" y="899"/>
                  </a:lnTo>
                  <a:lnTo>
                    <a:pt x="2952" y="899"/>
                  </a:lnTo>
                  <a:lnTo>
                    <a:pt x="2952" y="899"/>
                  </a:lnTo>
                  <a:lnTo>
                    <a:pt x="2951" y="899"/>
                  </a:lnTo>
                  <a:lnTo>
                    <a:pt x="2951" y="899"/>
                  </a:lnTo>
                  <a:lnTo>
                    <a:pt x="2951" y="899"/>
                  </a:lnTo>
                  <a:lnTo>
                    <a:pt x="2951" y="899"/>
                  </a:lnTo>
                  <a:lnTo>
                    <a:pt x="2951" y="899"/>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899"/>
                  </a:lnTo>
                  <a:lnTo>
                    <a:pt x="2944" y="899"/>
                  </a:lnTo>
                  <a:lnTo>
                    <a:pt x="2944"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43" y="899"/>
                  </a:lnTo>
                  <a:lnTo>
                    <a:pt x="2939" y="899"/>
                  </a:lnTo>
                  <a:lnTo>
                    <a:pt x="2939" y="899"/>
                  </a:lnTo>
                  <a:lnTo>
                    <a:pt x="2938" y="899"/>
                  </a:lnTo>
                  <a:lnTo>
                    <a:pt x="2938" y="899"/>
                  </a:lnTo>
                  <a:lnTo>
                    <a:pt x="2938" y="899"/>
                  </a:lnTo>
                  <a:lnTo>
                    <a:pt x="2938" y="899"/>
                  </a:lnTo>
                  <a:lnTo>
                    <a:pt x="2918" y="899"/>
                  </a:lnTo>
                  <a:lnTo>
                    <a:pt x="2918" y="899"/>
                  </a:lnTo>
                  <a:lnTo>
                    <a:pt x="2917" y="899"/>
                  </a:lnTo>
                  <a:lnTo>
                    <a:pt x="2917" y="899"/>
                  </a:lnTo>
                  <a:lnTo>
                    <a:pt x="2917" y="899"/>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899"/>
                  </a:lnTo>
                  <a:lnTo>
                    <a:pt x="2901" y="899"/>
                  </a:lnTo>
                  <a:lnTo>
                    <a:pt x="2901" y="899"/>
                  </a:lnTo>
                  <a:lnTo>
                    <a:pt x="2900" y="899"/>
                  </a:lnTo>
                  <a:lnTo>
                    <a:pt x="2900" y="899"/>
                  </a:lnTo>
                  <a:lnTo>
                    <a:pt x="2899" y="899"/>
                  </a:lnTo>
                  <a:lnTo>
                    <a:pt x="2899"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899"/>
                  </a:lnTo>
                  <a:lnTo>
                    <a:pt x="2837" y="899"/>
                  </a:lnTo>
                  <a:lnTo>
                    <a:pt x="2837" y="899"/>
                  </a:lnTo>
                  <a:lnTo>
                    <a:pt x="2837" y="899"/>
                  </a:lnTo>
                  <a:lnTo>
                    <a:pt x="2837" y="899"/>
                  </a:lnTo>
                  <a:lnTo>
                    <a:pt x="2799" y="899"/>
                  </a:lnTo>
                  <a:lnTo>
                    <a:pt x="2799" y="899"/>
                  </a:lnTo>
                  <a:lnTo>
                    <a:pt x="2798" y="899"/>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899"/>
                  </a:lnTo>
                  <a:lnTo>
                    <a:pt x="2775" y="899"/>
                  </a:lnTo>
                  <a:lnTo>
                    <a:pt x="2775" y="899"/>
                  </a:lnTo>
                  <a:lnTo>
                    <a:pt x="2775" y="899"/>
                  </a:lnTo>
                  <a:lnTo>
                    <a:pt x="2775" y="899"/>
                  </a:lnTo>
                  <a:lnTo>
                    <a:pt x="2775" y="899"/>
                  </a:lnTo>
                  <a:lnTo>
                    <a:pt x="2775" y="899"/>
                  </a:lnTo>
                  <a:lnTo>
                    <a:pt x="2752" y="899"/>
                  </a:lnTo>
                  <a:lnTo>
                    <a:pt x="2752" y="899"/>
                  </a:lnTo>
                  <a:lnTo>
                    <a:pt x="2748" y="899"/>
                  </a:lnTo>
                  <a:lnTo>
                    <a:pt x="2748" y="899"/>
                  </a:lnTo>
                  <a:lnTo>
                    <a:pt x="2736" y="899"/>
                  </a:lnTo>
                  <a:lnTo>
                    <a:pt x="2736"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2"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89" y="899"/>
                  </a:lnTo>
                  <a:lnTo>
                    <a:pt x="2689"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7" y="899"/>
                  </a:lnTo>
                  <a:lnTo>
                    <a:pt x="2684" y="899"/>
                  </a:lnTo>
                  <a:lnTo>
                    <a:pt x="2684" y="899"/>
                  </a:lnTo>
                  <a:lnTo>
                    <a:pt x="2684" y="899"/>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2" y="899"/>
                  </a:lnTo>
                  <a:lnTo>
                    <a:pt x="2682" y="899"/>
                  </a:lnTo>
                  <a:lnTo>
                    <a:pt x="2681" y="899"/>
                  </a:lnTo>
                  <a:lnTo>
                    <a:pt x="2681" y="899"/>
                  </a:lnTo>
                  <a:lnTo>
                    <a:pt x="2665" y="899"/>
                  </a:lnTo>
                  <a:lnTo>
                    <a:pt x="2665" y="899"/>
                  </a:lnTo>
                  <a:lnTo>
                    <a:pt x="2663" y="899"/>
                  </a:lnTo>
                  <a:lnTo>
                    <a:pt x="2663" y="899"/>
                  </a:lnTo>
                  <a:lnTo>
                    <a:pt x="2662" y="899"/>
                  </a:lnTo>
                  <a:lnTo>
                    <a:pt x="2662" y="899"/>
                  </a:lnTo>
                  <a:lnTo>
                    <a:pt x="2662" y="899"/>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58" y="899"/>
                  </a:lnTo>
                  <a:lnTo>
                    <a:pt x="2658" y="899"/>
                  </a:lnTo>
                  <a:lnTo>
                    <a:pt x="2658" y="899"/>
                  </a:lnTo>
                  <a:lnTo>
                    <a:pt x="2658" y="899"/>
                  </a:lnTo>
                  <a:lnTo>
                    <a:pt x="2658" y="899"/>
                  </a:lnTo>
                  <a:lnTo>
                    <a:pt x="2658" y="899"/>
                  </a:lnTo>
                  <a:lnTo>
                    <a:pt x="2658" y="899"/>
                  </a:lnTo>
                  <a:lnTo>
                    <a:pt x="2658"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3" y="899"/>
                  </a:lnTo>
                  <a:lnTo>
                    <a:pt x="2653"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39" y="899"/>
                  </a:lnTo>
                  <a:lnTo>
                    <a:pt x="2639" y="899"/>
                  </a:lnTo>
                  <a:lnTo>
                    <a:pt x="2639" y="899"/>
                  </a:lnTo>
                  <a:lnTo>
                    <a:pt x="2639"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1" y="899"/>
                  </a:lnTo>
                  <a:lnTo>
                    <a:pt x="2631"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13" y="899"/>
                  </a:lnTo>
                  <a:lnTo>
                    <a:pt x="2613" y="899"/>
                  </a:lnTo>
                  <a:lnTo>
                    <a:pt x="2612" y="899"/>
                  </a:lnTo>
                  <a:lnTo>
                    <a:pt x="2612" y="899"/>
                  </a:lnTo>
                  <a:lnTo>
                    <a:pt x="2612" y="899"/>
                  </a:lnTo>
                  <a:lnTo>
                    <a:pt x="2612" y="899"/>
                  </a:lnTo>
                  <a:lnTo>
                    <a:pt x="2609" y="899"/>
                  </a:lnTo>
                  <a:lnTo>
                    <a:pt x="2609"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5" y="899"/>
                  </a:lnTo>
                  <a:lnTo>
                    <a:pt x="2605" y="899"/>
                  </a:lnTo>
                  <a:lnTo>
                    <a:pt x="2605" y="899"/>
                  </a:lnTo>
                  <a:lnTo>
                    <a:pt x="2605" y="899"/>
                  </a:lnTo>
                  <a:lnTo>
                    <a:pt x="2605" y="899"/>
                  </a:lnTo>
                  <a:lnTo>
                    <a:pt x="2605" y="899"/>
                  </a:lnTo>
                  <a:lnTo>
                    <a:pt x="2604" y="899"/>
                  </a:lnTo>
                  <a:lnTo>
                    <a:pt x="2604" y="899"/>
                  </a:lnTo>
                  <a:lnTo>
                    <a:pt x="2604" y="899"/>
                  </a:lnTo>
                  <a:lnTo>
                    <a:pt x="2604" y="899"/>
                  </a:lnTo>
                  <a:lnTo>
                    <a:pt x="2599" y="899"/>
                  </a:lnTo>
                  <a:lnTo>
                    <a:pt x="2599" y="899"/>
                  </a:lnTo>
                  <a:lnTo>
                    <a:pt x="2596" y="899"/>
                  </a:lnTo>
                  <a:lnTo>
                    <a:pt x="2596" y="899"/>
                  </a:lnTo>
                  <a:lnTo>
                    <a:pt x="2593" y="899"/>
                  </a:lnTo>
                  <a:lnTo>
                    <a:pt x="2593" y="899"/>
                  </a:lnTo>
                  <a:lnTo>
                    <a:pt x="2592" y="899"/>
                  </a:lnTo>
                  <a:lnTo>
                    <a:pt x="2592" y="899"/>
                  </a:lnTo>
                  <a:lnTo>
                    <a:pt x="2591" y="899"/>
                  </a:lnTo>
                  <a:lnTo>
                    <a:pt x="2591" y="899"/>
                  </a:lnTo>
                  <a:lnTo>
                    <a:pt x="2591" y="899"/>
                  </a:lnTo>
                  <a:lnTo>
                    <a:pt x="2591" y="899"/>
                  </a:lnTo>
                  <a:lnTo>
                    <a:pt x="2591" y="899"/>
                  </a:lnTo>
                  <a:lnTo>
                    <a:pt x="2591" y="899"/>
                  </a:lnTo>
                  <a:lnTo>
                    <a:pt x="2591" y="899"/>
                  </a:lnTo>
                  <a:lnTo>
                    <a:pt x="2591"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90" y="899"/>
                  </a:lnTo>
                  <a:lnTo>
                    <a:pt x="2541" y="899"/>
                  </a:lnTo>
                  <a:lnTo>
                    <a:pt x="2541" y="899"/>
                  </a:lnTo>
                  <a:lnTo>
                    <a:pt x="2537" y="899"/>
                  </a:lnTo>
                  <a:lnTo>
                    <a:pt x="2537" y="899"/>
                  </a:lnTo>
                  <a:lnTo>
                    <a:pt x="2534" y="899"/>
                  </a:lnTo>
                  <a:lnTo>
                    <a:pt x="2534"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2"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27" y="899"/>
                  </a:lnTo>
                  <a:lnTo>
                    <a:pt x="2527"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4" y="899"/>
                  </a:lnTo>
                  <a:lnTo>
                    <a:pt x="2524" y="899"/>
                  </a:lnTo>
                  <a:lnTo>
                    <a:pt x="2514" y="899"/>
                  </a:lnTo>
                  <a:lnTo>
                    <a:pt x="2514" y="899"/>
                  </a:lnTo>
                  <a:lnTo>
                    <a:pt x="2503" y="899"/>
                  </a:lnTo>
                  <a:lnTo>
                    <a:pt x="2503" y="899"/>
                  </a:lnTo>
                  <a:lnTo>
                    <a:pt x="2499" y="899"/>
                  </a:lnTo>
                  <a:lnTo>
                    <a:pt x="2499" y="899"/>
                  </a:lnTo>
                  <a:lnTo>
                    <a:pt x="2496" y="899"/>
                  </a:lnTo>
                  <a:lnTo>
                    <a:pt x="2496" y="899"/>
                  </a:lnTo>
                  <a:lnTo>
                    <a:pt x="2495" y="899"/>
                  </a:lnTo>
                  <a:lnTo>
                    <a:pt x="2495" y="899"/>
                  </a:lnTo>
                  <a:lnTo>
                    <a:pt x="2493" y="899"/>
                  </a:lnTo>
                  <a:lnTo>
                    <a:pt x="2493" y="899"/>
                  </a:lnTo>
                  <a:lnTo>
                    <a:pt x="2492" y="899"/>
                  </a:lnTo>
                  <a:lnTo>
                    <a:pt x="2492" y="899"/>
                  </a:lnTo>
                  <a:lnTo>
                    <a:pt x="2490" y="899"/>
                  </a:lnTo>
                  <a:lnTo>
                    <a:pt x="2490" y="899"/>
                  </a:lnTo>
                  <a:lnTo>
                    <a:pt x="2489" y="899"/>
                  </a:lnTo>
                  <a:lnTo>
                    <a:pt x="2489"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1" y="899"/>
                  </a:lnTo>
                  <a:lnTo>
                    <a:pt x="2481" y="899"/>
                  </a:lnTo>
                  <a:lnTo>
                    <a:pt x="2476" y="899"/>
                  </a:lnTo>
                  <a:lnTo>
                    <a:pt x="2476" y="899"/>
                  </a:lnTo>
                  <a:lnTo>
                    <a:pt x="2474" y="899"/>
                  </a:lnTo>
                  <a:lnTo>
                    <a:pt x="2474" y="899"/>
                  </a:lnTo>
                  <a:lnTo>
                    <a:pt x="2472" y="899"/>
                  </a:lnTo>
                  <a:lnTo>
                    <a:pt x="2472" y="899"/>
                  </a:lnTo>
                  <a:lnTo>
                    <a:pt x="2472" y="899"/>
                  </a:lnTo>
                  <a:lnTo>
                    <a:pt x="2472" y="899"/>
                  </a:lnTo>
                  <a:lnTo>
                    <a:pt x="2471" y="899"/>
                  </a:lnTo>
                  <a:lnTo>
                    <a:pt x="2471" y="899"/>
                  </a:lnTo>
                  <a:lnTo>
                    <a:pt x="2471" y="899"/>
                  </a:lnTo>
                  <a:lnTo>
                    <a:pt x="2471" y="899"/>
                  </a:lnTo>
                  <a:lnTo>
                    <a:pt x="2471" y="899"/>
                  </a:lnTo>
                  <a:lnTo>
                    <a:pt x="2471" y="899"/>
                  </a:lnTo>
                  <a:lnTo>
                    <a:pt x="2469" y="899"/>
                  </a:lnTo>
                  <a:lnTo>
                    <a:pt x="2469" y="899"/>
                  </a:lnTo>
                  <a:lnTo>
                    <a:pt x="2469" y="899"/>
                  </a:lnTo>
                  <a:lnTo>
                    <a:pt x="2469" y="899"/>
                  </a:lnTo>
                  <a:lnTo>
                    <a:pt x="2468" y="899"/>
                  </a:lnTo>
                  <a:lnTo>
                    <a:pt x="2468" y="899"/>
                  </a:lnTo>
                  <a:lnTo>
                    <a:pt x="2468" y="899"/>
                  </a:lnTo>
                  <a:lnTo>
                    <a:pt x="2468" y="899"/>
                  </a:lnTo>
                  <a:lnTo>
                    <a:pt x="2457" y="899"/>
                  </a:lnTo>
                  <a:lnTo>
                    <a:pt x="2457" y="899"/>
                  </a:lnTo>
                  <a:lnTo>
                    <a:pt x="2456" y="899"/>
                  </a:lnTo>
                  <a:lnTo>
                    <a:pt x="2456" y="899"/>
                  </a:lnTo>
                  <a:lnTo>
                    <a:pt x="2454" y="899"/>
                  </a:lnTo>
                  <a:lnTo>
                    <a:pt x="2454" y="899"/>
                  </a:lnTo>
                  <a:lnTo>
                    <a:pt x="2453" y="899"/>
                  </a:lnTo>
                  <a:lnTo>
                    <a:pt x="2453" y="899"/>
                  </a:lnTo>
                  <a:lnTo>
                    <a:pt x="2453" y="899"/>
                  </a:lnTo>
                  <a:lnTo>
                    <a:pt x="2453" y="899"/>
                  </a:lnTo>
                  <a:lnTo>
                    <a:pt x="2452" y="899"/>
                  </a:lnTo>
                  <a:lnTo>
                    <a:pt x="2452" y="899"/>
                  </a:lnTo>
                  <a:lnTo>
                    <a:pt x="2452" y="899"/>
                  </a:lnTo>
                  <a:lnTo>
                    <a:pt x="2452"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51" y="899"/>
                  </a:lnTo>
                  <a:lnTo>
                    <a:pt x="2439" y="899"/>
                  </a:lnTo>
                  <a:lnTo>
                    <a:pt x="2439" y="899"/>
                  </a:lnTo>
                  <a:lnTo>
                    <a:pt x="2428" y="899"/>
                  </a:lnTo>
                  <a:lnTo>
                    <a:pt x="2428" y="899"/>
                  </a:lnTo>
                  <a:lnTo>
                    <a:pt x="2422" y="899"/>
                  </a:lnTo>
                  <a:lnTo>
                    <a:pt x="2422" y="899"/>
                  </a:lnTo>
                  <a:lnTo>
                    <a:pt x="2417" y="899"/>
                  </a:lnTo>
                  <a:lnTo>
                    <a:pt x="2417" y="899"/>
                  </a:lnTo>
                  <a:lnTo>
                    <a:pt x="2413" y="899"/>
                  </a:lnTo>
                  <a:lnTo>
                    <a:pt x="2413" y="899"/>
                  </a:lnTo>
                  <a:lnTo>
                    <a:pt x="2411" y="899"/>
                  </a:lnTo>
                  <a:lnTo>
                    <a:pt x="2411"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382" y="899"/>
                  </a:lnTo>
                  <a:lnTo>
                    <a:pt x="2382" y="899"/>
                  </a:lnTo>
                  <a:lnTo>
                    <a:pt x="2371" y="899"/>
                  </a:lnTo>
                  <a:lnTo>
                    <a:pt x="2371" y="899"/>
                  </a:lnTo>
                  <a:lnTo>
                    <a:pt x="2369" y="899"/>
                  </a:lnTo>
                  <a:lnTo>
                    <a:pt x="2369" y="899"/>
                  </a:lnTo>
                  <a:lnTo>
                    <a:pt x="2367" y="899"/>
                  </a:lnTo>
                  <a:lnTo>
                    <a:pt x="2367" y="899"/>
                  </a:lnTo>
                  <a:lnTo>
                    <a:pt x="2366" y="899"/>
                  </a:lnTo>
                  <a:lnTo>
                    <a:pt x="2366" y="899"/>
                  </a:lnTo>
                  <a:lnTo>
                    <a:pt x="2365" y="899"/>
                  </a:lnTo>
                  <a:lnTo>
                    <a:pt x="2365" y="899"/>
                  </a:lnTo>
                  <a:lnTo>
                    <a:pt x="2365" y="899"/>
                  </a:lnTo>
                  <a:lnTo>
                    <a:pt x="2365" y="899"/>
                  </a:lnTo>
                  <a:lnTo>
                    <a:pt x="2365" y="899"/>
                  </a:lnTo>
                  <a:lnTo>
                    <a:pt x="2365" y="899"/>
                  </a:lnTo>
                  <a:lnTo>
                    <a:pt x="2365" y="899"/>
                  </a:lnTo>
                  <a:lnTo>
                    <a:pt x="2365" y="899"/>
                  </a:lnTo>
                  <a:lnTo>
                    <a:pt x="2351" y="899"/>
                  </a:lnTo>
                  <a:lnTo>
                    <a:pt x="2351" y="899"/>
                  </a:lnTo>
                  <a:lnTo>
                    <a:pt x="2350" y="899"/>
                  </a:lnTo>
                  <a:lnTo>
                    <a:pt x="2350" y="899"/>
                  </a:lnTo>
                  <a:lnTo>
                    <a:pt x="2350" y="899"/>
                  </a:lnTo>
                  <a:lnTo>
                    <a:pt x="2350" y="899"/>
                  </a:lnTo>
                  <a:lnTo>
                    <a:pt x="2311" y="899"/>
                  </a:lnTo>
                  <a:lnTo>
                    <a:pt x="2311" y="899"/>
                  </a:lnTo>
                  <a:lnTo>
                    <a:pt x="2308" y="899"/>
                  </a:lnTo>
                  <a:lnTo>
                    <a:pt x="2308" y="899"/>
                  </a:lnTo>
                  <a:lnTo>
                    <a:pt x="2299" y="899"/>
                  </a:lnTo>
                  <a:lnTo>
                    <a:pt x="2299"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4" y="899"/>
                  </a:lnTo>
                  <a:lnTo>
                    <a:pt x="2294" y="899"/>
                  </a:lnTo>
                  <a:lnTo>
                    <a:pt x="2293" y="899"/>
                  </a:lnTo>
                  <a:lnTo>
                    <a:pt x="2293" y="899"/>
                  </a:lnTo>
                  <a:lnTo>
                    <a:pt x="2292" y="899"/>
                  </a:lnTo>
                  <a:lnTo>
                    <a:pt x="2292" y="899"/>
                  </a:lnTo>
                  <a:lnTo>
                    <a:pt x="2288" y="899"/>
                  </a:lnTo>
                  <a:lnTo>
                    <a:pt x="2288" y="899"/>
                  </a:lnTo>
                  <a:lnTo>
                    <a:pt x="2285" y="899"/>
                  </a:lnTo>
                  <a:lnTo>
                    <a:pt x="2285" y="899"/>
                  </a:lnTo>
                  <a:lnTo>
                    <a:pt x="2283" y="899"/>
                  </a:lnTo>
                  <a:lnTo>
                    <a:pt x="2283" y="899"/>
                  </a:lnTo>
                  <a:lnTo>
                    <a:pt x="2282" y="899"/>
                  </a:lnTo>
                  <a:lnTo>
                    <a:pt x="2282" y="899"/>
                  </a:lnTo>
                  <a:lnTo>
                    <a:pt x="2280" y="899"/>
                  </a:lnTo>
                  <a:lnTo>
                    <a:pt x="2280" y="899"/>
                  </a:lnTo>
                  <a:lnTo>
                    <a:pt x="2279" y="899"/>
                  </a:lnTo>
                  <a:lnTo>
                    <a:pt x="2279" y="899"/>
                  </a:lnTo>
                  <a:lnTo>
                    <a:pt x="2279" y="899"/>
                  </a:lnTo>
                  <a:lnTo>
                    <a:pt x="2279" y="899"/>
                  </a:lnTo>
                  <a:lnTo>
                    <a:pt x="2278" y="899"/>
                  </a:lnTo>
                  <a:lnTo>
                    <a:pt x="2278" y="899"/>
                  </a:lnTo>
                  <a:lnTo>
                    <a:pt x="2278" y="899"/>
                  </a:lnTo>
                  <a:lnTo>
                    <a:pt x="2278" y="899"/>
                  </a:lnTo>
                  <a:lnTo>
                    <a:pt x="2277" y="899"/>
                  </a:lnTo>
                  <a:lnTo>
                    <a:pt x="2277" y="899"/>
                  </a:lnTo>
                  <a:lnTo>
                    <a:pt x="2277" y="899"/>
                  </a:lnTo>
                  <a:lnTo>
                    <a:pt x="2277" y="899"/>
                  </a:lnTo>
                  <a:lnTo>
                    <a:pt x="2277" y="899"/>
                  </a:lnTo>
                  <a:lnTo>
                    <a:pt x="2277" y="899"/>
                  </a:lnTo>
                  <a:lnTo>
                    <a:pt x="2275" y="899"/>
                  </a:lnTo>
                  <a:lnTo>
                    <a:pt x="2275" y="899"/>
                  </a:lnTo>
                  <a:lnTo>
                    <a:pt x="2273" y="899"/>
                  </a:lnTo>
                  <a:lnTo>
                    <a:pt x="2273" y="899"/>
                  </a:lnTo>
                  <a:lnTo>
                    <a:pt x="2273" y="899"/>
                  </a:lnTo>
                  <a:lnTo>
                    <a:pt x="2273" y="899"/>
                  </a:lnTo>
                  <a:lnTo>
                    <a:pt x="2273" y="899"/>
                  </a:lnTo>
                  <a:lnTo>
                    <a:pt x="2273" y="899"/>
                  </a:lnTo>
                  <a:lnTo>
                    <a:pt x="2273" y="899"/>
                  </a:lnTo>
                  <a:lnTo>
                    <a:pt x="2273" y="899"/>
                  </a:lnTo>
                  <a:lnTo>
                    <a:pt x="2273" y="899"/>
                  </a:lnTo>
                  <a:lnTo>
                    <a:pt x="2273" y="899"/>
                  </a:lnTo>
                  <a:lnTo>
                    <a:pt x="2269" y="899"/>
                  </a:lnTo>
                  <a:lnTo>
                    <a:pt x="2269" y="899"/>
                  </a:lnTo>
                  <a:lnTo>
                    <a:pt x="2267" y="899"/>
                  </a:lnTo>
                  <a:lnTo>
                    <a:pt x="2267" y="899"/>
                  </a:lnTo>
                  <a:lnTo>
                    <a:pt x="2267" y="899"/>
                  </a:lnTo>
                  <a:lnTo>
                    <a:pt x="2267" y="899"/>
                  </a:lnTo>
                  <a:lnTo>
                    <a:pt x="2266" y="899"/>
                  </a:lnTo>
                  <a:lnTo>
                    <a:pt x="2266" y="899"/>
                  </a:lnTo>
                  <a:lnTo>
                    <a:pt x="2266" y="899"/>
                  </a:lnTo>
                  <a:lnTo>
                    <a:pt x="2266" y="899"/>
                  </a:lnTo>
                  <a:lnTo>
                    <a:pt x="2266" y="899"/>
                  </a:lnTo>
                  <a:lnTo>
                    <a:pt x="2266" y="899"/>
                  </a:lnTo>
                  <a:lnTo>
                    <a:pt x="2266" y="899"/>
                  </a:lnTo>
                  <a:lnTo>
                    <a:pt x="2266" y="899"/>
                  </a:lnTo>
                  <a:lnTo>
                    <a:pt x="2266" y="899"/>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18" y="899"/>
                  </a:lnTo>
                  <a:lnTo>
                    <a:pt x="2218" y="899"/>
                  </a:lnTo>
                  <a:lnTo>
                    <a:pt x="2218" y="899"/>
                  </a:lnTo>
                  <a:lnTo>
                    <a:pt x="2218" y="899"/>
                  </a:lnTo>
                  <a:lnTo>
                    <a:pt x="2218" y="899"/>
                  </a:lnTo>
                  <a:lnTo>
                    <a:pt x="2218" y="899"/>
                  </a:lnTo>
                  <a:lnTo>
                    <a:pt x="2218" y="899"/>
                  </a:lnTo>
                  <a:lnTo>
                    <a:pt x="2218"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193" y="899"/>
                  </a:lnTo>
                  <a:lnTo>
                    <a:pt x="2193" y="899"/>
                  </a:lnTo>
                  <a:lnTo>
                    <a:pt x="2190" y="899"/>
                  </a:lnTo>
                  <a:lnTo>
                    <a:pt x="2190" y="899"/>
                  </a:lnTo>
                  <a:lnTo>
                    <a:pt x="2188" y="899"/>
                  </a:lnTo>
                  <a:lnTo>
                    <a:pt x="2188"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99"/>
                  </a:lnTo>
                  <a:lnTo>
                    <a:pt x="2178" y="899"/>
                  </a:lnTo>
                  <a:lnTo>
                    <a:pt x="2178" y="899"/>
                  </a:lnTo>
                  <a:lnTo>
                    <a:pt x="2176" y="899"/>
                  </a:lnTo>
                  <a:lnTo>
                    <a:pt x="2176" y="899"/>
                  </a:lnTo>
                  <a:lnTo>
                    <a:pt x="2175" y="899"/>
                  </a:lnTo>
                  <a:lnTo>
                    <a:pt x="2175" y="899"/>
                  </a:lnTo>
                  <a:lnTo>
                    <a:pt x="2175" y="899"/>
                  </a:lnTo>
                  <a:lnTo>
                    <a:pt x="2175" y="899"/>
                  </a:lnTo>
                  <a:lnTo>
                    <a:pt x="2175" y="899"/>
                  </a:lnTo>
                  <a:lnTo>
                    <a:pt x="2175" y="899"/>
                  </a:lnTo>
                  <a:lnTo>
                    <a:pt x="2175" y="899"/>
                  </a:lnTo>
                  <a:lnTo>
                    <a:pt x="2175" y="899"/>
                  </a:lnTo>
                  <a:lnTo>
                    <a:pt x="2175" y="899"/>
                  </a:lnTo>
                  <a:lnTo>
                    <a:pt x="2175" y="899"/>
                  </a:lnTo>
                  <a:lnTo>
                    <a:pt x="2158" y="899"/>
                  </a:lnTo>
                  <a:lnTo>
                    <a:pt x="2158" y="899"/>
                  </a:lnTo>
                  <a:lnTo>
                    <a:pt x="2155" y="899"/>
                  </a:lnTo>
                  <a:lnTo>
                    <a:pt x="2155" y="899"/>
                  </a:lnTo>
                  <a:lnTo>
                    <a:pt x="2155" y="899"/>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3" y="899"/>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7" y="899"/>
                  </a:lnTo>
                  <a:lnTo>
                    <a:pt x="2147" y="899"/>
                  </a:lnTo>
                  <a:lnTo>
                    <a:pt x="2145" y="899"/>
                  </a:lnTo>
                  <a:lnTo>
                    <a:pt x="2145"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4" y="899"/>
                  </a:lnTo>
                  <a:lnTo>
                    <a:pt x="2141" y="899"/>
                  </a:lnTo>
                  <a:lnTo>
                    <a:pt x="2141" y="899"/>
                  </a:lnTo>
                  <a:lnTo>
                    <a:pt x="2138" y="899"/>
                  </a:lnTo>
                  <a:lnTo>
                    <a:pt x="2138" y="899"/>
                  </a:lnTo>
                  <a:lnTo>
                    <a:pt x="2138" y="899"/>
                  </a:lnTo>
                  <a:lnTo>
                    <a:pt x="2138" y="899"/>
                  </a:lnTo>
                  <a:lnTo>
                    <a:pt x="2136" y="899"/>
                  </a:lnTo>
                  <a:lnTo>
                    <a:pt x="2136"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84"/>
                  </a:lnTo>
                  <a:lnTo>
                    <a:pt x="2087" y="884"/>
                  </a:lnTo>
                  <a:lnTo>
                    <a:pt x="2087" y="884"/>
                  </a:lnTo>
                  <a:lnTo>
                    <a:pt x="2086" y="884"/>
                  </a:lnTo>
                  <a:lnTo>
                    <a:pt x="2086" y="899"/>
                  </a:lnTo>
                  <a:lnTo>
                    <a:pt x="2086" y="899"/>
                  </a:lnTo>
                  <a:lnTo>
                    <a:pt x="2086" y="899"/>
                  </a:lnTo>
                  <a:lnTo>
                    <a:pt x="2085" y="899"/>
                  </a:lnTo>
                  <a:lnTo>
                    <a:pt x="2085" y="899"/>
                  </a:lnTo>
                  <a:lnTo>
                    <a:pt x="2085" y="899"/>
                  </a:lnTo>
                  <a:lnTo>
                    <a:pt x="2085" y="899"/>
                  </a:lnTo>
                  <a:lnTo>
                    <a:pt x="2085" y="899"/>
                  </a:lnTo>
                  <a:lnTo>
                    <a:pt x="2085" y="899"/>
                  </a:lnTo>
                  <a:lnTo>
                    <a:pt x="2083" y="899"/>
                  </a:lnTo>
                  <a:lnTo>
                    <a:pt x="2083" y="899"/>
                  </a:lnTo>
                  <a:lnTo>
                    <a:pt x="2082" y="899"/>
                  </a:lnTo>
                  <a:lnTo>
                    <a:pt x="2082" y="899"/>
                  </a:lnTo>
                  <a:lnTo>
                    <a:pt x="2082" y="899"/>
                  </a:lnTo>
                  <a:lnTo>
                    <a:pt x="2082"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79" y="899"/>
                  </a:lnTo>
                  <a:lnTo>
                    <a:pt x="2079" y="899"/>
                  </a:lnTo>
                  <a:lnTo>
                    <a:pt x="2078" y="899"/>
                  </a:lnTo>
                  <a:lnTo>
                    <a:pt x="2078" y="899"/>
                  </a:lnTo>
                  <a:lnTo>
                    <a:pt x="2078" y="899"/>
                  </a:lnTo>
                  <a:lnTo>
                    <a:pt x="2078" y="899"/>
                  </a:lnTo>
                  <a:lnTo>
                    <a:pt x="2078" y="899"/>
                  </a:lnTo>
                  <a:lnTo>
                    <a:pt x="2078" y="899"/>
                  </a:lnTo>
                  <a:lnTo>
                    <a:pt x="2078" y="899"/>
                  </a:lnTo>
                  <a:lnTo>
                    <a:pt x="2078"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9"/>
                  </a:lnTo>
                  <a:lnTo>
                    <a:pt x="2061" y="899"/>
                  </a:lnTo>
                  <a:lnTo>
                    <a:pt x="2061" y="899"/>
                  </a:lnTo>
                  <a:lnTo>
                    <a:pt x="2060" y="899"/>
                  </a:lnTo>
                  <a:lnTo>
                    <a:pt x="2060" y="899"/>
                  </a:lnTo>
                  <a:lnTo>
                    <a:pt x="2060" y="899"/>
                  </a:lnTo>
                  <a:lnTo>
                    <a:pt x="2060"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899"/>
                  </a:lnTo>
                  <a:lnTo>
                    <a:pt x="1963" y="899"/>
                  </a:lnTo>
                  <a:lnTo>
                    <a:pt x="1963" y="899"/>
                  </a:lnTo>
                  <a:lnTo>
                    <a:pt x="1958" y="899"/>
                  </a:lnTo>
                  <a:lnTo>
                    <a:pt x="1958" y="899"/>
                  </a:lnTo>
                  <a:lnTo>
                    <a:pt x="1955" y="899"/>
                  </a:lnTo>
                  <a:lnTo>
                    <a:pt x="1955"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3" y="899"/>
                  </a:lnTo>
                  <a:lnTo>
                    <a:pt x="1943" y="899"/>
                  </a:lnTo>
                  <a:lnTo>
                    <a:pt x="1943" y="899"/>
                  </a:lnTo>
                  <a:lnTo>
                    <a:pt x="1943" y="899"/>
                  </a:lnTo>
                  <a:lnTo>
                    <a:pt x="1936" y="899"/>
                  </a:lnTo>
                  <a:lnTo>
                    <a:pt x="1936" y="899"/>
                  </a:lnTo>
                  <a:lnTo>
                    <a:pt x="1929" y="899"/>
                  </a:lnTo>
                  <a:lnTo>
                    <a:pt x="1929" y="899"/>
                  </a:lnTo>
                  <a:lnTo>
                    <a:pt x="1927" y="899"/>
                  </a:lnTo>
                  <a:lnTo>
                    <a:pt x="1927" y="899"/>
                  </a:lnTo>
                  <a:lnTo>
                    <a:pt x="1926" y="899"/>
                  </a:lnTo>
                  <a:lnTo>
                    <a:pt x="1926" y="899"/>
                  </a:lnTo>
                  <a:lnTo>
                    <a:pt x="1912" y="899"/>
                  </a:lnTo>
                  <a:lnTo>
                    <a:pt x="1912" y="899"/>
                  </a:lnTo>
                  <a:lnTo>
                    <a:pt x="1910" y="899"/>
                  </a:lnTo>
                  <a:lnTo>
                    <a:pt x="1910" y="899"/>
                  </a:lnTo>
                  <a:lnTo>
                    <a:pt x="1909" y="899"/>
                  </a:lnTo>
                  <a:lnTo>
                    <a:pt x="1909" y="899"/>
                  </a:lnTo>
                  <a:lnTo>
                    <a:pt x="1907" y="899"/>
                  </a:lnTo>
                  <a:lnTo>
                    <a:pt x="1907" y="899"/>
                  </a:lnTo>
                  <a:lnTo>
                    <a:pt x="1907" y="899"/>
                  </a:lnTo>
                  <a:lnTo>
                    <a:pt x="1907" y="899"/>
                  </a:lnTo>
                  <a:lnTo>
                    <a:pt x="1906" y="899"/>
                  </a:lnTo>
                  <a:lnTo>
                    <a:pt x="1906" y="899"/>
                  </a:lnTo>
                  <a:lnTo>
                    <a:pt x="1905" y="899"/>
                  </a:lnTo>
                  <a:lnTo>
                    <a:pt x="1905"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4" y="899"/>
                  </a:lnTo>
                  <a:lnTo>
                    <a:pt x="1903" y="899"/>
                  </a:lnTo>
                  <a:lnTo>
                    <a:pt x="1903" y="899"/>
                  </a:lnTo>
                  <a:lnTo>
                    <a:pt x="1903" y="899"/>
                  </a:lnTo>
                  <a:lnTo>
                    <a:pt x="1903" y="899"/>
                  </a:lnTo>
                  <a:lnTo>
                    <a:pt x="1903" y="899"/>
                  </a:lnTo>
                  <a:lnTo>
                    <a:pt x="1903" y="899"/>
                  </a:lnTo>
                  <a:lnTo>
                    <a:pt x="1903" y="899"/>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899"/>
                  </a:lnTo>
                  <a:lnTo>
                    <a:pt x="1901" y="899"/>
                  </a:lnTo>
                  <a:lnTo>
                    <a:pt x="1901" y="899"/>
                  </a:lnTo>
                  <a:lnTo>
                    <a:pt x="1901" y="899"/>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899"/>
                  </a:lnTo>
                  <a:lnTo>
                    <a:pt x="1870" y="899"/>
                  </a:lnTo>
                  <a:lnTo>
                    <a:pt x="1870" y="899"/>
                  </a:lnTo>
                  <a:lnTo>
                    <a:pt x="1870" y="899"/>
                  </a:lnTo>
                  <a:lnTo>
                    <a:pt x="1870" y="899"/>
                  </a:lnTo>
                  <a:lnTo>
                    <a:pt x="1870" y="899"/>
                  </a:lnTo>
                  <a:lnTo>
                    <a:pt x="1870" y="899"/>
                  </a:lnTo>
                  <a:lnTo>
                    <a:pt x="1870" y="899"/>
                  </a:lnTo>
                  <a:lnTo>
                    <a:pt x="1870" y="948"/>
                  </a:lnTo>
                  <a:lnTo>
                    <a:pt x="1868" y="948"/>
                  </a:lnTo>
                  <a:lnTo>
                    <a:pt x="1868" y="899"/>
                  </a:lnTo>
                  <a:lnTo>
                    <a:pt x="1863" y="899"/>
                  </a:lnTo>
                  <a:lnTo>
                    <a:pt x="1863" y="899"/>
                  </a:lnTo>
                  <a:lnTo>
                    <a:pt x="1861" y="899"/>
                  </a:lnTo>
                  <a:lnTo>
                    <a:pt x="1861"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60" y="899"/>
                  </a:lnTo>
                  <a:lnTo>
                    <a:pt x="1855" y="899"/>
                  </a:lnTo>
                  <a:lnTo>
                    <a:pt x="1855" y="899"/>
                  </a:lnTo>
                  <a:lnTo>
                    <a:pt x="1854" y="899"/>
                  </a:lnTo>
                  <a:lnTo>
                    <a:pt x="1854" y="899"/>
                  </a:lnTo>
                  <a:lnTo>
                    <a:pt x="1853" y="899"/>
                  </a:lnTo>
                  <a:lnTo>
                    <a:pt x="1853" y="899"/>
                  </a:lnTo>
                  <a:lnTo>
                    <a:pt x="1853" y="899"/>
                  </a:lnTo>
                  <a:lnTo>
                    <a:pt x="1853"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899"/>
                  </a:lnTo>
                  <a:lnTo>
                    <a:pt x="1820" y="899"/>
                  </a:lnTo>
                  <a:lnTo>
                    <a:pt x="1820" y="899"/>
                  </a:lnTo>
                  <a:lnTo>
                    <a:pt x="1817" y="899"/>
                  </a:lnTo>
                  <a:lnTo>
                    <a:pt x="1817" y="899"/>
                  </a:lnTo>
                  <a:lnTo>
                    <a:pt x="1817" y="899"/>
                  </a:lnTo>
                  <a:lnTo>
                    <a:pt x="1817" y="899"/>
                  </a:lnTo>
                  <a:lnTo>
                    <a:pt x="1815" y="899"/>
                  </a:lnTo>
                  <a:lnTo>
                    <a:pt x="1815" y="899"/>
                  </a:lnTo>
                  <a:lnTo>
                    <a:pt x="1814" y="899"/>
                  </a:lnTo>
                  <a:lnTo>
                    <a:pt x="1814" y="899"/>
                  </a:lnTo>
                  <a:lnTo>
                    <a:pt x="1814" y="899"/>
                  </a:lnTo>
                  <a:lnTo>
                    <a:pt x="1814" y="899"/>
                  </a:lnTo>
                  <a:lnTo>
                    <a:pt x="1814" y="899"/>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37" y="899"/>
                  </a:lnTo>
                  <a:lnTo>
                    <a:pt x="1737" y="899"/>
                  </a:lnTo>
                  <a:lnTo>
                    <a:pt x="1706" y="899"/>
                  </a:lnTo>
                  <a:lnTo>
                    <a:pt x="1706" y="899"/>
                  </a:lnTo>
                  <a:lnTo>
                    <a:pt x="1706" y="899"/>
                  </a:lnTo>
                  <a:lnTo>
                    <a:pt x="1706" y="899"/>
                  </a:lnTo>
                  <a:lnTo>
                    <a:pt x="1703" y="899"/>
                  </a:lnTo>
                  <a:lnTo>
                    <a:pt x="1703" y="899"/>
                  </a:lnTo>
                  <a:lnTo>
                    <a:pt x="1703" y="899"/>
                  </a:lnTo>
                  <a:lnTo>
                    <a:pt x="1703" y="899"/>
                  </a:lnTo>
                  <a:lnTo>
                    <a:pt x="1702" y="899"/>
                  </a:lnTo>
                  <a:lnTo>
                    <a:pt x="1702" y="899"/>
                  </a:lnTo>
                  <a:lnTo>
                    <a:pt x="1702" y="899"/>
                  </a:lnTo>
                  <a:lnTo>
                    <a:pt x="1702" y="899"/>
                  </a:lnTo>
                  <a:lnTo>
                    <a:pt x="1702" y="899"/>
                  </a:lnTo>
                  <a:lnTo>
                    <a:pt x="1702" y="899"/>
                  </a:lnTo>
                  <a:lnTo>
                    <a:pt x="1702" y="899"/>
                  </a:lnTo>
                  <a:lnTo>
                    <a:pt x="1702" y="899"/>
                  </a:lnTo>
                  <a:lnTo>
                    <a:pt x="1702" y="899"/>
                  </a:lnTo>
                  <a:lnTo>
                    <a:pt x="1702" y="899"/>
                  </a:lnTo>
                  <a:lnTo>
                    <a:pt x="1700" y="899"/>
                  </a:lnTo>
                  <a:lnTo>
                    <a:pt x="1700" y="899"/>
                  </a:lnTo>
                  <a:lnTo>
                    <a:pt x="1700" y="899"/>
                  </a:lnTo>
                  <a:lnTo>
                    <a:pt x="1700" y="899"/>
                  </a:lnTo>
                  <a:lnTo>
                    <a:pt x="1700" y="899"/>
                  </a:lnTo>
                  <a:lnTo>
                    <a:pt x="1700" y="899"/>
                  </a:lnTo>
                  <a:lnTo>
                    <a:pt x="1700" y="899"/>
                  </a:lnTo>
                  <a:lnTo>
                    <a:pt x="1700"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8" y="899"/>
                  </a:lnTo>
                  <a:lnTo>
                    <a:pt x="1698" y="899"/>
                  </a:lnTo>
                  <a:lnTo>
                    <a:pt x="1698" y="899"/>
                  </a:lnTo>
                  <a:lnTo>
                    <a:pt x="1698" y="899"/>
                  </a:lnTo>
                  <a:lnTo>
                    <a:pt x="1695" y="899"/>
                  </a:lnTo>
                  <a:lnTo>
                    <a:pt x="1695" y="899"/>
                  </a:lnTo>
                  <a:lnTo>
                    <a:pt x="1695" y="899"/>
                  </a:lnTo>
                  <a:lnTo>
                    <a:pt x="1695" y="899"/>
                  </a:lnTo>
                  <a:lnTo>
                    <a:pt x="1687" y="899"/>
                  </a:lnTo>
                  <a:lnTo>
                    <a:pt x="1687" y="899"/>
                  </a:lnTo>
                  <a:lnTo>
                    <a:pt x="1683" y="899"/>
                  </a:lnTo>
                  <a:lnTo>
                    <a:pt x="1683" y="899"/>
                  </a:lnTo>
                  <a:lnTo>
                    <a:pt x="1681" y="899"/>
                  </a:lnTo>
                  <a:lnTo>
                    <a:pt x="1681"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37" y="899"/>
                  </a:lnTo>
                  <a:lnTo>
                    <a:pt x="1637" y="899"/>
                  </a:lnTo>
                  <a:lnTo>
                    <a:pt x="1631" y="899"/>
                  </a:lnTo>
                  <a:lnTo>
                    <a:pt x="1631" y="899"/>
                  </a:lnTo>
                  <a:lnTo>
                    <a:pt x="1628" y="899"/>
                  </a:lnTo>
                  <a:lnTo>
                    <a:pt x="1628" y="899"/>
                  </a:lnTo>
                  <a:lnTo>
                    <a:pt x="1626" y="899"/>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79" y="899"/>
                  </a:lnTo>
                  <a:lnTo>
                    <a:pt x="1479" y="899"/>
                  </a:lnTo>
                  <a:lnTo>
                    <a:pt x="1478" y="899"/>
                  </a:lnTo>
                  <a:lnTo>
                    <a:pt x="1478" y="899"/>
                  </a:lnTo>
                  <a:lnTo>
                    <a:pt x="1478" y="899"/>
                  </a:lnTo>
                  <a:lnTo>
                    <a:pt x="1478" y="899"/>
                  </a:lnTo>
                  <a:lnTo>
                    <a:pt x="1478" y="899"/>
                  </a:lnTo>
                  <a:lnTo>
                    <a:pt x="1478" y="899"/>
                  </a:lnTo>
                  <a:lnTo>
                    <a:pt x="1478" y="899"/>
                  </a:lnTo>
                  <a:lnTo>
                    <a:pt x="1478" y="899"/>
                  </a:lnTo>
                  <a:lnTo>
                    <a:pt x="1478" y="89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899"/>
                  </a:lnTo>
                  <a:lnTo>
                    <a:pt x="1474" y="899"/>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2" y="899"/>
                  </a:lnTo>
                  <a:lnTo>
                    <a:pt x="1432" y="899"/>
                  </a:lnTo>
                  <a:lnTo>
                    <a:pt x="1432" y="899"/>
                  </a:lnTo>
                  <a:lnTo>
                    <a:pt x="1432" y="899"/>
                  </a:lnTo>
                  <a:lnTo>
                    <a:pt x="1432" y="899"/>
                  </a:lnTo>
                  <a:lnTo>
                    <a:pt x="1432" y="899"/>
                  </a:lnTo>
                  <a:lnTo>
                    <a:pt x="1425" y="899"/>
                  </a:lnTo>
                  <a:lnTo>
                    <a:pt x="1425" y="899"/>
                  </a:lnTo>
                  <a:lnTo>
                    <a:pt x="1423" y="899"/>
                  </a:lnTo>
                  <a:lnTo>
                    <a:pt x="1423" y="899"/>
                  </a:lnTo>
                  <a:lnTo>
                    <a:pt x="1422" y="899"/>
                  </a:lnTo>
                  <a:lnTo>
                    <a:pt x="1422" y="899"/>
                  </a:lnTo>
                  <a:lnTo>
                    <a:pt x="1421" y="899"/>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7" y="899"/>
                  </a:lnTo>
                  <a:lnTo>
                    <a:pt x="1407" y="899"/>
                  </a:lnTo>
                  <a:lnTo>
                    <a:pt x="1406" y="899"/>
                  </a:lnTo>
                  <a:lnTo>
                    <a:pt x="1406" y="899"/>
                  </a:lnTo>
                  <a:lnTo>
                    <a:pt x="1406" y="899"/>
                  </a:lnTo>
                  <a:lnTo>
                    <a:pt x="1406"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899"/>
                  </a:lnTo>
                  <a:lnTo>
                    <a:pt x="1403" y="899"/>
                  </a:lnTo>
                  <a:lnTo>
                    <a:pt x="1403" y="899"/>
                  </a:lnTo>
                  <a:lnTo>
                    <a:pt x="1399" y="899"/>
                  </a:lnTo>
                  <a:lnTo>
                    <a:pt x="1399" y="899"/>
                  </a:lnTo>
                  <a:lnTo>
                    <a:pt x="1399" y="899"/>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0" y="899"/>
                  </a:lnTo>
                  <a:lnTo>
                    <a:pt x="1390" y="899"/>
                  </a:lnTo>
                  <a:lnTo>
                    <a:pt x="1390" y="899"/>
                  </a:lnTo>
                  <a:lnTo>
                    <a:pt x="1390" y="899"/>
                  </a:lnTo>
                  <a:lnTo>
                    <a:pt x="1390" y="899"/>
                  </a:lnTo>
                  <a:lnTo>
                    <a:pt x="1390" y="899"/>
                  </a:lnTo>
                  <a:lnTo>
                    <a:pt x="1390" y="899"/>
                  </a:lnTo>
                  <a:lnTo>
                    <a:pt x="1390" y="899"/>
                  </a:lnTo>
                  <a:lnTo>
                    <a:pt x="1390" y="899"/>
                  </a:lnTo>
                  <a:lnTo>
                    <a:pt x="1390" y="899"/>
                  </a:lnTo>
                  <a:lnTo>
                    <a:pt x="1389" y="899"/>
                  </a:lnTo>
                  <a:lnTo>
                    <a:pt x="1389" y="899"/>
                  </a:lnTo>
                  <a:lnTo>
                    <a:pt x="1389" y="899"/>
                  </a:lnTo>
                  <a:lnTo>
                    <a:pt x="1389"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7" y="899"/>
                  </a:lnTo>
                  <a:lnTo>
                    <a:pt x="1367"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5" y="899"/>
                  </a:lnTo>
                  <a:lnTo>
                    <a:pt x="1365" y="899"/>
                  </a:lnTo>
                  <a:lnTo>
                    <a:pt x="1365" y="899"/>
                  </a:lnTo>
                  <a:lnTo>
                    <a:pt x="1365" y="899"/>
                  </a:lnTo>
                  <a:lnTo>
                    <a:pt x="1365" y="899"/>
                  </a:lnTo>
                  <a:lnTo>
                    <a:pt x="1365" y="899"/>
                  </a:lnTo>
                  <a:lnTo>
                    <a:pt x="1365" y="899"/>
                  </a:lnTo>
                  <a:lnTo>
                    <a:pt x="1365"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1092"/>
                  </a:lnTo>
                  <a:lnTo>
                    <a:pt x="1363" y="1092"/>
                  </a:lnTo>
                  <a:lnTo>
                    <a:pt x="1363" y="1092"/>
                  </a:lnTo>
                  <a:lnTo>
                    <a:pt x="1363" y="1092"/>
                  </a:lnTo>
                  <a:lnTo>
                    <a:pt x="1363" y="899"/>
                  </a:lnTo>
                  <a:lnTo>
                    <a:pt x="1361" y="899"/>
                  </a:lnTo>
                  <a:lnTo>
                    <a:pt x="1361" y="899"/>
                  </a:lnTo>
                  <a:lnTo>
                    <a:pt x="1360" y="899"/>
                  </a:lnTo>
                  <a:lnTo>
                    <a:pt x="1360"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9" y="899"/>
                  </a:lnTo>
                  <a:lnTo>
                    <a:pt x="1356" y="899"/>
                  </a:lnTo>
                  <a:lnTo>
                    <a:pt x="1356" y="899"/>
                  </a:lnTo>
                  <a:lnTo>
                    <a:pt x="1356" y="899"/>
                  </a:lnTo>
                  <a:lnTo>
                    <a:pt x="1356" y="899"/>
                  </a:lnTo>
                  <a:lnTo>
                    <a:pt x="1355" y="899"/>
                  </a:lnTo>
                  <a:lnTo>
                    <a:pt x="1355" y="899"/>
                  </a:lnTo>
                  <a:lnTo>
                    <a:pt x="1355" y="899"/>
                  </a:lnTo>
                  <a:lnTo>
                    <a:pt x="1355"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43" y="899"/>
                  </a:lnTo>
                  <a:lnTo>
                    <a:pt x="1343" y="899"/>
                  </a:lnTo>
                  <a:lnTo>
                    <a:pt x="1341" y="899"/>
                  </a:lnTo>
                  <a:lnTo>
                    <a:pt x="1341" y="899"/>
                  </a:lnTo>
                  <a:lnTo>
                    <a:pt x="1340" y="899"/>
                  </a:lnTo>
                  <a:lnTo>
                    <a:pt x="1340" y="899"/>
                  </a:lnTo>
                  <a:lnTo>
                    <a:pt x="1339" y="899"/>
                  </a:lnTo>
                  <a:lnTo>
                    <a:pt x="1339" y="899"/>
                  </a:lnTo>
                  <a:lnTo>
                    <a:pt x="1338" y="899"/>
                  </a:lnTo>
                  <a:lnTo>
                    <a:pt x="1338" y="899"/>
                  </a:lnTo>
                  <a:lnTo>
                    <a:pt x="1338" y="899"/>
                  </a:lnTo>
                  <a:lnTo>
                    <a:pt x="1338" y="899"/>
                  </a:lnTo>
                  <a:lnTo>
                    <a:pt x="1338" y="899"/>
                  </a:lnTo>
                  <a:lnTo>
                    <a:pt x="1338" y="899"/>
                  </a:lnTo>
                  <a:lnTo>
                    <a:pt x="1338" y="899"/>
                  </a:lnTo>
                  <a:lnTo>
                    <a:pt x="1338"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7" y="899"/>
                  </a:lnTo>
                  <a:lnTo>
                    <a:pt x="1335" y="899"/>
                  </a:lnTo>
                  <a:lnTo>
                    <a:pt x="1335" y="899"/>
                  </a:lnTo>
                  <a:lnTo>
                    <a:pt x="1334" y="899"/>
                  </a:lnTo>
                  <a:lnTo>
                    <a:pt x="1334" y="899"/>
                  </a:lnTo>
                  <a:lnTo>
                    <a:pt x="1333" y="899"/>
                  </a:lnTo>
                  <a:lnTo>
                    <a:pt x="1333" y="899"/>
                  </a:lnTo>
                  <a:lnTo>
                    <a:pt x="1333" y="899"/>
                  </a:lnTo>
                  <a:lnTo>
                    <a:pt x="1333" y="899"/>
                  </a:lnTo>
                  <a:lnTo>
                    <a:pt x="1332" y="899"/>
                  </a:lnTo>
                  <a:lnTo>
                    <a:pt x="1332" y="899"/>
                  </a:lnTo>
                  <a:lnTo>
                    <a:pt x="1332" y="899"/>
                  </a:lnTo>
                  <a:lnTo>
                    <a:pt x="1332" y="899"/>
                  </a:lnTo>
                  <a:lnTo>
                    <a:pt x="1331" y="899"/>
                  </a:lnTo>
                  <a:lnTo>
                    <a:pt x="1331" y="899"/>
                  </a:lnTo>
                  <a:lnTo>
                    <a:pt x="1331" y="899"/>
                  </a:lnTo>
                  <a:lnTo>
                    <a:pt x="1331" y="899"/>
                  </a:lnTo>
                  <a:lnTo>
                    <a:pt x="1331" y="899"/>
                  </a:lnTo>
                  <a:lnTo>
                    <a:pt x="1331" y="899"/>
                  </a:lnTo>
                  <a:lnTo>
                    <a:pt x="1330" y="899"/>
                  </a:lnTo>
                  <a:lnTo>
                    <a:pt x="1330" y="899"/>
                  </a:lnTo>
                  <a:lnTo>
                    <a:pt x="1330" y="899"/>
                  </a:lnTo>
                  <a:lnTo>
                    <a:pt x="1330" y="899"/>
                  </a:lnTo>
                  <a:lnTo>
                    <a:pt x="1330" y="899"/>
                  </a:lnTo>
                  <a:lnTo>
                    <a:pt x="1330" y="899"/>
                  </a:lnTo>
                  <a:lnTo>
                    <a:pt x="1330" y="899"/>
                  </a:lnTo>
                  <a:lnTo>
                    <a:pt x="1330"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3" y="899"/>
                  </a:lnTo>
                  <a:lnTo>
                    <a:pt x="1323"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22" y="899"/>
                  </a:lnTo>
                  <a:lnTo>
                    <a:pt x="1319" y="899"/>
                  </a:lnTo>
                  <a:lnTo>
                    <a:pt x="1319"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270" y="899"/>
                  </a:lnTo>
                  <a:lnTo>
                    <a:pt x="1270" y="899"/>
                  </a:lnTo>
                  <a:lnTo>
                    <a:pt x="1263" y="899"/>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899"/>
                  </a:lnTo>
                  <a:lnTo>
                    <a:pt x="1249" y="899"/>
                  </a:lnTo>
                  <a:lnTo>
                    <a:pt x="1249" y="899"/>
                  </a:lnTo>
                  <a:lnTo>
                    <a:pt x="1249" y="899"/>
                  </a:lnTo>
                  <a:lnTo>
                    <a:pt x="1249" y="899"/>
                  </a:lnTo>
                  <a:lnTo>
                    <a:pt x="1238" y="899"/>
                  </a:lnTo>
                  <a:lnTo>
                    <a:pt x="1238" y="899"/>
                  </a:lnTo>
                  <a:lnTo>
                    <a:pt x="1232" y="899"/>
                  </a:lnTo>
                  <a:lnTo>
                    <a:pt x="1232" y="899"/>
                  </a:lnTo>
                  <a:lnTo>
                    <a:pt x="1226" y="899"/>
                  </a:lnTo>
                  <a:lnTo>
                    <a:pt x="1226"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899"/>
                  </a:lnTo>
                  <a:lnTo>
                    <a:pt x="1190" y="899"/>
                  </a:lnTo>
                  <a:lnTo>
                    <a:pt x="1190" y="899"/>
                  </a:lnTo>
                  <a:lnTo>
                    <a:pt x="1186" y="899"/>
                  </a:lnTo>
                  <a:lnTo>
                    <a:pt x="1186" y="899"/>
                  </a:lnTo>
                  <a:lnTo>
                    <a:pt x="1185" y="899"/>
                  </a:lnTo>
                  <a:lnTo>
                    <a:pt x="1185" y="899"/>
                  </a:lnTo>
                  <a:lnTo>
                    <a:pt x="1184" y="899"/>
                  </a:lnTo>
                  <a:lnTo>
                    <a:pt x="1184" y="899"/>
                  </a:lnTo>
                  <a:lnTo>
                    <a:pt x="1183" y="899"/>
                  </a:lnTo>
                  <a:lnTo>
                    <a:pt x="1183" y="899"/>
                  </a:lnTo>
                  <a:lnTo>
                    <a:pt x="1182" y="899"/>
                  </a:lnTo>
                  <a:lnTo>
                    <a:pt x="1182" y="899"/>
                  </a:lnTo>
                  <a:lnTo>
                    <a:pt x="1182" y="899"/>
                  </a:lnTo>
                  <a:lnTo>
                    <a:pt x="1182" y="899"/>
                  </a:lnTo>
                  <a:lnTo>
                    <a:pt x="1182" y="899"/>
                  </a:lnTo>
                  <a:lnTo>
                    <a:pt x="1182"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899"/>
                  </a:lnTo>
                  <a:lnTo>
                    <a:pt x="1150" y="899"/>
                  </a:lnTo>
                  <a:lnTo>
                    <a:pt x="1150" y="899"/>
                  </a:lnTo>
                  <a:lnTo>
                    <a:pt x="1147" y="899"/>
                  </a:lnTo>
                  <a:lnTo>
                    <a:pt x="1147" y="899"/>
                  </a:lnTo>
                  <a:lnTo>
                    <a:pt x="1144" y="899"/>
                  </a:lnTo>
                  <a:lnTo>
                    <a:pt x="1144" y="899"/>
                  </a:lnTo>
                  <a:lnTo>
                    <a:pt x="1141" y="899"/>
                  </a:lnTo>
                  <a:lnTo>
                    <a:pt x="1141" y="899"/>
                  </a:lnTo>
                  <a:lnTo>
                    <a:pt x="1138" y="899"/>
                  </a:lnTo>
                  <a:lnTo>
                    <a:pt x="1138" y="899"/>
                  </a:lnTo>
                  <a:lnTo>
                    <a:pt x="1137" y="899"/>
                  </a:lnTo>
                  <a:lnTo>
                    <a:pt x="1137" y="899"/>
                  </a:lnTo>
                  <a:lnTo>
                    <a:pt x="1135" y="899"/>
                  </a:lnTo>
                  <a:lnTo>
                    <a:pt x="1135" y="899"/>
                  </a:lnTo>
                  <a:lnTo>
                    <a:pt x="1134" y="899"/>
                  </a:lnTo>
                  <a:lnTo>
                    <a:pt x="1134" y="899"/>
                  </a:lnTo>
                  <a:lnTo>
                    <a:pt x="1132" y="899"/>
                  </a:lnTo>
                  <a:lnTo>
                    <a:pt x="1132" y="899"/>
                  </a:lnTo>
                  <a:lnTo>
                    <a:pt x="1131" y="899"/>
                  </a:lnTo>
                  <a:lnTo>
                    <a:pt x="1131" y="899"/>
                  </a:lnTo>
                  <a:lnTo>
                    <a:pt x="1130" y="899"/>
                  </a:lnTo>
                  <a:lnTo>
                    <a:pt x="1130" y="899"/>
                  </a:lnTo>
                  <a:lnTo>
                    <a:pt x="1130" y="899"/>
                  </a:lnTo>
                  <a:lnTo>
                    <a:pt x="1130" y="899"/>
                  </a:lnTo>
                  <a:lnTo>
                    <a:pt x="1130" y="899"/>
                  </a:lnTo>
                  <a:lnTo>
                    <a:pt x="1130"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29" y="899"/>
                  </a:lnTo>
                  <a:lnTo>
                    <a:pt x="1104" y="899"/>
                  </a:lnTo>
                  <a:lnTo>
                    <a:pt x="1104" y="899"/>
                  </a:lnTo>
                  <a:lnTo>
                    <a:pt x="1102" y="899"/>
                  </a:lnTo>
                  <a:lnTo>
                    <a:pt x="1102" y="899"/>
                  </a:lnTo>
                  <a:lnTo>
                    <a:pt x="1102" y="899"/>
                  </a:lnTo>
                  <a:lnTo>
                    <a:pt x="1102" y="899"/>
                  </a:lnTo>
                  <a:lnTo>
                    <a:pt x="1102" y="899"/>
                  </a:lnTo>
                  <a:lnTo>
                    <a:pt x="1102" y="899"/>
                  </a:lnTo>
                  <a:lnTo>
                    <a:pt x="1101" y="899"/>
                  </a:lnTo>
                  <a:lnTo>
                    <a:pt x="1101" y="899"/>
                  </a:lnTo>
                  <a:lnTo>
                    <a:pt x="1101" y="899"/>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899"/>
                  </a:lnTo>
                  <a:lnTo>
                    <a:pt x="1052" y="899"/>
                  </a:lnTo>
                  <a:lnTo>
                    <a:pt x="1052" y="899"/>
                  </a:lnTo>
                  <a:lnTo>
                    <a:pt x="1045" y="899"/>
                  </a:lnTo>
                  <a:lnTo>
                    <a:pt x="1045" y="899"/>
                  </a:lnTo>
                  <a:lnTo>
                    <a:pt x="1039" y="899"/>
                  </a:lnTo>
                  <a:lnTo>
                    <a:pt x="1039" y="899"/>
                  </a:lnTo>
                  <a:lnTo>
                    <a:pt x="1038" y="899"/>
                  </a:lnTo>
                  <a:lnTo>
                    <a:pt x="1038"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3" y="899"/>
                  </a:lnTo>
                  <a:lnTo>
                    <a:pt x="1003"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991" y="899"/>
                  </a:lnTo>
                  <a:lnTo>
                    <a:pt x="991" y="899"/>
                  </a:lnTo>
                  <a:lnTo>
                    <a:pt x="990" y="899"/>
                  </a:lnTo>
                  <a:lnTo>
                    <a:pt x="990"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0" y="899"/>
                  </a:lnTo>
                  <a:lnTo>
                    <a:pt x="950" y="899"/>
                  </a:lnTo>
                  <a:lnTo>
                    <a:pt x="950" y="899"/>
                  </a:lnTo>
                  <a:lnTo>
                    <a:pt x="950" y="899"/>
                  </a:lnTo>
                  <a:lnTo>
                    <a:pt x="950" y="899"/>
                  </a:lnTo>
                  <a:lnTo>
                    <a:pt x="950"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6" y="899"/>
                  </a:lnTo>
                  <a:lnTo>
                    <a:pt x="946" y="899"/>
                  </a:lnTo>
                  <a:lnTo>
                    <a:pt x="946" y="899"/>
                  </a:lnTo>
                  <a:lnTo>
                    <a:pt x="946" y="899"/>
                  </a:lnTo>
                  <a:lnTo>
                    <a:pt x="946" y="899"/>
                  </a:lnTo>
                  <a:lnTo>
                    <a:pt x="946" y="899"/>
                  </a:lnTo>
                  <a:lnTo>
                    <a:pt x="946" y="899"/>
                  </a:lnTo>
                  <a:lnTo>
                    <a:pt x="946" y="899"/>
                  </a:lnTo>
                  <a:lnTo>
                    <a:pt x="945" y="899"/>
                  </a:lnTo>
                  <a:lnTo>
                    <a:pt x="945" y="899"/>
                  </a:lnTo>
                  <a:lnTo>
                    <a:pt x="945" y="899"/>
                  </a:lnTo>
                  <a:lnTo>
                    <a:pt x="945" y="899"/>
                  </a:lnTo>
                  <a:lnTo>
                    <a:pt x="944" y="899"/>
                  </a:lnTo>
                  <a:lnTo>
                    <a:pt x="944" y="899"/>
                  </a:lnTo>
                  <a:lnTo>
                    <a:pt x="943" y="899"/>
                  </a:lnTo>
                  <a:lnTo>
                    <a:pt x="943" y="899"/>
                  </a:lnTo>
                  <a:lnTo>
                    <a:pt x="943" y="899"/>
                  </a:lnTo>
                  <a:lnTo>
                    <a:pt x="943" y="899"/>
                  </a:lnTo>
                  <a:lnTo>
                    <a:pt x="943" y="899"/>
                  </a:lnTo>
                  <a:lnTo>
                    <a:pt x="943" y="899"/>
                  </a:lnTo>
                  <a:lnTo>
                    <a:pt x="943" y="899"/>
                  </a:lnTo>
                  <a:lnTo>
                    <a:pt x="943" y="899"/>
                  </a:lnTo>
                  <a:lnTo>
                    <a:pt x="943" y="899"/>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899"/>
                  </a:lnTo>
                  <a:lnTo>
                    <a:pt x="933" y="899"/>
                  </a:lnTo>
                  <a:lnTo>
                    <a:pt x="933" y="899"/>
                  </a:lnTo>
                  <a:lnTo>
                    <a:pt x="933" y="899"/>
                  </a:lnTo>
                  <a:lnTo>
                    <a:pt x="933" y="899"/>
                  </a:lnTo>
                  <a:lnTo>
                    <a:pt x="933" y="899"/>
                  </a:lnTo>
                  <a:lnTo>
                    <a:pt x="933"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1" y="899"/>
                  </a:lnTo>
                  <a:lnTo>
                    <a:pt x="931" y="899"/>
                  </a:lnTo>
                  <a:lnTo>
                    <a:pt x="929" y="899"/>
                  </a:lnTo>
                  <a:lnTo>
                    <a:pt x="929" y="899"/>
                  </a:lnTo>
                  <a:lnTo>
                    <a:pt x="928" y="899"/>
                  </a:lnTo>
                  <a:lnTo>
                    <a:pt x="928" y="899"/>
                  </a:lnTo>
                  <a:lnTo>
                    <a:pt x="923" y="899"/>
                  </a:lnTo>
                  <a:lnTo>
                    <a:pt x="923" y="899"/>
                  </a:lnTo>
                  <a:lnTo>
                    <a:pt x="920" y="899"/>
                  </a:lnTo>
                  <a:lnTo>
                    <a:pt x="920" y="899"/>
                  </a:lnTo>
                  <a:lnTo>
                    <a:pt x="918" y="899"/>
                  </a:lnTo>
                  <a:lnTo>
                    <a:pt x="918" y="899"/>
                  </a:lnTo>
                  <a:lnTo>
                    <a:pt x="917" y="899"/>
                  </a:lnTo>
                  <a:lnTo>
                    <a:pt x="917" y="899"/>
                  </a:lnTo>
                  <a:lnTo>
                    <a:pt x="916" y="899"/>
                  </a:lnTo>
                  <a:lnTo>
                    <a:pt x="916" y="899"/>
                  </a:lnTo>
                  <a:lnTo>
                    <a:pt x="915" y="899"/>
                  </a:lnTo>
                  <a:lnTo>
                    <a:pt x="915" y="899"/>
                  </a:lnTo>
                  <a:lnTo>
                    <a:pt x="915" y="899"/>
                  </a:lnTo>
                  <a:lnTo>
                    <a:pt x="915" y="899"/>
                  </a:lnTo>
                  <a:lnTo>
                    <a:pt x="914" y="899"/>
                  </a:lnTo>
                  <a:lnTo>
                    <a:pt x="914" y="899"/>
                  </a:lnTo>
                  <a:lnTo>
                    <a:pt x="914" y="899"/>
                  </a:lnTo>
                  <a:lnTo>
                    <a:pt x="914" y="899"/>
                  </a:lnTo>
                  <a:lnTo>
                    <a:pt x="914" y="899"/>
                  </a:lnTo>
                  <a:lnTo>
                    <a:pt x="914"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899"/>
                  </a:lnTo>
                  <a:lnTo>
                    <a:pt x="896" y="899"/>
                  </a:lnTo>
                  <a:lnTo>
                    <a:pt x="896" y="899"/>
                  </a:lnTo>
                  <a:lnTo>
                    <a:pt x="894" y="899"/>
                  </a:lnTo>
                  <a:lnTo>
                    <a:pt x="894" y="899"/>
                  </a:lnTo>
                  <a:lnTo>
                    <a:pt x="893" y="899"/>
                  </a:lnTo>
                  <a:lnTo>
                    <a:pt x="893" y="899"/>
                  </a:lnTo>
                  <a:lnTo>
                    <a:pt x="892" y="899"/>
                  </a:lnTo>
                  <a:lnTo>
                    <a:pt x="892" y="899"/>
                  </a:lnTo>
                  <a:lnTo>
                    <a:pt x="892" y="899"/>
                  </a:lnTo>
                  <a:lnTo>
                    <a:pt x="892" y="899"/>
                  </a:lnTo>
                  <a:lnTo>
                    <a:pt x="891" y="899"/>
                  </a:lnTo>
                  <a:lnTo>
                    <a:pt x="891" y="899"/>
                  </a:lnTo>
                  <a:lnTo>
                    <a:pt x="891" y="899"/>
                  </a:lnTo>
                  <a:lnTo>
                    <a:pt x="891" y="899"/>
                  </a:lnTo>
                  <a:lnTo>
                    <a:pt x="890" y="899"/>
                  </a:lnTo>
                  <a:lnTo>
                    <a:pt x="890" y="899"/>
                  </a:lnTo>
                  <a:lnTo>
                    <a:pt x="890" y="899"/>
                  </a:lnTo>
                  <a:lnTo>
                    <a:pt x="890" y="899"/>
                  </a:lnTo>
                  <a:lnTo>
                    <a:pt x="889" y="899"/>
                  </a:lnTo>
                  <a:lnTo>
                    <a:pt x="889" y="899"/>
                  </a:lnTo>
                  <a:lnTo>
                    <a:pt x="889" y="899"/>
                  </a:lnTo>
                  <a:lnTo>
                    <a:pt x="889" y="899"/>
                  </a:lnTo>
                  <a:lnTo>
                    <a:pt x="889" y="899"/>
                  </a:lnTo>
                  <a:lnTo>
                    <a:pt x="889"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5" y="899"/>
                  </a:lnTo>
                  <a:lnTo>
                    <a:pt x="885" y="899"/>
                  </a:lnTo>
                  <a:lnTo>
                    <a:pt x="884" y="899"/>
                  </a:lnTo>
                  <a:lnTo>
                    <a:pt x="884" y="899"/>
                  </a:lnTo>
                  <a:lnTo>
                    <a:pt x="884" y="899"/>
                  </a:lnTo>
                  <a:lnTo>
                    <a:pt x="884" y="899"/>
                  </a:lnTo>
                  <a:lnTo>
                    <a:pt x="883" y="899"/>
                  </a:lnTo>
                  <a:lnTo>
                    <a:pt x="883" y="899"/>
                  </a:lnTo>
                  <a:lnTo>
                    <a:pt x="883" y="899"/>
                  </a:lnTo>
                  <a:lnTo>
                    <a:pt x="883" y="899"/>
                  </a:lnTo>
                  <a:lnTo>
                    <a:pt x="883" y="899"/>
                  </a:lnTo>
                  <a:lnTo>
                    <a:pt x="883" y="899"/>
                  </a:lnTo>
                  <a:lnTo>
                    <a:pt x="883" y="899"/>
                  </a:lnTo>
                  <a:lnTo>
                    <a:pt x="883" y="899"/>
                  </a:lnTo>
                  <a:lnTo>
                    <a:pt x="883" y="899"/>
                  </a:lnTo>
                  <a:lnTo>
                    <a:pt x="883"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52" y="899"/>
                  </a:lnTo>
                  <a:lnTo>
                    <a:pt x="852"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0" y="899"/>
                  </a:lnTo>
                  <a:lnTo>
                    <a:pt x="850" y="899"/>
                  </a:lnTo>
                  <a:lnTo>
                    <a:pt x="849" y="899"/>
                  </a:lnTo>
                  <a:lnTo>
                    <a:pt x="849" y="899"/>
                  </a:lnTo>
                  <a:lnTo>
                    <a:pt x="848" y="899"/>
                  </a:lnTo>
                  <a:lnTo>
                    <a:pt x="848" y="899"/>
                  </a:lnTo>
                  <a:lnTo>
                    <a:pt x="848" y="899"/>
                  </a:lnTo>
                  <a:lnTo>
                    <a:pt x="848" y="899"/>
                  </a:lnTo>
                  <a:lnTo>
                    <a:pt x="848" y="899"/>
                  </a:lnTo>
                  <a:lnTo>
                    <a:pt x="848" y="899"/>
                  </a:lnTo>
                  <a:lnTo>
                    <a:pt x="848" y="899"/>
                  </a:lnTo>
                  <a:lnTo>
                    <a:pt x="848"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38" y="899"/>
                  </a:lnTo>
                  <a:lnTo>
                    <a:pt x="838" y="899"/>
                  </a:lnTo>
                  <a:lnTo>
                    <a:pt x="837" y="899"/>
                  </a:lnTo>
                  <a:lnTo>
                    <a:pt x="837"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795" y="899"/>
                  </a:lnTo>
                  <a:lnTo>
                    <a:pt x="795" y="899"/>
                  </a:lnTo>
                  <a:lnTo>
                    <a:pt x="794" y="899"/>
                  </a:lnTo>
                  <a:lnTo>
                    <a:pt x="794" y="899"/>
                  </a:lnTo>
                  <a:lnTo>
                    <a:pt x="794" y="899"/>
                  </a:lnTo>
                  <a:lnTo>
                    <a:pt x="794"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2" y="899"/>
                  </a:lnTo>
                  <a:lnTo>
                    <a:pt x="792" y="899"/>
                  </a:lnTo>
                  <a:lnTo>
                    <a:pt x="792" y="899"/>
                  </a:lnTo>
                  <a:lnTo>
                    <a:pt x="792" y="899"/>
                  </a:lnTo>
                  <a:lnTo>
                    <a:pt x="792" y="899"/>
                  </a:lnTo>
                  <a:lnTo>
                    <a:pt x="792" y="899"/>
                  </a:lnTo>
                  <a:lnTo>
                    <a:pt x="786" y="899"/>
                  </a:lnTo>
                  <a:lnTo>
                    <a:pt x="786" y="899"/>
                  </a:lnTo>
                  <a:lnTo>
                    <a:pt x="782" y="899"/>
                  </a:lnTo>
                  <a:lnTo>
                    <a:pt x="782" y="899"/>
                  </a:lnTo>
                  <a:lnTo>
                    <a:pt x="781" y="899"/>
                  </a:lnTo>
                  <a:lnTo>
                    <a:pt x="781" y="899"/>
                  </a:lnTo>
                  <a:lnTo>
                    <a:pt x="779" y="899"/>
                  </a:lnTo>
                  <a:lnTo>
                    <a:pt x="779" y="899"/>
                  </a:lnTo>
                  <a:lnTo>
                    <a:pt x="778" y="899"/>
                  </a:lnTo>
                  <a:lnTo>
                    <a:pt x="778" y="899"/>
                  </a:lnTo>
                  <a:lnTo>
                    <a:pt x="778" y="899"/>
                  </a:lnTo>
                  <a:lnTo>
                    <a:pt x="778" y="899"/>
                  </a:lnTo>
                  <a:lnTo>
                    <a:pt x="778" y="899"/>
                  </a:lnTo>
                  <a:lnTo>
                    <a:pt x="778" y="899"/>
                  </a:lnTo>
                  <a:lnTo>
                    <a:pt x="778" y="899"/>
                  </a:lnTo>
                  <a:lnTo>
                    <a:pt x="778" y="899"/>
                  </a:lnTo>
                  <a:lnTo>
                    <a:pt x="777" y="899"/>
                  </a:lnTo>
                  <a:lnTo>
                    <a:pt x="777" y="899"/>
                  </a:lnTo>
                  <a:lnTo>
                    <a:pt x="777" y="899"/>
                  </a:lnTo>
                  <a:lnTo>
                    <a:pt x="777" y="899"/>
                  </a:lnTo>
                  <a:lnTo>
                    <a:pt x="777" y="899"/>
                  </a:lnTo>
                  <a:lnTo>
                    <a:pt x="777" y="899"/>
                  </a:lnTo>
                  <a:lnTo>
                    <a:pt x="777" y="899"/>
                  </a:lnTo>
                  <a:lnTo>
                    <a:pt x="777" y="899"/>
                  </a:lnTo>
                  <a:lnTo>
                    <a:pt x="768" y="899"/>
                  </a:lnTo>
                  <a:lnTo>
                    <a:pt x="768" y="899"/>
                  </a:lnTo>
                  <a:lnTo>
                    <a:pt x="768" y="899"/>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3" y="899"/>
                  </a:lnTo>
                  <a:lnTo>
                    <a:pt x="763" y="899"/>
                  </a:lnTo>
                  <a:lnTo>
                    <a:pt x="760" y="899"/>
                  </a:lnTo>
                  <a:lnTo>
                    <a:pt x="760" y="899"/>
                  </a:lnTo>
                  <a:lnTo>
                    <a:pt x="759" y="899"/>
                  </a:lnTo>
                  <a:lnTo>
                    <a:pt x="759" y="899"/>
                  </a:lnTo>
                  <a:lnTo>
                    <a:pt x="758" y="899"/>
                  </a:lnTo>
                  <a:lnTo>
                    <a:pt x="758" y="899"/>
                  </a:lnTo>
                  <a:lnTo>
                    <a:pt x="757" y="899"/>
                  </a:lnTo>
                  <a:lnTo>
                    <a:pt x="757" y="899"/>
                  </a:lnTo>
                  <a:lnTo>
                    <a:pt x="756" y="899"/>
                  </a:lnTo>
                  <a:lnTo>
                    <a:pt x="756" y="899"/>
                  </a:lnTo>
                  <a:lnTo>
                    <a:pt x="756" y="899"/>
                  </a:lnTo>
                  <a:lnTo>
                    <a:pt x="756" y="899"/>
                  </a:lnTo>
                  <a:lnTo>
                    <a:pt x="755" y="899"/>
                  </a:lnTo>
                  <a:lnTo>
                    <a:pt x="755" y="899"/>
                  </a:lnTo>
                  <a:lnTo>
                    <a:pt x="754" y="899"/>
                  </a:lnTo>
                  <a:lnTo>
                    <a:pt x="754" y="899"/>
                  </a:lnTo>
                  <a:lnTo>
                    <a:pt x="754" y="899"/>
                  </a:lnTo>
                  <a:lnTo>
                    <a:pt x="754" y="899"/>
                  </a:lnTo>
                  <a:lnTo>
                    <a:pt x="754" y="899"/>
                  </a:lnTo>
                  <a:lnTo>
                    <a:pt x="754" y="899"/>
                  </a:lnTo>
                  <a:lnTo>
                    <a:pt x="753" y="899"/>
                  </a:lnTo>
                  <a:lnTo>
                    <a:pt x="753" y="899"/>
                  </a:lnTo>
                  <a:lnTo>
                    <a:pt x="753" y="899"/>
                  </a:lnTo>
                  <a:lnTo>
                    <a:pt x="753"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2" y="899"/>
                  </a:lnTo>
                  <a:lnTo>
                    <a:pt x="732" y="899"/>
                  </a:lnTo>
                  <a:lnTo>
                    <a:pt x="728" y="899"/>
                  </a:lnTo>
                  <a:lnTo>
                    <a:pt x="728" y="899"/>
                  </a:lnTo>
                  <a:lnTo>
                    <a:pt x="726" y="899"/>
                  </a:lnTo>
                  <a:lnTo>
                    <a:pt x="726" y="899"/>
                  </a:lnTo>
                  <a:lnTo>
                    <a:pt x="726" y="899"/>
                  </a:lnTo>
                  <a:lnTo>
                    <a:pt x="726" y="899"/>
                  </a:lnTo>
                  <a:lnTo>
                    <a:pt x="726" y="899"/>
                  </a:lnTo>
                  <a:lnTo>
                    <a:pt x="726"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5" y="899"/>
                  </a:lnTo>
                  <a:lnTo>
                    <a:pt x="675" y="899"/>
                  </a:lnTo>
                  <a:lnTo>
                    <a:pt x="674" y="899"/>
                  </a:lnTo>
                  <a:lnTo>
                    <a:pt x="674" y="899"/>
                  </a:lnTo>
                  <a:lnTo>
                    <a:pt x="674" y="899"/>
                  </a:lnTo>
                  <a:lnTo>
                    <a:pt x="674" y="899"/>
                  </a:lnTo>
                  <a:lnTo>
                    <a:pt x="673" y="899"/>
                  </a:lnTo>
                  <a:lnTo>
                    <a:pt x="673" y="899"/>
                  </a:lnTo>
                  <a:lnTo>
                    <a:pt x="673" y="899"/>
                  </a:lnTo>
                  <a:lnTo>
                    <a:pt x="673" y="899"/>
                  </a:lnTo>
                  <a:lnTo>
                    <a:pt x="673" y="899"/>
                  </a:lnTo>
                  <a:lnTo>
                    <a:pt x="673" y="899"/>
                  </a:lnTo>
                  <a:lnTo>
                    <a:pt x="673" y="899"/>
                  </a:lnTo>
                  <a:lnTo>
                    <a:pt x="673" y="899"/>
                  </a:lnTo>
                  <a:lnTo>
                    <a:pt x="663" y="899"/>
                  </a:lnTo>
                  <a:lnTo>
                    <a:pt x="663" y="899"/>
                  </a:lnTo>
                  <a:lnTo>
                    <a:pt x="663" y="899"/>
                  </a:lnTo>
                  <a:lnTo>
                    <a:pt x="663" y="899"/>
                  </a:lnTo>
                  <a:lnTo>
                    <a:pt x="653" y="899"/>
                  </a:lnTo>
                  <a:lnTo>
                    <a:pt x="653" y="899"/>
                  </a:lnTo>
                  <a:lnTo>
                    <a:pt x="651" y="899"/>
                  </a:lnTo>
                  <a:lnTo>
                    <a:pt x="651" y="899"/>
                  </a:lnTo>
                  <a:lnTo>
                    <a:pt x="650" y="899"/>
                  </a:lnTo>
                  <a:lnTo>
                    <a:pt x="650"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5" y="899"/>
                  </a:lnTo>
                  <a:lnTo>
                    <a:pt x="605" y="899"/>
                  </a:lnTo>
                  <a:lnTo>
                    <a:pt x="605" y="899"/>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899"/>
                  </a:lnTo>
                  <a:lnTo>
                    <a:pt x="590" y="899"/>
                  </a:lnTo>
                  <a:lnTo>
                    <a:pt x="590" y="899"/>
                  </a:lnTo>
                  <a:lnTo>
                    <a:pt x="589" y="899"/>
                  </a:lnTo>
                  <a:lnTo>
                    <a:pt x="589" y="899"/>
                  </a:lnTo>
                  <a:lnTo>
                    <a:pt x="588" y="899"/>
                  </a:lnTo>
                  <a:lnTo>
                    <a:pt x="588" y="899"/>
                  </a:lnTo>
                  <a:lnTo>
                    <a:pt x="588" y="899"/>
                  </a:lnTo>
                  <a:lnTo>
                    <a:pt x="588" y="899"/>
                  </a:lnTo>
                  <a:lnTo>
                    <a:pt x="587" y="899"/>
                  </a:lnTo>
                  <a:lnTo>
                    <a:pt x="587" y="899"/>
                  </a:lnTo>
                  <a:lnTo>
                    <a:pt x="587" y="899"/>
                  </a:lnTo>
                  <a:lnTo>
                    <a:pt x="587" y="899"/>
                  </a:lnTo>
                  <a:lnTo>
                    <a:pt x="587" y="899"/>
                  </a:lnTo>
                  <a:lnTo>
                    <a:pt x="587"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899"/>
                  </a:lnTo>
                  <a:lnTo>
                    <a:pt x="579" y="899"/>
                  </a:lnTo>
                  <a:lnTo>
                    <a:pt x="579" y="899"/>
                  </a:lnTo>
                  <a:lnTo>
                    <a:pt x="576" y="899"/>
                  </a:lnTo>
                  <a:lnTo>
                    <a:pt x="576" y="899"/>
                  </a:lnTo>
                  <a:lnTo>
                    <a:pt x="574" y="899"/>
                  </a:lnTo>
                  <a:lnTo>
                    <a:pt x="574"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54" y="899"/>
                  </a:lnTo>
                  <a:lnTo>
                    <a:pt x="554" y="899"/>
                  </a:lnTo>
                  <a:lnTo>
                    <a:pt x="554" y="899"/>
                  </a:lnTo>
                  <a:lnTo>
                    <a:pt x="554" y="899"/>
                  </a:lnTo>
                  <a:lnTo>
                    <a:pt x="551" y="899"/>
                  </a:lnTo>
                  <a:lnTo>
                    <a:pt x="551" y="899"/>
                  </a:lnTo>
                  <a:lnTo>
                    <a:pt x="550" y="899"/>
                  </a:lnTo>
                  <a:lnTo>
                    <a:pt x="550"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38" y="899"/>
                  </a:lnTo>
                  <a:lnTo>
                    <a:pt x="538" y="899"/>
                  </a:lnTo>
                  <a:lnTo>
                    <a:pt x="534" y="899"/>
                  </a:lnTo>
                  <a:lnTo>
                    <a:pt x="534" y="899"/>
                  </a:lnTo>
                  <a:lnTo>
                    <a:pt x="533" y="899"/>
                  </a:lnTo>
                  <a:lnTo>
                    <a:pt x="533" y="899"/>
                  </a:lnTo>
                  <a:lnTo>
                    <a:pt x="532" y="899"/>
                  </a:lnTo>
                  <a:lnTo>
                    <a:pt x="532" y="899"/>
                  </a:lnTo>
                  <a:lnTo>
                    <a:pt x="532" y="899"/>
                  </a:lnTo>
                  <a:lnTo>
                    <a:pt x="532" y="899"/>
                  </a:lnTo>
                  <a:lnTo>
                    <a:pt x="531" y="899"/>
                  </a:lnTo>
                  <a:lnTo>
                    <a:pt x="531" y="899"/>
                  </a:lnTo>
                  <a:lnTo>
                    <a:pt x="531" y="899"/>
                  </a:lnTo>
                  <a:lnTo>
                    <a:pt x="531" y="899"/>
                  </a:lnTo>
                  <a:lnTo>
                    <a:pt x="530" y="899"/>
                  </a:lnTo>
                  <a:lnTo>
                    <a:pt x="530" y="899"/>
                  </a:lnTo>
                  <a:lnTo>
                    <a:pt x="530" y="899"/>
                  </a:lnTo>
                  <a:lnTo>
                    <a:pt x="530" y="899"/>
                  </a:lnTo>
                  <a:lnTo>
                    <a:pt x="530" y="899"/>
                  </a:lnTo>
                  <a:lnTo>
                    <a:pt x="530" y="899"/>
                  </a:lnTo>
                  <a:lnTo>
                    <a:pt x="530" y="899"/>
                  </a:lnTo>
                  <a:lnTo>
                    <a:pt x="530" y="899"/>
                  </a:lnTo>
                  <a:lnTo>
                    <a:pt x="530" y="899"/>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0" y="899"/>
                  </a:lnTo>
                  <a:lnTo>
                    <a:pt x="510" y="899"/>
                  </a:lnTo>
                  <a:lnTo>
                    <a:pt x="510" y="899"/>
                  </a:lnTo>
                  <a:lnTo>
                    <a:pt x="510" y="899"/>
                  </a:lnTo>
                  <a:lnTo>
                    <a:pt x="510" y="899"/>
                  </a:lnTo>
                  <a:lnTo>
                    <a:pt x="510" y="899"/>
                  </a:lnTo>
                  <a:lnTo>
                    <a:pt x="477" y="899"/>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899"/>
                  </a:lnTo>
                  <a:lnTo>
                    <a:pt x="472" y="899"/>
                  </a:lnTo>
                  <a:lnTo>
                    <a:pt x="472" y="899"/>
                  </a:lnTo>
                  <a:lnTo>
                    <a:pt x="471" y="899"/>
                  </a:lnTo>
                  <a:lnTo>
                    <a:pt x="471" y="899"/>
                  </a:lnTo>
                  <a:lnTo>
                    <a:pt x="471" y="899"/>
                  </a:lnTo>
                  <a:lnTo>
                    <a:pt x="471" y="899"/>
                  </a:lnTo>
                  <a:lnTo>
                    <a:pt x="471" y="899"/>
                  </a:lnTo>
                  <a:lnTo>
                    <a:pt x="471" y="899"/>
                  </a:lnTo>
                  <a:lnTo>
                    <a:pt x="471" y="899"/>
                  </a:lnTo>
                  <a:lnTo>
                    <a:pt x="471" y="899"/>
                  </a:lnTo>
                  <a:lnTo>
                    <a:pt x="470" y="899"/>
                  </a:lnTo>
                  <a:lnTo>
                    <a:pt x="470" y="899"/>
                  </a:lnTo>
                  <a:lnTo>
                    <a:pt x="470" y="899"/>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3" y="899"/>
                  </a:lnTo>
                  <a:lnTo>
                    <a:pt x="451" y="899"/>
                  </a:lnTo>
                  <a:lnTo>
                    <a:pt x="451" y="899"/>
                  </a:lnTo>
                  <a:lnTo>
                    <a:pt x="450" y="899"/>
                  </a:lnTo>
                  <a:lnTo>
                    <a:pt x="450" y="899"/>
                  </a:lnTo>
                  <a:lnTo>
                    <a:pt x="449" y="899"/>
                  </a:lnTo>
                  <a:lnTo>
                    <a:pt x="449"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7" y="899"/>
                  </a:lnTo>
                  <a:lnTo>
                    <a:pt x="447" y="899"/>
                  </a:lnTo>
                  <a:lnTo>
                    <a:pt x="447" y="899"/>
                  </a:lnTo>
                  <a:lnTo>
                    <a:pt x="447" y="899"/>
                  </a:lnTo>
                  <a:lnTo>
                    <a:pt x="439" y="899"/>
                  </a:lnTo>
                  <a:lnTo>
                    <a:pt x="439" y="899"/>
                  </a:lnTo>
                  <a:lnTo>
                    <a:pt x="436" y="899"/>
                  </a:lnTo>
                  <a:lnTo>
                    <a:pt x="436" y="899"/>
                  </a:lnTo>
                  <a:lnTo>
                    <a:pt x="433" y="899"/>
                  </a:lnTo>
                  <a:lnTo>
                    <a:pt x="433" y="899"/>
                  </a:lnTo>
                  <a:lnTo>
                    <a:pt x="431" y="899"/>
                  </a:lnTo>
                  <a:lnTo>
                    <a:pt x="431"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24" y="899"/>
                  </a:lnTo>
                  <a:lnTo>
                    <a:pt x="424" y="899"/>
                  </a:lnTo>
                  <a:lnTo>
                    <a:pt x="418" y="899"/>
                  </a:lnTo>
                  <a:lnTo>
                    <a:pt x="418" y="899"/>
                  </a:lnTo>
                  <a:lnTo>
                    <a:pt x="415" y="899"/>
                  </a:lnTo>
                  <a:lnTo>
                    <a:pt x="415" y="899"/>
                  </a:lnTo>
                  <a:lnTo>
                    <a:pt x="413" y="899"/>
                  </a:lnTo>
                  <a:lnTo>
                    <a:pt x="413" y="899"/>
                  </a:lnTo>
                  <a:lnTo>
                    <a:pt x="412" y="899"/>
                  </a:lnTo>
                  <a:lnTo>
                    <a:pt x="412" y="899"/>
                  </a:lnTo>
                  <a:lnTo>
                    <a:pt x="410" y="899"/>
                  </a:lnTo>
                  <a:lnTo>
                    <a:pt x="410" y="899"/>
                  </a:lnTo>
                  <a:lnTo>
                    <a:pt x="409" y="899"/>
                  </a:lnTo>
                  <a:lnTo>
                    <a:pt x="409" y="899"/>
                  </a:lnTo>
                  <a:lnTo>
                    <a:pt x="407" y="899"/>
                  </a:lnTo>
                  <a:lnTo>
                    <a:pt x="407" y="899"/>
                  </a:lnTo>
                  <a:lnTo>
                    <a:pt x="406" y="899"/>
                  </a:lnTo>
                  <a:lnTo>
                    <a:pt x="406" y="899"/>
                  </a:lnTo>
                  <a:lnTo>
                    <a:pt x="405" y="899"/>
                  </a:lnTo>
                  <a:lnTo>
                    <a:pt x="405" y="899"/>
                  </a:lnTo>
                  <a:lnTo>
                    <a:pt x="405" y="899"/>
                  </a:lnTo>
                  <a:lnTo>
                    <a:pt x="405" y="899"/>
                  </a:lnTo>
                  <a:lnTo>
                    <a:pt x="405" y="899"/>
                  </a:lnTo>
                  <a:lnTo>
                    <a:pt x="405" y="899"/>
                  </a:lnTo>
                  <a:lnTo>
                    <a:pt x="404" y="899"/>
                  </a:lnTo>
                  <a:lnTo>
                    <a:pt x="404" y="899"/>
                  </a:lnTo>
                  <a:lnTo>
                    <a:pt x="403" y="899"/>
                  </a:lnTo>
                  <a:lnTo>
                    <a:pt x="403"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0" y="899"/>
                  </a:lnTo>
                  <a:lnTo>
                    <a:pt x="400" y="899"/>
                  </a:lnTo>
                  <a:lnTo>
                    <a:pt x="400" y="899"/>
                  </a:lnTo>
                  <a:lnTo>
                    <a:pt x="400" y="899"/>
                  </a:lnTo>
                  <a:lnTo>
                    <a:pt x="400" y="899"/>
                  </a:lnTo>
                  <a:lnTo>
                    <a:pt x="400" y="899"/>
                  </a:lnTo>
                  <a:lnTo>
                    <a:pt x="399" y="899"/>
                  </a:lnTo>
                  <a:lnTo>
                    <a:pt x="399" y="899"/>
                  </a:lnTo>
                  <a:lnTo>
                    <a:pt x="399" y="899"/>
                  </a:lnTo>
                  <a:lnTo>
                    <a:pt x="399" y="899"/>
                  </a:lnTo>
                  <a:lnTo>
                    <a:pt x="399" y="899"/>
                  </a:lnTo>
                  <a:lnTo>
                    <a:pt x="399"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1" y="899"/>
                  </a:lnTo>
                  <a:lnTo>
                    <a:pt x="381" y="899"/>
                  </a:lnTo>
                  <a:lnTo>
                    <a:pt x="380" y="899"/>
                  </a:lnTo>
                  <a:lnTo>
                    <a:pt x="380" y="899"/>
                  </a:lnTo>
                  <a:lnTo>
                    <a:pt x="379" y="899"/>
                  </a:lnTo>
                  <a:lnTo>
                    <a:pt x="379" y="899"/>
                  </a:lnTo>
                  <a:lnTo>
                    <a:pt x="378" y="899"/>
                  </a:lnTo>
                  <a:lnTo>
                    <a:pt x="378" y="899"/>
                  </a:lnTo>
                  <a:lnTo>
                    <a:pt x="378" y="899"/>
                  </a:lnTo>
                  <a:lnTo>
                    <a:pt x="378" y="899"/>
                  </a:lnTo>
                  <a:lnTo>
                    <a:pt x="378" y="899"/>
                  </a:lnTo>
                  <a:lnTo>
                    <a:pt x="378" y="899"/>
                  </a:lnTo>
                  <a:lnTo>
                    <a:pt x="378" y="899"/>
                  </a:lnTo>
                  <a:lnTo>
                    <a:pt x="378"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58" y="899"/>
                  </a:lnTo>
                  <a:lnTo>
                    <a:pt x="358" y="899"/>
                  </a:lnTo>
                  <a:lnTo>
                    <a:pt x="354" y="899"/>
                  </a:lnTo>
                  <a:lnTo>
                    <a:pt x="354" y="899"/>
                  </a:lnTo>
                  <a:lnTo>
                    <a:pt x="352" y="899"/>
                  </a:lnTo>
                  <a:lnTo>
                    <a:pt x="352" y="899"/>
                  </a:lnTo>
                  <a:lnTo>
                    <a:pt x="352" y="899"/>
                  </a:lnTo>
                  <a:lnTo>
                    <a:pt x="352"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0" y="899"/>
                  </a:lnTo>
                  <a:lnTo>
                    <a:pt x="350" y="899"/>
                  </a:lnTo>
                  <a:lnTo>
                    <a:pt x="350" y="899"/>
                  </a:lnTo>
                  <a:lnTo>
                    <a:pt x="350" y="899"/>
                  </a:lnTo>
                  <a:lnTo>
                    <a:pt x="350" y="899"/>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2" y="899"/>
                  </a:lnTo>
                  <a:lnTo>
                    <a:pt x="322" y="899"/>
                  </a:lnTo>
                  <a:lnTo>
                    <a:pt x="322" y="899"/>
                  </a:lnTo>
                  <a:lnTo>
                    <a:pt x="322" y="899"/>
                  </a:lnTo>
                  <a:lnTo>
                    <a:pt x="322" y="899"/>
                  </a:lnTo>
                  <a:lnTo>
                    <a:pt x="322" y="899"/>
                  </a:lnTo>
                  <a:lnTo>
                    <a:pt x="322" y="899"/>
                  </a:lnTo>
                  <a:lnTo>
                    <a:pt x="322" y="899"/>
                  </a:lnTo>
                  <a:lnTo>
                    <a:pt x="310" y="899"/>
                  </a:lnTo>
                  <a:lnTo>
                    <a:pt x="310" y="899"/>
                  </a:lnTo>
                  <a:lnTo>
                    <a:pt x="309" y="899"/>
                  </a:lnTo>
                  <a:lnTo>
                    <a:pt x="309" y="899"/>
                  </a:lnTo>
                  <a:lnTo>
                    <a:pt x="309" y="899"/>
                  </a:lnTo>
                  <a:lnTo>
                    <a:pt x="309" y="899"/>
                  </a:lnTo>
                  <a:lnTo>
                    <a:pt x="309" y="899"/>
                  </a:lnTo>
                  <a:lnTo>
                    <a:pt x="309" y="899"/>
                  </a:lnTo>
                  <a:lnTo>
                    <a:pt x="309" y="899"/>
                  </a:lnTo>
                  <a:lnTo>
                    <a:pt x="309" y="899"/>
                  </a:lnTo>
                  <a:lnTo>
                    <a:pt x="309" y="899"/>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3" y="899"/>
                  </a:lnTo>
                  <a:lnTo>
                    <a:pt x="243" y="899"/>
                  </a:lnTo>
                  <a:lnTo>
                    <a:pt x="241" y="899"/>
                  </a:lnTo>
                  <a:lnTo>
                    <a:pt x="241" y="899"/>
                  </a:lnTo>
                  <a:lnTo>
                    <a:pt x="240" y="899"/>
                  </a:lnTo>
                  <a:lnTo>
                    <a:pt x="240" y="899"/>
                  </a:lnTo>
                  <a:lnTo>
                    <a:pt x="240" y="899"/>
                  </a:lnTo>
                  <a:lnTo>
                    <a:pt x="240"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9" y="899"/>
                  </a:lnTo>
                  <a:lnTo>
                    <a:pt x="238" y="899"/>
                  </a:lnTo>
                  <a:lnTo>
                    <a:pt x="238" y="899"/>
                  </a:lnTo>
                  <a:lnTo>
                    <a:pt x="238" y="899"/>
                  </a:lnTo>
                  <a:lnTo>
                    <a:pt x="238" y="899"/>
                  </a:lnTo>
                  <a:lnTo>
                    <a:pt x="238" y="899"/>
                  </a:lnTo>
                  <a:lnTo>
                    <a:pt x="238" y="899"/>
                  </a:lnTo>
                  <a:lnTo>
                    <a:pt x="238" y="899"/>
                  </a:lnTo>
                  <a:lnTo>
                    <a:pt x="238" y="899"/>
                  </a:lnTo>
                  <a:lnTo>
                    <a:pt x="238" y="899"/>
                  </a:lnTo>
                  <a:lnTo>
                    <a:pt x="238"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1413"/>
                  </a:lnTo>
                  <a:lnTo>
                    <a:pt x="233" y="1413"/>
                  </a:lnTo>
                  <a:lnTo>
                    <a:pt x="233" y="899"/>
                  </a:lnTo>
                  <a:lnTo>
                    <a:pt x="233" y="899"/>
                  </a:lnTo>
                  <a:lnTo>
                    <a:pt x="233" y="899"/>
                  </a:lnTo>
                  <a:lnTo>
                    <a:pt x="228" y="899"/>
                  </a:lnTo>
                  <a:lnTo>
                    <a:pt x="228" y="899"/>
                  </a:lnTo>
                  <a:lnTo>
                    <a:pt x="226" y="899"/>
                  </a:lnTo>
                  <a:lnTo>
                    <a:pt x="226" y="899"/>
                  </a:lnTo>
                  <a:lnTo>
                    <a:pt x="224" y="899"/>
                  </a:lnTo>
                  <a:lnTo>
                    <a:pt x="224" y="899"/>
                  </a:lnTo>
                  <a:lnTo>
                    <a:pt x="223" y="899"/>
                  </a:lnTo>
                  <a:lnTo>
                    <a:pt x="223" y="899"/>
                  </a:lnTo>
                  <a:lnTo>
                    <a:pt x="222" y="899"/>
                  </a:lnTo>
                  <a:lnTo>
                    <a:pt x="222" y="899"/>
                  </a:lnTo>
                  <a:lnTo>
                    <a:pt x="222" y="899"/>
                  </a:lnTo>
                  <a:lnTo>
                    <a:pt x="222" y="899"/>
                  </a:lnTo>
                  <a:lnTo>
                    <a:pt x="221" y="899"/>
                  </a:lnTo>
                  <a:lnTo>
                    <a:pt x="221" y="899"/>
                  </a:lnTo>
                  <a:lnTo>
                    <a:pt x="221" y="899"/>
                  </a:lnTo>
                  <a:lnTo>
                    <a:pt x="221" y="899"/>
                  </a:lnTo>
                  <a:lnTo>
                    <a:pt x="220" y="899"/>
                  </a:lnTo>
                  <a:lnTo>
                    <a:pt x="220" y="899"/>
                  </a:lnTo>
                  <a:lnTo>
                    <a:pt x="220" y="899"/>
                  </a:lnTo>
                  <a:lnTo>
                    <a:pt x="220" y="899"/>
                  </a:lnTo>
                  <a:lnTo>
                    <a:pt x="220" y="899"/>
                  </a:lnTo>
                  <a:lnTo>
                    <a:pt x="220" y="899"/>
                  </a:lnTo>
                  <a:lnTo>
                    <a:pt x="220" y="899"/>
                  </a:lnTo>
                  <a:lnTo>
                    <a:pt x="220" y="899"/>
                  </a:lnTo>
                  <a:lnTo>
                    <a:pt x="220" y="899"/>
                  </a:lnTo>
                  <a:lnTo>
                    <a:pt x="220"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7" y="899"/>
                  </a:lnTo>
                  <a:lnTo>
                    <a:pt x="217" y="899"/>
                  </a:lnTo>
                  <a:lnTo>
                    <a:pt x="213" y="899"/>
                  </a:lnTo>
                  <a:lnTo>
                    <a:pt x="213" y="899"/>
                  </a:lnTo>
                  <a:lnTo>
                    <a:pt x="211" y="899"/>
                  </a:lnTo>
                  <a:lnTo>
                    <a:pt x="211" y="899"/>
                  </a:lnTo>
                  <a:lnTo>
                    <a:pt x="210" y="899"/>
                  </a:lnTo>
                  <a:lnTo>
                    <a:pt x="210" y="899"/>
                  </a:lnTo>
                  <a:lnTo>
                    <a:pt x="209" y="899"/>
                  </a:lnTo>
                  <a:lnTo>
                    <a:pt x="209" y="899"/>
                  </a:lnTo>
                  <a:lnTo>
                    <a:pt x="209" y="899"/>
                  </a:lnTo>
                  <a:lnTo>
                    <a:pt x="209" y="899"/>
                  </a:lnTo>
                  <a:lnTo>
                    <a:pt x="209" y="899"/>
                  </a:lnTo>
                  <a:lnTo>
                    <a:pt x="209" y="899"/>
                  </a:lnTo>
                  <a:lnTo>
                    <a:pt x="209" y="899"/>
                  </a:lnTo>
                  <a:lnTo>
                    <a:pt x="209" y="899"/>
                  </a:lnTo>
                  <a:lnTo>
                    <a:pt x="209" y="899"/>
                  </a:lnTo>
                  <a:lnTo>
                    <a:pt x="209" y="899"/>
                  </a:lnTo>
                  <a:lnTo>
                    <a:pt x="207" y="899"/>
                  </a:lnTo>
                  <a:lnTo>
                    <a:pt x="207" y="899"/>
                  </a:lnTo>
                  <a:lnTo>
                    <a:pt x="207" y="899"/>
                  </a:lnTo>
                  <a:lnTo>
                    <a:pt x="207" y="899"/>
                  </a:lnTo>
                  <a:lnTo>
                    <a:pt x="207" y="899"/>
                  </a:lnTo>
                  <a:lnTo>
                    <a:pt x="207" y="899"/>
                  </a:lnTo>
                  <a:lnTo>
                    <a:pt x="206" y="899"/>
                  </a:lnTo>
                  <a:lnTo>
                    <a:pt x="206" y="899"/>
                  </a:lnTo>
                  <a:lnTo>
                    <a:pt x="205" y="899"/>
                  </a:lnTo>
                  <a:lnTo>
                    <a:pt x="205"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167" y="899"/>
                  </a:lnTo>
                  <a:lnTo>
                    <a:pt x="167"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49" y="899"/>
                  </a:lnTo>
                  <a:lnTo>
                    <a:pt x="149"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8" y="899"/>
                  </a:lnTo>
                  <a:lnTo>
                    <a:pt x="138" y="899"/>
                  </a:lnTo>
                  <a:lnTo>
                    <a:pt x="138" y="899"/>
                  </a:lnTo>
                  <a:lnTo>
                    <a:pt x="138" y="899"/>
                  </a:lnTo>
                  <a:lnTo>
                    <a:pt x="138" y="899"/>
                  </a:lnTo>
                  <a:lnTo>
                    <a:pt x="138" y="899"/>
                  </a:lnTo>
                  <a:lnTo>
                    <a:pt x="138" y="899"/>
                  </a:lnTo>
                  <a:lnTo>
                    <a:pt x="138" y="899"/>
                  </a:lnTo>
                  <a:lnTo>
                    <a:pt x="138" y="899"/>
                  </a:lnTo>
                  <a:lnTo>
                    <a:pt x="138"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5" y="899"/>
                  </a:lnTo>
                  <a:lnTo>
                    <a:pt x="135" y="899"/>
                  </a:lnTo>
                  <a:lnTo>
                    <a:pt x="135" y="899"/>
                  </a:lnTo>
                  <a:lnTo>
                    <a:pt x="135" y="899"/>
                  </a:lnTo>
                  <a:lnTo>
                    <a:pt x="135" y="899"/>
                  </a:lnTo>
                  <a:lnTo>
                    <a:pt x="135" y="899"/>
                  </a:lnTo>
                  <a:lnTo>
                    <a:pt x="135" y="899"/>
                  </a:lnTo>
                  <a:lnTo>
                    <a:pt x="135" y="899"/>
                  </a:lnTo>
                  <a:lnTo>
                    <a:pt x="135" y="899"/>
                  </a:lnTo>
                  <a:lnTo>
                    <a:pt x="135" y="899"/>
                  </a:lnTo>
                  <a:lnTo>
                    <a:pt x="133" y="899"/>
                  </a:lnTo>
                  <a:lnTo>
                    <a:pt x="133" y="899"/>
                  </a:lnTo>
                  <a:lnTo>
                    <a:pt x="131" y="899"/>
                  </a:lnTo>
                  <a:lnTo>
                    <a:pt x="131" y="899"/>
                  </a:lnTo>
                  <a:lnTo>
                    <a:pt x="131" y="899"/>
                  </a:lnTo>
                  <a:lnTo>
                    <a:pt x="131" y="899"/>
                  </a:lnTo>
                  <a:lnTo>
                    <a:pt x="129" y="899"/>
                  </a:lnTo>
                  <a:lnTo>
                    <a:pt x="129" y="899"/>
                  </a:lnTo>
                  <a:lnTo>
                    <a:pt x="128" y="899"/>
                  </a:lnTo>
                  <a:lnTo>
                    <a:pt x="128" y="899"/>
                  </a:lnTo>
                  <a:lnTo>
                    <a:pt x="128" y="899"/>
                  </a:lnTo>
                  <a:lnTo>
                    <a:pt x="128"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5" y="899"/>
                  </a:lnTo>
                  <a:lnTo>
                    <a:pt x="115" y="899"/>
                  </a:lnTo>
                  <a:lnTo>
                    <a:pt x="112" y="899"/>
                  </a:lnTo>
                  <a:lnTo>
                    <a:pt x="112" y="899"/>
                  </a:lnTo>
                  <a:lnTo>
                    <a:pt x="110" y="899"/>
                  </a:lnTo>
                  <a:lnTo>
                    <a:pt x="110" y="899"/>
                  </a:lnTo>
                  <a:lnTo>
                    <a:pt x="108" y="899"/>
                  </a:lnTo>
                  <a:lnTo>
                    <a:pt x="108" y="899"/>
                  </a:lnTo>
                  <a:lnTo>
                    <a:pt x="107" y="899"/>
                  </a:lnTo>
                  <a:lnTo>
                    <a:pt x="107" y="899"/>
                  </a:lnTo>
                  <a:lnTo>
                    <a:pt x="107" y="899"/>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899"/>
                  </a:lnTo>
                  <a:lnTo>
                    <a:pt x="94" y="899"/>
                  </a:lnTo>
                  <a:lnTo>
                    <a:pt x="94" y="899"/>
                  </a:lnTo>
                  <a:lnTo>
                    <a:pt x="93" y="899"/>
                  </a:lnTo>
                  <a:lnTo>
                    <a:pt x="93" y="899"/>
                  </a:lnTo>
                  <a:lnTo>
                    <a:pt x="93" y="899"/>
                  </a:lnTo>
                  <a:lnTo>
                    <a:pt x="93" y="899"/>
                  </a:lnTo>
                  <a:lnTo>
                    <a:pt x="92" y="899"/>
                  </a:lnTo>
                  <a:lnTo>
                    <a:pt x="92" y="899"/>
                  </a:lnTo>
                  <a:lnTo>
                    <a:pt x="89" y="899"/>
                  </a:lnTo>
                  <a:lnTo>
                    <a:pt x="89" y="899"/>
                  </a:lnTo>
                  <a:lnTo>
                    <a:pt x="89" y="899"/>
                  </a:lnTo>
                  <a:lnTo>
                    <a:pt x="89" y="899"/>
                  </a:lnTo>
                  <a:lnTo>
                    <a:pt x="89" y="899"/>
                  </a:lnTo>
                  <a:lnTo>
                    <a:pt x="89" y="899"/>
                  </a:lnTo>
                  <a:lnTo>
                    <a:pt x="89" y="899"/>
                  </a:lnTo>
                  <a:lnTo>
                    <a:pt x="89" y="899"/>
                  </a:lnTo>
                  <a:lnTo>
                    <a:pt x="89" y="899"/>
                  </a:lnTo>
                  <a:lnTo>
                    <a:pt x="89"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899"/>
                  </a:lnTo>
                  <a:lnTo>
                    <a:pt x="76" y="899"/>
                  </a:lnTo>
                  <a:lnTo>
                    <a:pt x="76" y="899"/>
                  </a:lnTo>
                  <a:lnTo>
                    <a:pt x="72" y="899"/>
                  </a:lnTo>
                  <a:lnTo>
                    <a:pt x="72"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899"/>
                  </a:lnTo>
                  <a:lnTo>
                    <a:pt x="65" y="899"/>
                  </a:lnTo>
                  <a:lnTo>
                    <a:pt x="65" y="899"/>
                  </a:lnTo>
                  <a:lnTo>
                    <a:pt x="65" y="899"/>
                  </a:lnTo>
                  <a:lnTo>
                    <a:pt x="65" y="899"/>
                  </a:lnTo>
                  <a:lnTo>
                    <a:pt x="65" y="899"/>
                  </a:lnTo>
                  <a:lnTo>
                    <a:pt x="65" y="899"/>
                  </a:lnTo>
                  <a:lnTo>
                    <a:pt x="65" y="899"/>
                  </a:lnTo>
                  <a:lnTo>
                    <a:pt x="65"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3" y="899"/>
                  </a:lnTo>
                  <a:lnTo>
                    <a:pt x="63" y="899"/>
                  </a:lnTo>
                  <a:lnTo>
                    <a:pt x="62" y="899"/>
                  </a:lnTo>
                  <a:lnTo>
                    <a:pt x="62" y="899"/>
                  </a:lnTo>
                  <a:lnTo>
                    <a:pt x="62" y="899"/>
                  </a:lnTo>
                  <a:lnTo>
                    <a:pt x="62" y="899"/>
                  </a:lnTo>
                  <a:lnTo>
                    <a:pt x="62" y="899"/>
                  </a:lnTo>
                  <a:lnTo>
                    <a:pt x="62" y="899"/>
                  </a:lnTo>
                  <a:lnTo>
                    <a:pt x="62" y="899"/>
                  </a:lnTo>
                  <a:lnTo>
                    <a:pt x="62" y="899"/>
                  </a:lnTo>
                  <a:lnTo>
                    <a:pt x="60" y="899"/>
                  </a:lnTo>
                  <a:lnTo>
                    <a:pt x="60" y="899"/>
                  </a:lnTo>
                  <a:lnTo>
                    <a:pt x="58" y="899"/>
                  </a:lnTo>
                  <a:lnTo>
                    <a:pt x="58" y="899"/>
                  </a:lnTo>
                  <a:lnTo>
                    <a:pt x="56" y="899"/>
                  </a:lnTo>
                  <a:lnTo>
                    <a:pt x="56" y="899"/>
                  </a:lnTo>
                  <a:lnTo>
                    <a:pt x="56" y="899"/>
                  </a:lnTo>
                  <a:lnTo>
                    <a:pt x="56"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0" y="899"/>
                  </a:lnTo>
                  <a:lnTo>
                    <a:pt x="50" y="899"/>
                  </a:lnTo>
                  <a:lnTo>
                    <a:pt x="47" y="899"/>
                  </a:lnTo>
                  <a:lnTo>
                    <a:pt x="47" y="899"/>
                  </a:lnTo>
                  <a:lnTo>
                    <a:pt x="46" y="899"/>
                  </a:lnTo>
                  <a:lnTo>
                    <a:pt x="46" y="899"/>
                  </a:lnTo>
                  <a:lnTo>
                    <a:pt x="46" y="899"/>
                  </a:lnTo>
                  <a:lnTo>
                    <a:pt x="46" y="899"/>
                  </a:lnTo>
                  <a:lnTo>
                    <a:pt x="46" y="899"/>
                  </a:lnTo>
                  <a:lnTo>
                    <a:pt x="46" y="899"/>
                  </a:lnTo>
                  <a:lnTo>
                    <a:pt x="46" y="899"/>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2" y="899"/>
                  </a:lnTo>
                  <a:lnTo>
                    <a:pt x="42" y="899"/>
                  </a:lnTo>
                  <a:lnTo>
                    <a:pt x="42" y="899"/>
                  </a:lnTo>
                  <a:lnTo>
                    <a:pt x="42" y="899"/>
                  </a:lnTo>
                  <a:lnTo>
                    <a:pt x="41" y="899"/>
                  </a:lnTo>
                  <a:lnTo>
                    <a:pt x="41" y="899"/>
                  </a:lnTo>
                  <a:lnTo>
                    <a:pt x="41" y="899"/>
                  </a:lnTo>
                  <a:lnTo>
                    <a:pt x="41" y="899"/>
                  </a:lnTo>
                  <a:lnTo>
                    <a:pt x="41" y="899"/>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899"/>
                  </a:lnTo>
                  <a:lnTo>
                    <a:pt x="36" y="899"/>
                  </a:lnTo>
                  <a:lnTo>
                    <a:pt x="36" y="899"/>
                  </a:lnTo>
                  <a:lnTo>
                    <a:pt x="36" y="899"/>
                  </a:lnTo>
                  <a:lnTo>
                    <a:pt x="36" y="899"/>
                  </a:lnTo>
                  <a:lnTo>
                    <a:pt x="36" y="899"/>
                  </a:lnTo>
                  <a:lnTo>
                    <a:pt x="36"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899"/>
                  </a:lnTo>
                  <a:lnTo>
                    <a:pt x="28" y="899"/>
                  </a:lnTo>
                  <a:lnTo>
                    <a:pt x="28" y="899"/>
                  </a:lnTo>
                  <a:lnTo>
                    <a:pt x="27" y="899"/>
                  </a:lnTo>
                  <a:lnTo>
                    <a:pt x="27" y="899"/>
                  </a:lnTo>
                  <a:lnTo>
                    <a:pt x="25" y="899"/>
                  </a:lnTo>
                  <a:lnTo>
                    <a:pt x="25" y="899"/>
                  </a:lnTo>
                  <a:lnTo>
                    <a:pt x="25" y="899"/>
                  </a:lnTo>
                  <a:lnTo>
                    <a:pt x="25" y="899"/>
                  </a:lnTo>
                  <a:lnTo>
                    <a:pt x="25" y="899"/>
                  </a:lnTo>
                  <a:lnTo>
                    <a:pt x="25" y="899"/>
                  </a:lnTo>
                  <a:lnTo>
                    <a:pt x="25" y="899"/>
                  </a:lnTo>
                  <a:lnTo>
                    <a:pt x="25" y="899"/>
                  </a:lnTo>
                  <a:lnTo>
                    <a:pt x="24" y="899"/>
                  </a:lnTo>
                  <a:lnTo>
                    <a:pt x="24" y="899"/>
                  </a:lnTo>
                  <a:lnTo>
                    <a:pt x="24" y="899"/>
                  </a:lnTo>
                  <a:lnTo>
                    <a:pt x="24" y="899"/>
                  </a:lnTo>
                  <a:lnTo>
                    <a:pt x="24" y="899"/>
                  </a:lnTo>
                  <a:lnTo>
                    <a:pt x="24" y="899"/>
                  </a:lnTo>
                  <a:lnTo>
                    <a:pt x="24" y="899"/>
                  </a:lnTo>
                  <a:lnTo>
                    <a:pt x="24"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1759"/>
                  </a:lnTo>
                  <a:lnTo>
                    <a:pt x="21" y="1759"/>
                  </a:lnTo>
                  <a:lnTo>
                    <a:pt x="21" y="899"/>
                  </a:lnTo>
                  <a:lnTo>
                    <a:pt x="21" y="899"/>
                  </a:lnTo>
                  <a:lnTo>
                    <a:pt x="21" y="899"/>
                  </a:lnTo>
                  <a:lnTo>
                    <a:pt x="21" y="899"/>
                  </a:lnTo>
                  <a:lnTo>
                    <a:pt x="21" y="899"/>
                  </a:lnTo>
                  <a:lnTo>
                    <a:pt x="21" y="899"/>
                  </a:lnTo>
                  <a:lnTo>
                    <a:pt x="21"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899"/>
                  </a:lnTo>
                  <a:lnTo>
                    <a:pt x="17" y="899"/>
                  </a:lnTo>
                  <a:lnTo>
                    <a:pt x="17" y="899"/>
                  </a:lnTo>
                  <a:lnTo>
                    <a:pt x="17" y="899"/>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9" y="899"/>
                  </a:lnTo>
                  <a:lnTo>
                    <a:pt x="9" y="899"/>
                  </a:lnTo>
                  <a:lnTo>
                    <a:pt x="9" y="899"/>
                  </a:lnTo>
                  <a:lnTo>
                    <a:pt x="9" y="899"/>
                  </a:lnTo>
                  <a:lnTo>
                    <a:pt x="9" y="899"/>
                  </a:lnTo>
                  <a:lnTo>
                    <a:pt x="9" y="899"/>
                  </a:lnTo>
                  <a:lnTo>
                    <a:pt x="9" y="899"/>
                  </a:lnTo>
                  <a:lnTo>
                    <a:pt x="9" y="899"/>
                  </a:lnTo>
                  <a:lnTo>
                    <a:pt x="8" y="899"/>
                  </a:lnTo>
                  <a:lnTo>
                    <a:pt x="8" y="899"/>
                  </a:lnTo>
                  <a:lnTo>
                    <a:pt x="7" y="899"/>
                  </a:lnTo>
                  <a:lnTo>
                    <a:pt x="7" y="899"/>
                  </a:lnTo>
                  <a:lnTo>
                    <a:pt x="6" y="899"/>
                  </a:lnTo>
                  <a:lnTo>
                    <a:pt x="6" y="899"/>
                  </a:lnTo>
                  <a:lnTo>
                    <a:pt x="6" y="899"/>
                  </a:lnTo>
                  <a:lnTo>
                    <a:pt x="6" y="899"/>
                  </a:lnTo>
                  <a:lnTo>
                    <a:pt x="6" y="899"/>
                  </a:lnTo>
                  <a:lnTo>
                    <a:pt x="6" y="899"/>
                  </a:lnTo>
                  <a:lnTo>
                    <a:pt x="6" y="899"/>
                  </a:lnTo>
                  <a:lnTo>
                    <a:pt x="6"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00AD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69">
              <a:extLst>
                <a:ext uri="{FF2B5EF4-FFF2-40B4-BE49-F238E27FC236}">
                  <a16:creationId xmlns:a16="http://schemas.microsoft.com/office/drawing/2014/main" id="{88D9A7F6-11A3-43BA-A92A-CDA0CCCF81F1}"/>
                </a:ext>
              </a:extLst>
            </p:cNvPr>
            <p:cNvSpPr>
              <a:spLocks/>
            </p:cNvSpPr>
            <p:nvPr/>
          </p:nvSpPr>
          <p:spPr bwMode="auto">
            <a:xfrm>
              <a:off x="1077913" y="1011238"/>
              <a:ext cx="5370513" cy="2857500"/>
            </a:xfrm>
            <a:custGeom>
              <a:avLst/>
              <a:gdLst>
                <a:gd name="T0" fmla="*/ 20 w 3383"/>
                <a:gd name="T1" fmla="*/ 89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899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899 h 1800"/>
                <a:gd name="T32" fmla="*/ 1484 w 3383"/>
                <a:gd name="T33" fmla="*/ 899 h 1800"/>
                <a:gd name="T34" fmla="*/ 1852 w 3383"/>
                <a:gd name="T35" fmla="*/ 899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99 h 1800"/>
                <a:gd name="T46" fmla="*/ 2231 w 3383"/>
                <a:gd name="T47" fmla="*/ 899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899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899 h 1800"/>
                <a:gd name="T72" fmla="*/ 2684 w 3383"/>
                <a:gd name="T73" fmla="*/ 708 h 1800"/>
                <a:gd name="T74" fmla="*/ 2608 w 3383"/>
                <a:gd name="T75" fmla="*/ 899 h 1800"/>
                <a:gd name="T76" fmla="*/ 2451 w 3383"/>
                <a:gd name="T77" fmla="*/ 795 h 1800"/>
                <a:gd name="T78" fmla="*/ 2218 w 3383"/>
                <a:gd name="T79" fmla="*/ 899 h 1800"/>
                <a:gd name="T80" fmla="*/ 2149 w 3383"/>
                <a:gd name="T81" fmla="*/ 899 h 1800"/>
                <a:gd name="T82" fmla="*/ 2056 w 3383"/>
                <a:gd name="T83" fmla="*/ 899 h 1800"/>
                <a:gd name="T84" fmla="*/ 2056 w 3383"/>
                <a:gd name="T85" fmla="*/ 899 h 1800"/>
                <a:gd name="T86" fmla="*/ 2056 w 3383"/>
                <a:gd name="T87" fmla="*/ 899 h 1800"/>
                <a:gd name="T88" fmla="*/ 1951 w 3383"/>
                <a:gd name="T89" fmla="*/ 899 h 1800"/>
                <a:gd name="T90" fmla="*/ 1852 w 3383"/>
                <a:gd name="T91" fmla="*/ 899 h 1800"/>
                <a:gd name="T92" fmla="*/ 1482 w 3383"/>
                <a:gd name="T93" fmla="*/ 899 h 1800"/>
                <a:gd name="T94" fmla="*/ 1388 w 3383"/>
                <a:gd name="T95" fmla="*/ 899 h 1800"/>
                <a:gd name="T96" fmla="*/ 1337 w 3383"/>
                <a:gd name="T97" fmla="*/ 1106 h 1800"/>
                <a:gd name="T98" fmla="*/ 1223 w 3383"/>
                <a:gd name="T99" fmla="*/ 899 h 1800"/>
                <a:gd name="T100" fmla="*/ 1002 w 3383"/>
                <a:gd name="T101" fmla="*/ 899 h 1800"/>
                <a:gd name="T102" fmla="*/ 912 w 3383"/>
                <a:gd name="T103" fmla="*/ 899 h 1800"/>
                <a:gd name="T104" fmla="*/ 835 w 3383"/>
                <a:gd name="T105" fmla="*/ 899 h 1800"/>
                <a:gd name="T106" fmla="*/ 732 w 3383"/>
                <a:gd name="T107" fmla="*/ 899 h 1800"/>
                <a:gd name="T108" fmla="*/ 548 w 3383"/>
                <a:gd name="T109" fmla="*/ 899 h 1800"/>
                <a:gd name="T110" fmla="*/ 453 w 3383"/>
                <a:gd name="T111" fmla="*/ 899 h 1800"/>
                <a:gd name="T112" fmla="*/ 344 w 3383"/>
                <a:gd name="T113" fmla="*/ 899 h 1800"/>
                <a:gd name="T114" fmla="*/ 301 w 3383"/>
                <a:gd name="T115" fmla="*/ 899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899"/>
                  </a:lnTo>
                  <a:lnTo>
                    <a:pt x="10" y="899"/>
                  </a:lnTo>
                  <a:lnTo>
                    <a:pt x="10" y="899"/>
                  </a:lnTo>
                  <a:lnTo>
                    <a:pt x="10" y="899"/>
                  </a:lnTo>
                  <a:lnTo>
                    <a:pt x="10" y="899"/>
                  </a:lnTo>
                  <a:lnTo>
                    <a:pt x="10" y="899"/>
                  </a:lnTo>
                  <a:lnTo>
                    <a:pt x="10"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899"/>
                  </a:lnTo>
                  <a:lnTo>
                    <a:pt x="12" y="899"/>
                  </a:lnTo>
                  <a:lnTo>
                    <a:pt x="12" y="899"/>
                  </a:lnTo>
                  <a:lnTo>
                    <a:pt x="15" y="899"/>
                  </a:lnTo>
                  <a:lnTo>
                    <a:pt x="15" y="899"/>
                  </a:lnTo>
                  <a:lnTo>
                    <a:pt x="15" y="899"/>
                  </a:lnTo>
                  <a:lnTo>
                    <a:pt x="15" y="899"/>
                  </a:lnTo>
                  <a:lnTo>
                    <a:pt x="15" y="899"/>
                  </a:lnTo>
                  <a:lnTo>
                    <a:pt x="15" y="899"/>
                  </a:lnTo>
                  <a:lnTo>
                    <a:pt x="15" y="899"/>
                  </a:lnTo>
                  <a:lnTo>
                    <a:pt x="15" y="899"/>
                  </a:lnTo>
                  <a:lnTo>
                    <a:pt x="16" y="899"/>
                  </a:lnTo>
                  <a:lnTo>
                    <a:pt x="16" y="899"/>
                  </a:lnTo>
                  <a:lnTo>
                    <a:pt x="17" y="899"/>
                  </a:lnTo>
                  <a:lnTo>
                    <a:pt x="17" y="1782"/>
                  </a:lnTo>
                  <a:lnTo>
                    <a:pt x="17" y="1782"/>
                  </a:lnTo>
                  <a:lnTo>
                    <a:pt x="17" y="1782"/>
                  </a:lnTo>
                  <a:lnTo>
                    <a:pt x="17" y="1782"/>
                  </a:lnTo>
                  <a:lnTo>
                    <a:pt x="17" y="899"/>
                  </a:lnTo>
                  <a:lnTo>
                    <a:pt x="17" y="899"/>
                  </a:lnTo>
                  <a:lnTo>
                    <a:pt x="17"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899"/>
                  </a:lnTo>
                  <a:lnTo>
                    <a:pt x="34" y="899"/>
                  </a:lnTo>
                  <a:lnTo>
                    <a:pt x="34" y="899"/>
                  </a:lnTo>
                  <a:lnTo>
                    <a:pt x="35" y="899"/>
                  </a:lnTo>
                  <a:lnTo>
                    <a:pt x="35" y="899"/>
                  </a:lnTo>
                  <a:lnTo>
                    <a:pt x="35" y="899"/>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899"/>
                  </a:lnTo>
                  <a:lnTo>
                    <a:pt x="39" y="8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899"/>
                  </a:lnTo>
                  <a:lnTo>
                    <a:pt x="39" y="899"/>
                  </a:lnTo>
                  <a:lnTo>
                    <a:pt x="39" y="899"/>
                  </a:lnTo>
                  <a:lnTo>
                    <a:pt x="39" y="899"/>
                  </a:lnTo>
                  <a:lnTo>
                    <a:pt x="39" y="899"/>
                  </a:lnTo>
                  <a:lnTo>
                    <a:pt x="39" y="899"/>
                  </a:lnTo>
                  <a:lnTo>
                    <a:pt x="39"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1681"/>
                  </a:lnTo>
                  <a:lnTo>
                    <a:pt x="41" y="1681"/>
                  </a:lnTo>
                  <a:lnTo>
                    <a:pt x="41" y="1681"/>
                  </a:lnTo>
                  <a:lnTo>
                    <a:pt x="41" y="1681"/>
                  </a:lnTo>
                  <a:lnTo>
                    <a:pt x="41" y="1681"/>
                  </a:lnTo>
                  <a:lnTo>
                    <a:pt x="42" y="1681"/>
                  </a:lnTo>
                  <a:lnTo>
                    <a:pt x="42" y="899"/>
                  </a:lnTo>
                  <a:lnTo>
                    <a:pt x="42" y="899"/>
                  </a:lnTo>
                  <a:lnTo>
                    <a:pt x="42" y="899"/>
                  </a:lnTo>
                  <a:lnTo>
                    <a:pt x="43" y="899"/>
                  </a:lnTo>
                  <a:lnTo>
                    <a:pt x="43" y="899"/>
                  </a:lnTo>
                  <a:lnTo>
                    <a:pt x="43" y="89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899"/>
                  </a:lnTo>
                  <a:lnTo>
                    <a:pt x="46" y="899"/>
                  </a:lnTo>
                  <a:lnTo>
                    <a:pt x="46" y="1644"/>
                  </a:lnTo>
                  <a:lnTo>
                    <a:pt x="46" y="1644"/>
                  </a:lnTo>
                  <a:lnTo>
                    <a:pt x="46" y="899"/>
                  </a:lnTo>
                  <a:lnTo>
                    <a:pt x="46" y="899"/>
                  </a:lnTo>
                  <a:lnTo>
                    <a:pt x="46" y="899"/>
                  </a:lnTo>
                  <a:lnTo>
                    <a:pt x="46" y="899"/>
                  </a:lnTo>
                  <a:lnTo>
                    <a:pt x="46" y="899"/>
                  </a:lnTo>
                  <a:lnTo>
                    <a:pt x="47" y="899"/>
                  </a:lnTo>
                  <a:lnTo>
                    <a:pt x="47" y="899"/>
                  </a:lnTo>
                  <a:lnTo>
                    <a:pt x="50" y="899"/>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899"/>
                  </a:lnTo>
                  <a:lnTo>
                    <a:pt x="64" y="899"/>
                  </a:lnTo>
                  <a:lnTo>
                    <a:pt x="64" y="899"/>
                  </a:lnTo>
                  <a:lnTo>
                    <a:pt x="64" y="899"/>
                  </a:lnTo>
                  <a:lnTo>
                    <a:pt x="64" y="899"/>
                  </a:lnTo>
                  <a:lnTo>
                    <a:pt x="64" y="899"/>
                  </a:lnTo>
                  <a:lnTo>
                    <a:pt x="64" y="899"/>
                  </a:lnTo>
                  <a:lnTo>
                    <a:pt x="64" y="899"/>
                  </a:lnTo>
                  <a:lnTo>
                    <a:pt x="64" y="899"/>
                  </a:lnTo>
                  <a:lnTo>
                    <a:pt x="64" y="899"/>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899"/>
                  </a:lnTo>
                  <a:lnTo>
                    <a:pt x="70" y="899"/>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899"/>
                  </a:lnTo>
                  <a:lnTo>
                    <a:pt x="89" y="899"/>
                  </a:lnTo>
                  <a:lnTo>
                    <a:pt x="89" y="899"/>
                  </a:lnTo>
                  <a:lnTo>
                    <a:pt x="89" y="899"/>
                  </a:lnTo>
                  <a:lnTo>
                    <a:pt x="89" y="1557"/>
                  </a:lnTo>
                  <a:lnTo>
                    <a:pt x="89" y="1557"/>
                  </a:lnTo>
                  <a:lnTo>
                    <a:pt x="89" y="899"/>
                  </a:lnTo>
                  <a:lnTo>
                    <a:pt x="92" y="899"/>
                  </a:lnTo>
                  <a:lnTo>
                    <a:pt x="92" y="899"/>
                  </a:lnTo>
                  <a:lnTo>
                    <a:pt x="93" y="899"/>
                  </a:lnTo>
                  <a:lnTo>
                    <a:pt x="93" y="1544"/>
                  </a:lnTo>
                  <a:lnTo>
                    <a:pt x="93" y="1544"/>
                  </a:lnTo>
                  <a:lnTo>
                    <a:pt x="93" y="899"/>
                  </a:lnTo>
                  <a:lnTo>
                    <a:pt x="94" y="899"/>
                  </a:lnTo>
                  <a:lnTo>
                    <a:pt x="94" y="1544"/>
                  </a:lnTo>
                  <a:lnTo>
                    <a:pt x="101" y="1544"/>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899"/>
                  </a:lnTo>
                  <a:lnTo>
                    <a:pt x="123" y="899"/>
                  </a:lnTo>
                  <a:lnTo>
                    <a:pt x="123" y="1510"/>
                  </a:lnTo>
                  <a:lnTo>
                    <a:pt x="123" y="1510"/>
                  </a:lnTo>
                  <a:lnTo>
                    <a:pt x="123" y="1510"/>
                  </a:lnTo>
                  <a:lnTo>
                    <a:pt x="125" y="1510"/>
                  </a:lnTo>
                  <a:lnTo>
                    <a:pt x="125" y="1510"/>
                  </a:lnTo>
                  <a:lnTo>
                    <a:pt x="125" y="1510"/>
                  </a:lnTo>
                  <a:lnTo>
                    <a:pt x="125" y="1510"/>
                  </a:lnTo>
                  <a:lnTo>
                    <a:pt x="125" y="1510"/>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899"/>
                  </a:lnTo>
                  <a:lnTo>
                    <a:pt x="135" y="899"/>
                  </a:lnTo>
                  <a:lnTo>
                    <a:pt x="135" y="1492"/>
                  </a:lnTo>
                  <a:lnTo>
                    <a:pt x="136" y="1492"/>
                  </a:lnTo>
                  <a:lnTo>
                    <a:pt x="136" y="1492"/>
                  </a:lnTo>
                  <a:lnTo>
                    <a:pt x="136" y="1492"/>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1453"/>
                  </a:lnTo>
                  <a:lnTo>
                    <a:pt x="141" y="1453"/>
                  </a:lnTo>
                  <a:lnTo>
                    <a:pt x="141" y="899"/>
                  </a:lnTo>
                  <a:lnTo>
                    <a:pt x="141" y="899"/>
                  </a:lnTo>
                  <a:lnTo>
                    <a:pt x="141" y="1453"/>
                  </a:lnTo>
                  <a:lnTo>
                    <a:pt x="141" y="1453"/>
                  </a:lnTo>
                  <a:lnTo>
                    <a:pt x="141" y="899"/>
                  </a:lnTo>
                  <a:lnTo>
                    <a:pt x="142" y="899"/>
                  </a:lnTo>
                  <a:lnTo>
                    <a:pt x="142" y="899"/>
                  </a:lnTo>
                  <a:lnTo>
                    <a:pt x="142" y="899"/>
                  </a:lnTo>
                  <a:lnTo>
                    <a:pt x="142" y="899"/>
                  </a:lnTo>
                  <a:lnTo>
                    <a:pt x="142" y="899"/>
                  </a:lnTo>
                  <a:lnTo>
                    <a:pt x="142" y="899"/>
                  </a:lnTo>
                  <a:lnTo>
                    <a:pt x="143" y="899"/>
                  </a:lnTo>
                  <a:lnTo>
                    <a:pt x="143" y="899"/>
                  </a:lnTo>
                  <a:lnTo>
                    <a:pt x="144" y="899"/>
                  </a:lnTo>
                  <a:lnTo>
                    <a:pt x="144" y="899"/>
                  </a:lnTo>
                  <a:lnTo>
                    <a:pt x="147" y="899"/>
                  </a:lnTo>
                  <a:lnTo>
                    <a:pt x="147" y="899"/>
                  </a:lnTo>
                  <a:lnTo>
                    <a:pt x="147" y="899"/>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899"/>
                  </a:lnTo>
                  <a:lnTo>
                    <a:pt x="204" y="899"/>
                  </a:lnTo>
                  <a:lnTo>
                    <a:pt x="204" y="899"/>
                  </a:lnTo>
                  <a:lnTo>
                    <a:pt x="204" y="899"/>
                  </a:lnTo>
                  <a:lnTo>
                    <a:pt x="204" y="899"/>
                  </a:lnTo>
                  <a:lnTo>
                    <a:pt x="204" y="899"/>
                  </a:lnTo>
                  <a:lnTo>
                    <a:pt x="204" y="1425"/>
                  </a:lnTo>
                  <a:lnTo>
                    <a:pt x="205" y="1425"/>
                  </a:lnTo>
                  <a:lnTo>
                    <a:pt x="205" y="1425"/>
                  </a:lnTo>
                  <a:lnTo>
                    <a:pt x="206" y="1425"/>
                  </a:lnTo>
                  <a:lnTo>
                    <a:pt x="206" y="1425"/>
                  </a:lnTo>
                  <a:lnTo>
                    <a:pt x="207" y="1425"/>
                  </a:lnTo>
                  <a:lnTo>
                    <a:pt x="207" y="899"/>
                  </a:lnTo>
                  <a:lnTo>
                    <a:pt x="207" y="899"/>
                  </a:lnTo>
                  <a:lnTo>
                    <a:pt x="207" y="1420"/>
                  </a:lnTo>
                  <a:lnTo>
                    <a:pt x="207" y="1420"/>
                  </a:lnTo>
                  <a:lnTo>
                    <a:pt x="207" y="1420"/>
                  </a:lnTo>
                  <a:lnTo>
                    <a:pt x="209" y="1420"/>
                  </a:lnTo>
                  <a:lnTo>
                    <a:pt x="209" y="899"/>
                  </a:lnTo>
                  <a:lnTo>
                    <a:pt x="209" y="899"/>
                  </a:lnTo>
                  <a:lnTo>
                    <a:pt x="209" y="1420"/>
                  </a:lnTo>
                  <a:lnTo>
                    <a:pt x="209" y="1420"/>
                  </a:lnTo>
                  <a:lnTo>
                    <a:pt x="209" y="1420"/>
                  </a:lnTo>
                  <a:lnTo>
                    <a:pt x="209" y="1420"/>
                  </a:lnTo>
                  <a:lnTo>
                    <a:pt x="209" y="899"/>
                  </a:lnTo>
                  <a:lnTo>
                    <a:pt x="209" y="899"/>
                  </a:lnTo>
                  <a:lnTo>
                    <a:pt x="209" y="899"/>
                  </a:lnTo>
                  <a:lnTo>
                    <a:pt x="210" y="899"/>
                  </a:lnTo>
                  <a:lnTo>
                    <a:pt x="210" y="899"/>
                  </a:lnTo>
                  <a:lnTo>
                    <a:pt x="211" y="899"/>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899"/>
                  </a:lnTo>
                  <a:lnTo>
                    <a:pt x="221" y="899"/>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1406"/>
                  </a:lnTo>
                  <a:lnTo>
                    <a:pt x="247" y="1406"/>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1380"/>
                  </a:lnTo>
                  <a:lnTo>
                    <a:pt x="309" y="1380"/>
                  </a:lnTo>
                  <a:lnTo>
                    <a:pt x="309" y="899"/>
                  </a:lnTo>
                  <a:lnTo>
                    <a:pt x="309" y="899"/>
                  </a:lnTo>
                  <a:lnTo>
                    <a:pt x="309" y="1380"/>
                  </a:lnTo>
                  <a:lnTo>
                    <a:pt x="309" y="1380"/>
                  </a:lnTo>
                  <a:lnTo>
                    <a:pt x="309" y="899"/>
                  </a:lnTo>
                  <a:lnTo>
                    <a:pt x="309" y="899"/>
                  </a:lnTo>
                  <a:lnTo>
                    <a:pt x="309" y="899"/>
                  </a:lnTo>
                  <a:lnTo>
                    <a:pt x="310" y="899"/>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899"/>
                  </a:lnTo>
                  <a:lnTo>
                    <a:pt x="326" y="899"/>
                  </a:lnTo>
                  <a:lnTo>
                    <a:pt x="326" y="899"/>
                  </a:lnTo>
                  <a:lnTo>
                    <a:pt x="326" y="899"/>
                  </a:lnTo>
                  <a:lnTo>
                    <a:pt x="326" y="899"/>
                  </a:lnTo>
                  <a:lnTo>
                    <a:pt x="326" y="899"/>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8" y="1370"/>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899"/>
                  </a:lnTo>
                  <a:lnTo>
                    <a:pt x="335" y="899"/>
                  </a:lnTo>
                  <a:lnTo>
                    <a:pt x="335" y="899"/>
                  </a:lnTo>
                  <a:lnTo>
                    <a:pt x="335" y="899"/>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899"/>
                  </a:lnTo>
                  <a:lnTo>
                    <a:pt x="351" y="899"/>
                  </a:lnTo>
                  <a:lnTo>
                    <a:pt x="351" y="899"/>
                  </a:lnTo>
                  <a:lnTo>
                    <a:pt x="351" y="899"/>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899"/>
                  </a:lnTo>
                  <a:lnTo>
                    <a:pt x="382" y="899"/>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899"/>
                  </a:lnTo>
                  <a:lnTo>
                    <a:pt x="383" y="899"/>
                  </a:lnTo>
                  <a:lnTo>
                    <a:pt x="383" y="899"/>
                  </a:lnTo>
                  <a:lnTo>
                    <a:pt x="383" y="899"/>
                  </a:lnTo>
                  <a:lnTo>
                    <a:pt x="383" y="899"/>
                  </a:lnTo>
                  <a:lnTo>
                    <a:pt x="383" y="899"/>
                  </a:lnTo>
                  <a:lnTo>
                    <a:pt x="383" y="899"/>
                  </a:lnTo>
                  <a:lnTo>
                    <a:pt x="383" y="899"/>
                  </a:lnTo>
                  <a:lnTo>
                    <a:pt x="383" y="899"/>
                  </a:lnTo>
                  <a:lnTo>
                    <a:pt x="384" y="899"/>
                  </a:lnTo>
                  <a:lnTo>
                    <a:pt x="384" y="899"/>
                  </a:lnTo>
                  <a:lnTo>
                    <a:pt x="387" y="899"/>
                  </a:lnTo>
                  <a:lnTo>
                    <a:pt x="387"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899"/>
                  </a:lnTo>
                  <a:lnTo>
                    <a:pt x="430" y="899"/>
                  </a:lnTo>
                  <a:lnTo>
                    <a:pt x="430" y="899"/>
                  </a:lnTo>
                  <a:lnTo>
                    <a:pt x="430" y="89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899"/>
                  </a:lnTo>
                  <a:lnTo>
                    <a:pt x="453" y="899"/>
                  </a:lnTo>
                  <a:lnTo>
                    <a:pt x="453" y="899"/>
                  </a:lnTo>
                  <a:lnTo>
                    <a:pt x="453" y="899"/>
                  </a:lnTo>
                  <a:lnTo>
                    <a:pt x="453" y="899"/>
                  </a:lnTo>
                  <a:lnTo>
                    <a:pt x="453" y="899"/>
                  </a:lnTo>
                  <a:lnTo>
                    <a:pt x="453" y="899"/>
                  </a:lnTo>
                  <a:lnTo>
                    <a:pt x="453" y="899"/>
                  </a:lnTo>
                  <a:lnTo>
                    <a:pt x="453" y="1324"/>
                  </a:lnTo>
                  <a:lnTo>
                    <a:pt x="453" y="1324"/>
                  </a:lnTo>
                  <a:lnTo>
                    <a:pt x="453" y="899"/>
                  </a:lnTo>
                  <a:lnTo>
                    <a:pt x="453" y="899"/>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899"/>
                  </a:lnTo>
                  <a:lnTo>
                    <a:pt x="459" y="899"/>
                  </a:lnTo>
                  <a:lnTo>
                    <a:pt x="459" y="899"/>
                  </a:lnTo>
                  <a:lnTo>
                    <a:pt x="460" y="899"/>
                  </a:lnTo>
                  <a:lnTo>
                    <a:pt x="460" y="899"/>
                  </a:lnTo>
                  <a:lnTo>
                    <a:pt x="460" y="899"/>
                  </a:lnTo>
                  <a:lnTo>
                    <a:pt x="460" y="899"/>
                  </a:lnTo>
                  <a:lnTo>
                    <a:pt x="461" y="899"/>
                  </a:lnTo>
                  <a:lnTo>
                    <a:pt x="461" y="899"/>
                  </a:lnTo>
                  <a:lnTo>
                    <a:pt x="462" y="899"/>
                  </a:lnTo>
                  <a:lnTo>
                    <a:pt x="462" y="899"/>
                  </a:lnTo>
                  <a:lnTo>
                    <a:pt x="463" y="899"/>
                  </a:lnTo>
                  <a:lnTo>
                    <a:pt x="463" y="899"/>
                  </a:lnTo>
                  <a:lnTo>
                    <a:pt x="464" y="899"/>
                  </a:lnTo>
                  <a:lnTo>
                    <a:pt x="464" y="899"/>
                  </a:lnTo>
                  <a:lnTo>
                    <a:pt x="470" y="899"/>
                  </a:lnTo>
                  <a:lnTo>
                    <a:pt x="470" y="899"/>
                  </a:lnTo>
                  <a:lnTo>
                    <a:pt x="470" y="899"/>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899"/>
                  </a:lnTo>
                  <a:lnTo>
                    <a:pt x="472" y="899"/>
                  </a:lnTo>
                  <a:lnTo>
                    <a:pt x="472" y="1317"/>
                  </a:lnTo>
                  <a:lnTo>
                    <a:pt x="472" y="1317"/>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1314"/>
                  </a:lnTo>
                  <a:lnTo>
                    <a:pt x="510" y="1314"/>
                  </a:lnTo>
                  <a:lnTo>
                    <a:pt x="510" y="1314"/>
                  </a:lnTo>
                  <a:lnTo>
                    <a:pt x="510" y="1314"/>
                  </a:lnTo>
                  <a:lnTo>
                    <a:pt x="510" y="1314"/>
                  </a:lnTo>
                  <a:lnTo>
                    <a:pt x="510" y="1314"/>
                  </a:lnTo>
                  <a:lnTo>
                    <a:pt x="510"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2" y="899"/>
                  </a:lnTo>
                  <a:lnTo>
                    <a:pt x="512" y="899"/>
                  </a:lnTo>
                  <a:lnTo>
                    <a:pt x="514" y="899"/>
                  </a:lnTo>
                  <a:lnTo>
                    <a:pt x="514"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899"/>
                  </a:lnTo>
                  <a:lnTo>
                    <a:pt x="554" y="899"/>
                  </a:lnTo>
                  <a:lnTo>
                    <a:pt x="554"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73" y="899"/>
                  </a:lnTo>
                  <a:lnTo>
                    <a:pt x="573" y="1292"/>
                  </a:lnTo>
                  <a:lnTo>
                    <a:pt x="574" y="1292"/>
                  </a:lnTo>
                  <a:lnTo>
                    <a:pt x="574" y="1292"/>
                  </a:lnTo>
                  <a:lnTo>
                    <a:pt x="576" y="1292"/>
                  </a:lnTo>
                  <a:lnTo>
                    <a:pt x="576" y="899"/>
                  </a:lnTo>
                  <a:lnTo>
                    <a:pt x="579" y="899"/>
                  </a:lnTo>
                  <a:lnTo>
                    <a:pt x="579" y="1292"/>
                  </a:lnTo>
                  <a:lnTo>
                    <a:pt x="580" y="1292"/>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899"/>
                  </a:lnTo>
                  <a:lnTo>
                    <a:pt x="588" y="899"/>
                  </a:lnTo>
                  <a:lnTo>
                    <a:pt x="588" y="1290"/>
                  </a:lnTo>
                  <a:lnTo>
                    <a:pt x="588" y="1290"/>
                  </a:lnTo>
                  <a:lnTo>
                    <a:pt x="588" y="1290"/>
                  </a:lnTo>
                  <a:lnTo>
                    <a:pt x="589" y="1290"/>
                  </a:lnTo>
                  <a:lnTo>
                    <a:pt x="589" y="1290"/>
                  </a:lnTo>
                  <a:lnTo>
                    <a:pt x="590" y="1290"/>
                  </a:lnTo>
                  <a:lnTo>
                    <a:pt x="590" y="1290"/>
                  </a:lnTo>
                  <a:lnTo>
                    <a:pt x="591" y="1290"/>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1284"/>
                  </a:lnTo>
                  <a:lnTo>
                    <a:pt x="605" y="1284"/>
                  </a:lnTo>
                  <a:lnTo>
                    <a:pt x="605" y="899"/>
                  </a:lnTo>
                  <a:lnTo>
                    <a:pt x="606" y="899"/>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899"/>
                  </a:lnTo>
                  <a:lnTo>
                    <a:pt x="673" y="899"/>
                  </a:lnTo>
                  <a:lnTo>
                    <a:pt x="673" y="899"/>
                  </a:lnTo>
                  <a:lnTo>
                    <a:pt x="674" y="899"/>
                  </a:lnTo>
                  <a:lnTo>
                    <a:pt x="674" y="899"/>
                  </a:lnTo>
                  <a:lnTo>
                    <a:pt x="674" y="899"/>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1273"/>
                  </a:lnTo>
                  <a:lnTo>
                    <a:pt x="677" y="1273"/>
                  </a:lnTo>
                  <a:lnTo>
                    <a:pt x="677" y="1273"/>
                  </a:lnTo>
                  <a:lnTo>
                    <a:pt x="679" y="1273"/>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1269"/>
                  </a:lnTo>
                  <a:lnTo>
                    <a:pt x="680" y="1269"/>
                  </a:lnTo>
                  <a:lnTo>
                    <a:pt x="680" y="1269"/>
                  </a:lnTo>
                  <a:lnTo>
                    <a:pt x="680" y="1269"/>
                  </a:lnTo>
                  <a:lnTo>
                    <a:pt x="680" y="1269"/>
                  </a:lnTo>
                  <a:lnTo>
                    <a:pt x="726" y="1269"/>
                  </a:lnTo>
                  <a:lnTo>
                    <a:pt x="726" y="1266"/>
                  </a:lnTo>
                  <a:lnTo>
                    <a:pt x="726" y="1266"/>
                  </a:lnTo>
                  <a:lnTo>
                    <a:pt x="726" y="899"/>
                  </a:lnTo>
                  <a:lnTo>
                    <a:pt x="726" y="899"/>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1253"/>
                  </a:lnTo>
                  <a:lnTo>
                    <a:pt x="768" y="1253"/>
                  </a:lnTo>
                  <a:lnTo>
                    <a:pt x="768" y="1253"/>
                  </a:lnTo>
                  <a:lnTo>
                    <a:pt x="777" y="1253"/>
                  </a:lnTo>
                  <a:lnTo>
                    <a:pt x="777" y="1252"/>
                  </a:lnTo>
                  <a:lnTo>
                    <a:pt x="777" y="1252"/>
                  </a:lnTo>
                  <a:lnTo>
                    <a:pt x="777" y="1252"/>
                  </a:lnTo>
                  <a:lnTo>
                    <a:pt x="777" y="1252"/>
                  </a:lnTo>
                  <a:lnTo>
                    <a:pt x="777" y="899"/>
                  </a:lnTo>
                  <a:lnTo>
                    <a:pt x="777" y="899"/>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899"/>
                  </a:lnTo>
                  <a:lnTo>
                    <a:pt x="793" y="899"/>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8" y="899"/>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899"/>
                  </a:lnTo>
                  <a:lnTo>
                    <a:pt x="851" y="899"/>
                  </a:lnTo>
                  <a:lnTo>
                    <a:pt x="851" y="899"/>
                  </a:lnTo>
                  <a:lnTo>
                    <a:pt x="851" y="899"/>
                  </a:lnTo>
                  <a:lnTo>
                    <a:pt x="851" y="1219"/>
                  </a:lnTo>
                  <a:lnTo>
                    <a:pt x="851" y="1219"/>
                  </a:lnTo>
                  <a:lnTo>
                    <a:pt x="851" y="1219"/>
                  </a:lnTo>
                  <a:lnTo>
                    <a:pt x="851" y="1219"/>
                  </a:lnTo>
                  <a:lnTo>
                    <a:pt x="851" y="899"/>
                  </a:lnTo>
                  <a:lnTo>
                    <a:pt x="851" y="899"/>
                  </a:lnTo>
                  <a:lnTo>
                    <a:pt x="851" y="1218"/>
                  </a:lnTo>
                  <a:lnTo>
                    <a:pt x="851" y="1218"/>
                  </a:lnTo>
                  <a:lnTo>
                    <a:pt x="851" y="1218"/>
                  </a:lnTo>
                  <a:lnTo>
                    <a:pt x="851" y="1218"/>
                  </a:lnTo>
                  <a:lnTo>
                    <a:pt x="851" y="1218"/>
                  </a:lnTo>
                  <a:lnTo>
                    <a:pt x="852" y="1218"/>
                  </a:lnTo>
                  <a:lnTo>
                    <a:pt x="85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899"/>
                  </a:lnTo>
                  <a:lnTo>
                    <a:pt x="886" y="899"/>
                  </a:lnTo>
                  <a:lnTo>
                    <a:pt x="886" y="1213"/>
                  </a:lnTo>
                  <a:lnTo>
                    <a:pt x="886" y="1213"/>
                  </a:lnTo>
                  <a:lnTo>
                    <a:pt x="886" y="1213"/>
                  </a:lnTo>
                  <a:lnTo>
                    <a:pt x="887" y="1213"/>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3" y="899"/>
                  </a:lnTo>
                  <a:lnTo>
                    <a:pt x="913" y="899"/>
                  </a:lnTo>
                  <a:lnTo>
                    <a:pt x="913" y="899"/>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899"/>
                  </a:lnTo>
                  <a:lnTo>
                    <a:pt x="929" y="899"/>
                  </a:lnTo>
                  <a:lnTo>
                    <a:pt x="929" y="899"/>
                  </a:lnTo>
                  <a:lnTo>
                    <a:pt x="931" y="899"/>
                  </a:lnTo>
                  <a:lnTo>
                    <a:pt x="931" y="899"/>
                  </a:lnTo>
                  <a:lnTo>
                    <a:pt x="932" y="899"/>
                  </a:lnTo>
                  <a:lnTo>
                    <a:pt x="932" y="899"/>
                  </a:lnTo>
                  <a:lnTo>
                    <a:pt x="932" y="899"/>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899"/>
                  </a:lnTo>
                  <a:lnTo>
                    <a:pt x="935" y="899"/>
                  </a:lnTo>
                  <a:lnTo>
                    <a:pt x="935" y="899"/>
                  </a:lnTo>
                  <a:lnTo>
                    <a:pt x="935" y="899"/>
                  </a:lnTo>
                  <a:lnTo>
                    <a:pt x="935" y="899"/>
                  </a:lnTo>
                  <a:lnTo>
                    <a:pt x="936" y="899"/>
                  </a:lnTo>
                  <a:lnTo>
                    <a:pt x="936" y="899"/>
                  </a:lnTo>
                  <a:lnTo>
                    <a:pt x="936" y="899"/>
                  </a:lnTo>
                  <a:lnTo>
                    <a:pt x="936" y="899"/>
                  </a:lnTo>
                  <a:lnTo>
                    <a:pt x="938" y="899"/>
                  </a:lnTo>
                  <a:lnTo>
                    <a:pt x="938" y="899"/>
                  </a:lnTo>
                  <a:lnTo>
                    <a:pt x="943" y="899"/>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9" y="899"/>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899"/>
                  </a:lnTo>
                  <a:lnTo>
                    <a:pt x="1003" y="899"/>
                  </a:lnTo>
                  <a:lnTo>
                    <a:pt x="1003" y="1167"/>
                  </a:lnTo>
                  <a:lnTo>
                    <a:pt x="1004" y="1167"/>
                  </a:lnTo>
                  <a:lnTo>
                    <a:pt x="1004" y="1164"/>
                  </a:lnTo>
                  <a:lnTo>
                    <a:pt x="1004" y="1164"/>
                  </a:lnTo>
                  <a:lnTo>
                    <a:pt x="1004" y="1164"/>
                  </a:lnTo>
                  <a:lnTo>
                    <a:pt x="1004" y="1164"/>
                  </a:lnTo>
                  <a:lnTo>
                    <a:pt x="1004" y="899"/>
                  </a:lnTo>
                  <a:lnTo>
                    <a:pt x="1004" y="899"/>
                  </a:lnTo>
                  <a:lnTo>
                    <a:pt x="1004" y="899"/>
                  </a:lnTo>
                  <a:lnTo>
                    <a:pt x="1004" y="899"/>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1146"/>
                  </a:lnTo>
                  <a:lnTo>
                    <a:pt x="1069" y="1146"/>
                  </a:lnTo>
                  <a:lnTo>
                    <a:pt x="1069" y="1146"/>
                  </a:lnTo>
                  <a:lnTo>
                    <a:pt x="1069" y="1146"/>
                  </a:lnTo>
                  <a:lnTo>
                    <a:pt x="1069" y="899"/>
                  </a:lnTo>
                  <a:lnTo>
                    <a:pt x="1069" y="899"/>
                  </a:lnTo>
                  <a:lnTo>
                    <a:pt x="1069" y="899"/>
                  </a:lnTo>
                  <a:lnTo>
                    <a:pt x="1069" y="899"/>
                  </a:lnTo>
                  <a:lnTo>
                    <a:pt x="1069" y="899"/>
                  </a:lnTo>
                  <a:lnTo>
                    <a:pt x="1069" y="899"/>
                  </a:lnTo>
                  <a:lnTo>
                    <a:pt x="1069" y="899"/>
                  </a:lnTo>
                  <a:lnTo>
                    <a:pt x="1069" y="899"/>
                  </a:lnTo>
                  <a:lnTo>
                    <a:pt x="1069" y="899"/>
                  </a:lnTo>
                  <a:lnTo>
                    <a:pt x="1071" y="899"/>
                  </a:lnTo>
                  <a:lnTo>
                    <a:pt x="1071" y="899"/>
                  </a:lnTo>
                  <a:lnTo>
                    <a:pt x="1074" y="899"/>
                  </a:lnTo>
                  <a:lnTo>
                    <a:pt x="1074" y="899"/>
                  </a:lnTo>
                  <a:lnTo>
                    <a:pt x="1077" y="899"/>
                  </a:lnTo>
                  <a:lnTo>
                    <a:pt x="1077" y="899"/>
                  </a:lnTo>
                  <a:lnTo>
                    <a:pt x="1101" y="899"/>
                  </a:lnTo>
                  <a:lnTo>
                    <a:pt x="1101" y="899"/>
                  </a:lnTo>
                  <a:lnTo>
                    <a:pt x="1101" y="899"/>
                  </a:lnTo>
                  <a:lnTo>
                    <a:pt x="1101" y="899"/>
                  </a:lnTo>
                  <a:lnTo>
                    <a:pt x="1102" y="899"/>
                  </a:lnTo>
                  <a:lnTo>
                    <a:pt x="1102" y="899"/>
                  </a:lnTo>
                  <a:lnTo>
                    <a:pt x="1102" y="899"/>
                  </a:lnTo>
                  <a:lnTo>
                    <a:pt x="1102" y="899"/>
                  </a:lnTo>
                  <a:lnTo>
                    <a:pt x="1102" y="899"/>
                  </a:lnTo>
                  <a:lnTo>
                    <a:pt x="1102" y="899"/>
                  </a:lnTo>
                  <a:lnTo>
                    <a:pt x="1104" y="899"/>
                  </a:lnTo>
                  <a:lnTo>
                    <a:pt x="1104" y="899"/>
                  </a:lnTo>
                  <a:lnTo>
                    <a:pt x="1129" y="899"/>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899"/>
                  </a:lnTo>
                  <a:lnTo>
                    <a:pt x="1322" y="899"/>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899"/>
                  </a:lnTo>
                  <a:lnTo>
                    <a:pt x="1325" y="899"/>
                  </a:lnTo>
                  <a:lnTo>
                    <a:pt x="1325" y="1118"/>
                  </a:lnTo>
                  <a:lnTo>
                    <a:pt x="1325" y="1118"/>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6" y="899"/>
                  </a:lnTo>
                  <a:lnTo>
                    <a:pt x="1326" y="899"/>
                  </a:lnTo>
                  <a:lnTo>
                    <a:pt x="1326" y="899"/>
                  </a:lnTo>
                  <a:lnTo>
                    <a:pt x="1326" y="899"/>
                  </a:lnTo>
                  <a:lnTo>
                    <a:pt x="1326" y="899"/>
                  </a:lnTo>
                  <a:lnTo>
                    <a:pt x="1326" y="1117"/>
                  </a:lnTo>
                  <a:lnTo>
                    <a:pt x="1326" y="1117"/>
                  </a:lnTo>
                  <a:lnTo>
                    <a:pt x="1326" y="1117"/>
                  </a:lnTo>
                  <a:lnTo>
                    <a:pt x="1326" y="1117"/>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899"/>
                  </a:lnTo>
                  <a:lnTo>
                    <a:pt x="1333" y="899"/>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899"/>
                  </a:lnTo>
                  <a:lnTo>
                    <a:pt x="1359" y="899"/>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899"/>
                  </a:lnTo>
                  <a:lnTo>
                    <a:pt x="1360" y="899"/>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899"/>
                  </a:lnTo>
                  <a:lnTo>
                    <a:pt x="1366" y="899"/>
                  </a:lnTo>
                  <a:lnTo>
                    <a:pt x="1366" y="1083"/>
                  </a:lnTo>
                  <a:lnTo>
                    <a:pt x="1366" y="1083"/>
                  </a:lnTo>
                  <a:lnTo>
                    <a:pt x="1366" y="899"/>
                  </a:lnTo>
                  <a:lnTo>
                    <a:pt x="1366" y="899"/>
                  </a:lnTo>
                  <a:lnTo>
                    <a:pt x="1366" y="899"/>
                  </a:lnTo>
                  <a:lnTo>
                    <a:pt x="1366" y="899"/>
                  </a:lnTo>
                  <a:lnTo>
                    <a:pt x="1366" y="1083"/>
                  </a:lnTo>
                  <a:lnTo>
                    <a:pt x="1366" y="1083"/>
                  </a:lnTo>
                  <a:lnTo>
                    <a:pt x="1366" y="899"/>
                  </a:lnTo>
                  <a:lnTo>
                    <a:pt x="1366" y="899"/>
                  </a:lnTo>
                  <a:lnTo>
                    <a:pt x="1366" y="899"/>
                  </a:lnTo>
                  <a:lnTo>
                    <a:pt x="1366" y="899"/>
                  </a:lnTo>
                  <a:lnTo>
                    <a:pt x="1366" y="899"/>
                  </a:lnTo>
                  <a:lnTo>
                    <a:pt x="1366" y="899"/>
                  </a:lnTo>
                  <a:lnTo>
                    <a:pt x="1366" y="1083"/>
                  </a:lnTo>
                  <a:lnTo>
                    <a:pt x="1366" y="1083"/>
                  </a:lnTo>
                  <a:lnTo>
                    <a:pt x="1366" y="899"/>
                  </a:lnTo>
                  <a:lnTo>
                    <a:pt x="1367" y="899"/>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1063"/>
                  </a:lnTo>
                  <a:lnTo>
                    <a:pt x="1388" y="1063"/>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1042"/>
                  </a:lnTo>
                  <a:lnTo>
                    <a:pt x="1422" y="1042"/>
                  </a:lnTo>
                  <a:lnTo>
                    <a:pt x="1422" y="1042"/>
                  </a:lnTo>
                  <a:lnTo>
                    <a:pt x="1423" y="1042"/>
                  </a:lnTo>
                  <a:lnTo>
                    <a:pt x="1423" y="1042"/>
                  </a:lnTo>
                  <a:lnTo>
                    <a:pt x="1425" y="1042"/>
                  </a:lnTo>
                  <a:lnTo>
                    <a:pt x="1425" y="1042"/>
                  </a:lnTo>
                  <a:lnTo>
                    <a:pt x="1432" y="1042"/>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1033"/>
                  </a:lnTo>
                  <a:lnTo>
                    <a:pt x="1475" y="1033"/>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1029"/>
                  </a:lnTo>
                  <a:lnTo>
                    <a:pt x="1478" y="1029"/>
                  </a:lnTo>
                  <a:lnTo>
                    <a:pt x="1478" y="899"/>
                  </a:lnTo>
                  <a:lnTo>
                    <a:pt x="1478" y="899"/>
                  </a:lnTo>
                  <a:lnTo>
                    <a:pt x="1478" y="1029"/>
                  </a:lnTo>
                  <a:lnTo>
                    <a:pt x="1478" y="1029"/>
                  </a:lnTo>
                  <a:lnTo>
                    <a:pt x="1478" y="1029"/>
                  </a:lnTo>
                  <a:lnTo>
                    <a:pt x="1478" y="1029"/>
                  </a:lnTo>
                  <a:lnTo>
                    <a:pt x="1478" y="899"/>
                  </a:lnTo>
                  <a:lnTo>
                    <a:pt x="1479" y="899"/>
                  </a:lnTo>
                  <a:lnTo>
                    <a:pt x="1479"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1019"/>
                  </a:lnTo>
                  <a:lnTo>
                    <a:pt x="1484" y="1019"/>
                  </a:lnTo>
                  <a:lnTo>
                    <a:pt x="1484" y="1017"/>
                  </a:lnTo>
                  <a:lnTo>
                    <a:pt x="1484" y="1017"/>
                  </a:lnTo>
                  <a:lnTo>
                    <a:pt x="1484" y="1017"/>
                  </a:lnTo>
                  <a:lnTo>
                    <a:pt x="1484" y="1017"/>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899"/>
                  </a:lnTo>
                  <a:lnTo>
                    <a:pt x="1695" y="899"/>
                  </a:lnTo>
                  <a:lnTo>
                    <a:pt x="1695" y="899"/>
                  </a:lnTo>
                  <a:lnTo>
                    <a:pt x="1698" y="899"/>
                  </a:lnTo>
                  <a:lnTo>
                    <a:pt x="1698" y="1005"/>
                  </a:lnTo>
                  <a:lnTo>
                    <a:pt x="1698" y="1005"/>
                  </a:lnTo>
                  <a:lnTo>
                    <a:pt x="1698" y="1005"/>
                  </a:lnTo>
                  <a:lnTo>
                    <a:pt x="1699" y="1005"/>
                  </a:lnTo>
                  <a:lnTo>
                    <a:pt x="1699" y="899"/>
                  </a:lnTo>
                  <a:lnTo>
                    <a:pt x="1699" y="899"/>
                  </a:lnTo>
                  <a:lnTo>
                    <a:pt x="1699"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970"/>
                  </a:lnTo>
                  <a:lnTo>
                    <a:pt x="1814" y="970"/>
                  </a:lnTo>
                  <a:lnTo>
                    <a:pt x="1814" y="970"/>
                  </a:lnTo>
                  <a:lnTo>
                    <a:pt x="1814" y="970"/>
                  </a:lnTo>
                  <a:lnTo>
                    <a:pt x="1814" y="970"/>
                  </a:lnTo>
                  <a:lnTo>
                    <a:pt x="1815" y="970"/>
                  </a:lnTo>
                  <a:lnTo>
                    <a:pt x="1815" y="899"/>
                  </a:lnTo>
                  <a:lnTo>
                    <a:pt x="1817" y="899"/>
                  </a:lnTo>
                  <a:lnTo>
                    <a:pt x="1817" y="966"/>
                  </a:lnTo>
                  <a:lnTo>
                    <a:pt x="1817" y="966"/>
                  </a:lnTo>
                  <a:lnTo>
                    <a:pt x="1817" y="966"/>
                  </a:lnTo>
                  <a:lnTo>
                    <a:pt x="1820" y="966"/>
                  </a:lnTo>
                  <a:lnTo>
                    <a:pt x="1820" y="966"/>
                  </a:lnTo>
                  <a:lnTo>
                    <a:pt x="1844" y="966"/>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899"/>
                  </a:lnTo>
                  <a:lnTo>
                    <a:pt x="1855" y="899"/>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899"/>
                  </a:lnTo>
                  <a:lnTo>
                    <a:pt x="1944" y="899"/>
                  </a:lnTo>
                  <a:lnTo>
                    <a:pt x="1944" y="899"/>
                  </a:lnTo>
                  <a:lnTo>
                    <a:pt x="1944" y="899"/>
                  </a:lnTo>
                  <a:lnTo>
                    <a:pt x="1944" y="899"/>
                  </a:lnTo>
                  <a:lnTo>
                    <a:pt x="1944" y="899"/>
                  </a:lnTo>
                  <a:lnTo>
                    <a:pt x="1944" y="899"/>
                  </a:lnTo>
                  <a:lnTo>
                    <a:pt x="1944" y="899"/>
                  </a:lnTo>
                  <a:lnTo>
                    <a:pt x="1944" y="920"/>
                  </a:lnTo>
                  <a:lnTo>
                    <a:pt x="1944" y="920"/>
                  </a:lnTo>
                  <a:lnTo>
                    <a:pt x="1944" y="920"/>
                  </a:lnTo>
                  <a:lnTo>
                    <a:pt x="1945" y="920"/>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916"/>
                  </a:lnTo>
                  <a:lnTo>
                    <a:pt x="1948" y="916"/>
                  </a:lnTo>
                  <a:lnTo>
                    <a:pt x="1948" y="916"/>
                  </a:lnTo>
                  <a:lnTo>
                    <a:pt x="1948" y="916"/>
                  </a:lnTo>
                  <a:lnTo>
                    <a:pt x="1948" y="899"/>
                  </a:lnTo>
                  <a:lnTo>
                    <a:pt x="1948" y="899"/>
                  </a:lnTo>
                  <a:lnTo>
                    <a:pt x="1948" y="915"/>
                  </a:lnTo>
                  <a:lnTo>
                    <a:pt x="1948" y="915"/>
                  </a:lnTo>
                  <a:lnTo>
                    <a:pt x="1948" y="915"/>
                  </a:lnTo>
                  <a:lnTo>
                    <a:pt x="1948" y="915"/>
                  </a:lnTo>
                  <a:lnTo>
                    <a:pt x="1948" y="899"/>
                  </a:lnTo>
                  <a:lnTo>
                    <a:pt x="1948" y="899"/>
                  </a:lnTo>
                  <a:lnTo>
                    <a:pt x="1948" y="899"/>
                  </a:lnTo>
                  <a:lnTo>
                    <a:pt x="1948" y="899"/>
                  </a:lnTo>
                  <a:lnTo>
                    <a:pt x="1948" y="899"/>
                  </a:lnTo>
                  <a:lnTo>
                    <a:pt x="1948" y="899"/>
                  </a:lnTo>
                  <a:lnTo>
                    <a:pt x="1948" y="899"/>
                  </a:lnTo>
                  <a:lnTo>
                    <a:pt x="1948" y="899"/>
                  </a:lnTo>
                  <a:lnTo>
                    <a:pt x="1948" y="899"/>
                  </a:lnTo>
                  <a:lnTo>
                    <a:pt x="1951" y="899"/>
                  </a:lnTo>
                  <a:lnTo>
                    <a:pt x="1951" y="899"/>
                  </a:lnTo>
                  <a:lnTo>
                    <a:pt x="1951" y="899"/>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9"/>
                  </a:lnTo>
                  <a:lnTo>
                    <a:pt x="2059" y="899"/>
                  </a:lnTo>
                  <a:lnTo>
                    <a:pt x="2059" y="899"/>
                  </a:lnTo>
                  <a:lnTo>
                    <a:pt x="2059" y="899"/>
                  </a:lnTo>
                  <a:lnTo>
                    <a:pt x="2059" y="899"/>
                  </a:lnTo>
                  <a:lnTo>
                    <a:pt x="2059" y="899"/>
                  </a:lnTo>
                  <a:lnTo>
                    <a:pt x="2059" y="892"/>
                  </a:lnTo>
                  <a:lnTo>
                    <a:pt x="2059" y="892"/>
                  </a:lnTo>
                  <a:lnTo>
                    <a:pt x="2059" y="899"/>
                  </a:lnTo>
                  <a:lnTo>
                    <a:pt x="2060" y="899"/>
                  </a:lnTo>
                  <a:lnTo>
                    <a:pt x="2060" y="892"/>
                  </a:lnTo>
                  <a:lnTo>
                    <a:pt x="2060" y="892"/>
                  </a:lnTo>
                  <a:lnTo>
                    <a:pt x="2060" y="892"/>
                  </a:lnTo>
                  <a:lnTo>
                    <a:pt x="2061" y="892"/>
                  </a:lnTo>
                  <a:lnTo>
                    <a:pt x="2061" y="892"/>
                  </a:lnTo>
                  <a:lnTo>
                    <a:pt x="2064" y="892"/>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8" y="899"/>
                  </a:lnTo>
                  <a:lnTo>
                    <a:pt x="2078" y="899"/>
                  </a:lnTo>
                  <a:lnTo>
                    <a:pt x="2078" y="899"/>
                  </a:lnTo>
                  <a:lnTo>
                    <a:pt x="2078" y="899"/>
                  </a:lnTo>
                  <a:lnTo>
                    <a:pt x="2078" y="899"/>
                  </a:lnTo>
                  <a:lnTo>
                    <a:pt x="2078" y="899"/>
                  </a:lnTo>
                  <a:lnTo>
                    <a:pt x="2078" y="899"/>
                  </a:lnTo>
                  <a:lnTo>
                    <a:pt x="2078" y="899"/>
                  </a:lnTo>
                  <a:lnTo>
                    <a:pt x="2079" y="899"/>
                  </a:lnTo>
                  <a:lnTo>
                    <a:pt x="2079"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2" y="899"/>
                  </a:lnTo>
                  <a:lnTo>
                    <a:pt x="2082" y="899"/>
                  </a:lnTo>
                  <a:lnTo>
                    <a:pt x="2082" y="899"/>
                  </a:lnTo>
                  <a:lnTo>
                    <a:pt x="2082" y="899"/>
                  </a:lnTo>
                  <a:lnTo>
                    <a:pt x="2083" y="899"/>
                  </a:lnTo>
                  <a:lnTo>
                    <a:pt x="2083" y="899"/>
                  </a:lnTo>
                  <a:lnTo>
                    <a:pt x="2085" y="899"/>
                  </a:lnTo>
                  <a:lnTo>
                    <a:pt x="2085" y="899"/>
                  </a:lnTo>
                  <a:lnTo>
                    <a:pt x="2085" y="899"/>
                  </a:lnTo>
                  <a:lnTo>
                    <a:pt x="2085" y="899"/>
                  </a:lnTo>
                  <a:lnTo>
                    <a:pt x="2085" y="899"/>
                  </a:lnTo>
                  <a:lnTo>
                    <a:pt x="2085" y="899"/>
                  </a:lnTo>
                  <a:lnTo>
                    <a:pt x="2086" y="899"/>
                  </a:lnTo>
                  <a:lnTo>
                    <a:pt x="2086" y="899"/>
                  </a:lnTo>
                  <a:lnTo>
                    <a:pt x="2086" y="899"/>
                  </a:lnTo>
                  <a:lnTo>
                    <a:pt x="2086" y="884"/>
                  </a:lnTo>
                  <a:lnTo>
                    <a:pt x="2087" y="884"/>
                  </a:lnTo>
                  <a:lnTo>
                    <a:pt x="2087" y="884"/>
                  </a:lnTo>
                  <a:lnTo>
                    <a:pt x="2088" y="884"/>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6" y="899"/>
                  </a:lnTo>
                  <a:lnTo>
                    <a:pt x="2136" y="882"/>
                  </a:lnTo>
                  <a:lnTo>
                    <a:pt x="2138" y="882"/>
                  </a:lnTo>
                  <a:lnTo>
                    <a:pt x="2138" y="899"/>
                  </a:lnTo>
                  <a:lnTo>
                    <a:pt x="2138" y="899"/>
                  </a:lnTo>
                  <a:lnTo>
                    <a:pt x="2138" y="899"/>
                  </a:lnTo>
                  <a:lnTo>
                    <a:pt x="2141" y="899"/>
                  </a:lnTo>
                  <a:lnTo>
                    <a:pt x="2141" y="899"/>
                  </a:lnTo>
                  <a:lnTo>
                    <a:pt x="2144" y="899"/>
                  </a:lnTo>
                  <a:lnTo>
                    <a:pt x="2144" y="899"/>
                  </a:lnTo>
                  <a:lnTo>
                    <a:pt x="2144" y="899"/>
                  </a:lnTo>
                  <a:lnTo>
                    <a:pt x="2144" y="899"/>
                  </a:lnTo>
                  <a:lnTo>
                    <a:pt x="2144" y="899"/>
                  </a:lnTo>
                  <a:lnTo>
                    <a:pt x="2144" y="899"/>
                  </a:lnTo>
                  <a:lnTo>
                    <a:pt x="2144" y="899"/>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63"/>
                  </a:lnTo>
                  <a:lnTo>
                    <a:pt x="2155" y="863"/>
                  </a:lnTo>
                  <a:lnTo>
                    <a:pt x="2155" y="863"/>
                  </a:lnTo>
                  <a:lnTo>
                    <a:pt x="2158" y="863"/>
                  </a:lnTo>
                  <a:lnTo>
                    <a:pt x="2158" y="863"/>
                  </a:lnTo>
                  <a:lnTo>
                    <a:pt x="2175" y="863"/>
                  </a:lnTo>
                  <a:lnTo>
                    <a:pt x="2175" y="899"/>
                  </a:lnTo>
                  <a:lnTo>
                    <a:pt x="2175" y="899"/>
                  </a:lnTo>
                  <a:lnTo>
                    <a:pt x="2175" y="899"/>
                  </a:lnTo>
                  <a:lnTo>
                    <a:pt x="2175" y="899"/>
                  </a:lnTo>
                  <a:lnTo>
                    <a:pt x="2175" y="899"/>
                  </a:lnTo>
                  <a:lnTo>
                    <a:pt x="2175" y="899"/>
                  </a:lnTo>
                  <a:lnTo>
                    <a:pt x="2175" y="862"/>
                  </a:lnTo>
                  <a:lnTo>
                    <a:pt x="2175" y="862"/>
                  </a:lnTo>
                  <a:lnTo>
                    <a:pt x="2175" y="899"/>
                  </a:lnTo>
                  <a:lnTo>
                    <a:pt x="2176" y="899"/>
                  </a:lnTo>
                  <a:lnTo>
                    <a:pt x="2176" y="862"/>
                  </a:lnTo>
                  <a:lnTo>
                    <a:pt x="2178" y="862"/>
                  </a:lnTo>
                  <a:lnTo>
                    <a:pt x="2178" y="899"/>
                  </a:lnTo>
                  <a:lnTo>
                    <a:pt x="2182" y="899"/>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51"/>
                  </a:lnTo>
                  <a:lnTo>
                    <a:pt x="2183" y="851"/>
                  </a:lnTo>
                  <a:lnTo>
                    <a:pt x="2183" y="851"/>
                  </a:lnTo>
                  <a:lnTo>
                    <a:pt x="2183" y="851"/>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27"/>
                  </a:lnTo>
                  <a:lnTo>
                    <a:pt x="2217" y="827"/>
                  </a:lnTo>
                  <a:lnTo>
                    <a:pt x="2217" y="827"/>
                  </a:lnTo>
                  <a:lnTo>
                    <a:pt x="2218" y="827"/>
                  </a:lnTo>
                  <a:lnTo>
                    <a:pt x="2218" y="827"/>
                  </a:lnTo>
                  <a:lnTo>
                    <a:pt x="2218" y="827"/>
                  </a:lnTo>
                  <a:lnTo>
                    <a:pt x="2218" y="825"/>
                  </a:lnTo>
                  <a:lnTo>
                    <a:pt x="2218" y="825"/>
                  </a:lnTo>
                  <a:lnTo>
                    <a:pt x="2218" y="899"/>
                  </a:lnTo>
                  <a:lnTo>
                    <a:pt x="2218" y="899"/>
                  </a:lnTo>
                  <a:lnTo>
                    <a:pt x="2218" y="899"/>
                  </a:lnTo>
                  <a:lnTo>
                    <a:pt x="2221" y="899"/>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99"/>
                  </a:lnTo>
                  <a:lnTo>
                    <a:pt x="2273" y="899"/>
                  </a:lnTo>
                  <a:lnTo>
                    <a:pt x="2273" y="899"/>
                  </a:lnTo>
                  <a:lnTo>
                    <a:pt x="2273" y="899"/>
                  </a:lnTo>
                  <a:lnTo>
                    <a:pt x="2273" y="899"/>
                  </a:lnTo>
                  <a:lnTo>
                    <a:pt x="2273" y="899"/>
                  </a:lnTo>
                  <a:lnTo>
                    <a:pt x="2273" y="899"/>
                  </a:lnTo>
                  <a:lnTo>
                    <a:pt x="2273" y="899"/>
                  </a:lnTo>
                  <a:lnTo>
                    <a:pt x="2273" y="899"/>
                  </a:lnTo>
                  <a:lnTo>
                    <a:pt x="2275" y="899"/>
                  </a:lnTo>
                  <a:lnTo>
                    <a:pt x="2275" y="899"/>
                  </a:lnTo>
                  <a:lnTo>
                    <a:pt x="2277" y="899"/>
                  </a:lnTo>
                  <a:lnTo>
                    <a:pt x="2277" y="899"/>
                  </a:lnTo>
                  <a:lnTo>
                    <a:pt x="2277" y="899"/>
                  </a:lnTo>
                  <a:lnTo>
                    <a:pt x="2277" y="899"/>
                  </a:lnTo>
                  <a:lnTo>
                    <a:pt x="2277" y="899"/>
                  </a:lnTo>
                  <a:lnTo>
                    <a:pt x="2277" y="899"/>
                  </a:lnTo>
                  <a:lnTo>
                    <a:pt x="2278" y="899"/>
                  </a:lnTo>
                  <a:lnTo>
                    <a:pt x="2278" y="899"/>
                  </a:lnTo>
                  <a:lnTo>
                    <a:pt x="2278" y="899"/>
                  </a:lnTo>
                  <a:lnTo>
                    <a:pt x="2278" y="899"/>
                  </a:lnTo>
                  <a:lnTo>
                    <a:pt x="2279" y="899"/>
                  </a:lnTo>
                  <a:lnTo>
                    <a:pt x="2279" y="899"/>
                  </a:lnTo>
                  <a:lnTo>
                    <a:pt x="2279" y="899"/>
                  </a:lnTo>
                  <a:lnTo>
                    <a:pt x="2279" y="899"/>
                  </a:lnTo>
                  <a:lnTo>
                    <a:pt x="2280" y="899"/>
                  </a:lnTo>
                  <a:lnTo>
                    <a:pt x="2280" y="899"/>
                  </a:lnTo>
                  <a:lnTo>
                    <a:pt x="2282" y="899"/>
                  </a:lnTo>
                  <a:lnTo>
                    <a:pt x="2282" y="899"/>
                  </a:lnTo>
                  <a:lnTo>
                    <a:pt x="2283" y="899"/>
                  </a:lnTo>
                  <a:lnTo>
                    <a:pt x="2283" y="899"/>
                  </a:lnTo>
                  <a:lnTo>
                    <a:pt x="2285" y="899"/>
                  </a:lnTo>
                  <a:lnTo>
                    <a:pt x="2285" y="899"/>
                  </a:lnTo>
                  <a:lnTo>
                    <a:pt x="2288" y="899"/>
                  </a:lnTo>
                  <a:lnTo>
                    <a:pt x="2288" y="899"/>
                  </a:lnTo>
                  <a:lnTo>
                    <a:pt x="2292" y="899"/>
                  </a:lnTo>
                  <a:lnTo>
                    <a:pt x="2292" y="899"/>
                  </a:lnTo>
                  <a:lnTo>
                    <a:pt x="2293" y="899"/>
                  </a:lnTo>
                  <a:lnTo>
                    <a:pt x="2293" y="899"/>
                  </a:lnTo>
                  <a:lnTo>
                    <a:pt x="2294" y="899"/>
                  </a:lnTo>
                  <a:lnTo>
                    <a:pt x="2294"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9" y="899"/>
                  </a:lnTo>
                  <a:lnTo>
                    <a:pt x="2299" y="899"/>
                  </a:lnTo>
                  <a:lnTo>
                    <a:pt x="2308" y="899"/>
                  </a:lnTo>
                  <a:lnTo>
                    <a:pt x="2308" y="899"/>
                  </a:lnTo>
                  <a:lnTo>
                    <a:pt x="2311" y="899"/>
                  </a:lnTo>
                  <a:lnTo>
                    <a:pt x="2311" y="899"/>
                  </a:lnTo>
                  <a:lnTo>
                    <a:pt x="2350" y="899"/>
                  </a:lnTo>
                  <a:lnTo>
                    <a:pt x="2350" y="899"/>
                  </a:lnTo>
                  <a:lnTo>
                    <a:pt x="2350" y="899"/>
                  </a:lnTo>
                  <a:lnTo>
                    <a:pt x="2350" y="899"/>
                  </a:lnTo>
                  <a:lnTo>
                    <a:pt x="2351" y="899"/>
                  </a:lnTo>
                  <a:lnTo>
                    <a:pt x="2351" y="899"/>
                  </a:lnTo>
                  <a:lnTo>
                    <a:pt x="2365" y="899"/>
                  </a:lnTo>
                  <a:lnTo>
                    <a:pt x="2365" y="899"/>
                  </a:lnTo>
                  <a:lnTo>
                    <a:pt x="2365" y="899"/>
                  </a:lnTo>
                  <a:lnTo>
                    <a:pt x="2365" y="899"/>
                  </a:lnTo>
                  <a:lnTo>
                    <a:pt x="2365" y="899"/>
                  </a:lnTo>
                  <a:lnTo>
                    <a:pt x="2365" y="899"/>
                  </a:lnTo>
                  <a:lnTo>
                    <a:pt x="2365" y="899"/>
                  </a:lnTo>
                  <a:lnTo>
                    <a:pt x="2365" y="899"/>
                  </a:lnTo>
                  <a:lnTo>
                    <a:pt x="2366" y="899"/>
                  </a:lnTo>
                  <a:lnTo>
                    <a:pt x="2366" y="899"/>
                  </a:lnTo>
                  <a:lnTo>
                    <a:pt x="2367" y="899"/>
                  </a:lnTo>
                  <a:lnTo>
                    <a:pt x="2367" y="899"/>
                  </a:lnTo>
                  <a:lnTo>
                    <a:pt x="2369" y="899"/>
                  </a:lnTo>
                  <a:lnTo>
                    <a:pt x="2369" y="899"/>
                  </a:lnTo>
                  <a:lnTo>
                    <a:pt x="2371" y="899"/>
                  </a:lnTo>
                  <a:lnTo>
                    <a:pt x="2371" y="899"/>
                  </a:lnTo>
                  <a:lnTo>
                    <a:pt x="2382" y="899"/>
                  </a:lnTo>
                  <a:lnTo>
                    <a:pt x="2382"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11" y="899"/>
                  </a:lnTo>
                  <a:lnTo>
                    <a:pt x="2411" y="899"/>
                  </a:lnTo>
                  <a:lnTo>
                    <a:pt x="2413" y="899"/>
                  </a:lnTo>
                  <a:lnTo>
                    <a:pt x="2413" y="899"/>
                  </a:lnTo>
                  <a:lnTo>
                    <a:pt x="2417" y="899"/>
                  </a:lnTo>
                  <a:lnTo>
                    <a:pt x="2417" y="899"/>
                  </a:lnTo>
                  <a:lnTo>
                    <a:pt x="2422" y="899"/>
                  </a:lnTo>
                  <a:lnTo>
                    <a:pt x="2422" y="899"/>
                  </a:lnTo>
                  <a:lnTo>
                    <a:pt x="2428" y="899"/>
                  </a:lnTo>
                  <a:lnTo>
                    <a:pt x="2428" y="899"/>
                  </a:lnTo>
                  <a:lnTo>
                    <a:pt x="2439" y="899"/>
                  </a:lnTo>
                  <a:lnTo>
                    <a:pt x="2439" y="899"/>
                  </a:lnTo>
                  <a:lnTo>
                    <a:pt x="2451" y="899"/>
                  </a:lnTo>
                  <a:lnTo>
                    <a:pt x="2451" y="899"/>
                  </a:lnTo>
                  <a:lnTo>
                    <a:pt x="2451" y="899"/>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899"/>
                  </a:lnTo>
                  <a:lnTo>
                    <a:pt x="2472" y="899"/>
                  </a:lnTo>
                  <a:lnTo>
                    <a:pt x="2472" y="899"/>
                  </a:lnTo>
                  <a:lnTo>
                    <a:pt x="2472" y="899"/>
                  </a:lnTo>
                  <a:lnTo>
                    <a:pt x="2472" y="899"/>
                  </a:lnTo>
                  <a:lnTo>
                    <a:pt x="2474" y="899"/>
                  </a:lnTo>
                  <a:lnTo>
                    <a:pt x="2474" y="899"/>
                  </a:lnTo>
                  <a:lnTo>
                    <a:pt x="2476" y="899"/>
                  </a:lnTo>
                  <a:lnTo>
                    <a:pt x="2476" y="899"/>
                  </a:lnTo>
                  <a:lnTo>
                    <a:pt x="2481" y="899"/>
                  </a:lnTo>
                  <a:lnTo>
                    <a:pt x="2481"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9" y="899"/>
                  </a:lnTo>
                  <a:lnTo>
                    <a:pt x="2489" y="899"/>
                  </a:lnTo>
                  <a:lnTo>
                    <a:pt x="2490" y="899"/>
                  </a:lnTo>
                  <a:lnTo>
                    <a:pt x="2490" y="899"/>
                  </a:lnTo>
                  <a:lnTo>
                    <a:pt x="2492" y="899"/>
                  </a:lnTo>
                  <a:lnTo>
                    <a:pt x="2492" y="899"/>
                  </a:lnTo>
                  <a:lnTo>
                    <a:pt x="2493" y="899"/>
                  </a:lnTo>
                  <a:lnTo>
                    <a:pt x="2493" y="899"/>
                  </a:lnTo>
                  <a:lnTo>
                    <a:pt x="2495" y="899"/>
                  </a:lnTo>
                  <a:lnTo>
                    <a:pt x="2495" y="899"/>
                  </a:lnTo>
                  <a:lnTo>
                    <a:pt x="2496" y="899"/>
                  </a:lnTo>
                  <a:lnTo>
                    <a:pt x="2496" y="899"/>
                  </a:lnTo>
                  <a:lnTo>
                    <a:pt x="2499" y="899"/>
                  </a:lnTo>
                  <a:lnTo>
                    <a:pt x="2499" y="899"/>
                  </a:lnTo>
                  <a:lnTo>
                    <a:pt x="2503" y="899"/>
                  </a:lnTo>
                  <a:lnTo>
                    <a:pt x="2503" y="899"/>
                  </a:lnTo>
                  <a:lnTo>
                    <a:pt x="2514" y="899"/>
                  </a:lnTo>
                  <a:lnTo>
                    <a:pt x="2514" y="899"/>
                  </a:lnTo>
                  <a:lnTo>
                    <a:pt x="2524" y="899"/>
                  </a:lnTo>
                  <a:lnTo>
                    <a:pt x="2524"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7" y="899"/>
                  </a:lnTo>
                  <a:lnTo>
                    <a:pt x="2527"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2" y="899"/>
                  </a:lnTo>
                  <a:lnTo>
                    <a:pt x="2532" y="899"/>
                  </a:lnTo>
                  <a:lnTo>
                    <a:pt x="2532" y="899"/>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1" y="765"/>
                  </a:lnTo>
                  <a:lnTo>
                    <a:pt x="2591" y="899"/>
                  </a:lnTo>
                  <a:lnTo>
                    <a:pt x="2591" y="899"/>
                  </a:lnTo>
                  <a:lnTo>
                    <a:pt x="2591" y="765"/>
                  </a:lnTo>
                  <a:lnTo>
                    <a:pt x="2591" y="765"/>
                  </a:lnTo>
                  <a:lnTo>
                    <a:pt x="2591" y="765"/>
                  </a:lnTo>
                  <a:lnTo>
                    <a:pt x="2591" y="765"/>
                  </a:lnTo>
                  <a:lnTo>
                    <a:pt x="2591" y="899"/>
                  </a:lnTo>
                  <a:lnTo>
                    <a:pt x="2592" y="899"/>
                  </a:lnTo>
                  <a:lnTo>
                    <a:pt x="2592" y="765"/>
                  </a:lnTo>
                  <a:lnTo>
                    <a:pt x="2593" y="765"/>
                  </a:lnTo>
                  <a:lnTo>
                    <a:pt x="2593" y="899"/>
                  </a:lnTo>
                  <a:lnTo>
                    <a:pt x="2596" y="899"/>
                  </a:lnTo>
                  <a:lnTo>
                    <a:pt x="2596" y="899"/>
                  </a:lnTo>
                  <a:lnTo>
                    <a:pt x="2599" y="899"/>
                  </a:lnTo>
                  <a:lnTo>
                    <a:pt x="2599" y="765"/>
                  </a:lnTo>
                  <a:lnTo>
                    <a:pt x="2604" y="765"/>
                  </a:lnTo>
                  <a:lnTo>
                    <a:pt x="2604" y="899"/>
                  </a:lnTo>
                  <a:lnTo>
                    <a:pt x="2604" y="899"/>
                  </a:lnTo>
                  <a:lnTo>
                    <a:pt x="2604" y="899"/>
                  </a:lnTo>
                  <a:lnTo>
                    <a:pt x="2605" y="899"/>
                  </a:lnTo>
                  <a:lnTo>
                    <a:pt x="2605" y="899"/>
                  </a:lnTo>
                  <a:lnTo>
                    <a:pt x="2605" y="899"/>
                  </a:lnTo>
                  <a:lnTo>
                    <a:pt x="2605" y="899"/>
                  </a:lnTo>
                  <a:lnTo>
                    <a:pt x="2605" y="899"/>
                  </a:lnTo>
                  <a:lnTo>
                    <a:pt x="2605"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9" y="899"/>
                  </a:lnTo>
                  <a:lnTo>
                    <a:pt x="2609" y="899"/>
                  </a:lnTo>
                  <a:lnTo>
                    <a:pt x="2612" y="899"/>
                  </a:lnTo>
                  <a:lnTo>
                    <a:pt x="2612" y="760"/>
                  </a:lnTo>
                  <a:lnTo>
                    <a:pt x="2612" y="760"/>
                  </a:lnTo>
                  <a:lnTo>
                    <a:pt x="2612" y="760"/>
                  </a:lnTo>
                  <a:lnTo>
                    <a:pt x="2613" y="760"/>
                  </a:lnTo>
                  <a:lnTo>
                    <a:pt x="2613" y="899"/>
                  </a:lnTo>
                  <a:lnTo>
                    <a:pt x="2630" y="899"/>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9" y="899"/>
                  </a:lnTo>
                  <a:lnTo>
                    <a:pt x="2639" y="899"/>
                  </a:lnTo>
                  <a:lnTo>
                    <a:pt x="2639" y="899"/>
                  </a:lnTo>
                  <a:lnTo>
                    <a:pt x="2639" y="899"/>
                  </a:lnTo>
                  <a:lnTo>
                    <a:pt x="2645" y="899"/>
                  </a:lnTo>
                  <a:lnTo>
                    <a:pt x="2645" y="899"/>
                  </a:lnTo>
                  <a:lnTo>
                    <a:pt x="2645" y="899"/>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3" y="899"/>
                  </a:lnTo>
                  <a:lnTo>
                    <a:pt x="2653"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8" y="899"/>
                  </a:lnTo>
                  <a:lnTo>
                    <a:pt x="2658" y="899"/>
                  </a:lnTo>
                  <a:lnTo>
                    <a:pt x="2658" y="899"/>
                  </a:lnTo>
                  <a:lnTo>
                    <a:pt x="2658" y="899"/>
                  </a:lnTo>
                  <a:lnTo>
                    <a:pt x="2658" y="899"/>
                  </a:lnTo>
                  <a:lnTo>
                    <a:pt x="2658" y="899"/>
                  </a:lnTo>
                  <a:lnTo>
                    <a:pt x="2658" y="899"/>
                  </a:lnTo>
                  <a:lnTo>
                    <a:pt x="2658"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721"/>
                  </a:lnTo>
                  <a:lnTo>
                    <a:pt x="2662" y="721"/>
                  </a:lnTo>
                  <a:lnTo>
                    <a:pt x="2662" y="721"/>
                  </a:lnTo>
                  <a:lnTo>
                    <a:pt x="2663" y="721"/>
                  </a:lnTo>
                  <a:lnTo>
                    <a:pt x="2663" y="721"/>
                  </a:lnTo>
                  <a:lnTo>
                    <a:pt x="2665" y="721"/>
                  </a:lnTo>
                  <a:lnTo>
                    <a:pt x="2665" y="721"/>
                  </a:lnTo>
                  <a:lnTo>
                    <a:pt x="2681" y="721"/>
                  </a:lnTo>
                  <a:lnTo>
                    <a:pt x="2681" y="899"/>
                  </a:lnTo>
                  <a:lnTo>
                    <a:pt x="2682" y="899"/>
                  </a:lnTo>
                  <a:lnTo>
                    <a:pt x="2682"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2" y="899"/>
                  </a:lnTo>
                  <a:lnTo>
                    <a:pt x="2692"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899"/>
                  </a:lnTo>
                  <a:lnTo>
                    <a:pt x="2693" y="899"/>
                  </a:lnTo>
                  <a:lnTo>
                    <a:pt x="2693"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35" y="899"/>
                  </a:lnTo>
                  <a:lnTo>
                    <a:pt x="2735" y="899"/>
                  </a:lnTo>
                  <a:lnTo>
                    <a:pt x="2735" y="899"/>
                  </a:lnTo>
                  <a:lnTo>
                    <a:pt x="2735" y="899"/>
                  </a:lnTo>
                  <a:lnTo>
                    <a:pt x="2735" y="899"/>
                  </a:lnTo>
                  <a:lnTo>
                    <a:pt x="2735" y="654"/>
                  </a:lnTo>
                  <a:lnTo>
                    <a:pt x="2735" y="654"/>
                  </a:lnTo>
                  <a:lnTo>
                    <a:pt x="2735" y="654"/>
                  </a:lnTo>
                  <a:lnTo>
                    <a:pt x="2735" y="654"/>
                  </a:lnTo>
                  <a:lnTo>
                    <a:pt x="2735" y="654"/>
                  </a:lnTo>
                  <a:lnTo>
                    <a:pt x="2735" y="654"/>
                  </a:lnTo>
                  <a:lnTo>
                    <a:pt x="2735" y="899"/>
                  </a:lnTo>
                  <a:lnTo>
                    <a:pt x="2735" y="899"/>
                  </a:lnTo>
                  <a:lnTo>
                    <a:pt x="2735" y="654"/>
                  </a:lnTo>
                  <a:lnTo>
                    <a:pt x="2736" y="654"/>
                  </a:lnTo>
                  <a:lnTo>
                    <a:pt x="2736" y="654"/>
                  </a:lnTo>
                  <a:lnTo>
                    <a:pt x="2748" y="654"/>
                  </a:lnTo>
                  <a:lnTo>
                    <a:pt x="2748" y="899"/>
                  </a:lnTo>
                  <a:lnTo>
                    <a:pt x="2752" y="899"/>
                  </a:lnTo>
                  <a:lnTo>
                    <a:pt x="2752" y="899"/>
                  </a:lnTo>
                  <a:lnTo>
                    <a:pt x="2775" y="899"/>
                  </a:lnTo>
                  <a:lnTo>
                    <a:pt x="2775" y="652"/>
                  </a:lnTo>
                  <a:lnTo>
                    <a:pt x="2775" y="652"/>
                  </a:lnTo>
                  <a:lnTo>
                    <a:pt x="2775" y="899"/>
                  </a:lnTo>
                  <a:lnTo>
                    <a:pt x="2775" y="899"/>
                  </a:lnTo>
                  <a:lnTo>
                    <a:pt x="2775" y="652"/>
                  </a:lnTo>
                  <a:lnTo>
                    <a:pt x="2775" y="652"/>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623"/>
                  </a:lnTo>
                  <a:lnTo>
                    <a:pt x="2837" y="623"/>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899"/>
                  </a:lnTo>
                  <a:lnTo>
                    <a:pt x="3189" y="899"/>
                  </a:lnTo>
                  <a:lnTo>
                    <a:pt x="3189" y="438"/>
                  </a:lnTo>
                  <a:lnTo>
                    <a:pt x="3189" y="438"/>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899"/>
                  </a:lnTo>
                  <a:lnTo>
                    <a:pt x="3192" y="899"/>
                  </a:lnTo>
                  <a:lnTo>
                    <a:pt x="3192" y="899"/>
                  </a:lnTo>
                  <a:lnTo>
                    <a:pt x="3192" y="899"/>
                  </a:lnTo>
                  <a:lnTo>
                    <a:pt x="3192" y="899"/>
                  </a:lnTo>
                  <a:lnTo>
                    <a:pt x="3192" y="899"/>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4" y="899"/>
                  </a:lnTo>
                  <a:lnTo>
                    <a:pt x="3194" y="899"/>
                  </a:lnTo>
                  <a:lnTo>
                    <a:pt x="3194" y="899"/>
                  </a:lnTo>
                  <a:lnTo>
                    <a:pt x="3194" y="899"/>
                  </a:lnTo>
                  <a:lnTo>
                    <a:pt x="3194" y="899"/>
                  </a:lnTo>
                  <a:lnTo>
                    <a:pt x="3194" y="899"/>
                  </a:lnTo>
                  <a:lnTo>
                    <a:pt x="3194" y="899"/>
                  </a:lnTo>
                  <a:lnTo>
                    <a:pt x="3194" y="899"/>
                  </a:lnTo>
                  <a:lnTo>
                    <a:pt x="3195" y="899"/>
                  </a:lnTo>
                  <a:lnTo>
                    <a:pt x="3195" y="899"/>
                  </a:lnTo>
                  <a:lnTo>
                    <a:pt x="3196" y="899"/>
                  </a:lnTo>
                  <a:lnTo>
                    <a:pt x="3196" y="899"/>
                  </a:lnTo>
                  <a:lnTo>
                    <a:pt x="3197" y="899"/>
                  </a:lnTo>
                  <a:lnTo>
                    <a:pt x="3197" y="899"/>
                  </a:lnTo>
                  <a:lnTo>
                    <a:pt x="3201" y="899"/>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899"/>
                  </a:lnTo>
                  <a:lnTo>
                    <a:pt x="3216" y="899"/>
                  </a:lnTo>
                  <a:lnTo>
                    <a:pt x="3216" y="899"/>
                  </a:lnTo>
                  <a:lnTo>
                    <a:pt x="3216" y="899"/>
                  </a:lnTo>
                  <a:lnTo>
                    <a:pt x="3216" y="899"/>
                  </a:lnTo>
                  <a:lnTo>
                    <a:pt x="3216" y="899"/>
                  </a:lnTo>
                  <a:lnTo>
                    <a:pt x="3216" y="364"/>
                  </a:lnTo>
                  <a:lnTo>
                    <a:pt x="3216" y="364"/>
                  </a:lnTo>
                  <a:lnTo>
                    <a:pt x="3216" y="364"/>
                  </a:lnTo>
                  <a:lnTo>
                    <a:pt x="3216" y="364"/>
                  </a:lnTo>
                  <a:lnTo>
                    <a:pt x="3216" y="361"/>
                  </a:lnTo>
                  <a:lnTo>
                    <a:pt x="3216" y="361"/>
                  </a:lnTo>
                  <a:lnTo>
                    <a:pt x="3216" y="357"/>
                  </a:lnTo>
                  <a:lnTo>
                    <a:pt x="3216" y="357"/>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0"/>
                  </a:lnTo>
                  <a:lnTo>
                    <a:pt x="3216" y="350"/>
                  </a:lnTo>
                  <a:lnTo>
                    <a:pt x="3216" y="350"/>
                  </a:lnTo>
                  <a:lnTo>
                    <a:pt x="3216" y="350"/>
                  </a:lnTo>
                  <a:lnTo>
                    <a:pt x="3216" y="350"/>
                  </a:lnTo>
                  <a:lnTo>
                    <a:pt x="3217" y="350"/>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8" y="899"/>
                  </a:lnTo>
                  <a:lnTo>
                    <a:pt x="3218" y="899"/>
                  </a:lnTo>
                  <a:lnTo>
                    <a:pt x="3218" y="899"/>
                  </a:lnTo>
                  <a:lnTo>
                    <a:pt x="3218" y="899"/>
                  </a:lnTo>
                  <a:lnTo>
                    <a:pt x="3218" y="899"/>
                  </a:lnTo>
                  <a:lnTo>
                    <a:pt x="3218" y="899"/>
                  </a:lnTo>
                  <a:lnTo>
                    <a:pt x="3218" y="899"/>
                  </a:lnTo>
                  <a:lnTo>
                    <a:pt x="3218" y="899"/>
                  </a:lnTo>
                  <a:lnTo>
                    <a:pt x="3218" y="899"/>
                  </a:lnTo>
                  <a:lnTo>
                    <a:pt x="3218" y="324"/>
                  </a:lnTo>
                  <a:lnTo>
                    <a:pt x="3218" y="324"/>
                  </a:lnTo>
                  <a:lnTo>
                    <a:pt x="3218" y="324"/>
                  </a:lnTo>
                  <a:lnTo>
                    <a:pt x="3243" y="324"/>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1"/>
                  </a:lnTo>
                  <a:lnTo>
                    <a:pt x="3243" y="321"/>
                  </a:lnTo>
                  <a:lnTo>
                    <a:pt x="3243" y="321"/>
                  </a:lnTo>
                  <a:lnTo>
                    <a:pt x="3244" y="321"/>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5" y="899"/>
                  </a:lnTo>
                  <a:lnTo>
                    <a:pt x="3245" y="899"/>
                  </a:lnTo>
                  <a:lnTo>
                    <a:pt x="3245" y="899"/>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899"/>
                  </a:lnTo>
                  <a:lnTo>
                    <a:pt x="3249" y="899"/>
                  </a:lnTo>
                  <a:lnTo>
                    <a:pt x="3249" y="899"/>
                  </a:lnTo>
                  <a:lnTo>
                    <a:pt x="3249" y="899"/>
                  </a:lnTo>
                  <a:lnTo>
                    <a:pt x="3249" y="899"/>
                  </a:lnTo>
                  <a:lnTo>
                    <a:pt x="3249" y="899"/>
                  </a:lnTo>
                  <a:lnTo>
                    <a:pt x="3249" y="899"/>
                  </a:lnTo>
                  <a:lnTo>
                    <a:pt x="3249" y="899"/>
                  </a:lnTo>
                  <a:lnTo>
                    <a:pt x="3249" y="261"/>
                  </a:lnTo>
                  <a:lnTo>
                    <a:pt x="3249" y="261"/>
                  </a:lnTo>
                  <a:lnTo>
                    <a:pt x="3249" y="261"/>
                  </a:lnTo>
                  <a:lnTo>
                    <a:pt x="3249" y="261"/>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50" y="899"/>
                  </a:lnTo>
                  <a:lnTo>
                    <a:pt x="3250" y="899"/>
                  </a:lnTo>
                  <a:lnTo>
                    <a:pt x="3250" y="899"/>
                  </a:lnTo>
                  <a:lnTo>
                    <a:pt x="3250" y="221"/>
                  </a:lnTo>
                  <a:lnTo>
                    <a:pt x="3251" y="221"/>
                  </a:lnTo>
                  <a:lnTo>
                    <a:pt x="3251" y="899"/>
                  </a:lnTo>
                  <a:lnTo>
                    <a:pt x="3251" y="899"/>
                  </a:lnTo>
                  <a:lnTo>
                    <a:pt x="3251"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211"/>
                  </a:lnTo>
                  <a:lnTo>
                    <a:pt x="3252" y="211"/>
                  </a:lnTo>
                  <a:lnTo>
                    <a:pt x="3252" y="211"/>
                  </a:lnTo>
                  <a:lnTo>
                    <a:pt x="3252" y="211"/>
                  </a:lnTo>
                  <a:lnTo>
                    <a:pt x="3252" y="204"/>
                  </a:lnTo>
                  <a:lnTo>
                    <a:pt x="3252" y="204"/>
                  </a:lnTo>
                  <a:lnTo>
                    <a:pt x="3252" y="204"/>
                  </a:lnTo>
                  <a:lnTo>
                    <a:pt x="3253" y="204"/>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204"/>
                  </a:lnTo>
                  <a:lnTo>
                    <a:pt x="3252" y="204"/>
                  </a:lnTo>
                  <a:lnTo>
                    <a:pt x="3252" y="204"/>
                  </a:lnTo>
                  <a:lnTo>
                    <a:pt x="3252" y="204"/>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1" y="899"/>
                  </a:lnTo>
                  <a:lnTo>
                    <a:pt x="3251" y="899"/>
                  </a:lnTo>
                  <a:lnTo>
                    <a:pt x="3251" y="899"/>
                  </a:lnTo>
                  <a:lnTo>
                    <a:pt x="3251" y="221"/>
                  </a:lnTo>
                  <a:lnTo>
                    <a:pt x="3250" y="221"/>
                  </a:lnTo>
                  <a:lnTo>
                    <a:pt x="3250" y="899"/>
                  </a:lnTo>
                  <a:lnTo>
                    <a:pt x="3250" y="899"/>
                  </a:lnTo>
                  <a:lnTo>
                    <a:pt x="3250"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899"/>
                  </a:lnTo>
                  <a:lnTo>
                    <a:pt x="3245" y="899"/>
                  </a:lnTo>
                  <a:lnTo>
                    <a:pt x="3245"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321"/>
                  </a:lnTo>
                  <a:lnTo>
                    <a:pt x="3243" y="321"/>
                  </a:lnTo>
                  <a:lnTo>
                    <a:pt x="3243" y="321"/>
                  </a:lnTo>
                  <a:lnTo>
                    <a:pt x="3243" y="321"/>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4"/>
                  </a:lnTo>
                  <a:lnTo>
                    <a:pt x="3218" y="324"/>
                  </a:lnTo>
                  <a:lnTo>
                    <a:pt x="3218" y="324"/>
                  </a:lnTo>
                  <a:lnTo>
                    <a:pt x="3218" y="324"/>
                  </a:lnTo>
                  <a:lnTo>
                    <a:pt x="3218" y="899"/>
                  </a:lnTo>
                  <a:lnTo>
                    <a:pt x="3218" y="899"/>
                  </a:lnTo>
                  <a:lnTo>
                    <a:pt x="3218" y="899"/>
                  </a:lnTo>
                  <a:lnTo>
                    <a:pt x="3218" y="899"/>
                  </a:lnTo>
                  <a:lnTo>
                    <a:pt x="3218" y="899"/>
                  </a:lnTo>
                  <a:lnTo>
                    <a:pt x="3218" y="899"/>
                  </a:lnTo>
                  <a:lnTo>
                    <a:pt x="3218" y="899"/>
                  </a:lnTo>
                  <a:lnTo>
                    <a:pt x="3218" y="899"/>
                  </a:lnTo>
                  <a:lnTo>
                    <a:pt x="3218"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350"/>
                  </a:lnTo>
                  <a:lnTo>
                    <a:pt x="3216" y="350"/>
                  </a:lnTo>
                  <a:lnTo>
                    <a:pt x="3216" y="350"/>
                  </a:lnTo>
                  <a:lnTo>
                    <a:pt x="3216" y="350"/>
                  </a:lnTo>
                  <a:lnTo>
                    <a:pt x="3216" y="350"/>
                  </a:lnTo>
                  <a:lnTo>
                    <a:pt x="3216" y="350"/>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61"/>
                  </a:lnTo>
                  <a:lnTo>
                    <a:pt x="3216" y="361"/>
                  </a:lnTo>
                  <a:lnTo>
                    <a:pt x="3216" y="364"/>
                  </a:lnTo>
                  <a:lnTo>
                    <a:pt x="3216" y="364"/>
                  </a:lnTo>
                  <a:lnTo>
                    <a:pt x="3216" y="364"/>
                  </a:lnTo>
                  <a:lnTo>
                    <a:pt x="3216" y="364"/>
                  </a:lnTo>
                  <a:lnTo>
                    <a:pt x="3216" y="899"/>
                  </a:lnTo>
                  <a:lnTo>
                    <a:pt x="3216" y="899"/>
                  </a:lnTo>
                  <a:lnTo>
                    <a:pt x="3216" y="899"/>
                  </a:lnTo>
                  <a:lnTo>
                    <a:pt x="3216" y="899"/>
                  </a:lnTo>
                  <a:lnTo>
                    <a:pt x="3216" y="899"/>
                  </a:lnTo>
                  <a:lnTo>
                    <a:pt x="3216" y="899"/>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899"/>
                  </a:lnTo>
                  <a:lnTo>
                    <a:pt x="3197" y="899"/>
                  </a:lnTo>
                  <a:lnTo>
                    <a:pt x="3197" y="899"/>
                  </a:lnTo>
                  <a:lnTo>
                    <a:pt x="3196" y="899"/>
                  </a:lnTo>
                  <a:lnTo>
                    <a:pt x="3196" y="899"/>
                  </a:lnTo>
                  <a:lnTo>
                    <a:pt x="3195" y="899"/>
                  </a:lnTo>
                  <a:lnTo>
                    <a:pt x="3195" y="899"/>
                  </a:lnTo>
                  <a:lnTo>
                    <a:pt x="3194" y="899"/>
                  </a:lnTo>
                  <a:lnTo>
                    <a:pt x="3194" y="899"/>
                  </a:lnTo>
                  <a:lnTo>
                    <a:pt x="3194" y="899"/>
                  </a:lnTo>
                  <a:lnTo>
                    <a:pt x="3194" y="899"/>
                  </a:lnTo>
                  <a:lnTo>
                    <a:pt x="3194" y="899"/>
                  </a:lnTo>
                  <a:lnTo>
                    <a:pt x="3194" y="899"/>
                  </a:lnTo>
                  <a:lnTo>
                    <a:pt x="3194" y="899"/>
                  </a:lnTo>
                  <a:lnTo>
                    <a:pt x="3194"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402"/>
                  </a:lnTo>
                  <a:lnTo>
                    <a:pt x="3192" y="402"/>
                  </a:lnTo>
                  <a:lnTo>
                    <a:pt x="3192" y="402"/>
                  </a:lnTo>
                  <a:lnTo>
                    <a:pt x="3192" y="402"/>
                  </a:lnTo>
                  <a:lnTo>
                    <a:pt x="3192" y="404"/>
                  </a:lnTo>
                  <a:lnTo>
                    <a:pt x="3192" y="404"/>
                  </a:lnTo>
                  <a:lnTo>
                    <a:pt x="3192" y="899"/>
                  </a:lnTo>
                  <a:lnTo>
                    <a:pt x="3192" y="899"/>
                  </a:lnTo>
                  <a:lnTo>
                    <a:pt x="3192" y="899"/>
                  </a:lnTo>
                  <a:lnTo>
                    <a:pt x="3192" y="899"/>
                  </a:lnTo>
                  <a:lnTo>
                    <a:pt x="3192" y="899"/>
                  </a:lnTo>
                  <a:lnTo>
                    <a:pt x="3192" y="899"/>
                  </a:lnTo>
                  <a:lnTo>
                    <a:pt x="3192" y="899"/>
                  </a:lnTo>
                  <a:lnTo>
                    <a:pt x="3192" y="899"/>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899"/>
                  </a:lnTo>
                  <a:lnTo>
                    <a:pt x="3169" y="899"/>
                  </a:lnTo>
                  <a:lnTo>
                    <a:pt x="3169" y="899"/>
                  </a:lnTo>
                  <a:lnTo>
                    <a:pt x="3159" y="899"/>
                  </a:lnTo>
                  <a:lnTo>
                    <a:pt x="3159" y="899"/>
                  </a:lnTo>
                  <a:lnTo>
                    <a:pt x="3157" y="899"/>
                  </a:lnTo>
                  <a:lnTo>
                    <a:pt x="3157" y="899"/>
                  </a:lnTo>
                  <a:lnTo>
                    <a:pt x="3157" y="899"/>
                  </a:lnTo>
                  <a:lnTo>
                    <a:pt x="3157" y="899"/>
                  </a:lnTo>
                  <a:lnTo>
                    <a:pt x="3156" y="899"/>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899"/>
                  </a:lnTo>
                  <a:lnTo>
                    <a:pt x="3057" y="899"/>
                  </a:lnTo>
                  <a:lnTo>
                    <a:pt x="3057" y="899"/>
                  </a:lnTo>
                  <a:lnTo>
                    <a:pt x="3057" y="899"/>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899"/>
                  </a:lnTo>
                  <a:lnTo>
                    <a:pt x="2943" y="899"/>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899"/>
                  </a:lnTo>
                  <a:lnTo>
                    <a:pt x="2901" y="899"/>
                  </a:lnTo>
                  <a:lnTo>
                    <a:pt x="2901" y="899"/>
                  </a:lnTo>
                  <a:lnTo>
                    <a:pt x="2900" y="899"/>
                  </a:lnTo>
                  <a:lnTo>
                    <a:pt x="2900" y="899"/>
                  </a:lnTo>
                  <a:lnTo>
                    <a:pt x="2899" y="899"/>
                  </a:lnTo>
                  <a:lnTo>
                    <a:pt x="2899"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899"/>
                  </a:lnTo>
                  <a:lnTo>
                    <a:pt x="2837" y="899"/>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652"/>
                  </a:lnTo>
                  <a:lnTo>
                    <a:pt x="2775" y="652"/>
                  </a:lnTo>
                  <a:lnTo>
                    <a:pt x="2775" y="899"/>
                  </a:lnTo>
                  <a:lnTo>
                    <a:pt x="2775" y="899"/>
                  </a:lnTo>
                  <a:lnTo>
                    <a:pt x="2775" y="652"/>
                  </a:lnTo>
                  <a:lnTo>
                    <a:pt x="2775" y="652"/>
                  </a:lnTo>
                  <a:lnTo>
                    <a:pt x="2775" y="899"/>
                  </a:lnTo>
                  <a:lnTo>
                    <a:pt x="2752" y="899"/>
                  </a:lnTo>
                  <a:lnTo>
                    <a:pt x="2752" y="899"/>
                  </a:lnTo>
                  <a:lnTo>
                    <a:pt x="2748" y="899"/>
                  </a:lnTo>
                  <a:lnTo>
                    <a:pt x="2748" y="899"/>
                  </a:lnTo>
                  <a:lnTo>
                    <a:pt x="2736" y="899"/>
                  </a:lnTo>
                  <a:lnTo>
                    <a:pt x="2736"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899"/>
                  </a:lnTo>
                  <a:lnTo>
                    <a:pt x="2693" y="676"/>
                  </a:lnTo>
                  <a:lnTo>
                    <a:pt x="2693" y="676"/>
                  </a:lnTo>
                  <a:lnTo>
                    <a:pt x="2693" y="676"/>
                  </a:lnTo>
                  <a:lnTo>
                    <a:pt x="2693" y="676"/>
                  </a:lnTo>
                  <a:lnTo>
                    <a:pt x="2693" y="676"/>
                  </a:lnTo>
                  <a:lnTo>
                    <a:pt x="2693" y="676"/>
                  </a:lnTo>
                  <a:lnTo>
                    <a:pt x="2693" y="676"/>
                  </a:lnTo>
                  <a:lnTo>
                    <a:pt x="2693" y="676"/>
                  </a:lnTo>
                  <a:lnTo>
                    <a:pt x="2693" y="899"/>
                  </a:lnTo>
                  <a:lnTo>
                    <a:pt x="2693" y="899"/>
                  </a:lnTo>
                  <a:lnTo>
                    <a:pt x="2693" y="899"/>
                  </a:lnTo>
                  <a:lnTo>
                    <a:pt x="2692" y="899"/>
                  </a:lnTo>
                  <a:lnTo>
                    <a:pt x="2692" y="899"/>
                  </a:lnTo>
                  <a:lnTo>
                    <a:pt x="2692" y="899"/>
                  </a:lnTo>
                  <a:lnTo>
                    <a:pt x="2692" y="676"/>
                  </a:lnTo>
                  <a:lnTo>
                    <a:pt x="2692" y="676"/>
                  </a:lnTo>
                  <a:lnTo>
                    <a:pt x="2692" y="899"/>
                  </a:lnTo>
                  <a:lnTo>
                    <a:pt x="2692" y="899"/>
                  </a:lnTo>
                  <a:lnTo>
                    <a:pt x="2692" y="899"/>
                  </a:lnTo>
                  <a:lnTo>
                    <a:pt x="2692" y="899"/>
                  </a:lnTo>
                  <a:lnTo>
                    <a:pt x="2692" y="899"/>
                  </a:lnTo>
                  <a:lnTo>
                    <a:pt x="2692" y="899"/>
                  </a:lnTo>
                  <a:lnTo>
                    <a:pt x="2692" y="899"/>
                  </a:lnTo>
                  <a:lnTo>
                    <a:pt x="2692" y="899"/>
                  </a:lnTo>
                  <a:lnTo>
                    <a:pt x="2692"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89" y="899"/>
                  </a:lnTo>
                  <a:lnTo>
                    <a:pt x="2689"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2" y="899"/>
                  </a:lnTo>
                  <a:lnTo>
                    <a:pt x="2682" y="899"/>
                  </a:lnTo>
                  <a:lnTo>
                    <a:pt x="2681" y="899"/>
                  </a:lnTo>
                  <a:lnTo>
                    <a:pt x="2681" y="899"/>
                  </a:lnTo>
                  <a:lnTo>
                    <a:pt x="2665" y="899"/>
                  </a:lnTo>
                  <a:lnTo>
                    <a:pt x="2665" y="899"/>
                  </a:lnTo>
                  <a:lnTo>
                    <a:pt x="2663" y="899"/>
                  </a:lnTo>
                  <a:lnTo>
                    <a:pt x="2663" y="899"/>
                  </a:lnTo>
                  <a:lnTo>
                    <a:pt x="2662" y="899"/>
                  </a:lnTo>
                  <a:lnTo>
                    <a:pt x="2662" y="899"/>
                  </a:lnTo>
                  <a:lnTo>
                    <a:pt x="2662" y="899"/>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58" y="899"/>
                  </a:lnTo>
                  <a:lnTo>
                    <a:pt x="2658" y="899"/>
                  </a:lnTo>
                  <a:lnTo>
                    <a:pt x="2658" y="899"/>
                  </a:lnTo>
                  <a:lnTo>
                    <a:pt x="2658" y="899"/>
                  </a:lnTo>
                  <a:lnTo>
                    <a:pt x="2658" y="899"/>
                  </a:lnTo>
                  <a:lnTo>
                    <a:pt x="2658" y="899"/>
                  </a:lnTo>
                  <a:lnTo>
                    <a:pt x="2658" y="899"/>
                  </a:lnTo>
                  <a:lnTo>
                    <a:pt x="2658"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3" y="899"/>
                  </a:lnTo>
                  <a:lnTo>
                    <a:pt x="2653"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45" y="899"/>
                  </a:lnTo>
                  <a:lnTo>
                    <a:pt x="2639" y="899"/>
                  </a:lnTo>
                  <a:lnTo>
                    <a:pt x="2639" y="899"/>
                  </a:lnTo>
                  <a:lnTo>
                    <a:pt x="2639" y="899"/>
                  </a:lnTo>
                  <a:lnTo>
                    <a:pt x="2639"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1" y="899"/>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30" y="899"/>
                  </a:lnTo>
                  <a:lnTo>
                    <a:pt x="2613" y="899"/>
                  </a:lnTo>
                  <a:lnTo>
                    <a:pt x="2613" y="760"/>
                  </a:lnTo>
                  <a:lnTo>
                    <a:pt x="2612" y="760"/>
                  </a:lnTo>
                  <a:lnTo>
                    <a:pt x="2612" y="760"/>
                  </a:lnTo>
                  <a:lnTo>
                    <a:pt x="2612" y="760"/>
                  </a:lnTo>
                  <a:lnTo>
                    <a:pt x="2612" y="899"/>
                  </a:lnTo>
                  <a:lnTo>
                    <a:pt x="2609" y="899"/>
                  </a:lnTo>
                  <a:lnTo>
                    <a:pt x="2609"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5" y="899"/>
                  </a:lnTo>
                  <a:lnTo>
                    <a:pt x="2605" y="899"/>
                  </a:lnTo>
                  <a:lnTo>
                    <a:pt x="2605" y="899"/>
                  </a:lnTo>
                  <a:lnTo>
                    <a:pt x="2605" y="899"/>
                  </a:lnTo>
                  <a:lnTo>
                    <a:pt x="2605" y="899"/>
                  </a:lnTo>
                  <a:lnTo>
                    <a:pt x="2605" y="899"/>
                  </a:lnTo>
                  <a:lnTo>
                    <a:pt x="2604" y="899"/>
                  </a:lnTo>
                  <a:lnTo>
                    <a:pt x="2604" y="899"/>
                  </a:lnTo>
                  <a:lnTo>
                    <a:pt x="2604" y="899"/>
                  </a:lnTo>
                  <a:lnTo>
                    <a:pt x="2604" y="765"/>
                  </a:lnTo>
                  <a:lnTo>
                    <a:pt x="2599" y="765"/>
                  </a:lnTo>
                  <a:lnTo>
                    <a:pt x="2599" y="899"/>
                  </a:lnTo>
                  <a:lnTo>
                    <a:pt x="2596" y="899"/>
                  </a:lnTo>
                  <a:lnTo>
                    <a:pt x="2596" y="899"/>
                  </a:lnTo>
                  <a:lnTo>
                    <a:pt x="2593" y="899"/>
                  </a:lnTo>
                  <a:lnTo>
                    <a:pt x="2593" y="765"/>
                  </a:lnTo>
                  <a:lnTo>
                    <a:pt x="2592" y="765"/>
                  </a:lnTo>
                  <a:lnTo>
                    <a:pt x="2592" y="899"/>
                  </a:lnTo>
                  <a:lnTo>
                    <a:pt x="2591" y="899"/>
                  </a:lnTo>
                  <a:lnTo>
                    <a:pt x="2591" y="765"/>
                  </a:lnTo>
                  <a:lnTo>
                    <a:pt x="2591" y="765"/>
                  </a:lnTo>
                  <a:lnTo>
                    <a:pt x="2591" y="765"/>
                  </a:lnTo>
                  <a:lnTo>
                    <a:pt x="2591" y="765"/>
                  </a:lnTo>
                  <a:lnTo>
                    <a:pt x="2591" y="899"/>
                  </a:lnTo>
                  <a:lnTo>
                    <a:pt x="2591" y="899"/>
                  </a:lnTo>
                  <a:lnTo>
                    <a:pt x="2591"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899"/>
                  </a:lnTo>
                  <a:lnTo>
                    <a:pt x="2532" y="899"/>
                  </a:lnTo>
                  <a:lnTo>
                    <a:pt x="2532"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27" y="899"/>
                  </a:lnTo>
                  <a:lnTo>
                    <a:pt x="2527"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4" y="899"/>
                  </a:lnTo>
                  <a:lnTo>
                    <a:pt x="2524" y="899"/>
                  </a:lnTo>
                  <a:lnTo>
                    <a:pt x="2514" y="899"/>
                  </a:lnTo>
                  <a:lnTo>
                    <a:pt x="2514" y="899"/>
                  </a:lnTo>
                  <a:lnTo>
                    <a:pt x="2503" y="899"/>
                  </a:lnTo>
                  <a:lnTo>
                    <a:pt x="2503" y="899"/>
                  </a:lnTo>
                  <a:lnTo>
                    <a:pt x="2499" y="899"/>
                  </a:lnTo>
                  <a:lnTo>
                    <a:pt x="2499" y="899"/>
                  </a:lnTo>
                  <a:lnTo>
                    <a:pt x="2496" y="899"/>
                  </a:lnTo>
                  <a:lnTo>
                    <a:pt x="2496" y="899"/>
                  </a:lnTo>
                  <a:lnTo>
                    <a:pt x="2495" y="899"/>
                  </a:lnTo>
                  <a:lnTo>
                    <a:pt x="2495" y="899"/>
                  </a:lnTo>
                  <a:lnTo>
                    <a:pt x="2493" y="899"/>
                  </a:lnTo>
                  <a:lnTo>
                    <a:pt x="2493" y="899"/>
                  </a:lnTo>
                  <a:lnTo>
                    <a:pt x="2492" y="899"/>
                  </a:lnTo>
                  <a:lnTo>
                    <a:pt x="2492" y="899"/>
                  </a:lnTo>
                  <a:lnTo>
                    <a:pt x="2490" y="899"/>
                  </a:lnTo>
                  <a:lnTo>
                    <a:pt x="2490" y="899"/>
                  </a:lnTo>
                  <a:lnTo>
                    <a:pt x="2489" y="899"/>
                  </a:lnTo>
                  <a:lnTo>
                    <a:pt x="2489"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1" y="899"/>
                  </a:lnTo>
                  <a:lnTo>
                    <a:pt x="2481" y="899"/>
                  </a:lnTo>
                  <a:lnTo>
                    <a:pt x="2476" y="899"/>
                  </a:lnTo>
                  <a:lnTo>
                    <a:pt x="2476" y="899"/>
                  </a:lnTo>
                  <a:lnTo>
                    <a:pt x="2474" y="899"/>
                  </a:lnTo>
                  <a:lnTo>
                    <a:pt x="2474" y="899"/>
                  </a:lnTo>
                  <a:lnTo>
                    <a:pt x="2472" y="899"/>
                  </a:lnTo>
                  <a:lnTo>
                    <a:pt x="2472" y="899"/>
                  </a:lnTo>
                  <a:lnTo>
                    <a:pt x="2472" y="899"/>
                  </a:lnTo>
                  <a:lnTo>
                    <a:pt x="2472" y="899"/>
                  </a:lnTo>
                  <a:lnTo>
                    <a:pt x="2471" y="899"/>
                  </a:lnTo>
                  <a:lnTo>
                    <a:pt x="2471" y="899"/>
                  </a:lnTo>
                  <a:lnTo>
                    <a:pt x="2471" y="899"/>
                  </a:lnTo>
                  <a:lnTo>
                    <a:pt x="2471" y="899"/>
                  </a:lnTo>
                  <a:lnTo>
                    <a:pt x="2471" y="899"/>
                  </a:lnTo>
                  <a:lnTo>
                    <a:pt x="2471" y="899"/>
                  </a:lnTo>
                  <a:lnTo>
                    <a:pt x="2469" y="899"/>
                  </a:lnTo>
                  <a:lnTo>
                    <a:pt x="2469" y="899"/>
                  </a:lnTo>
                  <a:lnTo>
                    <a:pt x="2469" y="899"/>
                  </a:lnTo>
                  <a:lnTo>
                    <a:pt x="2469" y="899"/>
                  </a:lnTo>
                  <a:lnTo>
                    <a:pt x="2468" y="899"/>
                  </a:lnTo>
                  <a:lnTo>
                    <a:pt x="2468" y="899"/>
                  </a:lnTo>
                  <a:lnTo>
                    <a:pt x="2468" y="899"/>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899"/>
                  </a:lnTo>
                  <a:lnTo>
                    <a:pt x="2451" y="899"/>
                  </a:lnTo>
                  <a:lnTo>
                    <a:pt x="2451" y="899"/>
                  </a:lnTo>
                  <a:lnTo>
                    <a:pt x="2439" y="899"/>
                  </a:lnTo>
                  <a:lnTo>
                    <a:pt x="2439" y="899"/>
                  </a:lnTo>
                  <a:lnTo>
                    <a:pt x="2428" y="899"/>
                  </a:lnTo>
                  <a:lnTo>
                    <a:pt x="2428" y="899"/>
                  </a:lnTo>
                  <a:lnTo>
                    <a:pt x="2422" y="899"/>
                  </a:lnTo>
                  <a:lnTo>
                    <a:pt x="2422" y="899"/>
                  </a:lnTo>
                  <a:lnTo>
                    <a:pt x="2417" y="899"/>
                  </a:lnTo>
                  <a:lnTo>
                    <a:pt x="2417" y="899"/>
                  </a:lnTo>
                  <a:lnTo>
                    <a:pt x="2413" y="899"/>
                  </a:lnTo>
                  <a:lnTo>
                    <a:pt x="2413" y="899"/>
                  </a:lnTo>
                  <a:lnTo>
                    <a:pt x="2411" y="899"/>
                  </a:lnTo>
                  <a:lnTo>
                    <a:pt x="2411"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382" y="899"/>
                  </a:lnTo>
                  <a:lnTo>
                    <a:pt x="2382" y="899"/>
                  </a:lnTo>
                  <a:lnTo>
                    <a:pt x="2371" y="899"/>
                  </a:lnTo>
                  <a:lnTo>
                    <a:pt x="2371" y="899"/>
                  </a:lnTo>
                  <a:lnTo>
                    <a:pt x="2369" y="899"/>
                  </a:lnTo>
                  <a:lnTo>
                    <a:pt x="2369" y="899"/>
                  </a:lnTo>
                  <a:lnTo>
                    <a:pt x="2367" y="899"/>
                  </a:lnTo>
                  <a:lnTo>
                    <a:pt x="2367" y="899"/>
                  </a:lnTo>
                  <a:lnTo>
                    <a:pt x="2366" y="899"/>
                  </a:lnTo>
                  <a:lnTo>
                    <a:pt x="2366" y="899"/>
                  </a:lnTo>
                  <a:lnTo>
                    <a:pt x="2365" y="899"/>
                  </a:lnTo>
                  <a:lnTo>
                    <a:pt x="2365" y="899"/>
                  </a:lnTo>
                  <a:lnTo>
                    <a:pt x="2365" y="899"/>
                  </a:lnTo>
                  <a:lnTo>
                    <a:pt x="2365" y="899"/>
                  </a:lnTo>
                  <a:lnTo>
                    <a:pt x="2365" y="899"/>
                  </a:lnTo>
                  <a:lnTo>
                    <a:pt x="2365" y="899"/>
                  </a:lnTo>
                  <a:lnTo>
                    <a:pt x="2365" y="899"/>
                  </a:lnTo>
                  <a:lnTo>
                    <a:pt x="2365" y="899"/>
                  </a:lnTo>
                  <a:lnTo>
                    <a:pt x="2351" y="899"/>
                  </a:lnTo>
                  <a:lnTo>
                    <a:pt x="2351" y="899"/>
                  </a:lnTo>
                  <a:lnTo>
                    <a:pt x="2350" y="899"/>
                  </a:lnTo>
                  <a:lnTo>
                    <a:pt x="2350" y="899"/>
                  </a:lnTo>
                  <a:lnTo>
                    <a:pt x="2350" y="899"/>
                  </a:lnTo>
                  <a:lnTo>
                    <a:pt x="2350" y="899"/>
                  </a:lnTo>
                  <a:lnTo>
                    <a:pt x="2311" y="899"/>
                  </a:lnTo>
                  <a:lnTo>
                    <a:pt x="2311" y="899"/>
                  </a:lnTo>
                  <a:lnTo>
                    <a:pt x="2308" y="899"/>
                  </a:lnTo>
                  <a:lnTo>
                    <a:pt x="2308" y="899"/>
                  </a:lnTo>
                  <a:lnTo>
                    <a:pt x="2299" y="899"/>
                  </a:lnTo>
                  <a:lnTo>
                    <a:pt x="2299"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4" y="899"/>
                  </a:lnTo>
                  <a:lnTo>
                    <a:pt x="2294" y="899"/>
                  </a:lnTo>
                  <a:lnTo>
                    <a:pt x="2293" y="899"/>
                  </a:lnTo>
                  <a:lnTo>
                    <a:pt x="2293" y="899"/>
                  </a:lnTo>
                  <a:lnTo>
                    <a:pt x="2292" y="899"/>
                  </a:lnTo>
                  <a:lnTo>
                    <a:pt x="2292" y="899"/>
                  </a:lnTo>
                  <a:lnTo>
                    <a:pt x="2288" y="899"/>
                  </a:lnTo>
                  <a:lnTo>
                    <a:pt x="2288" y="899"/>
                  </a:lnTo>
                  <a:lnTo>
                    <a:pt x="2285" y="899"/>
                  </a:lnTo>
                  <a:lnTo>
                    <a:pt x="2285" y="899"/>
                  </a:lnTo>
                  <a:lnTo>
                    <a:pt x="2283" y="899"/>
                  </a:lnTo>
                  <a:lnTo>
                    <a:pt x="2283" y="899"/>
                  </a:lnTo>
                  <a:lnTo>
                    <a:pt x="2282" y="899"/>
                  </a:lnTo>
                  <a:lnTo>
                    <a:pt x="2282" y="899"/>
                  </a:lnTo>
                  <a:lnTo>
                    <a:pt x="2280" y="899"/>
                  </a:lnTo>
                  <a:lnTo>
                    <a:pt x="2280" y="899"/>
                  </a:lnTo>
                  <a:lnTo>
                    <a:pt x="2279" y="899"/>
                  </a:lnTo>
                  <a:lnTo>
                    <a:pt x="2279" y="899"/>
                  </a:lnTo>
                  <a:lnTo>
                    <a:pt x="2279" y="899"/>
                  </a:lnTo>
                  <a:lnTo>
                    <a:pt x="2279" y="899"/>
                  </a:lnTo>
                  <a:lnTo>
                    <a:pt x="2278" y="899"/>
                  </a:lnTo>
                  <a:lnTo>
                    <a:pt x="2278" y="899"/>
                  </a:lnTo>
                  <a:lnTo>
                    <a:pt x="2278" y="899"/>
                  </a:lnTo>
                  <a:lnTo>
                    <a:pt x="2278" y="899"/>
                  </a:lnTo>
                  <a:lnTo>
                    <a:pt x="2277" y="899"/>
                  </a:lnTo>
                  <a:lnTo>
                    <a:pt x="2277" y="899"/>
                  </a:lnTo>
                  <a:lnTo>
                    <a:pt x="2277" y="899"/>
                  </a:lnTo>
                  <a:lnTo>
                    <a:pt x="2277" y="899"/>
                  </a:lnTo>
                  <a:lnTo>
                    <a:pt x="2277" y="899"/>
                  </a:lnTo>
                  <a:lnTo>
                    <a:pt x="2277" y="899"/>
                  </a:lnTo>
                  <a:lnTo>
                    <a:pt x="2275" y="899"/>
                  </a:lnTo>
                  <a:lnTo>
                    <a:pt x="2275" y="899"/>
                  </a:lnTo>
                  <a:lnTo>
                    <a:pt x="2273" y="899"/>
                  </a:lnTo>
                  <a:lnTo>
                    <a:pt x="2273" y="899"/>
                  </a:lnTo>
                  <a:lnTo>
                    <a:pt x="2273" y="899"/>
                  </a:lnTo>
                  <a:lnTo>
                    <a:pt x="2273" y="899"/>
                  </a:lnTo>
                  <a:lnTo>
                    <a:pt x="2273" y="899"/>
                  </a:lnTo>
                  <a:lnTo>
                    <a:pt x="2273" y="899"/>
                  </a:lnTo>
                  <a:lnTo>
                    <a:pt x="2273" y="899"/>
                  </a:lnTo>
                  <a:lnTo>
                    <a:pt x="2273" y="899"/>
                  </a:lnTo>
                  <a:lnTo>
                    <a:pt x="2273" y="899"/>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21" y="899"/>
                  </a:lnTo>
                  <a:lnTo>
                    <a:pt x="2218" y="899"/>
                  </a:lnTo>
                  <a:lnTo>
                    <a:pt x="2218" y="899"/>
                  </a:lnTo>
                  <a:lnTo>
                    <a:pt x="2218" y="899"/>
                  </a:lnTo>
                  <a:lnTo>
                    <a:pt x="2218" y="899"/>
                  </a:lnTo>
                  <a:lnTo>
                    <a:pt x="2218" y="899"/>
                  </a:lnTo>
                  <a:lnTo>
                    <a:pt x="2218" y="827"/>
                  </a:lnTo>
                  <a:lnTo>
                    <a:pt x="2218" y="827"/>
                  </a:lnTo>
                  <a:lnTo>
                    <a:pt x="2218" y="827"/>
                  </a:lnTo>
                  <a:lnTo>
                    <a:pt x="2217" y="827"/>
                  </a:lnTo>
                  <a:lnTo>
                    <a:pt x="2217" y="827"/>
                  </a:lnTo>
                  <a:lnTo>
                    <a:pt x="2217" y="827"/>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193" y="899"/>
                  </a:lnTo>
                  <a:lnTo>
                    <a:pt x="2193" y="899"/>
                  </a:lnTo>
                  <a:lnTo>
                    <a:pt x="2190" y="899"/>
                  </a:lnTo>
                  <a:lnTo>
                    <a:pt x="2190" y="899"/>
                  </a:lnTo>
                  <a:lnTo>
                    <a:pt x="2188" y="899"/>
                  </a:lnTo>
                  <a:lnTo>
                    <a:pt x="2188" y="899"/>
                  </a:lnTo>
                  <a:lnTo>
                    <a:pt x="2187" y="899"/>
                  </a:lnTo>
                  <a:lnTo>
                    <a:pt x="2187" y="899"/>
                  </a:lnTo>
                  <a:lnTo>
                    <a:pt x="2187" y="899"/>
                  </a:lnTo>
                  <a:lnTo>
                    <a:pt x="2187" y="837"/>
                  </a:lnTo>
                  <a:lnTo>
                    <a:pt x="2187" y="837"/>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99"/>
                  </a:lnTo>
                  <a:lnTo>
                    <a:pt x="2178" y="899"/>
                  </a:lnTo>
                  <a:lnTo>
                    <a:pt x="2178" y="862"/>
                  </a:lnTo>
                  <a:lnTo>
                    <a:pt x="2176" y="862"/>
                  </a:lnTo>
                  <a:lnTo>
                    <a:pt x="2176" y="899"/>
                  </a:lnTo>
                  <a:lnTo>
                    <a:pt x="2175" y="899"/>
                  </a:lnTo>
                  <a:lnTo>
                    <a:pt x="2175" y="862"/>
                  </a:lnTo>
                  <a:lnTo>
                    <a:pt x="2175" y="862"/>
                  </a:lnTo>
                  <a:lnTo>
                    <a:pt x="2175" y="899"/>
                  </a:lnTo>
                  <a:lnTo>
                    <a:pt x="2175" y="899"/>
                  </a:lnTo>
                  <a:lnTo>
                    <a:pt x="2175" y="899"/>
                  </a:lnTo>
                  <a:lnTo>
                    <a:pt x="2175" y="899"/>
                  </a:lnTo>
                  <a:lnTo>
                    <a:pt x="2175" y="899"/>
                  </a:lnTo>
                  <a:lnTo>
                    <a:pt x="2175" y="899"/>
                  </a:lnTo>
                  <a:lnTo>
                    <a:pt x="2175" y="899"/>
                  </a:lnTo>
                  <a:lnTo>
                    <a:pt x="2158" y="899"/>
                  </a:lnTo>
                  <a:lnTo>
                    <a:pt x="2158" y="899"/>
                  </a:lnTo>
                  <a:lnTo>
                    <a:pt x="2155" y="899"/>
                  </a:lnTo>
                  <a:lnTo>
                    <a:pt x="2155" y="899"/>
                  </a:lnTo>
                  <a:lnTo>
                    <a:pt x="2155" y="899"/>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4" y="899"/>
                  </a:lnTo>
                  <a:lnTo>
                    <a:pt x="2153" y="899"/>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99"/>
                  </a:lnTo>
                  <a:lnTo>
                    <a:pt x="2144" y="899"/>
                  </a:lnTo>
                  <a:lnTo>
                    <a:pt x="2144" y="899"/>
                  </a:lnTo>
                  <a:lnTo>
                    <a:pt x="2144" y="899"/>
                  </a:lnTo>
                  <a:lnTo>
                    <a:pt x="2144" y="899"/>
                  </a:lnTo>
                  <a:lnTo>
                    <a:pt x="2144" y="899"/>
                  </a:lnTo>
                  <a:lnTo>
                    <a:pt x="2144" y="899"/>
                  </a:lnTo>
                  <a:lnTo>
                    <a:pt x="2141" y="899"/>
                  </a:lnTo>
                  <a:lnTo>
                    <a:pt x="2141" y="899"/>
                  </a:lnTo>
                  <a:lnTo>
                    <a:pt x="2138" y="899"/>
                  </a:lnTo>
                  <a:lnTo>
                    <a:pt x="2138" y="899"/>
                  </a:lnTo>
                  <a:lnTo>
                    <a:pt x="2138" y="899"/>
                  </a:lnTo>
                  <a:lnTo>
                    <a:pt x="2138" y="882"/>
                  </a:lnTo>
                  <a:lnTo>
                    <a:pt x="2136" y="882"/>
                  </a:lnTo>
                  <a:lnTo>
                    <a:pt x="2136"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84"/>
                  </a:lnTo>
                  <a:lnTo>
                    <a:pt x="2087" y="884"/>
                  </a:lnTo>
                  <a:lnTo>
                    <a:pt x="2087" y="884"/>
                  </a:lnTo>
                  <a:lnTo>
                    <a:pt x="2086" y="884"/>
                  </a:lnTo>
                  <a:lnTo>
                    <a:pt x="2086" y="899"/>
                  </a:lnTo>
                  <a:lnTo>
                    <a:pt x="2086" y="899"/>
                  </a:lnTo>
                  <a:lnTo>
                    <a:pt x="2086" y="899"/>
                  </a:lnTo>
                  <a:lnTo>
                    <a:pt x="2085" y="899"/>
                  </a:lnTo>
                  <a:lnTo>
                    <a:pt x="2085" y="899"/>
                  </a:lnTo>
                  <a:lnTo>
                    <a:pt x="2085" y="899"/>
                  </a:lnTo>
                  <a:lnTo>
                    <a:pt x="2085" y="899"/>
                  </a:lnTo>
                  <a:lnTo>
                    <a:pt x="2085" y="899"/>
                  </a:lnTo>
                  <a:lnTo>
                    <a:pt x="2085" y="899"/>
                  </a:lnTo>
                  <a:lnTo>
                    <a:pt x="2083" y="899"/>
                  </a:lnTo>
                  <a:lnTo>
                    <a:pt x="2083" y="899"/>
                  </a:lnTo>
                  <a:lnTo>
                    <a:pt x="2082" y="899"/>
                  </a:lnTo>
                  <a:lnTo>
                    <a:pt x="2082" y="899"/>
                  </a:lnTo>
                  <a:lnTo>
                    <a:pt x="2082" y="899"/>
                  </a:lnTo>
                  <a:lnTo>
                    <a:pt x="2082"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79" y="899"/>
                  </a:lnTo>
                  <a:lnTo>
                    <a:pt x="2079" y="899"/>
                  </a:lnTo>
                  <a:lnTo>
                    <a:pt x="2078" y="899"/>
                  </a:lnTo>
                  <a:lnTo>
                    <a:pt x="2078" y="899"/>
                  </a:lnTo>
                  <a:lnTo>
                    <a:pt x="2078" y="899"/>
                  </a:lnTo>
                  <a:lnTo>
                    <a:pt x="2078" y="899"/>
                  </a:lnTo>
                  <a:lnTo>
                    <a:pt x="2078" y="899"/>
                  </a:lnTo>
                  <a:lnTo>
                    <a:pt x="2078" y="899"/>
                  </a:lnTo>
                  <a:lnTo>
                    <a:pt x="2078" y="899"/>
                  </a:lnTo>
                  <a:lnTo>
                    <a:pt x="2078"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9"/>
                  </a:lnTo>
                  <a:lnTo>
                    <a:pt x="2061" y="899"/>
                  </a:lnTo>
                  <a:lnTo>
                    <a:pt x="2061" y="899"/>
                  </a:lnTo>
                  <a:lnTo>
                    <a:pt x="2060" y="899"/>
                  </a:lnTo>
                  <a:lnTo>
                    <a:pt x="2060" y="899"/>
                  </a:lnTo>
                  <a:lnTo>
                    <a:pt x="2060" y="899"/>
                  </a:lnTo>
                  <a:lnTo>
                    <a:pt x="2060" y="899"/>
                  </a:lnTo>
                  <a:lnTo>
                    <a:pt x="2059" y="899"/>
                  </a:lnTo>
                  <a:lnTo>
                    <a:pt x="2059" y="899"/>
                  </a:lnTo>
                  <a:lnTo>
                    <a:pt x="2059" y="899"/>
                  </a:lnTo>
                  <a:lnTo>
                    <a:pt x="2059" y="899"/>
                  </a:lnTo>
                  <a:lnTo>
                    <a:pt x="2059" y="899"/>
                  </a:lnTo>
                  <a:lnTo>
                    <a:pt x="2059" y="899"/>
                  </a:lnTo>
                  <a:lnTo>
                    <a:pt x="2059" y="899"/>
                  </a:lnTo>
                  <a:lnTo>
                    <a:pt x="2059" y="899"/>
                  </a:lnTo>
                  <a:lnTo>
                    <a:pt x="2059" y="899"/>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51"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920"/>
                  </a:lnTo>
                  <a:lnTo>
                    <a:pt x="1944" y="920"/>
                  </a:lnTo>
                  <a:lnTo>
                    <a:pt x="1944" y="920"/>
                  </a:lnTo>
                  <a:lnTo>
                    <a:pt x="1944" y="920"/>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899"/>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899"/>
                  </a:lnTo>
                  <a:lnTo>
                    <a:pt x="1901" y="899"/>
                  </a:lnTo>
                  <a:lnTo>
                    <a:pt x="1901" y="899"/>
                  </a:lnTo>
                  <a:lnTo>
                    <a:pt x="1901" y="899"/>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899"/>
                  </a:lnTo>
                  <a:lnTo>
                    <a:pt x="1890" y="899"/>
                  </a:lnTo>
                  <a:lnTo>
                    <a:pt x="1890" y="899"/>
                  </a:lnTo>
                  <a:lnTo>
                    <a:pt x="1890" y="899"/>
                  </a:lnTo>
                  <a:lnTo>
                    <a:pt x="1890" y="899"/>
                  </a:lnTo>
                  <a:lnTo>
                    <a:pt x="1890" y="899"/>
                  </a:lnTo>
                  <a:lnTo>
                    <a:pt x="1890" y="899"/>
                  </a:lnTo>
                  <a:lnTo>
                    <a:pt x="1890" y="899"/>
                  </a:lnTo>
                  <a:lnTo>
                    <a:pt x="1890" y="899"/>
                  </a:lnTo>
                  <a:lnTo>
                    <a:pt x="1890" y="899"/>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899"/>
                  </a:lnTo>
                  <a:lnTo>
                    <a:pt x="1870" y="899"/>
                  </a:lnTo>
                  <a:lnTo>
                    <a:pt x="1870" y="899"/>
                  </a:lnTo>
                  <a:lnTo>
                    <a:pt x="1870" y="899"/>
                  </a:lnTo>
                  <a:lnTo>
                    <a:pt x="1870" y="899"/>
                  </a:lnTo>
                  <a:lnTo>
                    <a:pt x="1870" y="899"/>
                  </a:lnTo>
                  <a:lnTo>
                    <a:pt x="1870" y="899"/>
                  </a:lnTo>
                  <a:lnTo>
                    <a:pt x="1870" y="899"/>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899"/>
                  </a:lnTo>
                  <a:lnTo>
                    <a:pt x="1860" y="899"/>
                  </a:lnTo>
                  <a:lnTo>
                    <a:pt x="1860" y="948"/>
                  </a:lnTo>
                  <a:lnTo>
                    <a:pt x="1860" y="948"/>
                  </a:lnTo>
                  <a:lnTo>
                    <a:pt x="1860" y="948"/>
                  </a:lnTo>
                  <a:lnTo>
                    <a:pt x="1860" y="948"/>
                  </a:lnTo>
                  <a:lnTo>
                    <a:pt x="1860" y="948"/>
                  </a:lnTo>
                  <a:lnTo>
                    <a:pt x="1860" y="948"/>
                  </a:lnTo>
                  <a:lnTo>
                    <a:pt x="1860" y="899"/>
                  </a:lnTo>
                  <a:lnTo>
                    <a:pt x="1860" y="899"/>
                  </a:lnTo>
                  <a:lnTo>
                    <a:pt x="1860" y="952"/>
                  </a:lnTo>
                  <a:lnTo>
                    <a:pt x="1855" y="952"/>
                  </a:lnTo>
                  <a:lnTo>
                    <a:pt x="1855" y="899"/>
                  </a:lnTo>
                  <a:lnTo>
                    <a:pt x="1854" y="899"/>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899"/>
                  </a:lnTo>
                  <a:lnTo>
                    <a:pt x="1820" y="899"/>
                  </a:lnTo>
                  <a:lnTo>
                    <a:pt x="1820" y="899"/>
                  </a:lnTo>
                  <a:lnTo>
                    <a:pt x="1817" y="899"/>
                  </a:lnTo>
                  <a:lnTo>
                    <a:pt x="1817" y="899"/>
                  </a:lnTo>
                  <a:lnTo>
                    <a:pt x="1817" y="899"/>
                  </a:lnTo>
                  <a:lnTo>
                    <a:pt x="1817" y="899"/>
                  </a:lnTo>
                  <a:lnTo>
                    <a:pt x="1815" y="899"/>
                  </a:lnTo>
                  <a:lnTo>
                    <a:pt x="1815" y="899"/>
                  </a:lnTo>
                  <a:lnTo>
                    <a:pt x="1814" y="899"/>
                  </a:lnTo>
                  <a:lnTo>
                    <a:pt x="1814" y="899"/>
                  </a:lnTo>
                  <a:lnTo>
                    <a:pt x="1814" y="899"/>
                  </a:lnTo>
                  <a:lnTo>
                    <a:pt x="1814" y="899"/>
                  </a:lnTo>
                  <a:lnTo>
                    <a:pt x="1814" y="899"/>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1"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800"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9" y="899"/>
                  </a:lnTo>
                  <a:lnTo>
                    <a:pt x="1698" y="899"/>
                  </a:lnTo>
                  <a:lnTo>
                    <a:pt x="1698" y="899"/>
                  </a:lnTo>
                  <a:lnTo>
                    <a:pt x="1698" y="899"/>
                  </a:lnTo>
                  <a:lnTo>
                    <a:pt x="1698" y="899"/>
                  </a:lnTo>
                  <a:lnTo>
                    <a:pt x="1695" y="899"/>
                  </a:lnTo>
                  <a:lnTo>
                    <a:pt x="1695" y="899"/>
                  </a:lnTo>
                  <a:lnTo>
                    <a:pt x="1695" y="899"/>
                  </a:lnTo>
                  <a:lnTo>
                    <a:pt x="1695" y="899"/>
                  </a:lnTo>
                  <a:lnTo>
                    <a:pt x="1687" y="899"/>
                  </a:lnTo>
                  <a:lnTo>
                    <a:pt x="1687" y="899"/>
                  </a:lnTo>
                  <a:lnTo>
                    <a:pt x="1683" y="899"/>
                  </a:lnTo>
                  <a:lnTo>
                    <a:pt x="1683" y="899"/>
                  </a:lnTo>
                  <a:lnTo>
                    <a:pt x="1681" y="899"/>
                  </a:lnTo>
                  <a:lnTo>
                    <a:pt x="1681"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79" y="899"/>
                  </a:lnTo>
                  <a:lnTo>
                    <a:pt x="1637" y="899"/>
                  </a:lnTo>
                  <a:lnTo>
                    <a:pt x="1637" y="899"/>
                  </a:lnTo>
                  <a:lnTo>
                    <a:pt x="1631" y="899"/>
                  </a:lnTo>
                  <a:lnTo>
                    <a:pt x="1631" y="899"/>
                  </a:lnTo>
                  <a:lnTo>
                    <a:pt x="1628" y="899"/>
                  </a:lnTo>
                  <a:lnTo>
                    <a:pt x="1628" y="899"/>
                  </a:lnTo>
                  <a:lnTo>
                    <a:pt x="1626" y="899"/>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82" y="899"/>
                  </a:lnTo>
                  <a:lnTo>
                    <a:pt x="1479" y="899"/>
                  </a:lnTo>
                  <a:lnTo>
                    <a:pt x="1479" y="899"/>
                  </a:lnTo>
                  <a:lnTo>
                    <a:pt x="1478" y="899"/>
                  </a:lnTo>
                  <a:lnTo>
                    <a:pt x="1478" y="899"/>
                  </a:lnTo>
                  <a:lnTo>
                    <a:pt x="1478" y="899"/>
                  </a:lnTo>
                  <a:lnTo>
                    <a:pt x="1478" y="899"/>
                  </a:lnTo>
                  <a:lnTo>
                    <a:pt x="1478" y="899"/>
                  </a:lnTo>
                  <a:lnTo>
                    <a:pt x="1478" y="899"/>
                  </a:lnTo>
                  <a:lnTo>
                    <a:pt x="1478" y="899"/>
                  </a:lnTo>
                  <a:lnTo>
                    <a:pt x="1478" y="899"/>
                  </a:lnTo>
                  <a:lnTo>
                    <a:pt x="1478" y="89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899"/>
                  </a:lnTo>
                  <a:lnTo>
                    <a:pt x="1474" y="899"/>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899"/>
                  </a:lnTo>
                  <a:lnTo>
                    <a:pt x="1425" y="899"/>
                  </a:lnTo>
                  <a:lnTo>
                    <a:pt x="1425" y="899"/>
                  </a:lnTo>
                  <a:lnTo>
                    <a:pt x="1423" y="899"/>
                  </a:lnTo>
                  <a:lnTo>
                    <a:pt x="1423" y="899"/>
                  </a:lnTo>
                  <a:lnTo>
                    <a:pt x="1422" y="899"/>
                  </a:lnTo>
                  <a:lnTo>
                    <a:pt x="1422" y="899"/>
                  </a:lnTo>
                  <a:lnTo>
                    <a:pt x="1421" y="899"/>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7" y="899"/>
                  </a:lnTo>
                  <a:lnTo>
                    <a:pt x="1407" y="899"/>
                  </a:lnTo>
                  <a:lnTo>
                    <a:pt x="1406" y="899"/>
                  </a:lnTo>
                  <a:lnTo>
                    <a:pt x="1406" y="899"/>
                  </a:lnTo>
                  <a:lnTo>
                    <a:pt x="1406" y="899"/>
                  </a:lnTo>
                  <a:lnTo>
                    <a:pt x="1406"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5"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899"/>
                  </a:lnTo>
                  <a:lnTo>
                    <a:pt x="1388" y="899"/>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899"/>
                  </a:lnTo>
                  <a:lnTo>
                    <a:pt x="1368" y="1083"/>
                  </a:lnTo>
                  <a:lnTo>
                    <a:pt x="1367" y="1083"/>
                  </a:lnTo>
                  <a:lnTo>
                    <a:pt x="1367" y="899"/>
                  </a:lnTo>
                  <a:lnTo>
                    <a:pt x="1366" y="899"/>
                  </a:lnTo>
                  <a:lnTo>
                    <a:pt x="1366" y="1083"/>
                  </a:lnTo>
                  <a:lnTo>
                    <a:pt x="1366" y="1083"/>
                  </a:lnTo>
                  <a:lnTo>
                    <a:pt x="1366" y="899"/>
                  </a:lnTo>
                  <a:lnTo>
                    <a:pt x="1366" y="899"/>
                  </a:lnTo>
                  <a:lnTo>
                    <a:pt x="1366" y="899"/>
                  </a:lnTo>
                  <a:lnTo>
                    <a:pt x="1366" y="899"/>
                  </a:lnTo>
                  <a:lnTo>
                    <a:pt x="1366" y="899"/>
                  </a:lnTo>
                  <a:lnTo>
                    <a:pt x="1366" y="899"/>
                  </a:lnTo>
                  <a:lnTo>
                    <a:pt x="1366" y="1083"/>
                  </a:lnTo>
                  <a:lnTo>
                    <a:pt x="1366" y="1083"/>
                  </a:lnTo>
                  <a:lnTo>
                    <a:pt x="1366" y="899"/>
                  </a:lnTo>
                  <a:lnTo>
                    <a:pt x="1366" y="899"/>
                  </a:lnTo>
                  <a:lnTo>
                    <a:pt x="1366" y="899"/>
                  </a:lnTo>
                  <a:lnTo>
                    <a:pt x="1366" y="899"/>
                  </a:lnTo>
                  <a:lnTo>
                    <a:pt x="1366" y="1083"/>
                  </a:lnTo>
                  <a:lnTo>
                    <a:pt x="1366" y="1083"/>
                  </a:lnTo>
                  <a:lnTo>
                    <a:pt x="1366" y="899"/>
                  </a:lnTo>
                  <a:lnTo>
                    <a:pt x="1366" y="899"/>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6" y="899"/>
                  </a:lnTo>
                  <a:lnTo>
                    <a:pt x="1365" y="899"/>
                  </a:lnTo>
                  <a:lnTo>
                    <a:pt x="1365" y="899"/>
                  </a:lnTo>
                  <a:lnTo>
                    <a:pt x="1365" y="899"/>
                  </a:lnTo>
                  <a:lnTo>
                    <a:pt x="1365" y="899"/>
                  </a:lnTo>
                  <a:lnTo>
                    <a:pt x="1365" y="899"/>
                  </a:lnTo>
                  <a:lnTo>
                    <a:pt x="1365" y="899"/>
                  </a:lnTo>
                  <a:lnTo>
                    <a:pt x="1365" y="899"/>
                  </a:lnTo>
                  <a:lnTo>
                    <a:pt x="1365"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899"/>
                  </a:lnTo>
                  <a:lnTo>
                    <a:pt x="1364" y="1092"/>
                  </a:lnTo>
                  <a:lnTo>
                    <a:pt x="1363" y="1092"/>
                  </a:lnTo>
                  <a:lnTo>
                    <a:pt x="1363" y="1092"/>
                  </a:lnTo>
                  <a:lnTo>
                    <a:pt x="1363" y="1092"/>
                  </a:lnTo>
                  <a:lnTo>
                    <a:pt x="1363" y="1094"/>
                  </a:lnTo>
                  <a:lnTo>
                    <a:pt x="1361" y="1094"/>
                  </a:lnTo>
                  <a:lnTo>
                    <a:pt x="1361" y="1094"/>
                  </a:lnTo>
                  <a:lnTo>
                    <a:pt x="1360" y="1094"/>
                  </a:lnTo>
                  <a:lnTo>
                    <a:pt x="1360" y="899"/>
                  </a:lnTo>
                  <a:lnTo>
                    <a:pt x="1359" y="8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899"/>
                  </a:lnTo>
                  <a:lnTo>
                    <a:pt x="1359" y="899"/>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899"/>
                  </a:lnTo>
                  <a:lnTo>
                    <a:pt x="1356" y="899"/>
                  </a:lnTo>
                  <a:lnTo>
                    <a:pt x="1356" y="899"/>
                  </a:lnTo>
                  <a:lnTo>
                    <a:pt x="1356" y="899"/>
                  </a:lnTo>
                  <a:lnTo>
                    <a:pt x="1356" y="899"/>
                  </a:lnTo>
                  <a:lnTo>
                    <a:pt x="1355" y="899"/>
                  </a:lnTo>
                  <a:lnTo>
                    <a:pt x="1355" y="899"/>
                  </a:lnTo>
                  <a:lnTo>
                    <a:pt x="1355" y="899"/>
                  </a:lnTo>
                  <a:lnTo>
                    <a:pt x="1355"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899"/>
                  </a:lnTo>
                  <a:lnTo>
                    <a:pt x="1338" y="899"/>
                  </a:lnTo>
                  <a:lnTo>
                    <a:pt x="1338" y="1106"/>
                  </a:lnTo>
                  <a:lnTo>
                    <a:pt x="1338" y="1106"/>
                  </a:lnTo>
                  <a:lnTo>
                    <a:pt x="1338" y="899"/>
                  </a:lnTo>
                  <a:lnTo>
                    <a:pt x="1338" y="899"/>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899"/>
                  </a:lnTo>
                  <a:lnTo>
                    <a:pt x="1337" y="899"/>
                  </a:lnTo>
                  <a:lnTo>
                    <a:pt x="1337" y="899"/>
                  </a:lnTo>
                  <a:lnTo>
                    <a:pt x="1337" y="899"/>
                  </a:lnTo>
                  <a:lnTo>
                    <a:pt x="1337" y="899"/>
                  </a:lnTo>
                  <a:lnTo>
                    <a:pt x="1337" y="899"/>
                  </a:lnTo>
                  <a:lnTo>
                    <a:pt x="1337" y="899"/>
                  </a:lnTo>
                  <a:lnTo>
                    <a:pt x="1335" y="899"/>
                  </a:lnTo>
                  <a:lnTo>
                    <a:pt x="1335" y="899"/>
                  </a:lnTo>
                  <a:lnTo>
                    <a:pt x="1334" y="899"/>
                  </a:lnTo>
                  <a:lnTo>
                    <a:pt x="1334" y="899"/>
                  </a:lnTo>
                  <a:lnTo>
                    <a:pt x="1333" y="899"/>
                  </a:lnTo>
                  <a:lnTo>
                    <a:pt x="1333" y="899"/>
                  </a:lnTo>
                  <a:lnTo>
                    <a:pt x="1333" y="899"/>
                  </a:lnTo>
                  <a:lnTo>
                    <a:pt x="1333" y="899"/>
                  </a:lnTo>
                  <a:lnTo>
                    <a:pt x="1332" y="899"/>
                  </a:lnTo>
                  <a:lnTo>
                    <a:pt x="1332" y="899"/>
                  </a:lnTo>
                  <a:lnTo>
                    <a:pt x="1332" y="899"/>
                  </a:lnTo>
                  <a:lnTo>
                    <a:pt x="1332" y="899"/>
                  </a:lnTo>
                  <a:lnTo>
                    <a:pt x="1331" y="899"/>
                  </a:lnTo>
                  <a:lnTo>
                    <a:pt x="1331" y="899"/>
                  </a:lnTo>
                  <a:lnTo>
                    <a:pt x="1331" y="899"/>
                  </a:lnTo>
                  <a:lnTo>
                    <a:pt x="1331" y="899"/>
                  </a:lnTo>
                  <a:lnTo>
                    <a:pt x="1331" y="899"/>
                  </a:lnTo>
                  <a:lnTo>
                    <a:pt x="1331" y="899"/>
                  </a:lnTo>
                  <a:lnTo>
                    <a:pt x="1330" y="899"/>
                  </a:lnTo>
                  <a:lnTo>
                    <a:pt x="1330" y="899"/>
                  </a:lnTo>
                  <a:lnTo>
                    <a:pt x="1330" y="899"/>
                  </a:lnTo>
                  <a:lnTo>
                    <a:pt x="1330" y="899"/>
                  </a:lnTo>
                  <a:lnTo>
                    <a:pt x="1330" y="899"/>
                  </a:lnTo>
                  <a:lnTo>
                    <a:pt x="1330" y="899"/>
                  </a:lnTo>
                  <a:lnTo>
                    <a:pt x="1330" y="899"/>
                  </a:lnTo>
                  <a:lnTo>
                    <a:pt x="1330"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9"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8"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899"/>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6"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899"/>
                  </a:lnTo>
                  <a:lnTo>
                    <a:pt x="1319" y="899"/>
                  </a:lnTo>
                  <a:lnTo>
                    <a:pt x="1319"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318" y="899"/>
                  </a:lnTo>
                  <a:lnTo>
                    <a:pt x="1270" y="899"/>
                  </a:lnTo>
                  <a:lnTo>
                    <a:pt x="1270" y="899"/>
                  </a:lnTo>
                  <a:lnTo>
                    <a:pt x="1263" y="899"/>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899"/>
                  </a:lnTo>
                  <a:lnTo>
                    <a:pt x="1249" y="899"/>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899"/>
                  </a:lnTo>
                  <a:lnTo>
                    <a:pt x="1225" y="899"/>
                  </a:lnTo>
                  <a:lnTo>
                    <a:pt x="1225" y="899"/>
                  </a:lnTo>
                  <a:lnTo>
                    <a:pt x="1225" y="899"/>
                  </a:lnTo>
                  <a:lnTo>
                    <a:pt x="1225" y="899"/>
                  </a:lnTo>
                  <a:lnTo>
                    <a:pt x="1225" y="899"/>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899"/>
                  </a:lnTo>
                  <a:lnTo>
                    <a:pt x="1190" y="899"/>
                  </a:lnTo>
                  <a:lnTo>
                    <a:pt x="1190" y="899"/>
                  </a:lnTo>
                  <a:lnTo>
                    <a:pt x="1186" y="899"/>
                  </a:lnTo>
                  <a:lnTo>
                    <a:pt x="1186" y="899"/>
                  </a:lnTo>
                  <a:lnTo>
                    <a:pt x="1185" y="899"/>
                  </a:lnTo>
                  <a:lnTo>
                    <a:pt x="1185" y="899"/>
                  </a:lnTo>
                  <a:lnTo>
                    <a:pt x="1184" y="899"/>
                  </a:lnTo>
                  <a:lnTo>
                    <a:pt x="1184" y="899"/>
                  </a:lnTo>
                  <a:lnTo>
                    <a:pt x="1183" y="899"/>
                  </a:lnTo>
                  <a:lnTo>
                    <a:pt x="1183" y="899"/>
                  </a:lnTo>
                  <a:lnTo>
                    <a:pt x="1182" y="899"/>
                  </a:lnTo>
                  <a:lnTo>
                    <a:pt x="1182" y="899"/>
                  </a:lnTo>
                  <a:lnTo>
                    <a:pt x="1182" y="899"/>
                  </a:lnTo>
                  <a:lnTo>
                    <a:pt x="1182" y="899"/>
                  </a:lnTo>
                  <a:lnTo>
                    <a:pt x="1182" y="899"/>
                  </a:lnTo>
                  <a:lnTo>
                    <a:pt x="1182"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1136"/>
                  </a:lnTo>
                  <a:lnTo>
                    <a:pt x="1150" y="1136"/>
                  </a:lnTo>
                  <a:lnTo>
                    <a:pt x="1150" y="899"/>
                  </a:lnTo>
                  <a:lnTo>
                    <a:pt x="1147" y="899"/>
                  </a:lnTo>
                  <a:lnTo>
                    <a:pt x="1147" y="1136"/>
                  </a:lnTo>
                  <a:lnTo>
                    <a:pt x="1144" y="1136"/>
                  </a:lnTo>
                  <a:lnTo>
                    <a:pt x="1144" y="1136"/>
                  </a:lnTo>
                  <a:lnTo>
                    <a:pt x="1141" y="1136"/>
                  </a:lnTo>
                  <a:lnTo>
                    <a:pt x="1141" y="1136"/>
                  </a:lnTo>
                  <a:lnTo>
                    <a:pt x="1138" y="1136"/>
                  </a:lnTo>
                  <a:lnTo>
                    <a:pt x="1138" y="1136"/>
                  </a:lnTo>
                  <a:lnTo>
                    <a:pt x="1137" y="1136"/>
                  </a:lnTo>
                  <a:lnTo>
                    <a:pt x="1137" y="899"/>
                  </a:lnTo>
                  <a:lnTo>
                    <a:pt x="1135" y="899"/>
                  </a:lnTo>
                  <a:lnTo>
                    <a:pt x="1135" y="1136"/>
                  </a:lnTo>
                  <a:lnTo>
                    <a:pt x="1134" y="1136"/>
                  </a:lnTo>
                  <a:lnTo>
                    <a:pt x="1134" y="1136"/>
                  </a:lnTo>
                  <a:lnTo>
                    <a:pt x="1132" y="1136"/>
                  </a:lnTo>
                  <a:lnTo>
                    <a:pt x="1132" y="1136"/>
                  </a:lnTo>
                  <a:lnTo>
                    <a:pt x="1131" y="1136"/>
                  </a:lnTo>
                  <a:lnTo>
                    <a:pt x="1131" y="1136"/>
                  </a:lnTo>
                  <a:lnTo>
                    <a:pt x="1130" y="1136"/>
                  </a:lnTo>
                  <a:lnTo>
                    <a:pt x="1130" y="899"/>
                  </a:lnTo>
                  <a:lnTo>
                    <a:pt x="1130" y="899"/>
                  </a:lnTo>
                  <a:lnTo>
                    <a:pt x="1130" y="899"/>
                  </a:lnTo>
                  <a:lnTo>
                    <a:pt x="1130" y="899"/>
                  </a:lnTo>
                  <a:lnTo>
                    <a:pt x="1130" y="899"/>
                  </a:lnTo>
                  <a:lnTo>
                    <a:pt x="1129" y="899"/>
                  </a:lnTo>
                  <a:lnTo>
                    <a:pt x="1129" y="899"/>
                  </a:lnTo>
                  <a:lnTo>
                    <a:pt x="1129" y="899"/>
                  </a:lnTo>
                  <a:lnTo>
                    <a:pt x="1129" y="899"/>
                  </a:lnTo>
                  <a:lnTo>
                    <a:pt x="1129" y="899"/>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1136"/>
                  </a:lnTo>
                  <a:lnTo>
                    <a:pt x="1129" y="1136"/>
                  </a:lnTo>
                  <a:lnTo>
                    <a:pt x="1129" y="1136"/>
                  </a:lnTo>
                  <a:lnTo>
                    <a:pt x="1129" y="1136"/>
                  </a:lnTo>
                  <a:lnTo>
                    <a:pt x="1129" y="1136"/>
                  </a:lnTo>
                  <a:lnTo>
                    <a:pt x="1129" y="1136"/>
                  </a:lnTo>
                  <a:lnTo>
                    <a:pt x="1129" y="899"/>
                  </a:lnTo>
                  <a:lnTo>
                    <a:pt x="1129" y="899"/>
                  </a:lnTo>
                  <a:lnTo>
                    <a:pt x="1129" y="899"/>
                  </a:lnTo>
                  <a:lnTo>
                    <a:pt x="1129" y="899"/>
                  </a:lnTo>
                  <a:lnTo>
                    <a:pt x="1129" y="1136"/>
                  </a:lnTo>
                  <a:lnTo>
                    <a:pt x="1129" y="1136"/>
                  </a:lnTo>
                  <a:lnTo>
                    <a:pt x="1129" y="899"/>
                  </a:lnTo>
                  <a:lnTo>
                    <a:pt x="1129" y="899"/>
                  </a:lnTo>
                  <a:lnTo>
                    <a:pt x="1129" y="899"/>
                  </a:lnTo>
                  <a:lnTo>
                    <a:pt x="1104" y="899"/>
                  </a:lnTo>
                  <a:lnTo>
                    <a:pt x="1104" y="899"/>
                  </a:lnTo>
                  <a:lnTo>
                    <a:pt x="1102" y="899"/>
                  </a:lnTo>
                  <a:lnTo>
                    <a:pt x="1102" y="899"/>
                  </a:lnTo>
                  <a:lnTo>
                    <a:pt x="1102" y="899"/>
                  </a:lnTo>
                  <a:lnTo>
                    <a:pt x="1102" y="899"/>
                  </a:lnTo>
                  <a:lnTo>
                    <a:pt x="1102" y="899"/>
                  </a:lnTo>
                  <a:lnTo>
                    <a:pt x="1102" y="899"/>
                  </a:lnTo>
                  <a:lnTo>
                    <a:pt x="1101" y="899"/>
                  </a:lnTo>
                  <a:lnTo>
                    <a:pt x="1101" y="899"/>
                  </a:lnTo>
                  <a:lnTo>
                    <a:pt x="1101" y="899"/>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5"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4" y="899"/>
                  </a:lnTo>
                  <a:lnTo>
                    <a:pt x="1003" y="899"/>
                  </a:lnTo>
                  <a:lnTo>
                    <a:pt x="1003"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1002" y="899"/>
                  </a:lnTo>
                  <a:lnTo>
                    <a:pt x="991" y="899"/>
                  </a:lnTo>
                  <a:lnTo>
                    <a:pt x="991" y="1173"/>
                  </a:lnTo>
                  <a:lnTo>
                    <a:pt x="990" y="1173"/>
                  </a:lnTo>
                  <a:lnTo>
                    <a:pt x="990" y="899"/>
                  </a:lnTo>
                  <a:lnTo>
                    <a:pt x="989" y="899"/>
                  </a:lnTo>
                  <a:lnTo>
                    <a:pt x="989" y="1173"/>
                  </a:lnTo>
                  <a:lnTo>
                    <a:pt x="989" y="1173"/>
                  </a:lnTo>
                  <a:lnTo>
                    <a:pt x="989" y="899"/>
                  </a:lnTo>
                  <a:lnTo>
                    <a:pt x="989" y="899"/>
                  </a:lnTo>
                  <a:lnTo>
                    <a:pt x="989" y="899"/>
                  </a:lnTo>
                  <a:lnTo>
                    <a:pt x="989" y="899"/>
                  </a:lnTo>
                  <a:lnTo>
                    <a:pt x="989" y="899"/>
                  </a:lnTo>
                  <a:lnTo>
                    <a:pt x="989" y="899"/>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0" y="899"/>
                  </a:lnTo>
                  <a:lnTo>
                    <a:pt x="950" y="899"/>
                  </a:lnTo>
                  <a:lnTo>
                    <a:pt x="950" y="899"/>
                  </a:lnTo>
                  <a:lnTo>
                    <a:pt x="950" y="899"/>
                  </a:lnTo>
                  <a:lnTo>
                    <a:pt x="950" y="899"/>
                  </a:lnTo>
                  <a:lnTo>
                    <a:pt x="950"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7" y="899"/>
                  </a:lnTo>
                  <a:lnTo>
                    <a:pt x="946" y="899"/>
                  </a:lnTo>
                  <a:lnTo>
                    <a:pt x="946" y="899"/>
                  </a:lnTo>
                  <a:lnTo>
                    <a:pt x="946" y="899"/>
                  </a:lnTo>
                  <a:lnTo>
                    <a:pt x="946" y="899"/>
                  </a:lnTo>
                  <a:lnTo>
                    <a:pt x="946" y="899"/>
                  </a:lnTo>
                  <a:lnTo>
                    <a:pt x="946" y="899"/>
                  </a:lnTo>
                  <a:lnTo>
                    <a:pt x="946" y="899"/>
                  </a:lnTo>
                  <a:lnTo>
                    <a:pt x="946" y="899"/>
                  </a:lnTo>
                  <a:lnTo>
                    <a:pt x="945" y="899"/>
                  </a:lnTo>
                  <a:lnTo>
                    <a:pt x="945" y="899"/>
                  </a:lnTo>
                  <a:lnTo>
                    <a:pt x="945" y="899"/>
                  </a:lnTo>
                  <a:lnTo>
                    <a:pt x="945" y="899"/>
                  </a:lnTo>
                  <a:lnTo>
                    <a:pt x="944" y="899"/>
                  </a:lnTo>
                  <a:lnTo>
                    <a:pt x="944" y="899"/>
                  </a:lnTo>
                  <a:lnTo>
                    <a:pt x="943" y="899"/>
                  </a:lnTo>
                  <a:lnTo>
                    <a:pt x="943" y="899"/>
                  </a:lnTo>
                  <a:lnTo>
                    <a:pt x="943" y="899"/>
                  </a:lnTo>
                  <a:lnTo>
                    <a:pt x="943" y="899"/>
                  </a:lnTo>
                  <a:lnTo>
                    <a:pt x="943" y="899"/>
                  </a:lnTo>
                  <a:lnTo>
                    <a:pt x="943" y="899"/>
                  </a:lnTo>
                  <a:lnTo>
                    <a:pt x="943" y="899"/>
                  </a:lnTo>
                  <a:lnTo>
                    <a:pt x="943" y="899"/>
                  </a:lnTo>
                  <a:lnTo>
                    <a:pt x="943" y="899"/>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899"/>
                  </a:lnTo>
                  <a:lnTo>
                    <a:pt x="933" y="899"/>
                  </a:lnTo>
                  <a:lnTo>
                    <a:pt x="933" y="899"/>
                  </a:lnTo>
                  <a:lnTo>
                    <a:pt x="933" y="899"/>
                  </a:lnTo>
                  <a:lnTo>
                    <a:pt x="933" y="899"/>
                  </a:lnTo>
                  <a:lnTo>
                    <a:pt x="933" y="899"/>
                  </a:lnTo>
                  <a:lnTo>
                    <a:pt x="933"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2" y="899"/>
                  </a:lnTo>
                  <a:lnTo>
                    <a:pt x="931" y="899"/>
                  </a:lnTo>
                  <a:lnTo>
                    <a:pt x="931" y="899"/>
                  </a:lnTo>
                  <a:lnTo>
                    <a:pt x="929" y="899"/>
                  </a:lnTo>
                  <a:lnTo>
                    <a:pt x="929" y="899"/>
                  </a:lnTo>
                  <a:lnTo>
                    <a:pt x="928" y="899"/>
                  </a:lnTo>
                  <a:lnTo>
                    <a:pt x="928" y="899"/>
                  </a:lnTo>
                  <a:lnTo>
                    <a:pt x="923" y="899"/>
                  </a:lnTo>
                  <a:lnTo>
                    <a:pt x="923" y="899"/>
                  </a:lnTo>
                  <a:lnTo>
                    <a:pt x="920" y="899"/>
                  </a:lnTo>
                  <a:lnTo>
                    <a:pt x="920" y="899"/>
                  </a:lnTo>
                  <a:lnTo>
                    <a:pt x="918" y="899"/>
                  </a:lnTo>
                  <a:lnTo>
                    <a:pt x="918" y="899"/>
                  </a:lnTo>
                  <a:lnTo>
                    <a:pt x="917" y="899"/>
                  </a:lnTo>
                  <a:lnTo>
                    <a:pt x="917" y="899"/>
                  </a:lnTo>
                  <a:lnTo>
                    <a:pt x="916" y="899"/>
                  </a:lnTo>
                  <a:lnTo>
                    <a:pt x="916" y="899"/>
                  </a:lnTo>
                  <a:lnTo>
                    <a:pt x="915" y="899"/>
                  </a:lnTo>
                  <a:lnTo>
                    <a:pt x="915" y="899"/>
                  </a:lnTo>
                  <a:lnTo>
                    <a:pt x="915" y="899"/>
                  </a:lnTo>
                  <a:lnTo>
                    <a:pt x="915" y="899"/>
                  </a:lnTo>
                  <a:lnTo>
                    <a:pt x="914" y="899"/>
                  </a:lnTo>
                  <a:lnTo>
                    <a:pt x="914" y="899"/>
                  </a:lnTo>
                  <a:lnTo>
                    <a:pt x="914" y="899"/>
                  </a:lnTo>
                  <a:lnTo>
                    <a:pt x="914" y="899"/>
                  </a:lnTo>
                  <a:lnTo>
                    <a:pt x="914" y="899"/>
                  </a:lnTo>
                  <a:lnTo>
                    <a:pt x="914"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3"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899"/>
                  </a:lnTo>
                  <a:lnTo>
                    <a:pt x="896" y="899"/>
                  </a:lnTo>
                  <a:lnTo>
                    <a:pt x="896" y="899"/>
                  </a:lnTo>
                  <a:lnTo>
                    <a:pt x="894" y="899"/>
                  </a:lnTo>
                  <a:lnTo>
                    <a:pt x="894" y="899"/>
                  </a:lnTo>
                  <a:lnTo>
                    <a:pt x="893" y="899"/>
                  </a:lnTo>
                  <a:lnTo>
                    <a:pt x="893" y="899"/>
                  </a:lnTo>
                  <a:lnTo>
                    <a:pt x="892" y="899"/>
                  </a:lnTo>
                  <a:lnTo>
                    <a:pt x="892" y="899"/>
                  </a:lnTo>
                  <a:lnTo>
                    <a:pt x="892" y="899"/>
                  </a:lnTo>
                  <a:lnTo>
                    <a:pt x="892" y="899"/>
                  </a:lnTo>
                  <a:lnTo>
                    <a:pt x="891" y="899"/>
                  </a:lnTo>
                  <a:lnTo>
                    <a:pt x="891" y="899"/>
                  </a:lnTo>
                  <a:lnTo>
                    <a:pt x="891" y="899"/>
                  </a:lnTo>
                  <a:lnTo>
                    <a:pt x="891" y="899"/>
                  </a:lnTo>
                  <a:lnTo>
                    <a:pt x="890" y="899"/>
                  </a:lnTo>
                  <a:lnTo>
                    <a:pt x="890" y="899"/>
                  </a:lnTo>
                  <a:lnTo>
                    <a:pt x="890" y="899"/>
                  </a:lnTo>
                  <a:lnTo>
                    <a:pt x="890" y="899"/>
                  </a:lnTo>
                  <a:lnTo>
                    <a:pt x="889" y="899"/>
                  </a:lnTo>
                  <a:lnTo>
                    <a:pt x="889" y="899"/>
                  </a:lnTo>
                  <a:lnTo>
                    <a:pt x="889" y="899"/>
                  </a:lnTo>
                  <a:lnTo>
                    <a:pt x="889" y="899"/>
                  </a:lnTo>
                  <a:lnTo>
                    <a:pt x="889" y="899"/>
                  </a:lnTo>
                  <a:lnTo>
                    <a:pt x="889"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6" y="899"/>
                  </a:lnTo>
                  <a:lnTo>
                    <a:pt x="885" y="899"/>
                  </a:lnTo>
                  <a:lnTo>
                    <a:pt x="885" y="899"/>
                  </a:lnTo>
                  <a:lnTo>
                    <a:pt x="884" y="899"/>
                  </a:lnTo>
                  <a:lnTo>
                    <a:pt x="884" y="899"/>
                  </a:lnTo>
                  <a:lnTo>
                    <a:pt x="884" y="899"/>
                  </a:lnTo>
                  <a:lnTo>
                    <a:pt x="884" y="899"/>
                  </a:lnTo>
                  <a:lnTo>
                    <a:pt x="883" y="899"/>
                  </a:lnTo>
                  <a:lnTo>
                    <a:pt x="883" y="899"/>
                  </a:lnTo>
                  <a:lnTo>
                    <a:pt x="883" y="899"/>
                  </a:lnTo>
                  <a:lnTo>
                    <a:pt x="883" y="899"/>
                  </a:lnTo>
                  <a:lnTo>
                    <a:pt x="883" y="899"/>
                  </a:lnTo>
                  <a:lnTo>
                    <a:pt x="883" y="899"/>
                  </a:lnTo>
                  <a:lnTo>
                    <a:pt x="883" y="899"/>
                  </a:lnTo>
                  <a:lnTo>
                    <a:pt x="883" y="899"/>
                  </a:lnTo>
                  <a:lnTo>
                    <a:pt x="883" y="899"/>
                  </a:lnTo>
                  <a:lnTo>
                    <a:pt x="883"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81" y="899"/>
                  </a:lnTo>
                  <a:lnTo>
                    <a:pt x="852" y="899"/>
                  </a:lnTo>
                  <a:lnTo>
                    <a:pt x="852"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1" y="899"/>
                  </a:lnTo>
                  <a:lnTo>
                    <a:pt x="850" y="899"/>
                  </a:lnTo>
                  <a:lnTo>
                    <a:pt x="850" y="1220"/>
                  </a:lnTo>
                  <a:lnTo>
                    <a:pt x="849" y="1220"/>
                  </a:lnTo>
                  <a:lnTo>
                    <a:pt x="849" y="1220"/>
                  </a:lnTo>
                  <a:lnTo>
                    <a:pt x="848" y="1220"/>
                  </a:lnTo>
                  <a:lnTo>
                    <a:pt x="848" y="899"/>
                  </a:lnTo>
                  <a:lnTo>
                    <a:pt x="848" y="899"/>
                  </a:lnTo>
                  <a:lnTo>
                    <a:pt x="848" y="1220"/>
                  </a:lnTo>
                  <a:lnTo>
                    <a:pt x="848" y="1220"/>
                  </a:lnTo>
                  <a:lnTo>
                    <a:pt x="848" y="1220"/>
                  </a:lnTo>
                  <a:lnTo>
                    <a:pt x="848" y="1220"/>
                  </a:lnTo>
                  <a:lnTo>
                    <a:pt x="848" y="899"/>
                  </a:lnTo>
                  <a:lnTo>
                    <a:pt x="847" y="899"/>
                  </a:lnTo>
                  <a:lnTo>
                    <a:pt x="847" y="899"/>
                  </a:lnTo>
                  <a:lnTo>
                    <a:pt x="847" y="899"/>
                  </a:lnTo>
                  <a:lnTo>
                    <a:pt x="847" y="899"/>
                  </a:lnTo>
                  <a:lnTo>
                    <a:pt x="847" y="899"/>
                  </a:lnTo>
                  <a:lnTo>
                    <a:pt x="847" y="899"/>
                  </a:lnTo>
                  <a:lnTo>
                    <a:pt x="847" y="899"/>
                  </a:lnTo>
                  <a:lnTo>
                    <a:pt x="847" y="1220"/>
                  </a:lnTo>
                  <a:lnTo>
                    <a:pt x="847" y="1220"/>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899"/>
                  </a:lnTo>
                  <a:lnTo>
                    <a:pt x="847" y="899"/>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38" y="899"/>
                  </a:lnTo>
                  <a:lnTo>
                    <a:pt x="838" y="899"/>
                  </a:lnTo>
                  <a:lnTo>
                    <a:pt x="837" y="899"/>
                  </a:lnTo>
                  <a:lnTo>
                    <a:pt x="837"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800" y="899"/>
                  </a:lnTo>
                  <a:lnTo>
                    <a:pt x="795" y="899"/>
                  </a:lnTo>
                  <a:lnTo>
                    <a:pt x="795" y="899"/>
                  </a:lnTo>
                  <a:lnTo>
                    <a:pt x="794" y="899"/>
                  </a:lnTo>
                  <a:lnTo>
                    <a:pt x="794" y="899"/>
                  </a:lnTo>
                  <a:lnTo>
                    <a:pt x="794" y="899"/>
                  </a:lnTo>
                  <a:lnTo>
                    <a:pt x="794"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3" y="899"/>
                  </a:lnTo>
                  <a:lnTo>
                    <a:pt x="792" y="899"/>
                  </a:lnTo>
                  <a:lnTo>
                    <a:pt x="792" y="1250"/>
                  </a:lnTo>
                  <a:lnTo>
                    <a:pt x="792" y="1250"/>
                  </a:lnTo>
                  <a:lnTo>
                    <a:pt x="792" y="1250"/>
                  </a:lnTo>
                  <a:lnTo>
                    <a:pt x="792" y="1250"/>
                  </a:lnTo>
                  <a:lnTo>
                    <a:pt x="792" y="899"/>
                  </a:lnTo>
                  <a:lnTo>
                    <a:pt x="786" y="899"/>
                  </a:lnTo>
                  <a:lnTo>
                    <a:pt x="786" y="899"/>
                  </a:lnTo>
                  <a:lnTo>
                    <a:pt x="782" y="899"/>
                  </a:lnTo>
                  <a:lnTo>
                    <a:pt x="782" y="899"/>
                  </a:lnTo>
                  <a:lnTo>
                    <a:pt x="781" y="899"/>
                  </a:lnTo>
                  <a:lnTo>
                    <a:pt x="781" y="899"/>
                  </a:lnTo>
                  <a:lnTo>
                    <a:pt x="779" y="899"/>
                  </a:lnTo>
                  <a:lnTo>
                    <a:pt x="779" y="899"/>
                  </a:lnTo>
                  <a:lnTo>
                    <a:pt x="778" y="899"/>
                  </a:lnTo>
                  <a:lnTo>
                    <a:pt x="778" y="899"/>
                  </a:lnTo>
                  <a:lnTo>
                    <a:pt x="778" y="899"/>
                  </a:lnTo>
                  <a:lnTo>
                    <a:pt x="778" y="899"/>
                  </a:lnTo>
                  <a:lnTo>
                    <a:pt x="778" y="899"/>
                  </a:lnTo>
                  <a:lnTo>
                    <a:pt x="778" y="899"/>
                  </a:lnTo>
                  <a:lnTo>
                    <a:pt x="778" y="899"/>
                  </a:lnTo>
                  <a:lnTo>
                    <a:pt x="778" y="899"/>
                  </a:lnTo>
                  <a:lnTo>
                    <a:pt x="777" y="899"/>
                  </a:lnTo>
                  <a:lnTo>
                    <a:pt x="777" y="899"/>
                  </a:lnTo>
                  <a:lnTo>
                    <a:pt x="777" y="899"/>
                  </a:lnTo>
                  <a:lnTo>
                    <a:pt x="777" y="899"/>
                  </a:lnTo>
                  <a:lnTo>
                    <a:pt x="777" y="899"/>
                  </a:lnTo>
                  <a:lnTo>
                    <a:pt x="777" y="899"/>
                  </a:lnTo>
                  <a:lnTo>
                    <a:pt x="777" y="899"/>
                  </a:lnTo>
                  <a:lnTo>
                    <a:pt x="777" y="1253"/>
                  </a:lnTo>
                  <a:lnTo>
                    <a:pt x="768" y="1253"/>
                  </a:lnTo>
                  <a:lnTo>
                    <a:pt x="768" y="1253"/>
                  </a:lnTo>
                  <a:lnTo>
                    <a:pt x="768" y="1253"/>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3" y="899"/>
                  </a:lnTo>
                  <a:lnTo>
                    <a:pt x="763" y="899"/>
                  </a:lnTo>
                  <a:lnTo>
                    <a:pt x="760" y="899"/>
                  </a:lnTo>
                  <a:lnTo>
                    <a:pt x="760" y="899"/>
                  </a:lnTo>
                  <a:lnTo>
                    <a:pt x="759" y="899"/>
                  </a:lnTo>
                  <a:lnTo>
                    <a:pt x="759" y="899"/>
                  </a:lnTo>
                  <a:lnTo>
                    <a:pt x="758" y="899"/>
                  </a:lnTo>
                  <a:lnTo>
                    <a:pt x="758" y="899"/>
                  </a:lnTo>
                  <a:lnTo>
                    <a:pt x="757" y="899"/>
                  </a:lnTo>
                  <a:lnTo>
                    <a:pt x="757" y="899"/>
                  </a:lnTo>
                  <a:lnTo>
                    <a:pt x="756" y="899"/>
                  </a:lnTo>
                  <a:lnTo>
                    <a:pt x="756" y="899"/>
                  </a:lnTo>
                  <a:lnTo>
                    <a:pt x="756" y="899"/>
                  </a:lnTo>
                  <a:lnTo>
                    <a:pt x="756" y="899"/>
                  </a:lnTo>
                  <a:lnTo>
                    <a:pt x="755" y="899"/>
                  </a:lnTo>
                  <a:lnTo>
                    <a:pt x="755" y="899"/>
                  </a:lnTo>
                  <a:lnTo>
                    <a:pt x="754" y="899"/>
                  </a:lnTo>
                  <a:lnTo>
                    <a:pt x="754" y="899"/>
                  </a:lnTo>
                  <a:lnTo>
                    <a:pt x="754" y="899"/>
                  </a:lnTo>
                  <a:lnTo>
                    <a:pt x="754" y="899"/>
                  </a:lnTo>
                  <a:lnTo>
                    <a:pt x="754" y="899"/>
                  </a:lnTo>
                  <a:lnTo>
                    <a:pt x="754" y="899"/>
                  </a:lnTo>
                  <a:lnTo>
                    <a:pt x="753" y="899"/>
                  </a:lnTo>
                  <a:lnTo>
                    <a:pt x="753" y="899"/>
                  </a:lnTo>
                  <a:lnTo>
                    <a:pt x="753" y="899"/>
                  </a:lnTo>
                  <a:lnTo>
                    <a:pt x="753"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899"/>
                  </a:lnTo>
                  <a:lnTo>
                    <a:pt x="726" y="899"/>
                  </a:lnTo>
                  <a:lnTo>
                    <a:pt x="726" y="1266"/>
                  </a:lnTo>
                  <a:lnTo>
                    <a:pt x="726" y="1266"/>
                  </a:lnTo>
                  <a:lnTo>
                    <a:pt x="726" y="1269"/>
                  </a:lnTo>
                  <a:lnTo>
                    <a:pt x="680" y="126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1273"/>
                  </a:lnTo>
                  <a:lnTo>
                    <a:pt x="677" y="1273"/>
                  </a:lnTo>
                  <a:lnTo>
                    <a:pt x="677" y="1273"/>
                  </a:lnTo>
                  <a:lnTo>
                    <a:pt x="677" y="1273"/>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899"/>
                  </a:lnTo>
                  <a:lnTo>
                    <a:pt x="677" y="1276"/>
                  </a:lnTo>
                  <a:lnTo>
                    <a:pt x="675" y="1276"/>
                  </a:lnTo>
                  <a:lnTo>
                    <a:pt x="675" y="1276"/>
                  </a:lnTo>
                  <a:lnTo>
                    <a:pt x="674" y="1276"/>
                  </a:lnTo>
                  <a:lnTo>
                    <a:pt x="674" y="899"/>
                  </a:lnTo>
                  <a:lnTo>
                    <a:pt x="674" y="899"/>
                  </a:lnTo>
                  <a:lnTo>
                    <a:pt x="674" y="899"/>
                  </a:lnTo>
                  <a:lnTo>
                    <a:pt x="673" y="899"/>
                  </a:lnTo>
                  <a:lnTo>
                    <a:pt x="673" y="899"/>
                  </a:lnTo>
                  <a:lnTo>
                    <a:pt x="673" y="899"/>
                  </a:lnTo>
                  <a:lnTo>
                    <a:pt x="673" y="1276"/>
                  </a:lnTo>
                  <a:lnTo>
                    <a:pt x="673" y="1276"/>
                  </a:lnTo>
                  <a:lnTo>
                    <a:pt x="673" y="1276"/>
                  </a:lnTo>
                  <a:lnTo>
                    <a:pt x="673" y="1276"/>
                  </a:lnTo>
                  <a:lnTo>
                    <a:pt x="673" y="899"/>
                  </a:lnTo>
                  <a:lnTo>
                    <a:pt x="663" y="899"/>
                  </a:lnTo>
                  <a:lnTo>
                    <a:pt x="663" y="899"/>
                  </a:lnTo>
                  <a:lnTo>
                    <a:pt x="663" y="899"/>
                  </a:lnTo>
                  <a:lnTo>
                    <a:pt x="663" y="899"/>
                  </a:lnTo>
                  <a:lnTo>
                    <a:pt x="653" y="899"/>
                  </a:lnTo>
                  <a:lnTo>
                    <a:pt x="653" y="899"/>
                  </a:lnTo>
                  <a:lnTo>
                    <a:pt x="651" y="899"/>
                  </a:lnTo>
                  <a:lnTo>
                    <a:pt x="651" y="899"/>
                  </a:lnTo>
                  <a:lnTo>
                    <a:pt x="650" y="899"/>
                  </a:lnTo>
                  <a:lnTo>
                    <a:pt x="650"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6" y="899"/>
                  </a:lnTo>
                  <a:lnTo>
                    <a:pt x="605" y="899"/>
                  </a:lnTo>
                  <a:lnTo>
                    <a:pt x="605" y="899"/>
                  </a:lnTo>
                  <a:lnTo>
                    <a:pt x="605" y="899"/>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899"/>
                  </a:lnTo>
                  <a:lnTo>
                    <a:pt x="590" y="899"/>
                  </a:lnTo>
                  <a:lnTo>
                    <a:pt x="590" y="899"/>
                  </a:lnTo>
                  <a:lnTo>
                    <a:pt x="589" y="899"/>
                  </a:lnTo>
                  <a:lnTo>
                    <a:pt x="589" y="899"/>
                  </a:lnTo>
                  <a:lnTo>
                    <a:pt x="588" y="899"/>
                  </a:lnTo>
                  <a:lnTo>
                    <a:pt x="588" y="899"/>
                  </a:lnTo>
                  <a:lnTo>
                    <a:pt x="588" y="899"/>
                  </a:lnTo>
                  <a:lnTo>
                    <a:pt x="588" y="899"/>
                  </a:lnTo>
                  <a:lnTo>
                    <a:pt x="587" y="899"/>
                  </a:lnTo>
                  <a:lnTo>
                    <a:pt x="587" y="899"/>
                  </a:lnTo>
                  <a:lnTo>
                    <a:pt x="587" y="899"/>
                  </a:lnTo>
                  <a:lnTo>
                    <a:pt x="587" y="899"/>
                  </a:lnTo>
                  <a:lnTo>
                    <a:pt x="587" y="899"/>
                  </a:lnTo>
                  <a:lnTo>
                    <a:pt x="587"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1292"/>
                  </a:lnTo>
                  <a:lnTo>
                    <a:pt x="579" y="1292"/>
                  </a:lnTo>
                  <a:lnTo>
                    <a:pt x="579" y="899"/>
                  </a:lnTo>
                  <a:lnTo>
                    <a:pt x="576" y="899"/>
                  </a:lnTo>
                  <a:lnTo>
                    <a:pt x="576" y="899"/>
                  </a:lnTo>
                  <a:lnTo>
                    <a:pt x="574" y="899"/>
                  </a:lnTo>
                  <a:lnTo>
                    <a:pt x="574"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73" y="899"/>
                  </a:lnTo>
                  <a:lnTo>
                    <a:pt x="554" y="899"/>
                  </a:lnTo>
                  <a:lnTo>
                    <a:pt x="554" y="899"/>
                  </a:lnTo>
                  <a:lnTo>
                    <a:pt x="554" y="899"/>
                  </a:lnTo>
                  <a:lnTo>
                    <a:pt x="554" y="899"/>
                  </a:lnTo>
                  <a:lnTo>
                    <a:pt x="551" y="899"/>
                  </a:lnTo>
                  <a:lnTo>
                    <a:pt x="551" y="899"/>
                  </a:lnTo>
                  <a:lnTo>
                    <a:pt x="550" y="899"/>
                  </a:lnTo>
                  <a:lnTo>
                    <a:pt x="550"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9"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899"/>
                  </a:lnTo>
                  <a:lnTo>
                    <a:pt x="538" y="899"/>
                  </a:lnTo>
                  <a:lnTo>
                    <a:pt x="538" y="899"/>
                  </a:lnTo>
                  <a:lnTo>
                    <a:pt x="534" y="899"/>
                  </a:lnTo>
                  <a:lnTo>
                    <a:pt x="534" y="899"/>
                  </a:lnTo>
                  <a:lnTo>
                    <a:pt x="533" y="899"/>
                  </a:lnTo>
                  <a:lnTo>
                    <a:pt x="533" y="899"/>
                  </a:lnTo>
                  <a:lnTo>
                    <a:pt x="532" y="899"/>
                  </a:lnTo>
                  <a:lnTo>
                    <a:pt x="532" y="899"/>
                  </a:lnTo>
                  <a:lnTo>
                    <a:pt x="532" y="899"/>
                  </a:lnTo>
                  <a:lnTo>
                    <a:pt x="532" y="899"/>
                  </a:lnTo>
                  <a:lnTo>
                    <a:pt x="531" y="899"/>
                  </a:lnTo>
                  <a:lnTo>
                    <a:pt x="531" y="899"/>
                  </a:lnTo>
                  <a:lnTo>
                    <a:pt x="531" y="899"/>
                  </a:lnTo>
                  <a:lnTo>
                    <a:pt x="531" y="899"/>
                  </a:lnTo>
                  <a:lnTo>
                    <a:pt x="530" y="899"/>
                  </a:lnTo>
                  <a:lnTo>
                    <a:pt x="530" y="899"/>
                  </a:lnTo>
                  <a:lnTo>
                    <a:pt x="530" y="899"/>
                  </a:lnTo>
                  <a:lnTo>
                    <a:pt x="530" y="899"/>
                  </a:lnTo>
                  <a:lnTo>
                    <a:pt x="530" y="899"/>
                  </a:lnTo>
                  <a:lnTo>
                    <a:pt x="530" y="899"/>
                  </a:lnTo>
                  <a:lnTo>
                    <a:pt x="530" y="899"/>
                  </a:lnTo>
                  <a:lnTo>
                    <a:pt x="530" y="899"/>
                  </a:lnTo>
                  <a:lnTo>
                    <a:pt x="530" y="899"/>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0" y="899"/>
                  </a:lnTo>
                  <a:lnTo>
                    <a:pt x="510" y="899"/>
                  </a:lnTo>
                  <a:lnTo>
                    <a:pt x="510" y="899"/>
                  </a:lnTo>
                  <a:lnTo>
                    <a:pt x="510" y="899"/>
                  </a:lnTo>
                  <a:lnTo>
                    <a:pt x="510" y="899"/>
                  </a:lnTo>
                  <a:lnTo>
                    <a:pt x="510" y="899"/>
                  </a:lnTo>
                  <a:lnTo>
                    <a:pt x="477" y="899"/>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899"/>
                  </a:lnTo>
                  <a:lnTo>
                    <a:pt x="472" y="899"/>
                  </a:lnTo>
                  <a:lnTo>
                    <a:pt x="472" y="899"/>
                  </a:lnTo>
                  <a:lnTo>
                    <a:pt x="471" y="899"/>
                  </a:lnTo>
                  <a:lnTo>
                    <a:pt x="471" y="899"/>
                  </a:lnTo>
                  <a:lnTo>
                    <a:pt x="471" y="899"/>
                  </a:lnTo>
                  <a:lnTo>
                    <a:pt x="471" y="899"/>
                  </a:lnTo>
                  <a:lnTo>
                    <a:pt x="471" y="899"/>
                  </a:lnTo>
                  <a:lnTo>
                    <a:pt x="471" y="899"/>
                  </a:lnTo>
                  <a:lnTo>
                    <a:pt x="471" y="899"/>
                  </a:lnTo>
                  <a:lnTo>
                    <a:pt x="471" y="899"/>
                  </a:lnTo>
                  <a:lnTo>
                    <a:pt x="470" y="899"/>
                  </a:lnTo>
                  <a:lnTo>
                    <a:pt x="470" y="899"/>
                  </a:lnTo>
                  <a:lnTo>
                    <a:pt x="470" y="899"/>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899"/>
                  </a:lnTo>
                  <a:lnTo>
                    <a:pt x="453" y="899"/>
                  </a:lnTo>
                  <a:lnTo>
                    <a:pt x="453" y="1324"/>
                  </a:lnTo>
                  <a:lnTo>
                    <a:pt x="453" y="1324"/>
                  </a:lnTo>
                  <a:lnTo>
                    <a:pt x="453" y="899"/>
                  </a:lnTo>
                  <a:lnTo>
                    <a:pt x="453" y="899"/>
                  </a:lnTo>
                  <a:lnTo>
                    <a:pt x="453" y="899"/>
                  </a:lnTo>
                  <a:lnTo>
                    <a:pt x="453" y="899"/>
                  </a:lnTo>
                  <a:lnTo>
                    <a:pt x="453" y="899"/>
                  </a:lnTo>
                  <a:lnTo>
                    <a:pt x="453" y="899"/>
                  </a:lnTo>
                  <a:lnTo>
                    <a:pt x="453" y="899"/>
                  </a:lnTo>
                  <a:lnTo>
                    <a:pt x="453" y="899"/>
                  </a:lnTo>
                  <a:lnTo>
                    <a:pt x="453" y="899"/>
                  </a:lnTo>
                  <a:lnTo>
                    <a:pt x="451" y="899"/>
                  </a:lnTo>
                  <a:lnTo>
                    <a:pt x="451" y="899"/>
                  </a:lnTo>
                  <a:lnTo>
                    <a:pt x="450" y="899"/>
                  </a:lnTo>
                  <a:lnTo>
                    <a:pt x="450" y="899"/>
                  </a:lnTo>
                  <a:lnTo>
                    <a:pt x="449" y="899"/>
                  </a:lnTo>
                  <a:lnTo>
                    <a:pt x="449"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8" y="899"/>
                  </a:lnTo>
                  <a:lnTo>
                    <a:pt x="447" y="899"/>
                  </a:lnTo>
                  <a:lnTo>
                    <a:pt x="447" y="899"/>
                  </a:lnTo>
                  <a:lnTo>
                    <a:pt x="447" y="899"/>
                  </a:lnTo>
                  <a:lnTo>
                    <a:pt x="447" y="899"/>
                  </a:lnTo>
                  <a:lnTo>
                    <a:pt x="439" y="899"/>
                  </a:lnTo>
                  <a:lnTo>
                    <a:pt x="439" y="899"/>
                  </a:lnTo>
                  <a:lnTo>
                    <a:pt x="436" y="899"/>
                  </a:lnTo>
                  <a:lnTo>
                    <a:pt x="436" y="899"/>
                  </a:lnTo>
                  <a:lnTo>
                    <a:pt x="433" y="899"/>
                  </a:lnTo>
                  <a:lnTo>
                    <a:pt x="433" y="899"/>
                  </a:lnTo>
                  <a:lnTo>
                    <a:pt x="431" y="899"/>
                  </a:lnTo>
                  <a:lnTo>
                    <a:pt x="431"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30" y="899"/>
                  </a:lnTo>
                  <a:lnTo>
                    <a:pt x="424" y="899"/>
                  </a:lnTo>
                  <a:lnTo>
                    <a:pt x="424" y="899"/>
                  </a:lnTo>
                  <a:lnTo>
                    <a:pt x="418" y="899"/>
                  </a:lnTo>
                  <a:lnTo>
                    <a:pt x="418" y="899"/>
                  </a:lnTo>
                  <a:lnTo>
                    <a:pt x="415" y="899"/>
                  </a:lnTo>
                  <a:lnTo>
                    <a:pt x="415" y="899"/>
                  </a:lnTo>
                  <a:lnTo>
                    <a:pt x="413" y="899"/>
                  </a:lnTo>
                  <a:lnTo>
                    <a:pt x="413" y="899"/>
                  </a:lnTo>
                  <a:lnTo>
                    <a:pt x="412" y="899"/>
                  </a:lnTo>
                  <a:lnTo>
                    <a:pt x="412" y="899"/>
                  </a:lnTo>
                  <a:lnTo>
                    <a:pt x="410" y="899"/>
                  </a:lnTo>
                  <a:lnTo>
                    <a:pt x="410" y="899"/>
                  </a:lnTo>
                  <a:lnTo>
                    <a:pt x="409" y="899"/>
                  </a:lnTo>
                  <a:lnTo>
                    <a:pt x="409" y="899"/>
                  </a:lnTo>
                  <a:lnTo>
                    <a:pt x="407" y="899"/>
                  </a:lnTo>
                  <a:lnTo>
                    <a:pt x="407" y="899"/>
                  </a:lnTo>
                  <a:lnTo>
                    <a:pt x="406" y="899"/>
                  </a:lnTo>
                  <a:lnTo>
                    <a:pt x="406" y="899"/>
                  </a:lnTo>
                  <a:lnTo>
                    <a:pt x="405" y="899"/>
                  </a:lnTo>
                  <a:lnTo>
                    <a:pt x="405" y="899"/>
                  </a:lnTo>
                  <a:lnTo>
                    <a:pt x="405" y="899"/>
                  </a:lnTo>
                  <a:lnTo>
                    <a:pt x="405" y="899"/>
                  </a:lnTo>
                  <a:lnTo>
                    <a:pt x="405" y="899"/>
                  </a:lnTo>
                  <a:lnTo>
                    <a:pt x="405" y="899"/>
                  </a:lnTo>
                  <a:lnTo>
                    <a:pt x="404" y="899"/>
                  </a:lnTo>
                  <a:lnTo>
                    <a:pt x="404" y="899"/>
                  </a:lnTo>
                  <a:lnTo>
                    <a:pt x="403" y="899"/>
                  </a:lnTo>
                  <a:lnTo>
                    <a:pt x="403"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3"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2" y="899"/>
                  </a:lnTo>
                  <a:lnTo>
                    <a:pt x="381" y="899"/>
                  </a:lnTo>
                  <a:lnTo>
                    <a:pt x="381" y="899"/>
                  </a:lnTo>
                  <a:lnTo>
                    <a:pt x="380" y="899"/>
                  </a:lnTo>
                  <a:lnTo>
                    <a:pt x="380" y="899"/>
                  </a:lnTo>
                  <a:lnTo>
                    <a:pt x="379" y="899"/>
                  </a:lnTo>
                  <a:lnTo>
                    <a:pt x="379" y="899"/>
                  </a:lnTo>
                  <a:lnTo>
                    <a:pt x="378" y="899"/>
                  </a:lnTo>
                  <a:lnTo>
                    <a:pt x="378" y="899"/>
                  </a:lnTo>
                  <a:lnTo>
                    <a:pt x="378" y="899"/>
                  </a:lnTo>
                  <a:lnTo>
                    <a:pt x="378" y="899"/>
                  </a:lnTo>
                  <a:lnTo>
                    <a:pt x="378" y="899"/>
                  </a:lnTo>
                  <a:lnTo>
                    <a:pt x="378" y="899"/>
                  </a:lnTo>
                  <a:lnTo>
                    <a:pt x="378" y="899"/>
                  </a:lnTo>
                  <a:lnTo>
                    <a:pt x="378"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77" y="899"/>
                  </a:lnTo>
                  <a:lnTo>
                    <a:pt x="358" y="899"/>
                  </a:lnTo>
                  <a:lnTo>
                    <a:pt x="358" y="899"/>
                  </a:lnTo>
                  <a:lnTo>
                    <a:pt x="354" y="899"/>
                  </a:lnTo>
                  <a:lnTo>
                    <a:pt x="354" y="899"/>
                  </a:lnTo>
                  <a:lnTo>
                    <a:pt x="352" y="899"/>
                  </a:lnTo>
                  <a:lnTo>
                    <a:pt x="352" y="899"/>
                  </a:lnTo>
                  <a:lnTo>
                    <a:pt x="352" y="899"/>
                  </a:lnTo>
                  <a:lnTo>
                    <a:pt x="352"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1" y="899"/>
                  </a:lnTo>
                  <a:lnTo>
                    <a:pt x="350" y="899"/>
                  </a:lnTo>
                  <a:lnTo>
                    <a:pt x="350" y="899"/>
                  </a:lnTo>
                  <a:lnTo>
                    <a:pt x="350" y="899"/>
                  </a:lnTo>
                  <a:lnTo>
                    <a:pt x="350" y="899"/>
                  </a:lnTo>
                  <a:lnTo>
                    <a:pt x="350" y="899"/>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899"/>
                  </a:lnTo>
                  <a:lnTo>
                    <a:pt x="344" y="1359"/>
                  </a:lnTo>
                  <a:lnTo>
                    <a:pt x="344" y="1359"/>
                  </a:lnTo>
                  <a:lnTo>
                    <a:pt x="344" y="1359"/>
                  </a:lnTo>
                  <a:lnTo>
                    <a:pt x="342" y="1359"/>
                  </a:lnTo>
                  <a:lnTo>
                    <a:pt x="342" y="1359"/>
                  </a:lnTo>
                  <a:lnTo>
                    <a:pt x="342" y="135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7"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899"/>
                  </a:lnTo>
                  <a:lnTo>
                    <a:pt x="326" y="1371"/>
                  </a:lnTo>
                  <a:lnTo>
                    <a:pt x="322" y="1371"/>
                  </a:lnTo>
                  <a:lnTo>
                    <a:pt x="322" y="899"/>
                  </a:lnTo>
                  <a:lnTo>
                    <a:pt x="322" y="899"/>
                  </a:lnTo>
                  <a:lnTo>
                    <a:pt x="322" y="899"/>
                  </a:lnTo>
                  <a:lnTo>
                    <a:pt x="322" y="899"/>
                  </a:lnTo>
                  <a:lnTo>
                    <a:pt x="322" y="899"/>
                  </a:lnTo>
                  <a:lnTo>
                    <a:pt x="322" y="899"/>
                  </a:lnTo>
                  <a:lnTo>
                    <a:pt x="322" y="1372"/>
                  </a:lnTo>
                  <a:lnTo>
                    <a:pt x="310" y="1372"/>
                  </a:lnTo>
                  <a:lnTo>
                    <a:pt x="310" y="899"/>
                  </a:lnTo>
                  <a:lnTo>
                    <a:pt x="309" y="899"/>
                  </a:lnTo>
                  <a:lnTo>
                    <a:pt x="309" y="899"/>
                  </a:lnTo>
                  <a:lnTo>
                    <a:pt x="309" y="899"/>
                  </a:lnTo>
                  <a:lnTo>
                    <a:pt x="309" y="899"/>
                  </a:lnTo>
                  <a:lnTo>
                    <a:pt x="309" y="899"/>
                  </a:lnTo>
                  <a:lnTo>
                    <a:pt x="309" y="899"/>
                  </a:lnTo>
                  <a:lnTo>
                    <a:pt x="309" y="899"/>
                  </a:lnTo>
                  <a:lnTo>
                    <a:pt x="309" y="899"/>
                  </a:lnTo>
                  <a:lnTo>
                    <a:pt x="309" y="899"/>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1404"/>
                  </a:lnTo>
                  <a:lnTo>
                    <a:pt x="247" y="1404"/>
                  </a:lnTo>
                  <a:lnTo>
                    <a:pt x="247" y="1404"/>
                  </a:lnTo>
                  <a:lnTo>
                    <a:pt x="247" y="1404"/>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7" y="899"/>
                  </a:lnTo>
                  <a:lnTo>
                    <a:pt x="243" y="899"/>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8" y="899"/>
                  </a:lnTo>
                  <a:lnTo>
                    <a:pt x="238" y="899"/>
                  </a:lnTo>
                  <a:lnTo>
                    <a:pt x="238" y="899"/>
                  </a:lnTo>
                  <a:lnTo>
                    <a:pt x="238" y="899"/>
                  </a:lnTo>
                  <a:lnTo>
                    <a:pt x="238" y="899"/>
                  </a:lnTo>
                  <a:lnTo>
                    <a:pt x="238" y="899"/>
                  </a:lnTo>
                  <a:lnTo>
                    <a:pt x="238" y="899"/>
                  </a:lnTo>
                  <a:lnTo>
                    <a:pt x="238" y="899"/>
                  </a:lnTo>
                  <a:lnTo>
                    <a:pt x="238" y="899"/>
                  </a:lnTo>
                  <a:lnTo>
                    <a:pt x="238"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7"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899"/>
                  </a:lnTo>
                  <a:lnTo>
                    <a:pt x="236" y="1413"/>
                  </a:lnTo>
                  <a:lnTo>
                    <a:pt x="233" y="1413"/>
                  </a:lnTo>
                  <a:lnTo>
                    <a:pt x="233" y="899"/>
                  </a:lnTo>
                  <a:lnTo>
                    <a:pt x="233" y="899"/>
                  </a:lnTo>
                  <a:lnTo>
                    <a:pt x="233" y="899"/>
                  </a:lnTo>
                  <a:lnTo>
                    <a:pt x="228" y="899"/>
                  </a:lnTo>
                  <a:lnTo>
                    <a:pt x="228" y="899"/>
                  </a:lnTo>
                  <a:lnTo>
                    <a:pt x="226" y="899"/>
                  </a:lnTo>
                  <a:lnTo>
                    <a:pt x="226" y="899"/>
                  </a:lnTo>
                  <a:lnTo>
                    <a:pt x="224" y="899"/>
                  </a:lnTo>
                  <a:lnTo>
                    <a:pt x="224" y="899"/>
                  </a:lnTo>
                  <a:lnTo>
                    <a:pt x="223" y="899"/>
                  </a:lnTo>
                  <a:lnTo>
                    <a:pt x="223" y="899"/>
                  </a:lnTo>
                  <a:lnTo>
                    <a:pt x="222" y="899"/>
                  </a:lnTo>
                  <a:lnTo>
                    <a:pt x="222" y="899"/>
                  </a:lnTo>
                  <a:lnTo>
                    <a:pt x="222" y="899"/>
                  </a:lnTo>
                  <a:lnTo>
                    <a:pt x="222" y="899"/>
                  </a:lnTo>
                  <a:lnTo>
                    <a:pt x="221" y="899"/>
                  </a:lnTo>
                  <a:lnTo>
                    <a:pt x="221" y="899"/>
                  </a:lnTo>
                  <a:lnTo>
                    <a:pt x="221" y="899"/>
                  </a:lnTo>
                  <a:lnTo>
                    <a:pt x="221" y="899"/>
                  </a:lnTo>
                  <a:lnTo>
                    <a:pt x="220" y="899"/>
                  </a:lnTo>
                  <a:lnTo>
                    <a:pt x="220" y="899"/>
                  </a:lnTo>
                  <a:lnTo>
                    <a:pt x="220" y="899"/>
                  </a:lnTo>
                  <a:lnTo>
                    <a:pt x="220" y="899"/>
                  </a:lnTo>
                  <a:lnTo>
                    <a:pt x="220" y="899"/>
                  </a:lnTo>
                  <a:lnTo>
                    <a:pt x="220" y="899"/>
                  </a:lnTo>
                  <a:lnTo>
                    <a:pt x="220" y="899"/>
                  </a:lnTo>
                  <a:lnTo>
                    <a:pt x="220" y="899"/>
                  </a:lnTo>
                  <a:lnTo>
                    <a:pt x="220" y="899"/>
                  </a:lnTo>
                  <a:lnTo>
                    <a:pt x="220"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899"/>
                  </a:lnTo>
                  <a:lnTo>
                    <a:pt x="210" y="899"/>
                  </a:lnTo>
                  <a:lnTo>
                    <a:pt x="210" y="899"/>
                  </a:lnTo>
                  <a:lnTo>
                    <a:pt x="209" y="899"/>
                  </a:lnTo>
                  <a:lnTo>
                    <a:pt x="209" y="899"/>
                  </a:lnTo>
                  <a:lnTo>
                    <a:pt x="209" y="899"/>
                  </a:lnTo>
                  <a:lnTo>
                    <a:pt x="209" y="1420"/>
                  </a:lnTo>
                  <a:lnTo>
                    <a:pt x="209" y="1420"/>
                  </a:lnTo>
                  <a:lnTo>
                    <a:pt x="209" y="1420"/>
                  </a:lnTo>
                  <a:lnTo>
                    <a:pt x="209" y="1420"/>
                  </a:lnTo>
                  <a:lnTo>
                    <a:pt x="209" y="899"/>
                  </a:lnTo>
                  <a:lnTo>
                    <a:pt x="209" y="899"/>
                  </a:lnTo>
                  <a:lnTo>
                    <a:pt x="209" y="1420"/>
                  </a:lnTo>
                  <a:lnTo>
                    <a:pt x="207" y="1420"/>
                  </a:lnTo>
                  <a:lnTo>
                    <a:pt x="207" y="1420"/>
                  </a:lnTo>
                  <a:lnTo>
                    <a:pt x="207" y="1420"/>
                  </a:lnTo>
                  <a:lnTo>
                    <a:pt x="207" y="899"/>
                  </a:lnTo>
                  <a:lnTo>
                    <a:pt x="207" y="899"/>
                  </a:lnTo>
                  <a:lnTo>
                    <a:pt x="207" y="899"/>
                  </a:lnTo>
                  <a:lnTo>
                    <a:pt x="206" y="899"/>
                  </a:lnTo>
                  <a:lnTo>
                    <a:pt x="206" y="899"/>
                  </a:lnTo>
                  <a:lnTo>
                    <a:pt x="205" y="899"/>
                  </a:lnTo>
                  <a:lnTo>
                    <a:pt x="205"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204" y="899"/>
                  </a:lnTo>
                  <a:lnTo>
                    <a:pt x="167" y="899"/>
                  </a:lnTo>
                  <a:lnTo>
                    <a:pt x="167"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50" y="899"/>
                  </a:lnTo>
                  <a:lnTo>
                    <a:pt x="149" y="899"/>
                  </a:lnTo>
                  <a:lnTo>
                    <a:pt x="149"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8" y="899"/>
                  </a:lnTo>
                  <a:lnTo>
                    <a:pt x="138" y="899"/>
                  </a:lnTo>
                  <a:lnTo>
                    <a:pt x="138" y="899"/>
                  </a:lnTo>
                  <a:lnTo>
                    <a:pt x="138" y="899"/>
                  </a:lnTo>
                  <a:lnTo>
                    <a:pt x="138" y="899"/>
                  </a:lnTo>
                  <a:lnTo>
                    <a:pt x="138" y="899"/>
                  </a:lnTo>
                  <a:lnTo>
                    <a:pt x="138" y="899"/>
                  </a:lnTo>
                  <a:lnTo>
                    <a:pt x="138" y="899"/>
                  </a:lnTo>
                  <a:lnTo>
                    <a:pt x="138" y="899"/>
                  </a:lnTo>
                  <a:lnTo>
                    <a:pt x="138"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5" y="899"/>
                  </a:lnTo>
                  <a:lnTo>
                    <a:pt x="135" y="899"/>
                  </a:lnTo>
                  <a:lnTo>
                    <a:pt x="135" y="899"/>
                  </a:lnTo>
                  <a:lnTo>
                    <a:pt x="135" y="899"/>
                  </a:lnTo>
                  <a:lnTo>
                    <a:pt x="135" y="899"/>
                  </a:lnTo>
                  <a:lnTo>
                    <a:pt x="135" y="899"/>
                  </a:lnTo>
                  <a:lnTo>
                    <a:pt x="135" y="899"/>
                  </a:lnTo>
                  <a:lnTo>
                    <a:pt x="135" y="899"/>
                  </a:lnTo>
                  <a:lnTo>
                    <a:pt x="135" y="899"/>
                  </a:lnTo>
                  <a:lnTo>
                    <a:pt x="135" y="899"/>
                  </a:lnTo>
                  <a:lnTo>
                    <a:pt x="133" y="899"/>
                  </a:lnTo>
                  <a:lnTo>
                    <a:pt x="133" y="899"/>
                  </a:lnTo>
                  <a:lnTo>
                    <a:pt x="131" y="899"/>
                  </a:lnTo>
                  <a:lnTo>
                    <a:pt x="131" y="899"/>
                  </a:lnTo>
                  <a:lnTo>
                    <a:pt x="131" y="899"/>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10"/>
                  </a:lnTo>
                  <a:lnTo>
                    <a:pt x="125" y="1510"/>
                  </a:lnTo>
                  <a:lnTo>
                    <a:pt x="125" y="1510"/>
                  </a:lnTo>
                  <a:lnTo>
                    <a:pt x="125" y="1510"/>
                  </a:lnTo>
                  <a:lnTo>
                    <a:pt x="125" y="1510"/>
                  </a:lnTo>
                  <a:lnTo>
                    <a:pt x="123" y="1510"/>
                  </a:lnTo>
                  <a:lnTo>
                    <a:pt x="123" y="1510"/>
                  </a:lnTo>
                  <a:lnTo>
                    <a:pt x="123" y="1510"/>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5" y="899"/>
                  </a:lnTo>
                  <a:lnTo>
                    <a:pt x="115" y="1532"/>
                  </a:lnTo>
                  <a:lnTo>
                    <a:pt x="112" y="1532"/>
                  </a:lnTo>
                  <a:lnTo>
                    <a:pt x="112" y="899"/>
                  </a:lnTo>
                  <a:lnTo>
                    <a:pt x="110" y="899"/>
                  </a:lnTo>
                  <a:lnTo>
                    <a:pt x="110" y="899"/>
                  </a:lnTo>
                  <a:lnTo>
                    <a:pt x="108" y="899"/>
                  </a:lnTo>
                  <a:lnTo>
                    <a:pt x="108" y="899"/>
                  </a:lnTo>
                  <a:lnTo>
                    <a:pt x="107" y="899"/>
                  </a:lnTo>
                  <a:lnTo>
                    <a:pt x="107" y="1532"/>
                  </a:lnTo>
                  <a:lnTo>
                    <a:pt x="107" y="1532"/>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1544"/>
                  </a:lnTo>
                  <a:lnTo>
                    <a:pt x="94" y="1544"/>
                  </a:lnTo>
                  <a:lnTo>
                    <a:pt x="94" y="899"/>
                  </a:lnTo>
                  <a:lnTo>
                    <a:pt x="93" y="899"/>
                  </a:lnTo>
                  <a:lnTo>
                    <a:pt x="93" y="1544"/>
                  </a:lnTo>
                  <a:lnTo>
                    <a:pt x="93" y="1544"/>
                  </a:lnTo>
                  <a:lnTo>
                    <a:pt x="93" y="899"/>
                  </a:lnTo>
                  <a:lnTo>
                    <a:pt x="92" y="899"/>
                  </a:lnTo>
                  <a:lnTo>
                    <a:pt x="92" y="899"/>
                  </a:lnTo>
                  <a:lnTo>
                    <a:pt x="89" y="899"/>
                  </a:lnTo>
                  <a:lnTo>
                    <a:pt x="89" y="899"/>
                  </a:lnTo>
                  <a:lnTo>
                    <a:pt x="89" y="899"/>
                  </a:lnTo>
                  <a:lnTo>
                    <a:pt x="89" y="899"/>
                  </a:lnTo>
                  <a:lnTo>
                    <a:pt x="89" y="899"/>
                  </a:lnTo>
                  <a:lnTo>
                    <a:pt x="89" y="899"/>
                  </a:lnTo>
                  <a:lnTo>
                    <a:pt x="89" y="899"/>
                  </a:lnTo>
                  <a:lnTo>
                    <a:pt x="89" y="899"/>
                  </a:lnTo>
                  <a:lnTo>
                    <a:pt x="89" y="899"/>
                  </a:lnTo>
                  <a:lnTo>
                    <a:pt x="89"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8"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7"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899"/>
                  </a:lnTo>
                  <a:lnTo>
                    <a:pt x="76" y="899"/>
                  </a:lnTo>
                  <a:lnTo>
                    <a:pt x="76" y="899"/>
                  </a:lnTo>
                  <a:lnTo>
                    <a:pt x="72" y="899"/>
                  </a:lnTo>
                  <a:lnTo>
                    <a:pt x="72"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899"/>
                  </a:lnTo>
                  <a:lnTo>
                    <a:pt x="65" y="899"/>
                  </a:lnTo>
                  <a:lnTo>
                    <a:pt x="65" y="899"/>
                  </a:lnTo>
                  <a:lnTo>
                    <a:pt x="65" y="899"/>
                  </a:lnTo>
                  <a:lnTo>
                    <a:pt x="65" y="899"/>
                  </a:lnTo>
                  <a:lnTo>
                    <a:pt x="65" y="899"/>
                  </a:lnTo>
                  <a:lnTo>
                    <a:pt x="65" y="899"/>
                  </a:lnTo>
                  <a:lnTo>
                    <a:pt x="65" y="899"/>
                  </a:lnTo>
                  <a:lnTo>
                    <a:pt x="65"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4" y="899"/>
                  </a:lnTo>
                  <a:lnTo>
                    <a:pt x="63" y="899"/>
                  </a:lnTo>
                  <a:lnTo>
                    <a:pt x="63" y="899"/>
                  </a:lnTo>
                  <a:lnTo>
                    <a:pt x="62" y="899"/>
                  </a:lnTo>
                  <a:lnTo>
                    <a:pt x="62" y="899"/>
                  </a:lnTo>
                  <a:lnTo>
                    <a:pt x="62" y="899"/>
                  </a:lnTo>
                  <a:lnTo>
                    <a:pt x="62" y="899"/>
                  </a:lnTo>
                  <a:lnTo>
                    <a:pt x="62" y="899"/>
                  </a:lnTo>
                  <a:lnTo>
                    <a:pt x="62" y="899"/>
                  </a:lnTo>
                  <a:lnTo>
                    <a:pt x="62" y="899"/>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899"/>
                  </a:lnTo>
                  <a:lnTo>
                    <a:pt x="47" y="899"/>
                  </a:lnTo>
                  <a:lnTo>
                    <a:pt x="47" y="899"/>
                  </a:lnTo>
                  <a:lnTo>
                    <a:pt x="46" y="899"/>
                  </a:lnTo>
                  <a:lnTo>
                    <a:pt x="46" y="899"/>
                  </a:lnTo>
                  <a:lnTo>
                    <a:pt x="46" y="899"/>
                  </a:lnTo>
                  <a:lnTo>
                    <a:pt x="46" y="899"/>
                  </a:lnTo>
                  <a:lnTo>
                    <a:pt x="46" y="899"/>
                  </a:lnTo>
                  <a:lnTo>
                    <a:pt x="46" y="1644"/>
                  </a:lnTo>
                  <a:lnTo>
                    <a:pt x="46" y="1644"/>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4"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3" y="899"/>
                  </a:lnTo>
                  <a:lnTo>
                    <a:pt x="42" y="899"/>
                  </a:lnTo>
                  <a:lnTo>
                    <a:pt x="42" y="899"/>
                  </a:lnTo>
                  <a:lnTo>
                    <a:pt x="42" y="899"/>
                  </a:lnTo>
                  <a:lnTo>
                    <a:pt x="42" y="899"/>
                  </a:lnTo>
                  <a:lnTo>
                    <a:pt x="41" y="899"/>
                  </a:lnTo>
                  <a:lnTo>
                    <a:pt x="41" y="899"/>
                  </a:lnTo>
                  <a:lnTo>
                    <a:pt x="41" y="899"/>
                  </a:lnTo>
                  <a:lnTo>
                    <a:pt x="41" y="899"/>
                  </a:lnTo>
                  <a:lnTo>
                    <a:pt x="41" y="899"/>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40"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899"/>
                  </a:lnTo>
                  <a:lnTo>
                    <a:pt x="36" y="899"/>
                  </a:lnTo>
                  <a:lnTo>
                    <a:pt x="36" y="899"/>
                  </a:lnTo>
                  <a:lnTo>
                    <a:pt x="36" y="899"/>
                  </a:lnTo>
                  <a:lnTo>
                    <a:pt x="36" y="899"/>
                  </a:lnTo>
                  <a:lnTo>
                    <a:pt x="36" y="899"/>
                  </a:lnTo>
                  <a:lnTo>
                    <a:pt x="36"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5"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899"/>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899"/>
                  </a:lnTo>
                  <a:lnTo>
                    <a:pt x="28" y="899"/>
                  </a:lnTo>
                  <a:lnTo>
                    <a:pt x="28" y="899"/>
                  </a:lnTo>
                  <a:lnTo>
                    <a:pt x="27" y="899"/>
                  </a:lnTo>
                  <a:lnTo>
                    <a:pt x="27" y="899"/>
                  </a:lnTo>
                  <a:lnTo>
                    <a:pt x="25" y="899"/>
                  </a:lnTo>
                  <a:lnTo>
                    <a:pt x="25" y="899"/>
                  </a:lnTo>
                  <a:lnTo>
                    <a:pt x="25" y="899"/>
                  </a:lnTo>
                  <a:lnTo>
                    <a:pt x="25" y="899"/>
                  </a:lnTo>
                  <a:lnTo>
                    <a:pt x="25" y="899"/>
                  </a:lnTo>
                  <a:lnTo>
                    <a:pt x="25" y="899"/>
                  </a:lnTo>
                  <a:lnTo>
                    <a:pt x="25" y="899"/>
                  </a:lnTo>
                  <a:lnTo>
                    <a:pt x="25" y="899"/>
                  </a:lnTo>
                  <a:lnTo>
                    <a:pt x="24" y="899"/>
                  </a:lnTo>
                  <a:lnTo>
                    <a:pt x="24" y="899"/>
                  </a:lnTo>
                  <a:lnTo>
                    <a:pt x="24" y="899"/>
                  </a:lnTo>
                  <a:lnTo>
                    <a:pt x="24" y="899"/>
                  </a:lnTo>
                  <a:lnTo>
                    <a:pt x="24" y="899"/>
                  </a:lnTo>
                  <a:lnTo>
                    <a:pt x="24" y="899"/>
                  </a:lnTo>
                  <a:lnTo>
                    <a:pt x="24" y="899"/>
                  </a:lnTo>
                  <a:lnTo>
                    <a:pt x="24"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899"/>
                  </a:lnTo>
                  <a:lnTo>
                    <a:pt x="23" y="1759"/>
                  </a:lnTo>
                  <a:lnTo>
                    <a:pt x="21" y="1759"/>
                  </a:lnTo>
                  <a:lnTo>
                    <a:pt x="21" y="899"/>
                  </a:lnTo>
                  <a:lnTo>
                    <a:pt x="21" y="899"/>
                  </a:lnTo>
                  <a:lnTo>
                    <a:pt x="21" y="899"/>
                  </a:lnTo>
                  <a:lnTo>
                    <a:pt x="21" y="899"/>
                  </a:lnTo>
                  <a:lnTo>
                    <a:pt x="21" y="899"/>
                  </a:lnTo>
                  <a:lnTo>
                    <a:pt x="21" y="899"/>
                  </a:lnTo>
                  <a:lnTo>
                    <a:pt x="21"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899"/>
                  </a:lnTo>
                  <a:lnTo>
                    <a:pt x="17" y="899"/>
                  </a:lnTo>
                  <a:lnTo>
                    <a:pt x="17" y="899"/>
                  </a:lnTo>
                  <a:lnTo>
                    <a:pt x="17" y="899"/>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1"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10" y="899"/>
                  </a:lnTo>
                  <a:lnTo>
                    <a:pt x="9" y="899"/>
                  </a:lnTo>
                  <a:lnTo>
                    <a:pt x="9" y="899"/>
                  </a:lnTo>
                  <a:lnTo>
                    <a:pt x="9" y="899"/>
                  </a:lnTo>
                  <a:lnTo>
                    <a:pt x="9" y="899"/>
                  </a:lnTo>
                  <a:lnTo>
                    <a:pt x="9" y="899"/>
                  </a:lnTo>
                  <a:lnTo>
                    <a:pt x="9" y="899"/>
                  </a:lnTo>
                  <a:lnTo>
                    <a:pt x="9" y="899"/>
                  </a:lnTo>
                  <a:lnTo>
                    <a:pt x="9" y="899"/>
                  </a:lnTo>
                  <a:lnTo>
                    <a:pt x="8" y="899"/>
                  </a:lnTo>
                  <a:lnTo>
                    <a:pt x="8" y="899"/>
                  </a:lnTo>
                  <a:lnTo>
                    <a:pt x="7" y="899"/>
                  </a:lnTo>
                  <a:lnTo>
                    <a:pt x="7" y="899"/>
                  </a:lnTo>
                  <a:lnTo>
                    <a:pt x="6" y="899"/>
                  </a:lnTo>
                  <a:lnTo>
                    <a:pt x="6" y="899"/>
                  </a:lnTo>
                  <a:lnTo>
                    <a:pt x="6" y="899"/>
                  </a:lnTo>
                  <a:lnTo>
                    <a:pt x="6" y="899"/>
                  </a:lnTo>
                  <a:lnTo>
                    <a:pt x="6" y="899"/>
                  </a:lnTo>
                  <a:lnTo>
                    <a:pt x="6" y="899"/>
                  </a:lnTo>
                  <a:lnTo>
                    <a:pt x="6" y="899"/>
                  </a:lnTo>
                  <a:lnTo>
                    <a:pt x="6"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5"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3"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68F3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70">
              <a:extLst>
                <a:ext uri="{FF2B5EF4-FFF2-40B4-BE49-F238E27FC236}">
                  <a16:creationId xmlns:a16="http://schemas.microsoft.com/office/drawing/2014/main" id="{96786716-3F3D-4614-9652-D5041541FD9B}"/>
                </a:ext>
              </a:extLst>
            </p:cNvPr>
            <p:cNvSpPr>
              <a:spLocks/>
            </p:cNvSpPr>
            <p:nvPr/>
          </p:nvSpPr>
          <p:spPr bwMode="auto">
            <a:xfrm>
              <a:off x="1077913" y="1011238"/>
              <a:ext cx="5370513" cy="2857500"/>
            </a:xfrm>
            <a:custGeom>
              <a:avLst/>
              <a:gdLst>
                <a:gd name="T0" fmla="*/ 20 w 3383"/>
                <a:gd name="T1" fmla="*/ 89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899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899 h 1800"/>
                <a:gd name="T32" fmla="*/ 1484 w 3383"/>
                <a:gd name="T33" fmla="*/ 899 h 1800"/>
                <a:gd name="T34" fmla="*/ 1852 w 3383"/>
                <a:gd name="T35" fmla="*/ 899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99 h 1800"/>
                <a:gd name="T46" fmla="*/ 2231 w 3383"/>
                <a:gd name="T47" fmla="*/ 899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899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899 h 1800"/>
                <a:gd name="T72" fmla="*/ 2684 w 3383"/>
                <a:gd name="T73" fmla="*/ 708 h 1800"/>
                <a:gd name="T74" fmla="*/ 2608 w 3383"/>
                <a:gd name="T75" fmla="*/ 899 h 1800"/>
                <a:gd name="T76" fmla="*/ 2451 w 3383"/>
                <a:gd name="T77" fmla="*/ 795 h 1800"/>
                <a:gd name="T78" fmla="*/ 2218 w 3383"/>
                <a:gd name="T79" fmla="*/ 899 h 1800"/>
                <a:gd name="T80" fmla="*/ 2149 w 3383"/>
                <a:gd name="T81" fmla="*/ 899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899 h 1800"/>
                <a:gd name="T92" fmla="*/ 1482 w 3383"/>
                <a:gd name="T93" fmla="*/ 899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899 h 1800"/>
                <a:gd name="T104" fmla="*/ 835 w 3383"/>
                <a:gd name="T105" fmla="*/ 899 h 1800"/>
                <a:gd name="T106" fmla="*/ 732 w 3383"/>
                <a:gd name="T107" fmla="*/ 899 h 1800"/>
                <a:gd name="T108" fmla="*/ 548 w 3383"/>
                <a:gd name="T109" fmla="*/ 1294 h 1800"/>
                <a:gd name="T110" fmla="*/ 453 w 3383"/>
                <a:gd name="T111" fmla="*/ 899 h 1800"/>
                <a:gd name="T112" fmla="*/ 344 w 3383"/>
                <a:gd name="T113" fmla="*/ 899 h 1800"/>
                <a:gd name="T114" fmla="*/ 301 w 3383"/>
                <a:gd name="T115" fmla="*/ 899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899"/>
                  </a:lnTo>
                  <a:lnTo>
                    <a:pt x="10" y="899"/>
                  </a:lnTo>
                  <a:lnTo>
                    <a:pt x="10" y="899"/>
                  </a:lnTo>
                  <a:lnTo>
                    <a:pt x="10" y="899"/>
                  </a:lnTo>
                  <a:lnTo>
                    <a:pt x="10" y="899"/>
                  </a:lnTo>
                  <a:lnTo>
                    <a:pt x="10" y="899"/>
                  </a:lnTo>
                  <a:lnTo>
                    <a:pt x="10"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899"/>
                  </a:lnTo>
                  <a:lnTo>
                    <a:pt x="12" y="899"/>
                  </a:lnTo>
                  <a:lnTo>
                    <a:pt x="12" y="899"/>
                  </a:lnTo>
                  <a:lnTo>
                    <a:pt x="15" y="899"/>
                  </a:lnTo>
                  <a:lnTo>
                    <a:pt x="15" y="899"/>
                  </a:lnTo>
                  <a:lnTo>
                    <a:pt x="15" y="899"/>
                  </a:lnTo>
                  <a:lnTo>
                    <a:pt x="15" y="899"/>
                  </a:lnTo>
                  <a:lnTo>
                    <a:pt x="15" y="899"/>
                  </a:lnTo>
                  <a:lnTo>
                    <a:pt x="15" y="899"/>
                  </a:lnTo>
                  <a:lnTo>
                    <a:pt x="15" y="899"/>
                  </a:lnTo>
                  <a:lnTo>
                    <a:pt x="15" y="899"/>
                  </a:lnTo>
                  <a:lnTo>
                    <a:pt x="16" y="899"/>
                  </a:lnTo>
                  <a:lnTo>
                    <a:pt x="16" y="899"/>
                  </a:lnTo>
                  <a:lnTo>
                    <a:pt x="17" y="899"/>
                  </a:lnTo>
                  <a:lnTo>
                    <a:pt x="17" y="1782"/>
                  </a:lnTo>
                  <a:lnTo>
                    <a:pt x="17" y="1782"/>
                  </a:lnTo>
                  <a:lnTo>
                    <a:pt x="17" y="1782"/>
                  </a:lnTo>
                  <a:lnTo>
                    <a:pt x="17" y="1782"/>
                  </a:lnTo>
                  <a:lnTo>
                    <a:pt x="17" y="899"/>
                  </a:lnTo>
                  <a:lnTo>
                    <a:pt x="17" y="899"/>
                  </a:lnTo>
                  <a:lnTo>
                    <a:pt x="17"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899"/>
                  </a:lnTo>
                  <a:lnTo>
                    <a:pt x="34" y="899"/>
                  </a:lnTo>
                  <a:lnTo>
                    <a:pt x="34" y="899"/>
                  </a:lnTo>
                  <a:lnTo>
                    <a:pt x="35" y="899"/>
                  </a:lnTo>
                  <a:lnTo>
                    <a:pt x="35" y="899"/>
                  </a:lnTo>
                  <a:lnTo>
                    <a:pt x="35" y="899"/>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899"/>
                  </a:lnTo>
                  <a:lnTo>
                    <a:pt x="39" y="899"/>
                  </a:lnTo>
                  <a:lnTo>
                    <a:pt x="39" y="899"/>
                  </a:lnTo>
                  <a:lnTo>
                    <a:pt x="39" y="899"/>
                  </a:lnTo>
                  <a:lnTo>
                    <a:pt x="39" y="899"/>
                  </a:lnTo>
                  <a:lnTo>
                    <a:pt x="39" y="899"/>
                  </a:lnTo>
                  <a:lnTo>
                    <a:pt x="39"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1681"/>
                  </a:lnTo>
                  <a:lnTo>
                    <a:pt x="41" y="1681"/>
                  </a:lnTo>
                  <a:lnTo>
                    <a:pt x="41" y="1681"/>
                  </a:lnTo>
                  <a:lnTo>
                    <a:pt x="41" y="1681"/>
                  </a:lnTo>
                  <a:lnTo>
                    <a:pt x="41" y="1681"/>
                  </a:lnTo>
                  <a:lnTo>
                    <a:pt x="42" y="1681"/>
                  </a:lnTo>
                  <a:lnTo>
                    <a:pt x="42" y="899"/>
                  </a:lnTo>
                  <a:lnTo>
                    <a:pt x="42" y="899"/>
                  </a:lnTo>
                  <a:lnTo>
                    <a:pt x="42" y="899"/>
                  </a:lnTo>
                  <a:lnTo>
                    <a:pt x="43" y="899"/>
                  </a:lnTo>
                  <a:lnTo>
                    <a:pt x="43" y="899"/>
                  </a:lnTo>
                  <a:lnTo>
                    <a:pt x="43" y="89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899"/>
                  </a:lnTo>
                  <a:lnTo>
                    <a:pt x="46" y="899"/>
                  </a:lnTo>
                  <a:lnTo>
                    <a:pt x="46" y="1644"/>
                  </a:lnTo>
                  <a:lnTo>
                    <a:pt x="46" y="1644"/>
                  </a:lnTo>
                  <a:lnTo>
                    <a:pt x="46" y="899"/>
                  </a:lnTo>
                  <a:lnTo>
                    <a:pt x="46" y="899"/>
                  </a:lnTo>
                  <a:lnTo>
                    <a:pt x="46" y="899"/>
                  </a:lnTo>
                  <a:lnTo>
                    <a:pt x="46" y="899"/>
                  </a:lnTo>
                  <a:lnTo>
                    <a:pt x="46" y="899"/>
                  </a:lnTo>
                  <a:lnTo>
                    <a:pt x="47" y="899"/>
                  </a:lnTo>
                  <a:lnTo>
                    <a:pt x="47" y="899"/>
                  </a:lnTo>
                  <a:lnTo>
                    <a:pt x="50" y="899"/>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899"/>
                  </a:lnTo>
                  <a:lnTo>
                    <a:pt x="70" y="899"/>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899"/>
                  </a:lnTo>
                  <a:lnTo>
                    <a:pt x="92" y="899"/>
                  </a:lnTo>
                  <a:lnTo>
                    <a:pt x="92" y="899"/>
                  </a:lnTo>
                  <a:lnTo>
                    <a:pt x="93" y="899"/>
                  </a:lnTo>
                  <a:lnTo>
                    <a:pt x="93" y="1544"/>
                  </a:lnTo>
                  <a:lnTo>
                    <a:pt x="93" y="1544"/>
                  </a:lnTo>
                  <a:lnTo>
                    <a:pt x="93" y="899"/>
                  </a:lnTo>
                  <a:lnTo>
                    <a:pt x="94" y="899"/>
                  </a:lnTo>
                  <a:lnTo>
                    <a:pt x="94" y="1544"/>
                  </a:lnTo>
                  <a:lnTo>
                    <a:pt x="101" y="1544"/>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899"/>
                  </a:lnTo>
                  <a:lnTo>
                    <a:pt x="123" y="899"/>
                  </a:lnTo>
                  <a:lnTo>
                    <a:pt x="123" y="1510"/>
                  </a:lnTo>
                  <a:lnTo>
                    <a:pt x="123" y="1510"/>
                  </a:lnTo>
                  <a:lnTo>
                    <a:pt x="123" y="1510"/>
                  </a:lnTo>
                  <a:lnTo>
                    <a:pt x="125" y="1510"/>
                  </a:lnTo>
                  <a:lnTo>
                    <a:pt x="125" y="1510"/>
                  </a:lnTo>
                  <a:lnTo>
                    <a:pt x="125" y="1510"/>
                  </a:lnTo>
                  <a:lnTo>
                    <a:pt x="125" y="1510"/>
                  </a:lnTo>
                  <a:lnTo>
                    <a:pt x="125" y="1510"/>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899"/>
                  </a:lnTo>
                  <a:lnTo>
                    <a:pt x="135" y="899"/>
                  </a:lnTo>
                  <a:lnTo>
                    <a:pt x="135" y="1492"/>
                  </a:lnTo>
                  <a:lnTo>
                    <a:pt x="136" y="1492"/>
                  </a:lnTo>
                  <a:lnTo>
                    <a:pt x="136" y="1492"/>
                  </a:lnTo>
                  <a:lnTo>
                    <a:pt x="136" y="1492"/>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1453"/>
                  </a:lnTo>
                  <a:lnTo>
                    <a:pt x="141" y="1453"/>
                  </a:lnTo>
                  <a:lnTo>
                    <a:pt x="141" y="899"/>
                  </a:lnTo>
                  <a:lnTo>
                    <a:pt x="141" y="899"/>
                  </a:lnTo>
                  <a:lnTo>
                    <a:pt x="141" y="1453"/>
                  </a:lnTo>
                  <a:lnTo>
                    <a:pt x="141" y="1453"/>
                  </a:lnTo>
                  <a:lnTo>
                    <a:pt x="141" y="899"/>
                  </a:lnTo>
                  <a:lnTo>
                    <a:pt x="142" y="899"/>
                  </a:lnTo>
                  <a:lnTo>
                    <a:pt x="142" y="899"/>
                  </a:lnTo>
                  <a:lnTo>
                    <a:pt x="142" y="899"/>
                  </a:lnTo>
                  <a:lnTo>
                    <a:pt x="142" y="899"/>
                  </a:lnTo>
                  <a:lnTo>
                    <a:pt x="142" y="899"/>
                  </a:lnTo>
                  <a:lnTo>
                    <a:pt x="142" y="899"/>
                  </a:lnTo>
                  <a:lnTo>
                    <a:pt x="143" y="899"/>
                  </a:lnTo>
                  <a:lnTo>
                    <a:pt x="143" y="899"/>
                  </a:lnTo>
                  <a:lnTo>
                    <a:pt x="144" y="899"/>
                  </a:lnTo>
                  <a:lnTo>
                    <a:pt x="144" y="899"/>
                  </a:lnTo>
                  <a:lnTo>
                    <a:pt x="147" y="899"/>
                  </a:lnTo>
                  <a:lnTo>
                    <a:pt x="147" y="899"/>
                  </a:lnTo>
                  <a:lnTo>
                    <a:pt x="147" y="899"/>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899"/>
                  </a:lnTo>
                  <a:lnTo>
                    <a:pt x="204" y="899"/>
                  </a:lnTo>
                  <a:lnTo>
                    <a:pt x="204" y="899"/>
                  </a:lnTo>
                  <a:lnTo>
                    <a:pt x="204" y="899"/>
                  </a:lnTo>
                  <a:lnTo>
                    <a:pt x="204" y="899"/>
                  </a:lnTo>
                  <a:lnTo>
                    <a:pt x="204" y="899"/>
                  </a:lnTo>
                  <a:lnTo>
                    <a:pt x="204" y="1425"/>
                  </a:lnTo>
                  <a:lnTo>
                    <a:pt x="205" y="1425"/>
                  </a:lnTo>
                  <a:lnTo>
                    <a:pt x="205" y="1425"/>
                  </a:lnTo>
                  <a:lnTo>
                    <a:pt x="206" y="1425"/>
                  </a:lnTo>
                  <a:lnTo>
                    <a:pt x="206" y="1425"/>
                  </a:lnTo>
                  <a:lnTo>
                    <a:pt x="207" y="1425"/>
                  </a:lnTo>
                  <a:lnTo>
                    <a:pt x="207" y="899"/>
                  </a:lnTo>
                  <a:lnTo>
                    <a:pt x="207" y="899"/>
                  </a:lnTo>
                  <a:lnTo>
                    <a:pt x="207" y="1420"/>
                  </a:lnTo>
                  <a:lnTo>
                    <a:pt x="207" y="1420"/>
                  </a:lnTo>
                  <a:lnTo>
                    <a:pt x="207" y="1420"/>
                  </a:lnTo>
                  <a:lnTo>
                    <a:pt x="209" y="1420"/>
                  </a:lnTo>
                  <a:lnTo>
                    <a:pt x="209" y="899"/>
                  </a:lnTo>
                  <a:lnTo>
                    <a:pt x="209" y="899"/>
                  </a:lnTo>
                  <a:lnTo>
                    <a:pt x="209" y="1420"/>
                  </a:lnTo>
                  <a:lnTo>
                    <a:pt x="209" y="1420"/>
                  </a:lnTo>
                  <a:lnTo>
                    <a:pt x="209" y="1420"/>
                  </a:lnTo>
                  <a:lnTo>
                    <a:pt x="209" y="1420"/>
                  </a:lnTo>
                  <a:lnTo>
                    <a:pt x="209" y="899"/>
                  </a:lnTo>
                  <a:lnTo>
                    <a:pt x="209" y="899"/>
                  </a:lnTo>
                  <a:lnTo>
                    <a:pt x="209" y="899"/>
                  </a:lnTo>
                  <a:lnTo>
                    <a:pt x="210" y="899"/>
                  </a:lnTo>
                  <a:lnTo>
                    <a:pt x="210" y="899"/>
                  </a:lnTo>
                  <a:lnTo>
                    <a:pt x="211" y="899"/>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899"/>
                  </a:lnTo>
                  <a:lnTo>
                    <a:pt x="221" y="899"/>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1406"/>
                  </a:lnTo>
                  <a:lnTo>
                    <a:pt x="247" y="1406"/>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1380"/>
                  </a:lnTo>
                  <a:lnTo>
                    <a:pt x="309" y="1380"/>
                  </a:lnTo>
                  <a:lnTo>
                    <a:pt x="309" y="1380"/>
                  </a:lnTo>
                  <a:lnTo>
                    <a:pt x="309" y="1380"/>
                  </a:lnTo>
                  <a:lnTo>
                    <a:pt x="309" y="1380"/>
                  </a:lnTo>
                  <a:lnTo>
                    <a:pt x="309" y="1380"/>
                  </a:lnTo>
                  <a:lnTo>
                    <a:pt x="309" y="899"/>
                  </a:lnTo>
                  <a:lnTo>
                    <a:pt x="309" y="899"/>
                  </a:lnTo>
                  <a:lnTo>
                    <a:pt x="309" y="899"/>
                  </a:lnTo>
                  <a:lnTo>
                    <a:pt x="310" y="899"/>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8" y="1370"/>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899"/>
                  </a:lnTo>
                  <a:lnTo>
                    <a:pt x="335" y="899"/>
                  </a:lnTo>
                  <a:lnTo>
                    <a:pt x="335" y="899"/>
                  </a:lnTo>
                  <a:lnTo>
                    <a:pt x="335" y="899"/>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899"/>
                  </a:lnTo>
                  <a:lnTo>
                    <a:pt x="351" y="899"/>
                  </a:lnTo>
                  <a:lnTo>
                    <a:pt x="351" y="899"/>
                  </a:lnTo>
                  <a:lnTo>
                    <a:pt x="351" y="899"/>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899"/>
                  </a:lnTo>
                  <a:lnTo>
                    <a:pt x="382" y="899"/>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899"/>
                  </a:lnTo>
                  <a:lnTo>
                    <a:pt x="383" y="899"/>
                  </a:lnTo>
                  <a:lnTo>
                    <a:pt x="383" y="899"/>
                  </a:lnTo>
                  <a:lnTo>
                    <a:pt x="383" y="899"/>
                  </a:lnTo>
                  <a:lnTo>
                    <a:pt x="383" y="899"/>
                  </a:lnTo>
                  <a:lnTo>
                    <a:pt x="383" y="899"/>
                  </a:lnTo>
                  <a:lnTo>
                    <a:pt x="383" y="899"/>
                  </a:lnTo>
                  <a:lnTo>
                    <a:pt x="383" y="899"/>
                  </a:lnTo>
                  <a:lnTo>
                    <a:pt x="383" y="899"/>
                  </a:lnTo>
                  <a:lnTo>
                    <a:pt x="384" y="899"/>
                  </a:lnTo>
                  <a:lnTo>
                    <a:pt x="384" y="899"/>
                  </a:lnTo>
                  <a:lnTo>
                    <a:pt x="387" y="899"/>
                  </a:lnTo>
                  <a:lnTo>
                    <a:pt x="387"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899"/>
                  </a:lnTo>
                  <a:lnTo>
                    <a:pt x="430" y="899"/>
                  </a:lnTo>
                  <a:lnTo>
                    <a:pt x="430" y="899"/>
                  </a:lnTo>
                  <a:lnTo>
                    <a:pt x="430" y="89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899"/>
                  </a:lnTo>
                  <a:lnTo>
                    <a:pt x="453" y="899"/>
                  </a:lnTo>
                  <a:lnTo>
                    <a:pt x="453" y="899"/>
                  </a:lnTo>
                  <a:lnTo>
                    <a:pt x="453" y="899"/>
                  </a:lnTo>
                  <a:lnTo>
                    <a:pt x="453" y="899"/>
                  </a:lnTo>
                  <a:lnTo>
                    <a:pt x="453" y="899"/>
                  </a:lnTo>
                  <a:lnTo>
                    <a:pt x="453" y="899"/>
                  </a:lnTo>
                  <a:lnTo>
                    <a:pt x="453" y="899"/>
                  </a:lnTo>
                  <a:lnTo>
                    <a:pt x="453" y="1324"/>
                  </a:lnTo>
                  <a:lnTo>
                    <a:pt x="453" y="1324"/>
                  </a:lnTo>
                  <a:lnTo>
                    <a:pt x="453" y="899"/>
                  </a:lnTo>
                  <a:lnTo>
                    <a:pt x="453" y="899"/>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899"/>
                  </a:lnTo>
                  <a:lnTo>
                    <a:pt x="459" y="899"/>
                  </a:lnTo>
                  <a:lnTo>
                    <a:pt x="459" y="899"/>
                  </a:lnTo>
                  <a:lnTo>
                    <a:pt x="460" y="899"/>
                  </a:lnTo>
                  <a:lnTo>
                    <a:pt x="460" y="899"/>
                  </a:lnTo>
                  <a:lnTo>
                    <a:pt x="460" y="899"/>
                  </a:lnTo>
                  <a:lnTo>
                    <a:pt x="460" y="899"/>
                  </a:lnTo>
                  <a:lnTo>
                    <a:pt x="461" y="899"/>
                  </a:lnTo>
                  <a:lnTo>
                    <a:pt x="461" y="899"/>
                  </a:lnTo>
                  <a:lnTo>
                    <a:pt x="462" y="899"/>
                  </a:lnTo>
                  <a:lnTo>
                    <a:pt x="462" y="899"/>
                  </a:lnTo>
                  <a:lnTo>
                    <a:pt x="463" y="899"/>
                  </a:lnTo>
                  <a:lnTo>
                    <a:pt x="463" y="899"/>
                  </a:lnTo>
                  <a:lnTo>
                    <a:pt x="464" y="899"/>
                  </a:lnTo>
                  <a:lnTo>
                    <a:pt x="464" y="899"/>
                  </a:lnTo>
                  <a:lnTo>
                    <a:pt x="470" y="899"/>
                  </a:lnTo>
                  <a:lnTo>
                    <a:pt x="470" y="899"/>
                  </a:lnTo>
                  <a:lnTo>
                    <a:pt x="470" y="899"/>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899"/>
                  </a:lnTo>
                  <a:lnTo>
                    <a:pt x="472" y="899"/>
                  </a:lnTo>
                  <a:lnTo>
                    <a:pt x="472" y="1317"/>
                  </a:lnTo>
                  <a:lnTo>
                    <a:pt x="472" y="1317"/>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1314"/>
                  </a:lnTo>
                  <a:lnTo>
                    <a:pt x="510" y="1314"/>
                  </a:lnTo>
                  <a:lnTo>
                    <a:pt x="510" y="1314"/>
                  </a:lnTo>
                  <a:lnTo>
                    <a:pt x="510" y="1314"/>
                  </a:lnTo>
                  <a:lnTo>
                    <a:pt x="510" y="1314"/>
                  </a:lnTo>
                  <a:lnTo>
                    <a:pt x="510" y="1314"/>
                  </a:lnTo>
                  <a:lnTo>
                    <a:pt x="510" y="899"/>
                  </a:lnTo>
                  <a:lnTo>
                    <a:pt x="511" y="899"/>
                  </a:lnTo>
                  <a:lnTo>
                    <a:pt x="511" y="1309"/>
                  </a:lnTo>
                  <a:lnTo>
                    <a:pt x="511" y="1309"/>
                  </a:lnTo>
                  <a:lnTo>
                    <a:pt x="511" y="1309"/>
                  </a:lnTo>
                  <a:lnTo>
                    <a:pt x="511" y="1309"/>
                  </a:lnTo>
                  <a:lnTo>
                    <a:pt x="511" y="899"/>
                  </a:lnTo>
                  <a:lnTo>
                    <a:pt x="511" y="899"/>
                  </a:lnTo>
                  <a:lnTo>
                    <a:pt x="511" y="899"/>
                  </a:lnTo>
                  <a:lnTo>
                    <a:pt x="511" y="899"/>
                  </a:lnTo>
                  <a:lnTo>
                    <a:pt x="511" y="899"/>
                  </a:lnTo>
                  <a:lnTo>
                    <a:pt x="511" y="899"/>
                  </a:lnTo>
                  <a:lnTo>
                    <a:pt x="511" y="899"/>
                  </a:lnTo>
                  <a:lnTo>
                    <a:pt x="512" y="899"/>
                  </a:lnTo>
                  <a:lnTo>
                    <a:pt x="512" y="899"/>
                  </a:lnTo>
                  <a:lnTo>
                    <a:pt x="514" y="899"/>
                  </a:lnTo>
                  <a:lnTo>
                    <a:pt x="514"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899"/>
                  </a:lnTo>
                  <a:lnTo>
                    <a:pt x="554" y="899"/>
                  </a:lnTo>
                  <a:lnTo>
                    <a:pt x="554"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73" y="899"/>
                  </a:lnTo>
                  <a:lnTo>
                    <a:pt x="573" y="1292"/>
                  </a:lnTo>
                  <a:lnTo>
                    <a:pt x="574" y="1292"/>
                  </a:lnTo>
                  <a:lnTo>
                    <a:pt x="574" y="1292"/>
                  </a:lnTo>
                  <a:lnTo>
                    <a:pt x="576" y="1292"/>
                  </a:lnTo>
                  <a:lnTo>
                    <a:pt x="576" y="899"/>
                  </a:lnTo>
                  <a:lnTo>
                    <a:pt x="579" y="899"/>
                  </a:lnTo>
                  <a:lnTo>
                    <a:pt x="579" y="1292"/>
                  </a:lnTo>
                  <a:lnTo>
                    <a:pt x="580" y="1292"/>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899"/>
                  </a:lnTo>
                  <a:lnTo>
                    <a:pt x="588" y="899"/>
                  </a:lnTo>
                  <a:lnTo>
                    <a:pt x="588" y="1290"/>
                  </a:lnTo>
                  <a:lnTo>
                    <a:pt x="588" y="1290"/>
                  </a:lnTo>
                  <a:lnTo>
                    <a:pt x="588" y="1290"/>
                  </a:lnTo>
                  <a:lnTo>
                    <a:pt x="589" y="1290"/>
                  </a:lnTo>
                  <a:lnTo>
                    <a:pt x="589" y="1290"/>
                  </a:lnTo>
                  <a:lnTo>
                    <a:pt x="590" y="1290"/>
                  </a:lnTo>
                  <a:lnTo>
                    <a:pt x="590" y="1290"/>
                  </a:lnTo>
                  <a:lnTo>
                    <a:pt x="591" y="1290"/>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1284"/>
                  </a:lnTo>
                  <a:lnTo>
                    <a:pt x="605" y="1284"/>
                  </a:lnTo>
                  <a:lnTo>
                    <a:pt x="605" y="899"/>
                  </a:lnTo>
                  <a:lnTo>
                    <a:pt x="606" y="899"/>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899"/>
                  </a:lnTo>
                  <a:lnTo>
                    <a:pt x="673" y="899"/>
                  </a:lnTo>
                  <a:lnTo>
                    <a:pt x="673" y="899"/>
                  </a:lnTo>
                  <a:lnTo>
                    <a:pt x="674" y="899"/>
                  </a:lnTo>
                  <a:lnTo>
                    <a:pt x="674" y="899"/>
                  </a:lnTo>
                  <a:lnTo>
                    <a:pt x="674" y="899"/>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1273"/>
                  </a:lnTo>
                  <a:lnTo>
                    <a:pt x="677" y="1273"/>
                  </a:lnTo>
                  <a:lnTo>
                    <a:pt x="677" y="1273"/>
                  </a:lnTo>
                  <a:lnTo>
                    <a:pt x="679" y="1273"/>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1253"/>
                  </a:lnTo>
                  <a:lnTo>
                    <a:pt x="768" y="1253"/>
                  </a:lnTo>
                  <a:lnTo>
                    <a:pt x="768" y="1253"/>
                  </a:lnTo>
                  <a:lnTo>
                    <a:pt x="777" y="1253"/>
                  </a:lnTo>
                  <a:lnTo>
                    <a:pt x="777" y="1252"/>
                  </a:lnTo>
                  <a:lnTo>
                    <a:pt x="777" y="1252"/>
                  </a:lnTo>
                  <a:lnTo>
                    <a:pt x="777" y="1252"/>
                  </a:lnTo>
                  <a:lnTo>
                    <a:pt x="777" y="1252"/>
                  </a:lnTo>
                  <a:lnTo>
                    <a:pt x="777" y="899"/>
                  </a:lnTo>
                  <a:lnTo>
                    <a:pt x="777" y="899"/>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899"/>
                  </a:lnTo>
                  <a:lnTo>
                    <a:pt x="793" y="899"/>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8" y="899"/>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899"/>
                  </a:lnTo>
                  <a:lnTo>
                    <a:pt x="851" y="899"/>
                  </a:lnTo>
                  <a:lnTo>
                    <a:pt x="851" y="899"/>
                  </a:lnTo>
                  <a:lnTo>
                    <a:pt x="851" y="899"/>
                  </a:lnTo>
                  <a:lnTo>
                    <a:pt x="851" y="1219"/>
                  </a:lnTo>
                  <a:lnTo>
                    <a:pt x="851" y="1219"/>
                  </a:lnTo>
                  <a:lnTo>
                    <a:pt x="851" y="1219"/>
                  </a:lnTo>
                  <a:lnTo>
                    <a:pt x="851" y="1219"/>
                  </a:lnTo>
                  <a:lnTo>
                    <a:pt x="851" y="899"/>
                  </a:lnTo>
                  <a:lnTo>
                    <a:pt x="851" y="899"/>
                  </a:lnTo>
                  <a:lnTo>
                    <a:pt x="851" y="1218"/>
                  </a:lnTo>
                  <a:lnTo>
                    <a:pt x="851" y="1218"/>
                  </a:lnTo>
                  <a:lnTo>
                    <a:pt x="851" y="1218"/>
                  </a:lnTo>
                  <a:lnTo>
                    <a:pt x="851" y="1218"/>
                  </a:lnTo>
                  <a:lnTo>
                    <a:pt x="851" y="1218"/>
                  </a:lnTo>
                  <a:lnTo>
                    <a:pt x="852" y="1218"/>
                  </a:lnTo>
                  <a:lnTo>
                    <a:pt x="85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899"/>
                  </a:lnTo>
                  <a:lnTo>
                    <a:pt x="886" y="899"/>
                  </a:lnTo>
                  <a:lnTo>
                    <a:pt x="886" y="1213"/>
                  </a:lnTo>
                  <a:lnTo>
                    <a:pt x="886" y="1213"/>
                  </a:lnTo>
                  <a:lnTo>
                    <a:pt x="886" y="1213"/>
                  </a:lnTo>
                  <a:lnTo>
                    <a:pt x="887" y="1213"/>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3" y="899"/>
                  </a:lnTo>
                  <a:lnTo>
                    <a:pt x="913" y="899"/>
                  </a:lnTo>
                  <a:lnTo>
                    <a:pt x="913" y="899"/>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899"/>
                  </a:lnTo>
                  <a:lnTo>
                    <a:pt x="929" y="899"/>
                  </a:lnTo>
                  <a:lnTo>
                    <a:pt x="929" y="899"/>
                  </a:lnTo>
                  <a:lnTo>
                    <a:pt x="931" y="899"/>
                  </a:lnTo>
                  <a:lnTo>
                    <a:pt x="931" y="899"/>
                  </a:lnTo>
                  <a:lnTo>
                    <a:pt x="932" y="899"/>
                  </a:lnTo>
                  <a:lnTo>
                    <a:pt x="932" y="899"/>
                  </a:lnTo>
                  <a:lnTo>
                    <a:pt x="932" y="899"/>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899"/>
                  </a:lnTo>
                  <a:lnTo>
                    <a:pt x="935" y="899"/>
                  </a:lnTo>
                  <a:lnTo>
                    <a:pt x="935" y="899"/>
                  </a:lnTo>
                  <a:lnTo>
                    <a:pt x="935" y="899"/>
                  </a:lnTo>
                  <a:lnTo>
                    <a:pt x="935" y="899"/>
                  </a:lnTo>
                  <a:lnTo>
                    <a:pt x="936" y="899"/>
                  </a:lnTo>
                  <a:lnTo>
                    <a:pt x="936" y="899"/>
                  </a:lnTo>
                  <a:lnTo>
                    <a:pt x="936" y="899"/>
                  </a:lnTo>
                  <a:lnTo>
                    <a:pt x="936" y="899"/>
                  </a:lnTo>
                  <a:lnTo>
                    <a:pt x="938" y="899"/>
                  </a:lnTo>
                  <a:lnTo>
                    <a:pt x="938" y="899"/>
                  </a:lnTo>
                  <a:lnTo>
                    <a:pt x="943" y="899"/>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9" y="899"/>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899"/>
                  </a:lnTo>
                  <a:lnTo>
                    <a:pt x="1003" y="899"/>
                  </a:lnTo>
                  <a:lnTo>
                    <a:pt x="1003" y="1167"/>
                  </a:lnTo>
                  <a:lnTo>
                    <a:pt x="1004" y="1167"/>
                  </a:lnTo>
                  <a:lnTo>
                    <a:pt x="1004" y="1164"/>
                  </a:lnTo>
                  <a:lnTo>
                    <a:pt x="1004" y="1164"/>
                  </a:lnTo>
                  <a:lnTo>
                    <a:pt x="1004" y="1164"/>
                  </a:lnTo>
                  <a:lnTo>
                    <a:pt x="1004" y="1164"/>
                  </a:lnTo>
                  <a:lnTo>
                    <a:pt x="1004" y="1158"/>
                  </a:lnTo>
                  <a:lnTo>
                    <a:pt x="1004" y="1158"/>
                  </a:lnTo>
                  <a:lnTo>
                    <a:pt x="1004" y="899"/>
                  </a:lnTo>
                  <a:lnTo>
                    <a:pt x="1004" y="899"/>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1146"/>
                  </a:lnTo>
                  <a:lnTo>
                    <a:pt x="1069" y="1146"/>
                  </a:lnTo>
                  <a:lnTo>
                    <a:pt x="1069" y="1146"/>
                  </a:lnTo>
                  <a:lnTo>
                    <a:pt x="1069" y="1146"/>
                  </a:lnTo>
                  <a:lnTo>
                    <a:pt x="1069" y="899"/>
                  </a:lnTo>
                  <a:lnTo>
                    <a:pt x="1069" y="899"/>
                  </a:lnTo>
                  <a:lnTo>
                    <a:pt x="1069" y="899"/>
                  </a:lnTo>
                  <a:lnTo>
                    <a:pt x="1069" y="899"/>
                  </a:lnTo>
                  <a:lnTo>
                    <a:pt x="1069" y="899"/>
                  </a:lnTo>
                  <a:lnTo>
                    <a:pt x="1069" y="899"/>
                  </a:lnTo>
                  <a:lnTo>
                    <a:pt x="1069" y="899"/>
                  </a:lnTo>
                  <a:lnTo>
                    <a:pt x="1069" y="899"/>
                  </a:lnTo>
                  <a:lnTo>
                    <a:pt x="1069" y="899"/>
                  </a:lnTo>
                  <a:lnTo>
                    <a:pt x="1071" y="899"/>
                  </a:lnTo>
                  <a:lnTo>
                    <a:pt x="1071" y="899"/>
                  </a:lnTo>
                  <a:lnTo>
                    <a:pt x="1074" y="899"/>
                  </a:lnTo>
                  <a:lnTo>
                    <a:pt x="1074" y="899"/>
                  </a:lnTo>
                  <a:lnTo>
                    <a:pt x="1077" y="899"/>
                  </a:lnTo>
                  <a:lnTo>
                    <a:pt x="1077" y="899"/>
                  </a:lnTo>
                  <a:lnTo>
                    <a:pt x="1101" y="899"/>
                  </a:lnTo>
                  <a:lnTo>
                    <a:pt x="1101" y="1136"/>
                  </a:lnTo>
                  <a:lnTo>
                    <a:pt x="1101" y="1136"/>
                  </a:lnTo>
                  <a:lnTo>
                    <a:pt x="1101" y="1136"/>
                  </a:lnTo>
                  <a:lnTo>
                    <a:pt x="1102" y="1136"/>
                  </a:lnTo>
                  <a:lnTo>
                    <a:pt x="1102" y="1136"/>
                  </a:lnTo>
                  <a:lnTo>
                    <a:pt x="1102" y="1136"/>
                  </a:lnTo>
                  <a:lnTo>
                    <a:pt x="1102" y="1136"/>
                  </a:lnTo>
                  <a:lnTo>
                    <a:pt x="1102" y="1136"/>
                  </a:lnTo>
                  <a:lnTo>
                    <a:pt x="1102" y="899"/>
                  </a:lnTo>
                  <a:lnTo>
                    <a:pt x="1104" y="899"/>
                  </a:lnTo>
                  <a:lnTo>
                    <a:pt x="1104" y="899"/>
                  </a:lnTo>
                  <a:lnTo>
                    <a:pt x="1129" y="899"/>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899"/>
                  </a:lnTo>
                  <a:lnTo>
                    <a:pt x="1322" y="899"/>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899"/>
                  </a:lnTo>
                  <a:lnTo>
                    <a:pt x="1333" y="899"/>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899"/>
                  </a:lnTo>
                  <a:lnTo>
                    <a:pt x="1367" y="899"/>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1063"/>
                  </a:lnTo>
                  <a:lnTo>
                    <a:pt x="1388" y="1063"/>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1042"/>
                  </a:lnTo>
                  <a:lnTo>
                    <a:pt x="1422" y="1042"/>
                  </a:lnTo>
                  <a:lnTo>
                    <a:pt x="1422" y="1042"/>
                  </a:lnTo>
                  <a:lnTo>
                    <a:pt x="1423" y="1042"/>
                  </a:lnTo>
                  <a:lnTo>
                    <a:pt x="1423" y="1042"/>
                  </a:lnTo>
                  <a:lnTo>
                    <a:pt x="1425" y="1042"/>
                  </a:lnTo>
                  <a:lnTo>
                    <a:pt x="1425" y="1042"/>
                  </a:lnTo>
                  <a:lnTo>
                    <a:pt x="1432" y="1042"/>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1033"/>
                  </a:lnTo>
                  <a:lnTo>
                    <a:pt x="1475" y="1033"/>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1029"/>
                  </a:lnTo>
                  <a:lnTo>
                    <a:pt x="1478" y="1029"/>
                  </a:lnTo>
                  <a:lnTo>
                    <a:pt x="1478" y="899"/>
                  </a:lnTo>
                  <a:lnTo>
                    <a:pt x="1478" y="899"/>
                  </a:lnTo>
                  <a:lnTo>
                    <a:pt x="1478" y="1029"/>
                  </a:lnTo>
                  <a:lnTo>
                    <a:pt x="1478" y="1029"/>
                  </a:lnTo>
                  <a:lnTo>
                    <a:pt x="1478" y="1029"/>
                  </a:lnTo>
                  <a:lnTo>
                    <a:pt x="1478" y="1029"/>
                  </a:lnTo>
                  <a:lnTo>
                    <a:pt x="1478" y="899"/>
                  </a:lnTo>
                  <a:lnTo>
                    <a:pt x="1479" y="899"/>
                  </a:lnTo>
                  <a:lnTo>
                    <a:pt x="1479"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1019"/>
                  </a:lnTo>
                  <a:lnTo>
                    <a:pt x="1484" y="1019"/>
                  </a:lnTo>
                  <a:lnTo>
                    <a:pt x="1484" y="1017"/>
                  </a:lnTo>
                  <a:lnTo>
                    <a:pt x="1484" y="1017"/>
                  </a:lnTo>
                  <a:lnTo>
                    <a:pt x="1484" y="1017"/>
                  </a:lnTo>
                  <a:lnTo>
                    <a:pt x="1484" y="1017"/>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899"/>
                  </a:lnTo>
                  <a:lnTo>
                    <a:pt x="1695" y="899"/>
                  </a:lnTo>
                  <a:lnTo>
                    <a:pt x="1695" y="899"/>
                  </a:lnTo>
                  <a:lnTo>
                    <a:pt x="1698" y="899"/>
                  </a:lnTo>
                  <a:lnTo>
                    <a:pt x="1698" y="1005"/>
                  </a:lnTo>
                  <a:lnTo>
                    <a:pt x="1698" y="1005"/>
                  </a:lnTo>
                  <a:lnTo>
                    <a:pt x="1698" y="1005"/>
                  </a:lnTo>
                  <a:lnTo>
                    <a:pt x="1699" y="1005"/>
                  </a:lnTo>
                  <a:lnTo>
                    <a:pt x="1699" y="1004"/>
                  </a:lnTo>
                  <a:lnTo>
                    <a:pt x="1699" y="1004"/>
                  </a:lnTo>
                  <a:lnTo>
                    <a:pt x="1699" y="1004"/>
                  </a:lnTo>
                  <a:lnTo>
                    <a:pt x="1699" y="1004"/>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970"/>
                  </a:lnTo>
                  <a:lnTo>
                    <a:pt x="1814" y="970"/>
                  </a:lnTo>
                  <a:lnTo>
                    <a:pt x="1814" y="970"/>
                  </a:lnTo>
                  <a:lnTo>
                    <a:pt x="1814" y="970"/>
                  </a:lnTo>
                  <a:lnTo>
                    <a:pt x="1814" y="970"/>
                  </a:lnTo>
                  <a:lnTo>
                    <a:pt x="1815" y="970"/>
                  </a:lnTo>
                  <a:lnTo>
                    <a:pt x="1815" y="899"/>
                  </a:lnTo>
                  <a:lnTo>
                    <a:pt x="1817" y="899"/>
                  </a:lnTo>
                  <a:lnTo>
                    <a:pt x="1817" y="966"/>
                  </a:lnTo>
                  <a:lnTo>
                    <a:pt x="1817" y="966"/>
                  </a:lnTo>
                  <a:lnTo>
                    <a:pt x="1817" y="966"/>
                  </a:lnTo>
                  <a:lnTo>
                    <a:pt x="1820" y="966"/>
                  </a:lnTo>
                  <a:lnTo>
                    <a:pt x="1820" y="966"/>
                  </a:lnTo>
                  <a:lnTo>
                    <a:pt x="1844" y="966"/>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899"/>
                  </a:lnTo>
                  <a:lnTo>
                    <a:pt x="1855" y="899"/>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899"/>
                  </a:lnTo>
                  <a:lnTo>
                    <a:pt x="1944" y="899"/>
                  </a:lnTo>
                  <a:lnTo>
                    <a:pt x="1944" y="899"/>
                  </a:lnTo>
                  <a:lnTo>
                    <a:pt x="1944" y="899"/>
                  </a:lnTo>
                  <a:lnTo>
                    <a:pt x="1944" y="899"/>
                  </a:lnTo>
                  <a:lnTo>
                    <a:pt x="1944" y="899"/>
                  </a:lnTo>
                  <a:lnTo>
                    <a:pt x="1944" y="899"/>
                  </a:lnTo>
                  <a:lnTo>
                    <a:pt x="1944" y="899"/>
                  </a:lnTo>
                  <a:lnTo>
                    <a:pt x="1944" y="920"/>
                  </a:lnTo>
                  <a:lnTo>
                    <a:pt x="1944" y="920"/>
                  </a:lnTo>
                  <a:lnTo>
                    <a:pt x="1944" y="920"/>
                  </a:lnTo>
                  <a:lnTo>
                    <a:pt x="1945" y="920"/>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916"/>
                  </a:lnTo>
                  <a:lnTo>
                    <a:pt x="1948" y="916"/>
                  </a:lnTo>
                  <a:lnTo>
                    <a:pt x="1948" y="916"/>
                  </a:lnTo>
                  <a:lnTo>
                    <a:pt x="1948" y="916"/>
                  </a:lnTo>
                  <a:lnTo>
                    <a:pt x="1948" y="899"/>
                  </a:lnTo>
                  <a:lnTo>
                    <a:pt x="1948" y="899"/>
                  </a:lnTo>
                  <a:lnTo>
                    <a:pt x="1948" y="915"/>
                  </a:lnTo>
                  <a:lnTo>
                    <a:pt x="1948" y="915"/>
                  </a:lnTo>
                  <a:lnTo>
                    <a:pt x="1948"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9"/>
                  </a:lnTo>
                  <a:lnTo>
                    <a:pt x="2059" y="899"/>
                  </a:lnTo>
                  <a:lnTo>
                    <a:pt x="2059" y="899"/>
                  </a:lnTo>
                  <a:lnTo>
                    <a:pt x="2059" y="899"/>
                  </a:lnTo>
                  <a:lnTo>
                    <a:pt x="2059" y="899"/>
                  </a:lnTo>
                  <a:lnTo>
                    <a:pt x="2059" y="899"/>
                  </a:lnTo>
                  <a:lnTo>
                    <a:pt x="2059" y="892"/>
                  </a:lnTo>
                  <a:lnTo>
                    <a:pt x="2059" y="892"/>
                  </a:lnTo>
                  <a:lnTo>
                    <a:pt x="2059" y="899"/>
                  </a:lnTo>
                  <a:lnTo>
                    <a:pt x="2060" y="899"/>
                  </a:lnTo>
                  <a:lnTo>
                    <a:pt x="2060" y="892"/>
                  </a:lnTo>
                  <a:lnTo>
                    <a:pt x="2060" y="892"/>
                  </a:lnTo>
                  <a:lnTo>
                    <a:pt x="2060" y="892"/>
                  </a:lnTo>
                  <a:lnTo>
                    <a:pt x="2061" y="892"/>
                  </a:lnTo>
                  <a:lnTo>
                    <a:pt x="2061" y="892"/>
                  </a:lnTo>
                  <a:lnTo>
                    <a:pt x="2064" y="892"/>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8" y="899"/>
                  </a:lnTo>
                  <a:lnTo>
                    <a:pt x="2078" y="899"/>
                  </a:lnTo>
                  <a:lnTo>
                    <a:pt x="2078" y="899"/>
                  </a:lnTo>
                  <a:lnTo>
                    <a:pt x="2078" y="899"/>
                  </a:lnTo>
                  <a:lnTo>
                    <a:pt x="2078" y="899"/>
                  </a:lnTo>
                  <a:lnTo>
                    <a:pt x="2078" y="899"/>
                  </a:lnTo>
                  <a:lnTo>
                    <a:pt x="2078" y="899"/>
                  </a:lnTo>
                  <a:lnTo>
                    <a:pt x="2078" y="899"/>
                  </a:lnTo>
                  <a:lnTo>
                    <a:pt x="2079" y="899"/>
                  </a:lnTo>
                  <a:lnTo>
                    <a:pt x="2079"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2" y="899"/>
                  </a:lnTo>
                  <a:lnTo>
                    <a:pt x="2082" y="899"/>
                  </a:lnTo>
                  <a:lnTo>
                    <a:pt x="2082" y="899"/>
                  </a:lnTo>
                  <a:lnTo>
                    <a:pt x="2082" y="899"/>
                  </a:lnTo>
                  <a:lnTo>
                    <a:pt x="2083" y="899"/>
                  </a:lnTo>
                  <a:lnTo>
                    <a:pt x="2083" y="899"/>
                  </a:lnTo>
                  <a:lnTo>
                    <a:pt x="2085" y="899"/>
                  </a:lnTo>
                  <a:lnTo>
                    <a:pt x="2085" y="899"/>
                  </a:lnTo>
                  <a:lnTo>
                    <a:pt x="2085" y="899"/>
                  </a:lnTo>
                  <a:lnTo>
                    <a:pt x="2085" y="899"/>
                  </a:lnTo>
                  <a:lnTo>
                    <a:pt x="2085" y="899"/>
                  </a:lnTo>
                  <a:lnTo>
                    <a:pt x="2085" y="899"/>
                  </a:lnTo>
                  <a:lnTo>
                    <a:pt x="2086" y="899"/>
                  </a:lnTo>
                  <a:lnTo>
                    <a:pt x="2086" y="899"/>
                  </a:lnTo>
                  <a:lnTo>
                    <a:pt x="2086" y="899"/>
                  </a:lnTo>
                  <a:lnTo>
                    <a:pt x="2086" y="884"/>
                  </a:lnTo>
                  <a:lnTo>
                    <a:pt x="2087" y="884"/>
                  </a:lnTo>
                  <a:lnTo>
                    <a:pt x="2087" y="884"/>
                  </a:lnTo>
                  <a:lnTo>
                    <a:pt x="2088" y="884"/>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6" y="899"/>
                  </a:lnTo>
                  <a:lnTo>
                    <a:pt x="2136" y="882"/>
                  </a:lnTo>
                  <a:lnTo>
                    <a:pt x="2138" y="882"/>
                  </a:lnTo>
                  <a:lnTo>
                    <a:pt x="2138" y="899"/>
                  </a:lnTo>
                  <a:lnTo>
                    <a:pt x="2138" y="899"/>
                  </a:lnTo>
                  <a:lnTo>
                    <a:pt x="2138" y="899"/>
                  </a:lnTo>
                  <a:lnTo>
                    <a:pt x="2141" y="899"/>
                  </a:lnTo>
                  <a:lnTo>
                    <a:pt x="2141" y="899"/>
                  </a:lnTo>
                  <a:lnTo>
                    <a:pt x="2144" y="899"/>
                  </a:lnTo>
                  <a:lnTo>
                    <a:pt x="2144" y="899"/>
                  </a:lnTo>
                  <a:lnTo>
                    <a:pt x="2144" y="899"/>
                  </a:lnTo>
                  <a:lnTo>
                    <a:pt x="2144" y="899"/>
                  </a:lnTo>
                  <a:lnTo>
                    <a:pt x="2144" y="899"/>
                  </a:lnTo>
                  <a:lnTo>
                    <a:pt x="2144" y="899"/>
                  </a:lnTo>
                  <a:lnTo>
                    <a:pt x="2144" y="899"/>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63"/>
                  </a:lnTo>
                  <a:lnTo>
                    <a:pt x="2155" y="863"/>
                  </a:lnTo>
                  <a:lnTo>
                    <a:pt x="2155" y="863"/>
                  </a:lnTo>
                  <a:lnTo>
                    <a:pt x="2158" y="863"/>
                  </a:lnTo>
                  <a:lnTo>
                    <a:pt x="2158" y="863"/>
                  </a:lnTo>
                  <a:lnTo>
                    <a:pt x="2175" y="863"/>
                  </a:lnTo>
                  <a:lnTo>
                    <a:pt x="2175" y="899"/>
                  </a:lnTo>
                  <a:lnTo>
                    <a:pt x="2175" y="899"/>
                  </a:lnTo>
                  <a:lnTo>
                    <a:pt x="2175" y="899"/>
                  </a:lnTo>
                  <a:lnTo>
                    <a:pt x="2175" y="899"/>
                  </a:lnTo>
                  <a:lnTo>
                    <a:pt x="2175" y="899"/>
                  </a:lnTo>
                  <a:lnTo>
                    <a:pt x="2175" y="899"/>
                  </a:lnTo>
                  <a:lnTo>
                    <a:pt x="2175" y="862"/>
                  </a:lnTo>
                  <a:lnTo>
                    <a:pt x="2175" y="862"/>
                  </a:lnTo>
                  <a:lnTo>
                    <a:pt x="2175" y="899"/>
                  </a:lnTo>
                  <a:lnTo>
                    <a:pt x="2176" y="899"/>
                  </a:lnTo>
                  <a:lnTo>
                    <a:pt x="2176" y="862"/>
                  </a:lnTo>
                  <a:lnTo>
                    <a:pt x="2178" y="862"/>
                  </a:lnTo>
                  <a:lnTo>
                    <a:pt x="2178" y="899"/>
                  </a:lnTo>
                  <a:lnTo>
                    <a:pt x="2182" y="899"/>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54"/>
                  </a:lnTo>
                  <a:lnTo>
                    <a:pt x="2183" y="854"/>
                  </a:lnTo>
                  <a:lnTo>
                    <a:pt x="2183" y="854"/>
                  </a:lnTo>
                  <a:lnTo>
                    <a:pt x="2183" y="854"/>
                  </a:lnTo>
                  <a:lnTo>
                    <a:pt x="2183" y="851"/>
                  </a:lnTo>
                  <a:lnTo>
                    <a:pt x="2183" y="851"/>
                  </a:lnTo>
                  <a:lnTo>
                    <a:pt x="2183" y="851"/>
                  </a:lnTo>
                  <a:lnTo>
                    <a:pt x="2183" y="851"/>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99"/>
                  </a:lnTo>
                  <a:lnTo>
                    <a:pt x="2273" y="899"/>
                  </a:lnTo>
                  <a:lnTo>
                    <a:pt x="2273" y="899"/>
                  </a:lnTo>
                  <a:lnTo>
                    <a:pt x="2273" y="899"/>
                  </a:lnTo>
                  <a:lnTo>
                    <a:pt x="2273" y="899"/>
                  </a:lnTo>
                  <a:lnTo>
                    <a:pt x="2273" y="899"/>
                  </a:lnTo>
                  <a:lnTo>
                    <a:pt x="2273" y="899"/>
                  </a:lnTo>
                  <a:lnTo>
                    <a:pt x="2273" y="899"/>
                  </a:lnTo>
                  <a:lnTo>
                    <a:pt x="2273" y="899"/>
                  </a:lnTo>
                  <a:lnTo>
                    <a:pt x="2275" y="899"/>
                  </a:lnTo>
                  <a:lnTo>
                    <a:pt x="2275" y="899"/>
                  </a:lnTo>
                  <a:lnTo>
                    <a:pt x="2277" y="899"/>
                  </a:lnTo>
                  <a:lnTo>
                    <a:pt x="2277" y="899"/>
                  </a:lnTo>
                  <a:lnTo>
                    <a:pt x="2277" y="899"/>
                  </a:lnTo>
                  <a:lnTo>
                    <a:pt x="2277" y="899"/>
                  </a:lnTo>
                  <a:lnTo>
                    <a:pt x="2277" y="899"/>
                  </a:lnTo>
                  <a:lnTo>
                    <a:pt x="2277" y="899"/>
                  </a:lnTo>
                  <a:lnTo>
                    <a:pt x="2278" y="899"/>
                  </a:lnTo>
                  <a:lnTo>
                    <a:pt x="2278" y="899"/>
                  </a:lnTo>
                  <a:lnTo>
                    <a:pt x="2278" y="899"/>
                  </a:lnTo>
                  <a:lnTo>
                    <a:pt x="2278" y="899"/>
                  </a:lnTo>
                  <a:lnTo>
                    <a:pt x="2279" y="899"/>
                  </a:lnTo>
                  <a:lnTo>
                    <a:pt x="2279" y="899"/>
                  </a:lnTo>
                  <a:lnTo>
                    <a:pt x="2279" y="899"/>
                  </a:lnTo>
                  <a:lnTo>
                    <a:pt x="2279" y="899"/>
                  </a:lnTo>
                  <a:lnTo>
                    <a:pt x="2280" y="899"/>
                  </a:lnTo>
                  <a:lnTo>
                    <a:pt x="2280" y="899"/>
                  </a:lnTo>
                  <a:lnTo>
                    <a:pt x="2282" y="899"/>
                  </a:lnTo>
                  <a:lnTo>
                    <a:pt x="2282" y="899"/>
                  </a:lnTo>
                  <a:lnTo>
                    <a:pt x="2283" y="899"/>
                  </a:lnTo>
                  <a:lnTo>
                    <a:pt x="2283" y="899"/>
                  </a:lnTo>
                  <a:lnTo>
                    <a:pt x="2285" y="899"/>
                  </a:lnTo>
                  <a:lnTo>
                    <a:pt x="2285" y="899"/>
                  </a:lnTo>
                  <a:lnTo>
                    <a:pt x="2288" y="899"/>
                  </a:lnTo>
                  <a:lnTo>
                    <a:pt x="2288" y="899"/>
                  </a:lnTo>
                  <a:lnTo>
                    <a:pt x="2292" y="899"/>
                  </a:lnTo>
                  <a:lnTo>
                    <a:pt x="2292" y="899"/>
                  </a:lnTo>
                  <a:lnTo>
                    <a:pt x="2293" y="899"/>
                  </a:lnTo>
                  <a:lnTo>
                    <a:pt x="2293" y="899"/>
                  </a:lnTo>
                  <a:lnTo>
                    <a:pt x="2294" y="899"/>
                  </a:lnTo>
                  <a:lnTo>
                    <a:pt x="2294"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9" y="899"/>
                  </a:lnTo>
                  <a:lnTo>
                    <a:pt x="2299" y="899"/>
                  </a:lnTo>
                  <a:lnTo>
                    <a:pt x="2308" y="899"/>
                  </a:lnTo>
                  <a:lnTo>
                    <a:pt x="2308" y="899"/>
                  </a:lnTo>
                  <a:lnTo>
                    <a:pt x="2311" y="899"/>
                  </a:lnTo>
                  <a:lnTo>
                    <a:pt x="2311" y="899"/>
                  </a:lnTo>
                  <a:lnTo>
                    <a:pt x="2350" y="899"/>
                  </a:lnTo>
                  <a:lnTo>
                    <a:pt x="2350" y="899"/>
                  </a:lnTo>
                  <a:lnTo>
                    <a:pt x="2350" y="899"/>
                  </a:lnTo>
                  <a:lnTo>
                    <a:pt x="2350" y="899"/>
                  </a:lnTo>
                  <a:lnTo>
                    <a:pt x="2351" y="899"/>
                  </a:lnTo>
                  <a:lnTo>
                    <a:pt x="2351" y="899"/>
                  </a:lnTo>
                  <a:lnTo>
                    <a:pt x="2365" y="899"/>
                  </a:lnTo>
                  <a:lnTo>
                    <a:pt x="2365" y="899"/>
                  </a:lnTo>
                  <a:lnTo>
                    <a:pt x="2365" y="899"/>
                  </a:lnTo>
                  <a:lnTo>
                    <a:pt x="2365" y="899"/>
                  </a:lnTo>
                  <a:lnTo>
                    <a:pt x="2365" y="899"/>
                  </a:lnTo>
                  <a:lnTo>
                    <a:pt x="2365" y="899"/>
                  </a:lnTo>
                  <a:lnTo>
                    <a:pt x="2365" y="899"/>
                  </a:lnTo>
                  <a:lnTo>
                    <a:pt x="2365" y="899"/>
                  </a:lnTo>
                  <a:lnTo>
                    <a:pt x="2366" y="899"/>
                  </a:lnTo>
                  <a:lnTo>
                    <a:pt x="2366" y="899"/>
                  </a:lnTo>
                  <a:lnTo>
                    <a:pt x="2367" y="899"/>
                  </a:lnTo>
                  <a:lnTo>
                    <a:pt x="2367" y="899"/>
                  </a:lnTo>
                  <a:lnTo>
                    <a:pt x="2369" y="899"/>
                  </a:lnTo>
                  <a:lnTo>
                    <a:pt x="2369" y="899"/>
                  </a:lnTo>
                  <a:lnTo>
                    <a:pt x="2371" y="899"/>
                  </a:lnTo>
                  <a:lnTo>
                    <a:pt x="2371" y="899"/>
                  </a:lnTo>
                  <a:lnTo>
                    <a:pt x="2382" y="899"/>
                  </a:lnTo>
                  <a:lnTo>
                    <a:pt x="2382"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11" y="899"/>
                  </a:lnTo>
                  <a:lnTo>
                    <a:pt x="2411" y="899"/>
                  </a:lnTo>
                  <a:lnTo>
                    <a:pt x="2413" y="899"/>
                  </a:lnTo>
                  <a:lnTo>
                    <a:pt x="2413" y="899"/>
                  </a:lnTo>
                  <a:lnTo>
                    <a:pt x="2417" y="899"/>
                  </a:lnTo>
                  <a:lnTo>
                    <a:pt x="2417" y="899"/>
                  </a:lnTo>
                  <a:lnTo>
                    <a:pt x="2422" y="899"/>
                  </a:lnTo>
                  <a:lnTo>
                    <a:pt x="2422" y="899"/>
                  </a:lnTo>
                  <a:lnTo>
                    <a:pt x="2428" y="899"/>
                  </a:lnTo>
                  <a:lnTo>
                    <a:pt x="2428" y="899"/>
                  </a:lnTo>
                  <a:lnTo>
                    <a:pt x="2439" y="899"/>
                  </a:lnTo>
                  <a:lnTo>
                    <a:pt x="2439" y="899"/>
                  </a:lnTo>
                  <a:lnTo>
                    <a:pt x="2451" y="899"/>
                  </a:lnTo>
                  <a:lnTo>
                    <a:pt x="2451" y="899"/>
                  </a:lnTo>
                  <a:lnTo>
                    <a:pt x="2451" y="899"/>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899"/>
                  </a:lnTo>
                  <a:lnTo>
                    <a:pt x="2472" y="899"/>
                  </a:lnTo>
                  <a:lnTo>
                    <a:pt x="2472" y="899"/>
                  </a:lnTo>
                  <a:lnTo>
                    <a:pt x="2472" y="899"/>
                  </a:lnTo>
                  <a:lnTo>
                    <a:pt x="2472" y="899"/>
                  </a:lnTo>
                  <a:lnTo>
                    <a:pt x="2474" y="899"/>
                  </a:lnTo>
                  <a:lnTo>
                    <a:pt x="2474" y="899"/>
                  </a:lnTo>
                  <a:lnTo>
                    <a:pt x="2476" y="899"/>
                  </a:lnTo>
                  <a:lnTo>
                    <a:pt x="2476" y="899"/>
                  </a:lnTo>
                  <a:lnTo>
                    <a:pt x="2481" y="899"/>
                  </a:lnTo>
                  <a:lnTo>
                    <a:pt x="2481"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9" y="899"/>
                  </a:lnTo>
                  <a:lnTo>
                    <a:pt x="2489" y="899"/>
                  </a:lnTo>
                  <a:lnTo>
                    <a:pt x="2490" y="899"/>
                  </a:lnTo>
                  <a:lnTo>
                    <a:pt x="2490" y="899"/>
                  </a:lnTo>
                  <a:lnTo>
                    <a:pt x="2492" y="899"/>
                  </a:lnTo>
                  <a:lnTo>
                    <a:pt x="2492" y="899"/>
                  </a:lnTo>
                  <a:lnTo>
                    <a:pt x="2493" y="899"/>
                  </a:lnTo>
                  <a:lnTo>
                    <a:pt x="2493" y="899"/>
                  </a:lnTo>
                  <a:lnTo>
                    <a:pt x="2495" y="899"/>
                  </a:lnTo>
                  <a:lnTo>
                    <a:pt x="2495" y="899"/>
                  </a:lnTo>
                  <a:lnTo>
                    <a:pt x="2496" y="899"/>
                  </a:lnTo>
                  <a:lnTo>
                    <a:pt x="2496" y="899"/>
                  </a:lnTo>
                  <a:lnTo>
                    <a:pt x="2499" y="899"/>
                  </a:lnTo>
                  <a:lnTo>
                    <a:pt x="2499" y="899"/>
                  </a:lnTo>
                  <a:lnTo>
                    <a:pt x="2503" y="899"/>
                  </a:lnTo>
                  <a:lnTo>
                    <a:pt x="2503" y="899"/>
                  </a:lnTo>
                  <a:lnTo>
                    <a:pt x="2514" y="899"/>
                  </a:lnTo>
                  <a:lnTo>
                    <a:pt x="2514" y="899"/>
                  </a:lnTo>
                  <a:lnTo>
                    <a:pt x="2524" y="899"/>
                  </a:lnTo>
                  <a:lnTo>
                    <a:pt x="2524"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7" y="899"/>
                  </a:lnTo>
                  <a:lnTo>
                    <a:pt x="2527"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2" y="899"/>
                  </a:lnTo>
                  <a:lnTo>
                    <a:pt x="2532" y="899"/>
                  </a:lnTo>
                  <a:lnTo>
                    <a:pt x="2532" y="899"/>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1" y="765"/>
                  </a:lnTo>
                  <a:lnTo>
                    <a:pt x="2591" y="899"/>
                  </a:lnTo>
                  <a:lnTo>
                    <a:pt x="2591" y="899"/>
                  </a:lnTo>
                  <a:lnTo>
                    <a:pt x="2591" y="765"/>
                  </a:lnTo>
                  <a:lnTo>
                    <a:pt x="2591" y="765"/>
                  </a:lnTo>
                  <a:lnTo>
                    <a:pt x="2591" y="765"/>
                  </a:lnTo>
                  <a:lnTo>
                    <a:pt x="2591" y="765"/>
                  </a:lnTo>
                  <a:lnTo>
                    <a:pt x="2591" y="899"/>
                  </a:lnTo>
                  <a:lnTo>
                    <a:pt x="2592" y="899"/>
                  </a:lnTo>
                  <a:lnTo>
                    <a:pt x="2592" y="765"/>
                  </a:lnTo>
                  <a:lnTo>
                    <a:pt x="2593" y="765"/>
                  </a:lnTo>
                  <a:lnTo>
                    <a:pt x="2593" y="899"/>
                  </a:lnTo>
                  <a:lnTo>
                    <a:pt x="2596" y="899"/>
                  </a:lnTo>
                  <a:lnTo>
                    <a:pt x="2596" y="899"/>
                  </a:lnTo>
                  <a:lnTo>
                    <a:pt x="2599" y="899"/>
                  </a:lnTo>
                  <a:lnTo>
                    <a:pt x="2599" y="765"/>
                  </a:lnTo>
                  <a:lnTo>
                    <a:pt x="2604" y="765"/>
                  </a:lnTo>
                  <a:lnTo>
                    <a:pt x="2604" y="899"/>
                  </a:lnTo>
                  <a:lnTo>
                    <a:pt x="2604" y="899"/>
                  </a:lnTo>
                  <a:lnTo>
                    <a:pt x="2604" y="899"/>
                  </a:lnTo>
                  <a:lnTo>
                    <a:pt x="2605" y="899"/>
                  </a:lnTo>
                  <a:lnTo>
                    <a:pt x="2605" y="899"/>
                  </a:lnTo>
                  <a:lnTo>
                    <a:pt x="2605" y="899"/>
                  </a:lnTo>
                  <a:lnTo>
                    <a:pt x="2605" y="899"/>
                  </a:lnTo>
                  <a:lnTo>
                    <a:pt x="2605" y="899"/>
                  </a:lnTo>
                  <a:lnTo>
                    <a:pt x="2605"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9" y="899"/>
                  </a:lnTo>
                  <a:lnTo>
                    <a:pt x="2609" y="899"/>
                  </a:lnTo>
                  <a:lnTo>
                    <a:pt x="2612" y="899"/>
                  </a:lnTo>
                  <a:lnTo>
                    <a:pt x="2612" y="760"/>
                  </a:lnTo>
                  <a:lnTo>
                    <a:pt x="2612" y="760"/>
                  </a:lnTo>
                  <a:lnTo>
                    <a:pt x="2612" y="760"/>
                  </a:lnTo>
                  <a:lnTo>
                    <a:pt x="2613" y="760"/>
                  </a:lnTo>
                  <a:lnTo>
                    <a:pt x="2613" y="899"/>
                  </a:lnTo>
                  <a:lnTo>
                    <a:pt x="2630" y="899"/>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9" y="899"/>
                  </a:lnTo>
                  <a:lnTo>
                    <a:pt x="2639" y="899"/>
                  </a:lnTo>
                  <a:lnTo>
                    <a:pt x="2639" y="899"/>
                  </a:lnTo>
                  <a:lnTo>
                    <a:pt x="2639" y="899"/>
                  </a:lnTo>
                  <a:lnTo>
                    <a:pt x="2645" y="899"/>
                  </a:lnTo>
                  <a:lnTo>
                    <a:pt x="2645" y="899"/>
                  </a:lnTo>
                  <a:lnTo>
                    <a:pt x="2645" y="899"/>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3" y="899"/>
                  </a:lnTo>
                  <a:lnTo>
                    <a:pt x="2653"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8" y="899"/>
                  </a:lnTo>
                  <a:lnTo>
                    <a:pt x="2658" y="899"/>
                  </a:lnTo>
                  <a:lnTo>
                    <a:pt x="2658" y="899"/>
                  </a:lnTo>
                  <a:lnTo>
                    <a:pt x="2658" y="899"/>
                  </a:lnTo>
                  <a:lnTo>
                    <a:pt x="2658" y="899"/>
                  </a:lnTo>
                  <a:lnTo>
                    <a:pt x="2658" y="899"/>
                  </a:lnTo>
                  <a:lnTo>
                    <a:pt x="2658" y="899"/>
                  </a:lnTo>
                  <a:lnTo>
                    <a:pt x="2658"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721"/>
                  </a:lnTo>
                  <a:lnTo>
                    <a:pt x="2662" y="721"/>
                  </a:lnTo>
                  <a:lnTo>
                    <a:pt x="2662" y="721"/>
                  </a:lnTo>
                  <a:lnTo>
                    <a:pt x="2663" y="721"/>
                  </a:lnTo>
                  <a:lnTo>
                    <a:pt x="2663" y="721"/>
                  </a:lnTo>
                  <a:lnTo>
                    <a:pt x="2665" y="721"/>
                  </a:lnTo>
                  <a:lnTo>
                    <a:pt x="2665" y="721"/>
                  </a:lnTo>
                  <a:lnTo>
                    <a:pt x="2681" y="721"/>
                  </a:lnTo>
                  <a:lnTo>
                    <a:pt x="2681" y="899"/>
                  </a:lnTo>
                  <a:lnTo>
                    <a:pt x="2682" y="899"/>
                  </a:lnTo>
                  <a:lnTo>
                    <a:pt x="2682"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2" y="899"/>
                  </a:lnTo>
                  <a:lnTo>
                    <a:pt x="2692"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899"/>
                  </a:lnTo>
                  <a:lnTo>
                    <a:pt x="2693" y="899"/>
                  </a:lnTo>
                  <a:lnTo>
                    <a:pt x="2693"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35" y="899"/>
                  </a:lnTo>
                  <a:lnTo>
                    <a:pt x="2735" y="899"/>
                  </a:lnTo>
                  <a:lnTo>
                    <a:pt x="2735" y="899"/>
                  </a:lnTo>
                  <a:lnTo>
                    <a:pt x="2735" y="899"/>
                  </a:lnTo>
                  <a:lnTo>
                    <a:pt x="2735" y="899"/>
                  </a:lnTo>
                  <a:lnTo>
                    <a:pt x="2735" y="654"/>
                  </a:lnTo>
                  <a:lnTo>
                    <a:pt x="2735" y="654"/>
                  </a:lnTo>
                  <a:lnTo>
                    <a:pt x="2735" y="654"/>
                  </a:lnTo>
                  <a:lnTo>
                    <a:pt x="2735" y="654"/>
                  </a:lnTo>
                  <a:lnTo>
                    <a:pt x="2735" y="654"/>
                  </a:lnTo>
                  <a:lnTo>
                    <a:pt x="2735" y="654"/>
                  </a:lnTo>
                  <a:lnTo>
                    <a:pt x="2735" y="899"/>
                  </a:lnTo>
                  <a:lnTo>
                    <a:pt x="2735" y="899"/>
                  </a:lnTo>
                  <a:lnTo>
                    <a:pt x="2735" y="654"/>
                  </a:lnTo>
                  <a:lnTo>
                    <a:pt x="2736" y="654"/>
                  </a:lnTo>
                  <a:lnTo>
                    <a:pt x="2736" y="654"/>
                  </a:lnTo>
                  <a:lnTo>
                    <a:pt x="2748" y="654"/>
                  </a:lnTo>
                  <a:lnTo>
                    <a:pt x="2748" y="899"/>
                  </a:lnTo>
                  <a:lnTo>
                    <a:pt x="2752" y="899"/>
                  </a:lnTo>
                  <a:lnTo>
                    <a:pt x="2752" y="899"/>
                  </a:lnTo>
                  <a:lnTo>
                    <a:pt x="2775" y="899"/>
                  </a:lnTo>
                  <a:lnTo>
                    <a:pt x="2775" y="652"/>
                  </a:lnTo>
                  <a:lnTo>
                    <a:pt x="2775" y="652"/>
                  </a:lnTo>
                  <a:lnTo>
                    <a:pt x="2775" y="899"/>
                  </a:lnTo>
                  <a:lnTo>
                    <a:pt x="2775" y="899"/>
                  </a:lnTo>
                  <a:lnTo>
                    <a:pt x="2775" y="652"/>
                  </a:lnTo>
                  <a:lnTo>
                    <a:pt x="2775" y="652"/>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623"/>
                  </a:lnTo>
                  <a:lnTo>
                    <a:pt x="2837" y="623"/>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899"/>
                  </a:lnTo>
                  <a:lnTo>
                    <a:pt x="3189" y="899"/>
                  </a:lnTo>
                  <a:lnTo>
                    <a:pt x="3189" y="438"/>
                  </a:lnTo>
                  <a:lnTo>
                    <a:pt x="3189" y="438"/>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899"/>
                  </a:lnTo>
                  <a:lnTo>
                    <a:pt x="3192" y="899"/>
                  </a:lnTo>
                  <a:lnTo>
                    <a:pt x="3192" y="899"/>
                  </a:lnTo>
                  <a:lnTo>
                    <a:pt x="3192" y="899"/>
                  </a:lnTo>
                  <a:lnTo>
                    <a:pt x="3192" y="899"/>
                  </a:lnTo>
                  <a:lnTo>
                    <a:pt x="3192" y="899"/>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4" y="899"/>
                  </a:lnTo>
                  <a:lnTo>
                    <a:pt x="3194" y="899"/>
                  </a:lnTo>
                  <a:lnTo>
                    <a:pt x="3194" y="899"/>
                  </a:lnTo>
                  <a:lnTo>
                    <a:pt x="3194" y="899"/>
                  </a:lnTo>
                  <a:lnTo>
                    <a:pt x="3194" y="899"/>
                  </a:lnTo>
                  <a:lnTo>
                    <a:pt x="3194" y="899"/>
                  </a:lnTo>
                  <a:lnTo>
                    <a:pt x="3194" y="899"/>
                  </a:lnTo>
                  <a:lnTo>
                    <a:pt x="3194" y="899"/>
                  </a:lnTo>
                  <a:lnTo>
                    <a:pt x="3195" y="899"/>
                  </a:lnTo>
                  <a:lnTo>
                    <a:pt x="3195" y="899"/>
                  </a:lnTo>
                  <a:lnTo>
                    <a:pt x="3196" y="899"/>
                  </a:lnTo>
                  <a:lnTo>
                    <a:pt x="3196" y="899"/>
                  </a:lnTo>
                  <a:lnTo>
                    <a:pt x="3197" y="899"/>
                  </a:lnTo>
                  <a:lnTo>
                    <a:pt x="3197" y="899"/>
                  </a:lnTo>
                  <a:lnTo>
                    <a:pt x="3201" y="899"/>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899"/>
                  </a:lnTo>
                  <a:lnTo>
                    <a:pt x="3216" y="899"/>
                  </a:lnTo>
                  <a:lnTo>
                    <a:pt x="3216" y="899"/>
                  </a:lnTo>
                  <a:lnTo>
                    <a:pt x="3216" y="899"/>
                  </a:lnTo>
                  <a:lnTo>
                    <a:pt x="3216" y="899"/>
                  </a:lnTo>
                  <a:lnTo>
                    <a:pt x="3216" y="899"/>
                  </a:lnTo>
                  <a:lnTo>
                    <a:pt x="3216" y="364"/>
                  </a:lnTo>
                  <a:lnTo>
                    <a:pt x="3216" y="364"/>
                  </a:lnTo>
                  <a:lnTo>
                    <a:pt x="3216" y="364"/>
                  </a:lnTo>
                  <a:lnTo>
                    <a:pt x="3216" y="364"/>
                  </a:lnTo>
                  <a:lnTo>
                    <a:pt x="3216" y="361"/>
                  </a:lnTo>
                  <a:lnTo>
                    <a:pt x="3216" y="361"/>
                  </a:lnTo>
                  <a:lnTo>
                    <a:pt x="3216" y="357"/>
                  </a:lnTo>
                  <a:lnTo>
                    <a:pt x="3216" y="357"/>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0"/>
                  </a:lnTo>
                  <a:lnTo>
                    <a:pt x="3216" y="350"/>
                  </a:lnTo>
                  <a:lnTo>
                    <a:pt x="3216" y="350"/>
                  </a:lnTo>
                  <a:lnTo>
                    <a:pt x="3216" y="350"/>
                  </a:lnTo>
                  <a:lnTo>
                    <a:pt x="3216" y="350"/>
                  </a:lnTo>
                  <a:lnTo>
                    <a:pt x="3217" y="350"/>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8" y="899"/>
                  </a:lnTo>
                  <a:lnTo>
                    <a:pt x="3218" y="899"/>
                  </a:lnTo>
                  <a:lnTo>
                    <a:pt x="3218" y="899"/>
                  </a:lnTo>
                  <a:lnTo>
                    <a:pt x="3218" y="899"/>
                  </a:lnTo>
                  <a:lnTo>
                    <a:pt x="3218" y="899"/>
                  </a:lnTo>
                  <a:lnTo>
                    <a:pt x="3218" y="899"/>
                  </a:lnTo>
                  <a:lnTo>
                    <a:pt x="3218" y="899"/>
                  </a:lnTo>
                  <a:lnTo>
                    <a:pt x="3218" y="899"/>
                  </a:lnTo>
                  <a:lnTo>
                    <a:pt x="3218" y="899"/>
                  </a:lnTo>
                  <a:lnTo>
                    <a:pt x="3218" y="324"/>
                  </a:lnTo>
                  <a:lnTo>
                    <a:pt x="3218" y="324"/>
                  </a:lnTo>
                  <a:lnTo>
                    <a:pt x="3218" y="324"/>
                  </a:lnTo>
                  <a:lnTo>
                    <a:pt x="3243" y="324"/>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1"/>
                  </a:lnTo>
                  <a:lnTo>
                    <a:pt x="3243" y="321"/>
                  </a:lnTo>
                  <a:lnTo>
                    <a:pt x="3243" y="321"/>
                  </a:lnTo>
                  <a:lnTo>
                    <a:pt x="3244" y="321"/>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5" y="899"/>
                  </a:lnTo>
                  <a:lnTo>
                    <a:pt x="3245" y="899"/>
                  </a:lnTo>
                  <a:lnTo>
                    <a:pt x="3245" y="899"/>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899"/>
                  </a:lnTo>
                  <a:lnTo>
                    <a:pt x="3249" y="899"/>
                  </a:lnTo>
                  <a:lnTo>
                    <a:pt x="3249" y="899"/>
                  </a:lnTo>
                  <a:lnTo>
                    <a:pt x="3249" y="899"/>
                  </a:lnTo>
                  <a:lnTo>
                    <a:pt x="3249" y="899"/>
                  </a:lnTo>
                  <a:lnTo>
                    <a:pt x="3249" y="899"/>
                  </a:lnTo>
                  <a:lnTo>
                    <a:pt x="3249" y="899"/>
                  </a:lnTo>
                  <a:lnTo>
                    <a:pt x="3249" y="899"/>
                  </a:lnTo>
                  <a:lnTo>
                    <a:pt x="3249" y="261"/>
                  </a:lnTo>
                  <a:lnTo>
                    <a:pt x="3249" y="261"/>
                  </a:lnTo>
                  <a:lnTo>
                    <a:pt x="3249" y="261"/>
                  </a:lnTo>
                  <a:lnTo>
                    <a:pt x="3249" y="261"/>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50" y="899"/>
                  </a:lnTo>
                  <a:lnTo>
                    <a:pt x="3250" y="899"/>
                  </a:lnTo>
                  <a:lnTo>
                    <a:pt x="3250" y="899"/>
                  </a:lnTo>
                  <a:lnTo>
                    <a:pt x="3250" y="221"/>
                  </a:lnTo>
                  <a:lnTo>
                    <a:pt x="3251" y="221"/>
                  </a:lnTo>
                  <a:lnTo>
                    <a:pt x="3251" y="899"/>
                  </a:lnTo>
                  <a:lnTo>
                    <a:pt x="3251" y="899"/>
                  </a:lnTo>
                  <a:lnTo>
                    <a:pt x="3251"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211"/>
                  </a:lnTo>
                  <a:lnTo>
                    <a:pt x="3252" y="211"/>
                  </a:lnTo>
                  <a:lnTo>
                    <a:pt x="3252" y="211"/>
                  </a:lnTo>
                  <a:lnTo>
                    <a:pt x="3252" y="211"/>
                  </a:lnTo>
                  <a:lnTo>
                    <a:pt x="3252" y="204"/>
                  </a:lnTo>
                  <a:lnTo>
                    <a:pt x="3252" y="204"/>
                  </a:lnTo>
                  <a:lnTo>
                    <a:pt x="3252" y="204"/>
                  </a:lnTo>
                  <a:lnTo>
                    <a:pt x="3253" y="204"/>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204"/>
                  </a:lnTo>
                  <a:lnTo>
                    <a:pt x="3252" y="204"/>
                  </a:lnTo>
                  <a:lnTo>
                    <a:pt x="3252" y="204"/>
                  </a:lnTo>
                  <a:lnTo>
                    <a:pt x="3252" y="204"/>
                  </a:lnTo>
                  <a:lnTo>
                    <a:pt x="3252" y="211"/>
                  </a:lnTo>
                  <a:lnTo>
                    <a:pt x="3252" y="211"/>
                  </a:lnTo>
                  <a:lnTo>
                    <a:pt x="3252" y="211"/>
                  </a:lnTo>
                  <a:lnTo>
                    <a:pt x="3252" y="211"/>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1" y="899"/>
                  </a:lnTo>
                  <a:lnTo>
                    <a:pt x="3251" y="899"/>
                  </a:lnTo>
                  <a:lnTo>
                    <a:pt x="3251" y="899"/>
                  </a:lnTo>
                  <a:lnTo>
                    <a:pt x="3251" y="221"/>
                  </a:lnTo>
                  <a:lnTo>
                    <a:pt x="3250" y="221"/>
                  </a:lnTo>
                  <a:lnTo>
                    <a:pt x="3250" y="899"/>
                  </a:lnTo>
                  <a:lnTo>
                    <a:pt x="3250" y="899"/>
                  </a:lnTo>
                  <a:lnTo>
                    <a:pt x="3250"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261"/>
                  </a:lnTo>
                  <a:lnTo>
                    <a:pt x="3249" y="261"/>
                  </a:lnTo>
                  <a:lnTo>
                    <a:pt x="3249" y="261"/>
                  </a:lnTo>
                  <a:lnTo>
                    <a:pt x="3249" y="261"/>
                  </a:lnTo>
                  <a:lnTo>
                    <a:pt x="3249" y="899"/>
                  </a:lnTo>
                  <a:lnTo>
                    <a:pt x="3249" y="899"/>
                  </a:lnTo>
                  <a:lnTo>
                    <a:pt x="3249" y="899"/>
                  </a:lnTo>
                  <a:lnTo>
                    <a:pt x="3249" y="899"/>
                  </a:lnTo>
                  <a:lnTo>
                    <a:pt x="3249" y="899"/>
                  </a:lnTo>
                  <a:lnTo>
                    <a:pt x="3249" y="899"/>
                  </a:lnTo>
                  <a:lnTo>
                    <a:pt x="3249" y="899"/>
                  </a:lnTo>
                  <a:lnTo>
                    <a:pt x="3249" y="899"/>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899"/>
                  </a:lnTo>
                  <a:lnTo>
                    <a:pt x="3245" y="899"/>
                  </a:lnTo>
                  <a:lnTo>
                    <a:pt x="3245"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321"/>
                  </a:lnTo>
                  <a:lnTo>
                    <a:pt x="3243" y="321"/>
                  </a:lnTo>
                  <a:lnTo>
                    <a:pt x="3243" y="321"/>
                  </a:lnTo>
                  <a:lnTo>
                    <a:pt x="3243" y="321"/>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4"/>
                  </a:lnTo>
                  <a:lnTo>
                    <a:pt x="3218" y="324"/>
                  </a:lnTo>
                  <a:lnTo>
                    <a:pt x="3218" y="324"/>
                  </a:lnTo>
                  <a:lnTo>
                    <a:pt x="3218" y="324"/>
                  </a:lnTo>
                  <a:lnTo>
                    <a:pt x="3218" y="899"/>
                  </a:lnTo>
                  <a:lnTo>
                    <a:pt x="3218" y="899"/>
                  </a:lnTo>
                  <a:lnTo>
                    <a:pt x="3218" y="899"/>
                  </a:lnTo>
                  <a:lnTo>
                    <a:pt x="3218" y="899"/>
                  </a:lnTo>
                  <a:lnTo>
                    <a:pt x="3218" y="899"/>
                  </a:lnTo>
                  <a:lnTo>
                    <a:pt x="3218" y="899"/>
                  </a:lnTo>
                  <a:lnTo>
                    <a:pt x="3218" y="899"/>
                  </a:lnTo>
                  <a:lnTo>
                    <a:pt x="3218" y="899"/>
                  </a:lnTo>
                  <a:lnTo>
                    <a:pt x="3218"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350"/>
                  </a:lnTo>
                  <a:lnTo>
                    <a:pt x="3216" y="350"/>
                  </a:lnTo>
                  <a:lnTo>
                    <a:pt x="3216" y="350"/>
                  </a:lnTo>
                  <a:lnTo>
                    <a:pt x="3216" y="350"/>
                  </a:lnTo>
                  <a:lnTo>
                    <a:pt x="3216" y="350"/>
                  </a:lnTo>
                  <a:lnTo>
                    <a:pt x="3216" y="350"/>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7"/>
                  </a:lnTo>
                  <a:lnTo>
                    <a:pt x="3216" y="357"/>
                  </a:lnTo>
                  <a:lnTo>
                    <a:pt x="3216" y="361"/>
                  </a:lnTo>
                  <a:lnTo>
                    <a:pt x="3216" y="361"/>
                  </a:lnTo>
                  <a:lnTo>
                    <a:pt x="3216" y="364"/>
                  </a:lnTo>
                  <a:lnTo>
                    <a:pt x="3216" y="364"/>
                  </a:lnTo>
                  <a:lnTo>
                    <a:pt x="3216" y="364"/>
                  </a:lnTo>
                  <a:lnTo>
                    <a:pt x="3216" y="364"/>
                  </a:lnTo>
                  <a:lnTo>
                    <a:pt x="3216" y="899"/>
                  </a:lnTo>
                  <a:lnTo>
                    <a:pt x="3216" y="899"/>
                  </a:lnTo>
                  <a:lnTo>
                    <a:pt x="3216" y="899"/>
                  </a:lnTo>
                  <a:lnTo>
                    <a:pt x="3216" y="899"/>
                  </a:lnTo>
                  <a:lnTo>
                    <a:pt x="3216" y="899"/>
                  </a:lnTo>
                  <a:lnTo>
                    <a:pt x="3216" y="899"/>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899"/>
                  </a:lnTo>
                  <a:lnTo>
                    <a:pt x="3197" y="899"/>
                  </a:lnTo>
                  <a:lnTo>
                    <a:pt x="3197" y="899"/>
                  </a:lnTo>
                  <a:lnTo>
                    <a:pt x="3196" y="899"/>
                  </a:lnTo>
                  <a:lnTo>
                    <a:pt x="3196" y="899"/>
                  </a:lnTo>
                  <a:lnTo>
                    <a:pt x="3195" y="899"/>
                  </a:lnTo>
                  <a:lnTo>
                    <a:pt x="3195" y="899"/>
                  </a:lnTo>
                  <a:lnTo>
                    <a:pt x="3194" y="899"/>
                  </a:lnTo>
                  <a:lnTo>
                    <a:pt x="3194" y="899"/>
                  </a:lnTo>
                  <a:lnTo>
                    <a:pt x="3194" y="899"/>
                  </a:lnTo>
                  <a:lnTo>
                    <a:pt x="3194" y="899"/>
                  </a:lnTo>
                  <a:lnTo>
                    <a:pt x="3194" y="899"/>
                  </a:lnTo>
                  <a:lnTo>
                    <a:pt x="3194" y="899"/>
                  </a:lnTo>
                  <a:lnTo>
                    <a:pt x="3194" y="899"/>
                  </a:lnTo>
                  <a:lnTo>
                    <a:pt x="3194"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899"/>
                  </a:lnTo>
                  <a:lnTo>
                    <a:pt x="3192" y="899"/>
                  </a:lnTo>
                  <a:lnTo>
                    <a:pt x="3192" y="899"/>
                  </a:lnTo>
                  <a:lnTo>
                    <a:pt x="3192" y="899"/>
                  </a:lnTo>
                  <a:lnTo>
                    <a:pt x="3192" y="899"/>
                  </a:lnTo>
                  <a:lnTo>
                    <a:pt x="3192" y="899"/>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8"/>
                  </a:lnTo>
                  <a:lnTo>
                    <a:pt x="3189" y="438"/>
                  </a:lnTo>
                  <a:lnTo>
                    <a:pt x="3189" y="899"/>
                  </a:lnTo>
                  <a:lnTo>
                    <a:pt x="3189" y="899"/>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623"/>
                  </a:lnTo>
                  <a:lnTo>
                    <a:pt x="2837" y="623"/>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652"/>
                  </a:lnTo>
                  <a:lnTo>
                    <a:pt x="2775" y="652"/>
                  </a:lnTo>
                  <a:lnTo>
                    <a:pt x="2775" y="899"/>
                  </a:lnTo>
                  <a:lnTo>
                    <a:pt x="2775" y="899"/>
                  </a:lnTo>
                  <a:lnTo>
                    <a:pt x="2775" y="652"/>
                  </a:lnTo>
                  <a:lnTo>
                    <a:pt x="2775" y="652"/>
                  </a:lnTo>
                  <a:lnTo>
                    <a:pt x="2775" y="899"/>
                  </a:lnTo>
                  <a:lnTo>
                    <a:pt x="2752" y="899"/>
                  </a:lnTo>
                  <a:lnTo>
                    <a:pt x="2752" y="899"/>
                  </a:lnTo>
                  <a:lnTo>
                    <a:pt x="2748" y="899"/>
                  </a:lnTo>
                  <a:lnTo>
                    <a:pt x="2748" y="654"/>
                  </a:lnTo>
                  <a:lnTo>
                    <a:pt x="2736" y="654"/>
                  </a:lnTo>
                  <a:lnTo>
                    <a:pt x="2736" y="654"/>
                  </a:lnTo>
                  <a:lnTo>
                    <a:pt x="2735" y="654"/>
                  </a:lnTo>
                  <a:lnTo>
                    <a:pt x="2735" y="899"/>
                  </a:lnTo>
                  <a:lnTo>
                    <a:pt x="2735" y="899"/>
                  </a:lnTo>
                  <a:lnTo>
                    <a:pt x="2735" y="654"/>
                  </a:lnTo>
                  <a:lnTo>
                    <a:pt x="2735" y="654"/>
                  </a:lnTo>
                  <a:lnTo>
                    <a:pt x="2735" y="654"/>
                  </a:lnTo>
                  <a:lnTo>
                    <a:pt x="2735" y="654"/>
                  </a:lnTo>
                  <a:lnTo>
                    <a:pt x="2735" y="654"/>
                  </a:lnTo>
                  <a:lnTo>
                    <a:pt x="2735" y="654"/>
                  </a:lnTo>
                  <a:lnTo>
                    <a:pt x="2735" y="899"/>
                  </a:lnTo>
                  <a:lnTo>
                    <a:pt x="2735" y="899"/>
                  </a:lnTo>
                  <a:lnTo>
                    <a:pt x="2735" y="899"/>
                  </a:lnTo>
                  <a:lnTo>
                    <a:pt x="2735" y="899"/>
                  </a:lnTo>
                  <a:lnTo>
                    <a:pt x="2735"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3" y="899"/>
                  </a:lnTo>
                  <a:lnTo>
                    <a:pt x="2693" y="899"/>
                  </a:lnTo>
                  <a:lnTo>
                    <a:pt x="2693" y="899"/>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2" y="899"/>
                  </a:lnTo>
                  <a:lnTo>
                    <a:pt x="2692"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89" y="899"/>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2" y="899"/>
                  </a:lnTo>
                  <a:lnTo>
                    <a:pt x="2682" y="899"/>
                  </a:lnTo>
                  <a:lnTo>
                    <a:pt x="2681" y="899"/>
                  </a:lnTo>
                  <a:lnTo>
                    <a:pt x="2681" y="721"/>
                  </a:lnTo>
                  <a:lnTo>
                    <a:pt x="2665" y="721"/>
                  </a:lnTo>
                  <a:lnTo>
                    <a:pt x="2665" y="721"/>
                  </a:lnTo>
                  <a:lnTo>
                    <a:pt x="2663" y="721"/>
                  </a:lnTo>
                  <a:lnTo>
                    <a:pt x="2663" y="721"/>
                  </a:lnTo>
                  <a:lnTo>
                    <a:pt x="2662" y="721"/>
                  </a:lnTo>
                  <a:lnTo>
                    <a:pt x="2662" y="721"/>
                  </a:lnTo>
                  <a:lnTo>
                    <a:pt x="2662" y="721"/>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58" y="899"/>
                  </a:lnTo>
                  <a:lnTo>
                    <a:pt x="2658" y="899"/>
                  </a:lnTo>
                  <a:lnTo>
                    <a:pt x="2658" y="899"/>
                  </a:lnTo>
                  <a:lnTo>
                    <a:pt x="2658" y="899"/>
                  </a:lnTo>
                  <a:lnTo>
                    <a:pt x="2658" y="899"/>
                  </a:lnTo>
                  <a:lnTo>
                    <a:pt x="2658" y="899"/>
                  </a:lnTo>
                  <a:lnTo>
                    <a:pt x="2658" y="899"/>
                  </a:lnTo>
                  <a:lnTo>
                    <a:pt x="2658"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3" y="899"/>
                  </a:lnTo>
                  <a:lnTo>
                    <a:pt x="2653"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899"/>
                  </a:lnTo>
                  <a:lnTo>
                    <a:pt x="2645" y="899"/>
                  </a:lnTo>
                  <a:lnTo>
                    <a:pt x="2645" y="899"/>
                  </a:lnTo>
                  <a:lnTo>
                    <a:pt x="2639" y="899"/>
                  </a:lnTo>
                  <a:lnTo>
                    <a:pt x="2639" y="899"/>
                  </a:lnTo>
                  <a:lnTo>
                    <a:pt x="2639" y="899"/>
                  </a:lnTo>
                  <a:lnTo>
                    <a:pt x="2639"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1" y="899"/>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899"/>
                  </a:lnTo>
                  <a:lnTo>
                    <a:pt x="2613" y="899"/>
                  </a:lnTo>
                  <a:lnTo>
                    <a:pt x="2613" y="760"/>
                  </a:lnTo>
                  <a:lnTo>
                    <a:pt x="2612" y="760"/>
                  </a:lnTo>
                  <a:lnTo>
                    <a:pt x="2612" y="760"/>
                  </a:lnTo>
                  <a:lnTo>
                    <a:pt x="2612" y="760"/>
                  </a:lnTo>
                  <a:lnTo>
                    <a:pt x="2612" y="899"/>
                  </a:lnTo>
                  <a:lnTo>
                    <a:pt x="2609" y="899"/>
                  </a:lnTo>
                  <a:lnTo>
                    <a:pt x="2609"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5" y="899"/>
                  </a:lnTo>
                  <a:lnTo>
                    <a:pt x="2605" y="899"/>
                  </a:lnTo>
                  <a:lnTo>
                    <a:pt x="2605" y="899"/>
                  </a:lnTo>
                  <a:lnTo>
                    <a:pt x="2605" y="899"/>
                  </a:lnTo>
                  <a:lnTo>
                    <a:pt x="2605" y="899"/>
                  </a:lnTo>
                  <a:lnTo>
                    <a:pt x="2605" y="899"/>
                  </a:lnTo>
                  <a:lnTo>
                    <a:pt x="2604" y="899"/>
                  </a:lnTo>
                  <a:lnTo>
                    <a:pt x="2604" y="899"/>
                  </a:lnTo>
                  <a:lnTo>
                    <a:pt x="2604" y="899"/>
                  </a:lnTo>
                  <a:lnTo>
                    <a:pt x="2604" y="765"/>
                  </a:lnTo>
                  <a:lnTo>
                    <a:pt x="2599" y="765"/>
                  </a:lnTo>
                  <a:lnTo>
                    <a:pt x="2599" y="899"/>
                  </a:lnTo>
                  <a:lnTo>
                    <a:pt x="2596" y="899"/>
                  </a:lnTo>
                  <a:lnTo>
                    <a:pt x="2596" y="899"/>
                  </a:lnTo>
                  <a:lnTo>
                    <a:pt x="2593" y="899"/>
                  </a:lnTo>
                  <a:lnTo>
                    <a:pt x="2593" y="765"/>
                  </a:lnTo>
                  <a:lnTo>
                    <a:pt x="2592" y="765"/>
                  </a:lnTo>
                  <a:lnTo>
                    <a:pt x="2592" y="899"/>
                  </a:lnTo>
                  <a:lnTo>
                    <a:pt x="2591" y="899"/>
                  </a:lnTo>
                  <a:lnTo>
                    <a:pt x="2591" y="765"/>
                  </a:lnTo>
                  <a:lnTo>
                    <a:pt x="2591" y="765"/>
                  </a:lnTo>
                  <a:lnTo>
                    <a:pt x="2591" y="765"/>
                  </a:lnTo>
                  <a:lnTo>
                    <a:pt x="2591" y="765"/>
                  </a:lnTo>
                  <a:lnTo>
                    <a:pt x="2591" y="899"/>
                  </a:lnTo>
                  <a:lnTo>
                    <a:pt x="2591" y="899"/>
                  </a:lnTo>
                  <a:lnTo>
                    <a:pt x="2591"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899"/>
                  </a:lnTo>
                  <a:lnTo>
                    <a:pt x="2532" y="899"/>
                  </a:lnTo>
                  <a:lnTo>
                    <a:pt x="2532"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27" y="899"/>
                  </a:lnTo>
                  <a:lnTo>
                    <a:pt x="2527"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4" y="899"/>
                  </a:lnTo>
                  <a:lnTo>
                    <a:pt x="2524" y="899"/>
                  </a:lnTo>
                  <a:lnTo>
                    <a:pt x="2514" y="899"/>
                  </a:lnTo>
                  <a:lnTo>
                    <a:pt x="2514" y="899"/>
                  </a:lnTo>
                  <a:lnTo>
                    <a:pt x="2503" y="899"/>
                  </a:lnTo>
                  <a:lnTo>
                    <a:pt x="2503" y="899"/>
                  </a:lnTo>
                  <a:lnTo>
                    <a:pt x="2499" y="899"/>
                  </a:lnTo>
                  <a:lnTo>
                    <a:pt x="2499" y="899"/>
                  </a:lnTo>
                  <a:lnTo>
                    <a:pt x="2496" y="899"/>
                  </a:lnTo>
                  <a:lnTo>
                    <a:pt x="2496" y="899"/>
                  </a:lnTo>
                  <a:lnTo>
                    <a:pt x="2495" y="899"/>
                  </a:lnTo>
                  <a:lnTo>
                    <a:pt x="2495" y="899"/>
                  </a:lnTo>
                  <a:lnTo>
                    <a:pt x="2493" y="899"/>
                  </a:lnTo>
                  <a:lnTo>
                    <a:pt x="2493" y="899"/>
                  </a:lnTo>
                  <a:lnTo>
                    <a:pt x="2492" y="899"/>
                  </a:lnTo>
                  <a:lnTo>
                    <a:pt x="2492" y="899"/>
                  </a:lnTo>
                  <a:lnTo>
                    <a:pt x="2490" y="899"/>
                  </a:lnTo>
                  <a:lnTo>
                    <a:pt x="2490" y="899"/>
                  </a:lnTo>
                  <a:lnTo>
                    <a:pt x="2489" y="899"/>
                  </a:lnTo>
                  <a:lnTo>
                    <a:pt x="2489"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1" y="899"/>
                  </a:lnTo>
                  <a:lnTo>
                    <a:pt x="2481" y="899"/>
                  </a:lnTo>
                  <a:lnTo>
                    <a:pt x="2476" y="899"/>
                  </a:lnTo>
                  <a:lnTo>
                    <a:pt x="2476" y="899"/>
                  </a:lnTo>
                  <a:lnTo>
                    <a:pt x="2474" y="899"/>
                  </a:lnTo>
                  <a:lnTo>
                    <a:pt x="2474" y="899"/>
                  </a:lnTo>
                  <a:lnTo>
                    <a:pt x="2472" y="899"/>
                  </a:lnTo>
                  <a:lnTo>
                    <a:pt x="2472" y="899"/>
                  </a:lnTo>
                  <a:lnTo>
                    <a:pt x="2472" y="899"/>
                  </a:lnTo>
                  <a:lnTo>
                    <a:pt x="2472" y="899"/>
                  </a:lnTo>
                  <a:lnTo>
                    <a:pt x="2471" y="899"/>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899"/>
                  </a:lnTo>
                  <a:lnTo>
                    <a:pt x="2451" y="899"/>
                  </a:lnTo>
                  <a:lnTo>
                    <a:pt x="2451" y="899"/>
                  </a:lnTo>
                  <a:lnTo>
                    <a:pt x="2439" y="899"/>
                  </a:lnTo>
                  <a:lnTo>
                    <a:pt x="2439" y="899"/>
                  </a:lnTo>
                  <a:lnTo>
                    <a:pt x="2428" y="899"/>
                  </a:lnTo>
                  <a:lnTo>
                    <a:pt x="2428" y="899"/>
                  </a:lnTo>
                  <a:lnTo>
                    <a:pt x="2422" y="899"/>
                  </a:lnTo>
                  <a:lnTo>
                    <a:pt x="2422" y="899"/>
                  </a:lnTo>
                  <a:lnTo>
                    <a:pt x="2417" y="899"/>
                  </a:lnTo>
                  <a:lnTo>
                    <a:pt x="2417" y="899"/>
                  </a:lnTo>
                  <a:lnTo>
                    <a:pt x="2413" y="899"/>
                  </a:lnTo>
                  <a:lnTo>
                    <a:pt x="2413" y="899"/>
                  </a:lnTo>
                  <a:lnTo>
                    <a:pt x="2411" y="899"/>
                  </a:lnTo>
                  <a:lnTo>
                    <a:pt x="2411"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382" y="899"/>
                  </a:lnTo>
                  <a:lnTo>
                    <a:pt x="2382" y="899"/>
                  </a:lnTo>
                  <a:lnTo>
                    <a:pt x="2371" y="899"/>
                  </a:lnTo>
                  <a:lnTo>
                    <a:pt x="2371" y="899"/>
                  </a:lnTo>
                  <a:lnTo>
                    <a:pt x="2369" y="899"/>
                  </a:lnTo>
                  <a:lnTo>
                    <a:pt x="2369" y="899"/>
                  </a:lnTo>
                  <a:lnTo>
                    <a:pt x="2367" y="899"/>
                  </a:lnTo>
                  <a:lnTo>
                    <a:pt x="2367" y="899"/>
                  </a:lnTo>
                  <a:lnTo>
                    <a:pt x="2366" y="899"/>
                  </a:lnTo>
                  <a:lnTo>
                    <a:pt x="2366" y="899"/>
                  </a:lnTo>
                  <a:lnTo>
                    <a:pt x="2365" y="899"/>
                  </a:lnTo>
                  <a:lnTo>
                    <a:pt x="2365" y="899"/>
                  </a:lnTo>
                  <a:lnTo>
                    <a:pt x="2365" y="899"/>
                  </a:lnTo>
                  <a:lnTo>
                    <a:pt x="2365" y="899"/>
                  </a:lnTo>
                  <a:lnTo>
                    <a:pt x="2365" y="899"/>
                  </a:lnTo>
                  <a:lnTo>
                    <a:pt x="2365" y="899"/>
                  </a:lnTo>
                  <a:lnTo>
                    <a:pt x="2365" y="899"/>
                  </a:lnTo>
                  <a:lnTo>
                    <a:pt x="2365" y="899"/>
                  </a:lnTo>
                  <a:lnTo>
                    <a:pt x="2351" y="899"/>
                  </a:lnTo>
                  <a:lnTo>
                    <a:pt x="2351" y="899"/>
                  </a:lnTo>
                  <a:lnTo>
                    <a:pt x="2350" y="899"/>
                  </a:lnTo>
                  <a:lnTo>
                    <a:pt x="2350" y="899"/>
                  </a:lnTo>
                  <a:lnTo>
                    <a:pt x="2350" y="899"/>
                  </a:lnTo>
                  <a:lnTo>
                    <a:pt x="2350" y="899"/>
                  </a:lnTo>
                  <a:lnTo>
                    <a:pt x="2311" y="899"/>
                  </a:lnTo>
                  <a:lnTo>
                    <a:pt x="2311" y="899"/>
                  </a:lnTo>
                  <a:lnTo>
                    <a:pt x="2308" y="899"/>
                  </a:lnTo>
                  <a:lnTo>
                    <a:pt x="2308" y="899"/>
                  </a:lnTo>
                  <a:lnTo>
                    <a:pt x="2299" y="899"/>
                  </a:lnTo>
                  <a:lnTo>
                    <a:pt x="2299"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4" y="899"/>
                  </a:lnTo>
                  <a:lnTo>
                    <a:pt x="2294" y="899"/>
                  </a:lnTo>
                  <a:lnTo>
                    <a:pt x="2293" y="899"/>
                  </a:lnTo>
                  <a:lnTo>
                    <a:pt x="2293" y="899"/>
                  </a:lnTo>
                  <a:lnTo>
                    <a:pt x="2292" y="899"/>
                  </a:lnTo>
                  <a:lnTo>
                    <a:pt x="2292" y="899"/>
                  </a:lnTo>
                  <a:lnTo>
                    <a:pt x="2288" y="899"/>
                  </a:lnTo>
                  <a:lnTo>
                    <a:pt x="2288" y="899"/>
                  </a:lnTo>
                  <a:lnTo>
                    <a:pt x="2285" y="899"/>
                  </a:lnTo>
                  <a:lnTo>
                    <a:pt x="2285" y="899"/>
                  </a:lnTo>
                  <a:lnTo>
                    <a:pt x="2283" y="899"/>
                  </a:lnTo>
                  <a:lnTo>
                    <a:pt x="2283" y="899"/>
                  </a:lnTo>
                  <a:lnTo>
                    <a:pt x="2282" y="899"/>
                  </a:lnTo>
                  <a:lnTo>
                    <a:pt x="2282" y="899"/>
                  </a:lnTo>
                  <a:lnTo>
                    <a:pt x="2280" y="899"/>
                  </a:lnTo>
                  <a:lnTo>
                    <a:pt x="2280" y="899"/>
                  </a:lnTo>
                  <a:lnTo>
                    <a:pt x="2279" y="899"/>
                  </a:lnTo>
                  <a:lnTo>
                    <a:pt x="2279" y="899"/>
                  </a:lnTo>
                  <a:lnTo>
                    <a:pt x="2279" y="899"/>
                  </a:lnTo>
                  <a:lnTo>
                    <a:pt x="2279" y="899"/>
                  </a:lnTo>
                  <a:lnTo>
                    <a:pt x="2278" y="899"/>
                  </a:lnTo>
                  <a:lnTo>
                    <a:pt x="2278" y="899"/>
                  </a:lnTo>
                  <a:lnTo>
                    <a:pt x="2278" y="899"/>
                  </a:lnTo>
                  <a:lnTo>
                    <a:pt x="2278" y="899"/>
                  </a:lnTo>
                  <a:lnTo>
                    <a:pt x="2277" y="899"/>
                  </a:lnTo>
                  <a:lnTo>
                    <a:pt x="2277" y="899"/>
                  </a:lnTo>
                  <a:lnTo>
                    <a:pt x="2277" y="899"/>
                  </a:lnTo>
                  <a:lnTo>
                    <a:pt x="2277" y="899"/>
                  </a:lnTo>
                  <a:lnTo>
                    <a:pt x="2277" y="899"/>
                  </a:lnTo>
                  <a:lnTo>
                    <a:pt x="2277" y="899"/>
                  </a:lnTo>
                  <a:lnTo>
                    <a:pt x="2275" y="899"/>
                  </a:lnTo>
                  <a:lnTo>
                    <a:pt x="2275" y="899"/>
                  </a:lnTo>
                  <a:lnTo>
                    <a:pt x="2273" y="899"/>
                  </a:lnTo>
                  <a:lnTo>
                    <a:pt x="2273" y="899"/>
                  </a:lnTo>
                  <a:lnTo>
                    <a:pt x="2273" y="899"/>
                  </a:lnTo>
                  <a:lnTo>
                    <a:pt x="2273" y="899"/>
                  </a:lnTo>
                  <a:lnTo>
                    <a:pt x="2273" y="899"/>
                  </a:lnTo>
                  <a:lnTo>
                    <a:pt x="2273" y="899"/>
                  </a:lnTo>
                  <a:lnTo>
                    <a:pt x="2273" y="899"/>
                  </a:lnTo>
                  <a:lnTo>
                    <a:pt x="2273" y="899"/>
                  </a:lnTo>
                  <a:lnTo>
                    <a:pt x="2273" y="899"/>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99"/>
                  </a:lnTo>
                  <a:lnTo>
                    <a:pt x="2218" y="899"/>
                  </a:lnTo>
                  <a:lnTo>
                    <a:pt x="2218" y="899"/>
                  </a:lnTo>
                  <a:lnTo>
                    <a:pt x="2218" y="899"/>
                  </a:lnTo>
                  <a:lnTo>
                    <a:pt x="2218" y="825"/>
                  </a:lnTo>
                  <a:lnTo>
                    <a:pt x="2218" y="825"/>
                  </a:lnTo>
                  <a:lnTo>
                    <a:pt x="2218" y="827"/>
                  </a:lnTo>
                  <a:lnTo>
                    <a:pt x="2218" y="827"/>
                  </a:lnTo>
                  <a:lnTo>
                    <a:pt x="2218" y="827"/>
                  </a:lnTo>
                  <a:lnTo>
                    <a:pt x="2217" y="827"/>
                  </a:lnTo>
                  <a:lnTo>
                    <a:pt x="2217" y="827"/>
                  </a:lnTo>
                  <a:lnTo>
                    <a:pt x="2217" y="827"/>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51"/>
                  </a:lnTo>
                  <a:lnTo>
                    <a:pt x="2183" y="851"/>
                  </a:lnTo>
                  <a:lnTo>
                    <a:pt x="2183" y="851"/>
                  </a:lnTo>
                  <a:lnTo>
                    <a:pt x="2183" y="851"/>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99"/>
                  </a:lnTo>
                  <a:lnTo>
                    <a:pt x="2178" y="899"/>
                  </a:lnTo>
                  <a:lnTo>
                    <a:pt x="2178" y="862"/>
                  </a:lnTo>
                  <a:lnTo>
                    <a:pt x="2176" y="862"/>
                  </a:lnTo>
                  <a:lnTo>
                    <a:pt x="2176" y="899"/>
                  </a:lnTo>
                  <a:lnTo>
                    <a:pt x="2175" y="899"/>
                  </a:lnTo>
                  <a:lnTo>
                    <a:pt x="2175" y="862"/>
                  </a:lnTo>
                  <a:lnTo>
                    <a:pt x="2175" y="862"/>
                  </a:lnTo>
                  <a:lnTo>
                    <a:pt x="2175" y="899"/>
                  </a:lnTo>
                  <a:lnTo>
                    <a:pt x="2175" y="899"/>
                  </a:lnTo>
                  <a:lnTo>
                    <a:pt x="2175" y="899"/>
                  </a:lnTo>
                  <a:lnTo>
                    <a:pt x="2175" y="899"/>
                  </a:lnTo>
                  <a:lnTo>
                    <a:pt x="2175" y="899"/>
                  </a:lnTo>
                  <a:lnTo>
                    <a:pt x="2175" y="899"/>
                  </a:lnTo>
                  <a:lnTo>
                    <a:pt x="2175" y="863"/>
                  </a:lnTo>
                  <a:lnTo>
                    <a:pt x="2158" y="863"/>
                  </a:lnTo>
                  <a:lnTo>
                    <a:pt x="2158" y="863"/>
                  </a:lnTo>
                  <a:lnTo>
                    <a:pt x="2155" y="863"/>
                  </a:lnTo>
                  <a:lnTo>
                    <a:pt x="2155" y="863"/>
                  </a:lnTo>
                  <a:lnTo>
                    <a:pt x="2155" y="863"/>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99"/>
                  </a:lnTo>
                  <a:lnTo>
                    <a:pt x="2144" y="899"/>
                  </a:lnTo>
                  <a:lnTo>
                    <a:pt x="2144" y="899"/>
                  </a:lnTo>
                  <a:lnTo>
                    <a:pt x="2144" y="899"/>
                  </a:lnTo>
                  <a:lnTo>
                    <a:pt x="2144" y="899"/>
                  </a:lnTo>
                  <a:lnTo>
                    <a:pt x="2144" y="899"/>
                  </a:lnTo>
                  <a:lnTo>
                    <a:pt x="2144" y="899"/>
                  </a:lnTo>
                  <a:lnTo>
                    <a:pt x="2141" y="899"/>
                  </a:lnTo>
                  <a:lnTo>
                    <a:pt x="2141" y="899"/>
                  </a:lnTo>
                  <a:lnTo>
                    <a:pt x="2138" y="899"/>
                  </a:lnTo>
                  <a:lnTo>
                    <a:pt x="2138" y="899"/>
                  </a:lnTo>
                  <a:lnTo>
                    <a:pt x="2138" y="899"/>
                  </a:lnTo>
                  <a:lnTo>
                    <a:pt x="2138" y="882"/>
                  </a:lnTo>
                  <a:lnTo>
                    <a:pt x="2136" y="882"/>
                  </a:lnTo>
                  <a:lnTo>
                    <a:pt x="2136"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84"/>
                  </a:lnTo>
                  <a:lnTo>
                    <a:pt x="2087" y="884"/>
                  </a:lnTo>
                  <a:lnTo>
                    <a:pt x="2087" y="884"/>
                  </a:lnTo>
                  <a:lnTo>
                    <a:pt x="2086" y="884"/>
                  </a:lnTo>
                  <a:lnTo>
                    <a:pt x="2086" y="899"/>
                  </a:lnTo>
                  <a:lnTo>
                    <a:pt x="2086" y="899"/>
                  </a:lnTo>
                  <a:lnTo>
                    <a:pt x="2086" y="899"/>
                  </a:lnTo>
                  <a:lnTo>
                    <a:pt x="2085" y="899"/>
                  </a:lnTo>
                  <a:lnTo>
                    <a:pt x="2085" y="899"/>
                  </a:lnTo>
                  <a:lnTo>
                    <a:pt x="2085" y="899"/>
                  </a:lnTo>
                  <a:lnTo>
                    <a:pt x="2085" y="899"/>
                  </a:lnTo>
                  <a:lnTo>
                    <a:pt x="2085" y="899"/>
                  </a:lnTo>
                  <a:lnTo>
                    <a:pt x="2085" y="899"/>
                  </a:lnTo>
                  <a:lnTo>
                    <a:pt x="2083" y="899"/>
                  </a:lnTo>
                  <a:lnTo>
                    <a:pt x="2083" y="899"/>
                  </a:lnTo>
                  <a:lnTo>
                    <a:pt x="2082" y="899"/>
                  </a:lnTo>
                  <a:lnTo>
                    <a:pt x="2082" y="899"/>
                  </a:lnTo>
                  <a:lnTo>
                    <a:pt x="2082" y="899"/>
                  </a:lnTo>
                  <a:lnTo>
                    <a:pt x="2082"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79" y="899"/>
                  </a:lnTo>
                  <a:lnTo>
                    <a:pt x="2079" y="899"/>
                  </a:lnTo>
                  <a:lnTo>
                    <a:pt x="2078" y="899"/>
                  </a:lnTo>
                  <a:lnTo>
                    <a:pt x="2078" y="899"/>
                  </a:lnTo>
                  <a:lnTo>
                    <a:pt x="2078" y="899"/>
                  </a:lnTo>
                  <a:lnTo>
                    <a:pt x="2078" y="899"/>
                  </a:lnTo>
                  <a:lnTo>
                    <a:pt x="2078" y="899"/>
                  </a:lnTo>
                  <a:lnTo>
                    <a:pt x="2078" y="899"/>
                  </a:lnTo>
                  <a:lnTo>
                    <a:pt x="2078" y="899"/>
                  </a:lnTo>
                  <a:lnTo>
                    <a:pt x="2078"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2"/>
                  </a:lnTo>
                  <a:lnTo>
                    <a:pt x="2061" y="892"/>
                  </a:lnTo>
                  <a:lnTo>
                    <a:pt x="2061" y="892"/>
                  </a:lnTo>
                  <a:lnTo>
                    <a:pt x="2060" y="892"/>
                  </a:lnTo>
                  <a:lnTo>
                    <a:pt x="2060" y="892"/>
                  </a:lnTo>
                  <a:lnTo>
                    <a:pt x="2060" y="892"/>
                  </a:lnTo>
                  <a:lnTo>
                    <a:pt x="2060" y="899"/>
                  </a:lnTo>
                  <a:lnTo>
                    <a:pt x="2059" y="899"/>
                  </a:lnTo>
                  <a:lnTo>
                    <a:pt x="2059" y="892"/>
                  </a:lnTo>
                  <a:lnTo>
                    <a:pt x="2059" y="892"/>
                  </a:lnTo>
                  <a:lnTo>
                    <a:pt x="2059" y="899"/>
                  </a:lnTo>
                  <a:lnTo>
                    <a:pt x="2059" y="899"/>
                  </a:lnTo>
                  <a:lnTo>
                    <a:pt x="2059" y="899"/>
                  </a:lnTo>
                  <a:lnTo>
                    <a:pt x="2059" y="899"/>
                  </a:lnTo>
                  <a:lnTo>
                    <a:pt x="2059" y="899"/>
                  </a:lnTo>
                  <a:lnTo>
                    <a:pt x="2059" y="899"/>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899"/>
                  </a:lnTo>
                  <a:lnTo>
                    <a:pt x="1951" y="899"/>
                  </a:lnTo>
                  <a:lnTo>
                    <a:pt x="1951" y="899"/>
                  </a:lnTo>
                  <a:lnTo>
                    <a:pt x="1948" y="899"/>
                  </a:lnTo>
                  <a:lnTo>
                    <a:pt x="1948" y="899"/>
                  </a:lnTo>
                  <a:lnTo>
                    <a:pt x="1948" y="899"/>
                  </a:lnTo>
                  <a:lnTo>
                    <a:pt x="1948" y="899"/>
                  </a:lnTo>
                  <a:lnTo>
                    <a:pt x="1948" y="899"/>
                  </a:lnTo>
                  <a:lnTo>
                    <a:pt x="1948" y="899"/>
                  </a:lnTo>
                  <a:lnTo>
                    <a:pt x="1948" y="899"/>
                  </a:lnTo>
                  <a:lnTo>
                    <a:pt x="1948" y="899"/>
                  </a:lnTo>
                  <a:lnTo>
                    <a:pt x="1948" y="899"/>
                  </a:lnTo>
                  <a:lnTo>
                    <a:pt x="1948" y="915"/>
                  </a:lnTo>
                  <a:lnTo>
                    <a:pt x="1948" y="915"/>
                  </a:lnTo>
                  <a:lnTo>
                    <a:pt x="1948" y="915"/>
                  </a:lnTo>
                  <a:lnTo>
                    <a:pt x="1948" y="915"/>
                  </a:lnTo>
                  <a:lnTo>
                    <a:pt x="1948" y="899"/>
                  </a:lnTo>
                  <a:lnTo>
                    <a:pt x="1948" y="899"/>
                  </a:lnTo>
                  <a:lnTo>
                    <a:pt x="1948" y="916"/>
                  </a:lnTo>
                  <a:lnTo>
                    <a:pt x="1948" y="916"/>
                  </a:lnTo>
                  <a:lnTo>
                    <a:pt x="1948" y="916"/>
                  </a:lnTo>
                  <a:lnTo>
                    <a:pt x="1948" y="916"/>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920"/>
                  </a:lnTo>
                  <a:lnTo>
                    <a:pt x="1944" y="920"/>
                  </a:lnTo>
                  <a:lnTo>
                    <a:pt x="1944" y="920"/>
                  </a:lnTo>
                  <a:lnTo>
                    <a:pt x="1944" y="920"/>
                  </a:lnTo>
                  <a:lnTo>
                    <a:pt x="1944" y="899"/>
                  </a:lnTo>
                  <a:lnTo>
                    <a:pt x="1944" y="899"/>
                  </a:lnTo>
                  <a:lnTo>
                    <a:pt x="1944" y="899"/>
                  </a:lnTo>
                  <a:lnTo>
                    <a:pt x="1944" y="899"/>
                  </a:lnTo>
                  <a:lnTo>
                    <a:pt x="1944" y="899"/>
                  </a:lnTo>
                  <a:lnTo>
                    <a:pt x="1944" y="899"/>
                  </a:lnTo>
                  <a:lnTo>
                    <a:pt x="1944" y="899"/>
                  </a:lnTo>
                  <a:lnTo>
                    <a:pt x="1944" y="899"/>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899"/>
                  </a:lnTo>
                  <a:lnTo>
                    <a:pt x="1854" y="899"/>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966"/>
                  </a:lnTo>
                  <a:lnTo>
                    <a:pt x="1820" y="966"/>
                  </a:lnTo>
                  <a:lnTo>
                    <a:pt x="1820" y="966"/>
                  </a:lnTo>
                  <a:lnTo>
                    <a:pt x="1817" y="966"/>
                  </a:lnTo>
                  <a:lnTo>
                    <a:pt x="1817" y="966"/>
                  </a:lnTo>
                  <a:lnTo>
                    <a:pt x="1817" y="966"/>
                  </a:lnTo>
                  <a:lnTo>
                    <a:pt x="1817" y="899"/>
                  </a:lnTo>
                  <a:lnTo>
                    <a:pt x="1815" y="899"/>
                  </a:lnTo>
                  <a:lnTo>
                    <a:pt x="1815" y="970"/>
                  </a:lnTo>
                  <a:lnTo>
                    <a:pt x="1814" y="970"/>
                  </a:lnTo>
                  <a:lnTo>
                    <a:pt x="1814" y="970"/>
                  </a:lnTo>
                  <a:lnTo>
                    <a:pt x="1814" y="970"/>
                  </a:lnTo>
                  <a:lnTo>
                    <a:pt x="1814" y="970"/>
                  </a:lnTo>
                  <a:lnTo>
                    <a:pt x="1814" y="970"/>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699" y="899"/>
                  </a:lnTo>
                  <a:lnTo>
                    <a:pt x="1699" y="899"/>
                  </a:lnTo>
                  <a:lnTo>
                    <a:pt x="1699" y="899"/>
                  </a:lnTo>
                  <a:lnTo>
                    <a:pt x="1699" y="1005"/>
                  </a:lnTo>
                  <a:lnTo>
                    <a:pt x="1698" y="1005"/>
                  </a:lnTo>
                  <a:lnTo>
                    <a:pt x="1698" y="1005"/>
                  </a:lnTo>
                  <a:lnTo>
                    <a:pt x="1698" y="1005"/>
                  </a:lnTo>
                  <a:lnTo>
                    <a:pt x="1698" y="899"/>
                  </a:lnTo>
                  <a:lnTo>
                    <a:pt x="1695" y="899"/>
                  </a:lnTo>
                  <a:lnTo>
                    <a:pt x="1695" y="899"/>
                  </a:lnTo>
                  <a:lnTo>
                    <a:pt x="1695" y="899"/>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1017"/>
                  </a:lnTo>
                  <a:lnTo>
                    <a:pt x="1484" y="1017"/>
                  </a:lnTo>
                  <a:lnTo>
                    <a:pt x="1484" y="1017"/>
                  </a:lnTo>
                  <a:lnTo>
                    <a:pt x="1484" y="1017"/>
                  </a:lnTo>
                  <a:lnTo>
                    <a:pt x="1484" y="1019"/>
                  </a:lnTo>
                  <a:lnTo>
                    <a:pt x="1484" y="101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79" y="899"/>
                  </a:lnTo>
                  <a:lnTo>
                    <a:pt x="1479" y="899"/>
                  </a:lnTo>
                  <a:lnTo>
                    <a:pt x="1478" y="899"/>
                  </a:lnTo>
                  <a:lnTo>
                    <a:pt x="1478" y="1029"/>
                  </a:lnTo>
                  <a:lnTo>
                    <a:pt x="1478" y="1029"/>
                  </a:lnTo>
                  <a:lnTo>
                    <a:pt x="1478" y="1029"/>
                  </a:lnTo>
                  <a:lnTo>
                    <a:pt x="1478" y="1029"/>
                  </a:lnTo>
                  <a:lnTo>
                    <a:pt x="1478" y="899"/>
                  </a:lnTo>
                  <a:lnTo>
                    <a:pt x="1478" y="899"/>
                  </a:lnTo>
                  <a:lnTo>
                    <a:pt x="1478" y="1029"/>
                  </a:lnTo>
                  <a:lnTo>
                    <a:pt x="1478" y="102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1033"/>
                  </a:lnTo>
                  <a:lnTo>
                    <a:pt x="1474" y="1033"/>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1042"/>
                  </a:lnTo>
                  <a:lnTo>
                    <a:pt x="1425" y="1042"/>
                  </a:lnTo>
                  <a:lnTo>
                    <a:pt x="1425" y="1042"/>
                  </a:lnTo>
                  <a:lnTo>
                    <a:pt x="1423" y="1042"/>
                  </a:lnTo>
                  <a:lnTo>
                    <a:pt x="1423" y="1042"/>
                  </a:lnTo>
                  <a:lnTo>
                    <a:pt x="1422" y="1042"/>
                  </a:lnTo>
                  <a:lnTo>
                    <a:pt x="1422" y="1042"/>
                  </a:lnTo>
                  <a:lnTo>
                    <a:pt x="1421" y="1042"/>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1063"/>
                  </a:lnTo>
                  <a:lnTo>
                    <a:pt x="1388" y="1063"/>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899"/>
                  </a:lnTo>
                  <a:lnTo>
                    <a:pt x="1366" y="899"/>
                  </a:lnTo>
                  <a:lnTo>
                    <a:pt x="1366" y="1083"/>
                  </a:lnTo>
                  <a:lnTo>
                    <a:pt x="1366" y="1083"/>
                  </a:lnTo>
                  <a:lnTo>
                    <a:pt x="1366" y="899"/>
                  </a:lnTo>
                  <a:lnTo>
                    <a:pt x="1366" y="899"/>
                  </a:lnTo>
                  <a:lnTo>
                    <a:pt x="1366" y="899"/>
                  </a:lnTo>
                  <a:lnTo>
                    <a:pt x="1366" y="899"/>
                  </a:lnTo>
                  <a:lnTo>
                    <a:pt x="1366" y="899"/>
                  </a:lnTo>
                  <a:lnTo>
                    <a:pt x="1366" y="899"/>
                  </a:lnTo>
                  <a:lnTo>
                    <a:pt x="1366" y="1083"/>
                  </a:lnTo>
                  <a:lnTo>
                    <a:pt x="1366" y="1083"/>
                  </a:lnTo>
                  <a:lnTo>
                    <a:pt x="1366" y="899"/>
                  </a:lnTo>
                  <a:lnTo>
                    <a:pt x="1366" y="899"/>
                  </a:lnTo>
                  <a:lnTo>
                    <a:pt x="1366" y="899"/>
                  </a:lnTo>
                  <a:lnTo>
                    <a:pt x="1366" y="899"/>
                  </a:lnTo>
                  <a:lnTo>
                    <a:pt x="1366" y="1083"/>
                  </a:lnTo>
                  <a:lnTo>
                    <a:pt x="1366" y="1083"/>
                  </a:lnTo>
                  <a:lnTo>
                    <a:pt x="1366" y="899"/>
                  </a:lnTo>
                  <a:lnTo>
                    <a:pt x="1366" y="899"/>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899"/>
                  </a:lnTo>
                  <a:lnTo>
                    <a:pt x="1359" y="8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899"/>
                  </a:lnTo>
                  <a:lnTo>
                    <a:pt x="1359" y="899"/>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899"/>
                  </a:lnTo>
                  <a:lnTo>
                    <a:pt x="1332" y="899"/>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1117"/>
                  </a:lnTo>
                  <a:lnTo>
                    <a:pt x="1326" y="1117"/>
                  </a:lnTo>
                  <a:lnTo>
                    <a:pt x="1326" y="1117"/>
                  </a:lnTo>
                  <a:lnTo>
                    <a:pt x="1326" y="1117"/>
                  </a:lnTo>
                  <a:lnTo>
                    <a:pt x="1326" y="899"/>
                  </a:lnTo>
                  <a:lnTo>
                    <a:pt x="1326" y="899"/>
                  </a:lnTo>
                  <a:lnTo>
                    <a:pt x="1326" y="899"/>
                  </a:lnTo>
                  <a:lnTo>
                    <a:pt x="1326" y="899"/>
                  </a:lnTo>
                  <a:lnTo>
                    <a:pt x="1326"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899"/>
                  </a:lnTo>
                  <a:lnTo>
                    <a:pt x="1325" y="1118"/>
                  </a:lnTo>
                  <a:lnTo>
                    <a:pt x="1325" y="1118"/>
                  </a:lnTo>
                  <a:lnTo>
                    <a:pt x="1325" y="899"/>
                  </a:lnTo>
                  <a:lnTo>
                    <a:pt x="1325" y="899"/>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899"/>
                  </a:lnTo>
                  <a:lnTo>
                    <a:pt x="1319" y="899"/>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899"/>
                  </a:lnTo>
                  <a:lnTo>
                    <a:pt x="1104" y="899"/>
                  </a:lnTo>
                  <a:lnTo>
                    <a:pt x="1104" y="899"/>
                  </a:lnTo>
                  <a:lnTo>
                    <a:pt x="1102" y="899"/>
                  </a:lnTo>
                  <a:lnTo>
                    <a:pt x="1102" y="899"/>
                  </a:lnTo>
                  <a:lnTo>
                    <a:pt x="1102" y="899"/>
                  </a:lnTo>
                  <a:lnTo>
                    <a:pt x="1102" y="899"/>
                  </a:lnTo>
                  <a:lnTo>
                    <a:pt x="1102" y="899"/>
                  </a:lnTo>
                  <a:lnTo>
                    <a:pt x="1102" y="899"/>
                  </a:lnTo>
                  <a:lnTo>
                    <a:pt x="1101" y="899"/>
                  </a:lnTo>
                  <a:lnTo>
                    <a:pt x="1101" y="899"/>
                  </a:lnTo>
                  <a:lnTo>
                    <a:pt x="1101" y="899"/>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1146"/>
                  </a:lnTo>
                  <a:lnTo>
                    <a:pt x="1069" y="1146"/>
                  </a:lnTo>
                  <a:lnTo>
                    <a:pt x="1069" y="1146"/>
                  </a:lnTo>
                  <a:lnTo>
                    <a:pt x="1069" y="1146"/>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899"/>
                  </a:lnTo>
                  <a:lnTo>
                    <a:pt x="1004" y="899"/>
                  </a:lnTo>
                  <a:lnTo>
                    <a:pt x="1004" y="899"/>
                  </a:lnTo>
                  <a:lnTo>
                    <a:pt x="1004" y="899"/>
                  </a:lnTo>
                  <a:lnTo>
                    <a:pt x="1004" y="1164"/>
                  </a:lnTo>
                  <a:lnTo>
                    <a:pt x="1004" y="1164"/>
                  </a:lnTo>
                  <a:lnTo>
                    <a:pt x="1004" y="1164"/>
                  </a:lnTo>
                  <a:lnTo>
                    <a:pt x="1004" y="1164"/>
                  </a:lnTo>
                  <a:lnTo>
                    <a:pt x="1004" y="1167"/>
                  </a:lnTo>
                  <a:lnTo>
                    <a:pt x="1003" y="1167"/>
                  </a:lnTo>
                  <a:lnTo>
                    <a:pt x="1003" y="899"/>
                  </a:lnTo>
                  <a:lnTo>
                    <a:pt x="1002" y="899"/>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899"/>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899"/>
                  </a:lnTo>
                  <a:lnTo>
                    <a:pt x="932" y="899"/>
                  </a:lnTo>
                  <a:lnTo>
                    <a:pt x="932" y="899"/>
                  </a:lnTo>
                  <a:lnTo>
                    <a:pt x="931" y="899"/>
                  </a:lnTo>
                  <a:lnTo>
                    <a:pt x="931" y="899"/>
                  </a:lnTo>
                  <a:lnTo>
                    <a:pt x="929" y="899"/>
                  </a:lnTo>
                  <a:lnTo>
                    <a:pt x="929" y="899"/>
                  </a:lnTo>
                  <a:lnTo>
                    <a:pt x="928" y="8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899"/>
                  </a:lnTo>
                  <a:lnTo>
                    <a:pt x="913" y="899"/>
                  </a:lnTo>
                  <a:lnTo>
                    <a:pt x="913"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1213"/>
                  </a:lnTo>
                  <a:lnTo>
                    <a:pt x="886" y="1213"/>
                  </a:lnTo>
                  <a:lnTo>
                    <a:pt x="886" y="1213"/>
                  </a:lnTo>
                  <a:lnTo>
                    <a:pt x="886" y="1213"/>
                  </a:lnTo>
                  <a:lnTo>
                    <a:pt x="886" y="899"/>
                  </a:lnTo>
                  <a:lnTo>
                    <a:pt x="886" y="899"/>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52" y="899"/>
                  </a:lnTo>
                  <a:lnTo>
                    <a:pt x="852" y="1218"/>
                  </a:lnTo>
                  <a:lnTo>
                    <a:pt x="851" y="1218"/>
                  </a:lnTo>
                  <a:lnTo>
                    <a:pt x="851" y="1218"/>
                  </a:lnTo>
                  <a:lnTo>
                    <a:pt x="851" y="1218"/>
                  </a:lnTo>
                  <a:lnTo>
                    <a:pt x="851" y="1218"/>
                  </a:lnTo>
                  <a:lnTo>
                    <a:pt x="851" y="1218"/>
                  </a:lnTo>
                  <a:lnTo>
                    <a:pt x="851" y="899"/>
                  </a:lnTo>
                  <a:lnTo>
                    <a:pt x="851" y="899"/>
                  </a:lnTo>
                  <a:lnTo>
                    <a:pt x="851" y="1219"/>
                  </a:lnTo>
                  <a:lnTo>
                    <a:pt x="851" y="1219"/>
                  </a:lnTo>
                  <a:lnTo>
                    <a:pt x="851" y="1219"/>
                  </a:lnTo>
                  <a:lnTo>
                    <a:pt x="851" y="1219"/>
                  </a:lnTo>
                  <a:lnTo>
                    <a:pt x="851" y="899"/>
                  </a:lnTo>
                  <a:lnTo>
                    <a:pt x="851" y="899"/>
                  </a:lnTo>
                  <a:lnTo>
                    <a:pt x="851" y="899"/>
                  </a:lnTo>
                  <a:lnTo>
                    <a:pt x="850" y="899"/>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795" y="899"/>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899"/>
                  </a:lnTo>
                  <a:lnTo>
                    <a:pt x="792" y="899"/>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899"/>
                  </a:lnTo>
                  <a:lnTo>
                    <a:pt x="777" y="899"/>
                  </a:lnTo>
                  <a:lnTo>
                    <a:pt x="777" y="1252"/>
                  </a:lnTo>
                  <a:lnTo>
                    <a:pt x="777" y="1252"/>
                  </a:lnTo>
                  <a:lnTo>
                    <a:pt x="777" y="1252"/>
                  </a:lnTo>
                  <a:lnTo>
                    <a:pt x="777" y="1252"/>
                  </a:lnTo>
                  <a:lnTo>
                    <a:pt x="777" y="1253"/>
                  </a:lnTo>
                  <a:lnTo>
                    <a:pt x="768" y="1253"/>
                  </a:lnTo>
                  <a:lnTo>
                    <a:pt x="768" y="1253"/>
                  </a:lnTo>
                  <a:lnTo>
                    <a:pt x="768" y="1253"/>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899"/>
                  </a:lnTo>
                  <a:lnTo>
                    <a:pt x="726" y="899"/>
                  </a:lnTo>
                  <a:lnTo>
                    <a:pt x="726" y="1266"/>
                  </a:lnTo>
                  <a:lnTo>
                    <a:pt x="726" y="1266"/>
                  </a:lnTo>
                  <a:lnTo>
                    <a:pt x="726" y="1269"/>
                  </a:lnTo>
                  <a:lnTo>
                    <a:pt x="680" y="1269"/>
                  </a:lnTo>
                  <a:lnTo>
                    <a:pt x="680" y="1269"/>
                  </a:lnTo>
                  <a:lnTo>
                    <a:pt x="680" y="1269"/>
                  </a:lnTo>
                  <a:lnTo>
                    <a:pt x="680" y="1269"/>
                  </a:lnTo>
                  <a:lnTo>
                    <a:pt x="680" y="126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1273"/>
                  </a:lnTo>
                  <a:lnTo>
                    <a:pt x="677" y="1273"/>
                  </a:lnTo>
                  <a:lnTo>
                    <a:pt x="677" y="1273"/>
                  </a:lnTo>
                  <a:lnTo>
                    <a:pt x="677" y="1273"/>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899"/>
                  </a:lnTo>
                  <a:lnTo>
                    <a:pt x="674" y="899"/>
                  </a:lnTo>
                  <a:lnTo>
                    <a:pt x="674" y="899"/>
                  </a:lnTo>
                  <a:lnTo>
                    <a:pt x="673" y="899"/>
                  </a:lnTo>
                  <a:lnTo>
                    <a:pt x="673" y="899"/>
                  </a:lnTo>
                  <a:lnTo>
                    <a:pt x="673" y="899"/>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899"/>
                  </a:lnTo>
                  <a:lnTo>
                    <a:pt x="605" y="899"/>
                  </a:lnTo>
                  <a:lnTo>
                    <a:pt x="605" y="1284"/>
                  </a:lnTo>
                  <a:lnTo>
                    <a:pt x="605" y="1284"/>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1290"/>
                  </a:lnTo>
                  <a:lnTo>
                    <a:pt x="590" y="1290"/>
                  </a:lnTo>
                  <a:lnTo>
                    <a:pt x="590" y="1290"/>
                  </a:lnTo>
                  <a:lnTo>
                    <a:pt x="589" y="1290"/>
                  </a:lnTo>
                  <a:lnTo>
                    <a:pt x="589" y="1290"/>
                  </a:lnTo>
                  <a:lnTo>
                    <a:pt x="588" y="1290"/>
                  </a:lnTo>
                  <a:lnTo>
                    <a:pt x="588" y="1290"/>
                  </a:lnTo>
                  <a:lnTo>
                    <a:pt x="588" y="1290"/>
                  </a:lnTo>
                  <a:lnTo>
                    <a:pt x="588" y="899"/>
                  </a:lnTo>
                  <a:lnTo>
                    <a:pt x="587" y="899"/>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1292"/>
                  </a:lnTo>
                  <a:lnTo>
                    <a:pt x="579" y="1292"/>
                  </a:lnTo>
                  <a:lnTo>
                    <a:pt x="579" y="899"/>
                  </a:lnTo>
                  <a:lnTo>
                    <a:pt x="576" y="899"/>
                  </a:lnTo>
                  <a:lnTo>
                    <a:pt x="576" y="1292"/>
                  </a:lnTo>
                  <a:lnTo>
                    <a:pt x="574" y="1292"/>
                  </a:lnTo>
                  <a:lnTo>
                    <a:pt x="574" y="1292"/>
                  </a:lnTo>
                  <a:lnTo>
                    <a:pt x="573" y="1292"/>
                  </a:lnTo>
                  <a:lnTo>
                    <a:pt x="573"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54" y="899"/>
                  </a:lnTo>
                  <a:lnTo>
                    <a:pt x="554" y="899"/>
                  </a:lnTo>
                  <a:lnTo>
                    <a:pt x="554" y="899"/>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1" y="899"/>
                  </a:lnTo>
                  <a:lnTo>
                    <a:pt x="510" y="899"/>
                  </a:lnTo>
                  <a:lnTo>
                    <a:pt x="510" y="1314"/>
                  </a:lnTo>
                  <a:lnTo>
                    <a:pt x="510" y="1314"/>
                  </a:lnTo>
                  <a:lnTo>
                    <a:pt x="510" y="1314"/>
                  </a:lnTo>
                  <a:lnTo>
                    <a:pt x="510" y="1314"/>
                  </a:lnTo>
                  <a:lnTo>
                    <a:pt x="510" y="1314"/>
                  </a:lnTo>
                  <a:lnTo>
                    <a:pt x="477" y="1314"/>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1317"/>
                  </a:lnTo>
                  <a:lnTo>
                    <a:pt x="472" y="1317"/>
                  </a:lnTo>
                  <a:lnTo>
                    <a:pt x="472" y="899"/>
                  </a:lnTo>
                  <a:lnTo>
                    <a:pt x="471" y="899"/>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899"/>
                  </a:lnTo>
                  <a:lnTo>
                    <a:pt x="453" y="899"/>
                  </a:lnTo>
                  <a:lnTo>
                    <a:pt x="453" y="1324"/>
                  </a:lnTo>
                  <a:lnTo>
                    <a:pt x="453" y="1324"/>
                  </a:lnTo>
                  <a:lnTo>
                    <a:pt x="453" y="899"/>
                  </a:lnTo>
                  <a:lnTo>
                    <a:pt x="453" y="899"/>
                  </a:lnTo>
                  <a:lnTo>
                    <a:pt x="453" y="899"/>
                  </a:lnTo>
                  <a:lnTo>
                    <a:pt x="453" y="899"/>
                  </a:lnTo>
                  <a:lnTo>
                    <a:pt x="453" y="899"/>
                  </a:lnTo>
                  <a:lnTo>
                    <a:pt x="453" y="899"/>
                  </a:lnTo>
                  <a:lnTo>
                    <a:pt x="453" y="899"/>
                  </a:lnTo>
                  <a:lnTo>
                    <a:pt x="453" y="899"/>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899"/>
                  </a:lnTo>
                  <a:lnTo>
                    <a:pt x="430" y="899"/>
                  </a:lnTo>
                  <a:lnTo>
                    <a:pt x="430" y="899"/>
                  </a:lnTo>
                  <a:lnTo>
                    <a:pt x="430" y="899"/>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899"/>
                  </a:lnTo>
                  <a:lnTo>
                    <a:pt x="382" y="899"/>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899"/>
                  </a:lnTo>
                  <a:lnTo>
                    <a:pt x="351" y="899"/>
                  </a:lnTo>
                  <a:lnTo>
                    <a:pt x="351" y="899"/>
                  </a:lnTo>
                  <a:lnTo>
                    <a:pt x="351" y="899"/>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899"/>
                  </a:lnTo>
                  <a:lnTo>
                    <a:pt x="326" y="899"/>
                  </a:lnTo>
                  <a:lnTo>
                    <a:pt x="326" y="899"/>
                  </a:lnTo>
                  <a:lnTo>
                    <a:pt x="326" y="899"/>
                  </a:lnTo>
                  <a:lnTo>
                    <a:pt x="326" y="899"/>
                  </a:lnTo>
                  <a:lnTo>
                    <a:pt x="326" y="899"/>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899"/>
                  </a:lnTo>
                  <a:lnTo>
                    <a:pt x="309" y="899"/>
                  </a:lnTo>
                  <a:lnTo>
                    <a:pt x="309" y="899"/>
                  </a:lnTo>
                  <a:lnTo>
                    <a:pt x="309" y="899"/>
                  </a:lnTo>
                  <a:lnTo>
                    <a:pt x="309" y="1380"/>
                  </a:lnTo>
                  <a:lnTo>
                    <a:pt x="309" y="1380"/>
                  </a:lnTo>
                  <a:lnTo>
                    <a:pt x="309" y="899"/>
                  </a:lnTo>
                  <a:lnTo>
                    <a:pt x="309" y="899"/>
                  </a:lnTo>
                  <a:lnTo>
                    <a:pt x="309" y="1380"/>
                  </a:lnTo>
                  <a:lnTo>
                    <a:pt x="309" y="1380"/>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6"/>
                  </a:lnTo>
                  <a:lnTo>
                    <a:pt x="243" y="1406"/>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899"/>
                  </a:lnTo>
                  <a:lnTo>
                    <a:pt x="220" y="899"/>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899"/>
                  </a:lnTo>
                  <a:lnTo>
                    <a:pt x="210" y="899"/>
                  </a:lnTo>
                  <a:lnTo>
                    <a:pt x="210" y="899"/>
                  </a:lnTo>
                  <a:lnTo>
                    <a:pt x="209" y="899"/>
                  </a:lnTo>
                  <a:lnTo>
                    <a:pt x="209" y="899"/>
                  </a:lnTo>
                  <a:lnTo>
                    <a:pt x="209" y="899"/>
                  </a:lnTo>
                  <a:lnTo>
                    <a:pt x="209" y="1420"/>
                  </a:lnTo>
                  <a:lnTo>
                    <a:pt x="209" y="1420"/>
                  </a:lnTo>
                  <a:lnTo>
                    <a:pt x="209" y="1420"/>
                  </a:lnTo>
                  <a:lnTo>
                    <a:pt x="209" y="1420"/>
                  </a:lnTo>
                  <a:lnTo>
                    <a:pt x="209" y="899"/>
                  </a:lnTo>
                  <a:lnTo>
                    <a:pt x="209" y="899"/>
                  </a:lnTo>
                  <a:lnTo>
                    <a:pt x="209" y="1420"/>
                  </a:lnTo>
                  <a:lnTo>
                    <a:pt x="207" y="1420"/>
                  </a:lnTo>
                  <a:lnTo>
                    <a:pt x="207" y="1420"/>
                  </a:lnTo>
                  <a:lnTo>
                    <a:pt x="207" y="1420"/>
                  </a:lnTo>
                  <a:lnTo>
                    <a:pt x="207" y="899"/>
                  </a:lnTo>
                  <a:lnTo>
                    <a:pt x="207" y="899"/>
                  </a:lnTo>
                  <a:lnTo>
                    <a:pt x="207" y="1425"/>
                  </a:lnTo>
                  <a:lnTo>
                    <a:pt x="206" y="1425"/>
                  </a:lnTo>
                  <a:lnTo>
                    <a:pt x="206" y="1425"/>
                  </a:lnTo>
                  <a:lnTo>
                    <a:pt x="205" y="1425"/>
                  </a:lnTo>
                  <a:lnTo>
                    <a:pt x="205" y="1425"/>
                  </a:lnTo>
                  <a:lnTo>
                    <a:pt x="204" y="1425"/>
                  </a:lnTo>
                  <a:lnTo>
                    <a:pt x="204" y="899"/>
                  </a:lnTo>
                  <a:lnTo>
                    <a:pt x="204" y="899"/>
                  </a:lnTo>
                  <a:lnTo>
                    <a:pt x="204" y="899"/>
                  </a:lnTo>
                  <a:lnTo>
                    <a:pt x="204" y="899"/>
                  </a:lnTo>
                  <a:lnTo>
                    <a:pt x="204" y="899"/>
                  </a:lnTo>
                  <a:lnTo>
                    <a:pt x="204" y="899"/>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1453"/>
                  </a:lnTo>
                  <a:lnTo>
                    <a:pt x="141" y="1453"/>
                  </a:lnTo>
                  <a:lnTo>
                    <a:pt x="141" y="899"/>
                  </a:lnTo>
                  <a:lnTo>
                    <a:pt x="141" y="899"/>
                  </a:lnTo>
                  <a:lnTo>
                    <a:pt x="141" y="1453"/>
                  </a:lnTo>
                  <a:lnTo>
                    <a:pt x="141" y="1453"/>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92"/>
                  </a:lnTo>
                  <a:lnTo>
                    <a:pt x="136" y="1492"/>
                  </a:lnTo>
                  <a:lnTo>
                    <a:pt x="136" y="1492"/>
                  </a:lnTo>
                  <a:lnTo>
                    <a:pt x="135" y="1492"/>
                  </a:lnTo>
                  <a:lnTo>
                    <a:pt x="135" y="899"/>
                  </a:lnTo>
                  <a:lnTo>
                    <a:pt x="135" y="899"/>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10"/>
                  </a:lnTo>
                  <a:lnTo>
                    <a:pt x="125" y="1510"/>
                  </a:lnTo>
                  <a:lnTo>
                    <a:pt x="125" y="1510"/>
                  </a:lnTo>
                  <a:lnTo>
                    <a:pt x="125" y="1510"/>
                  </a:lnTo>
                  <a:lnTo>
                    <a:pt x="125" y="1510"/>
                  </a:lnTo>
                  <a:lnTo>
                    <a:pt x="123" y="1510"/>
                  </a:lnTo>
                  <a:lnTo>
                    <a:pt x="123" y="1510"/>
                  </a:lnTo>
                  <a:lnTo>
                    <a:pt x="123" y="1510"/>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5" y="899"/>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1544"/>
                  </a:lnTo>
                  <a:lnTo>
                    <a:pt x="94" y="1544"/>
                  </a:lnTo>
                  <a:lnTo>
                    <a:pt x="94" y="899"/>
                  </a:lnTo>
                  <a:lnTo>
                    <a:pt x="93" y="899"/>
                  </a:lnTo>
                  <a:lnTo>
                    <a:pt x="93" y="1544"/>
                  </a:lnTo>
                  <a:lnTo>
                    <a:pt x="93" y="1544"/>
                  </a:lnTo>
                  <a:lnTo>
                    <a:pt x="93" y="899"/>
                  </a:lnTo>
                  <a:lnTo>
                    <a:pt x="92" y="899"/>
                  </a:lnTo>
                  <a:lnTo>
                    <a:pt x="92" y="899"/>
                  </a:lnTo>
                  <a:lnTo>
                    <a:pt x="89" y="899"/>
                  </a:lnTo>
                  <a:lnTo>
                    <a:pt x="89" y="1557"/>
                  </a:lnTo>
                  <a:lnTo>
                    <a:pt x="89" y="1557"/>
                  </a:lnTo>
                  <a:lnTo>
                    <a:pt x="89" y="899"/>
                  </a:lnTo>
                  <a:lnTo>
                    <a:pt x="89" y="899"/>
                  </a:lnTo>
                  <a:lnTo>
                    <a:pt x="89" y="899"/>
                  </a:lnTo>
                  <a:lnTo>
                    <a:pt x="89" y="899"/>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899"/>
                  </a:lnTo>
                  <a:lnTo>
                    <a:pt x="64" y="899"/>
                  </a:lnTo>
                  <a:lnTo>
                    <a:pt x="64" y="899"/>
                  </a:lnTo>
                  <a:lnTo>
                    <a:pt x="64" y="899"/>
                  </a:lnTo>
                  <a:lnTo>
                    <a:pt x="64" y="899"/>
                  </a:lnTo>
                  <a:lnTo>
                    <a:pt x="64" y="899"/>
                  </a:lnTo>
                  <a:lnTo>
                    <a:pt x="64" y="899"/>
                  </a:lnTo>
                  <a:lnTo>
                    <a:pt x="64" y="899"/>
                  </a:lnTo>
                  <a:lnTo>
                    <a:pt x="64" y="899"/>
                  </a:lnTo>
                  <a:lnTo>
                    <a:pt x="64" y="899"/>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899"/>
                  </a:lnTo>
                  <a:lnTo>
                    <a:pt x="47" y="899"/>
                  </a:lnTo>
                  <a:lnTo>
                    <a:pt x="47" y="899"/>
                  </a:lnTo>
                  <a:lnTo>
                    <a:pt x="46" y="899"/>
                  </a:lnTo>
                  <a:lnTo>
                    <a:pt x="46" y="899"/>
                  </a:lnTo>
                  <a:lnTo>
                    <a:pt x="46" y="899"/>
                  </a:lnTo>
                  <a:lnTo>
                    <a:pt x="46" y="899"/>
                  </a:lnTo>
                  <a:lnTo>
                    <a:pt x="46" y="899"/>
                  </a:lnTo>
                  <a:lnTo>
                    <a:pt x="46" y="1644"/>
                  </a:lnTo>
                  <a:lnTo>
                    <a:pt x="46" y="1644"/>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3" y="89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899"/>
                  </a:lnTo>
                  <a:lnTo>
                    <a:pt x="43" y="899"/>
                  </a:lnTo>
                  <a:lnTo>
                    <a:pt x="43" y="899"/>
                  </a:lnTo>
                  <a:lnTo>
                    <a:pt x="42" y="899"/>
                  </a:lnTo>
                  <a:lnTo>
                    <a:pt x="42" y="899"/>
                  </a:lnTo>
                  <a:lnTo>
                    <a:pt x="42" y="899"/>
                  </a:lnTo>
                  <a:lnTo>
                    <a:pt x="42" y="1681"/>
                  </a:lnTo>
                  <a:lnTo>
                    <a:pt x="41" y="1681"/>
                  </a:lnTo>
                  <a:lnTo>
                    <a:pt x="41" y="1681"/>
                  </a:lnTo>
                  <a:lnTo>
                    <a:pt x="41" y="1681"/>
                  </a:lnTo>
                  <a:lnTo>
                    <a:pt x="41" y="1681"/>
                  </a:lnTo>
                  <a:lnTo>
                    <a:pt x="41" y="1681"/>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39" y="899"/>
                  </a:lnTo>
                  <a:lnTo>
                    <a:pt x="39" y="899"/>
                  </a:lnTo>
                  <a:lnTo>
                    <a:pt x="39" y="899"/>
                  </a:lnTo>
                  <a:lnTo>
                    <a:pt x="39" y="899"/>
                  </a:lnTo>
                  <a:lnTo>
                    <a:pt x="39" y="899"/>
                  </a:lnTo>
                  <a:lnTo>
                    <a:pt x="39" y="899"/>
                  </a:lnTo>
                  <a:lnTo>
                    <a:pt x="39" y="899"/>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899"/>
                  </a:lnTo>
                  <a:lnTo>
                    <a:pt x="39" y="8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899"/>
                  </a:lnTo>
                  <a:lnTo>
                    <a:pt x="35" y="899"/>
                  </a:lnTo>
                  <a:lnTo>
                    <a:pt x="35" y="899"/>
                  </a:lnTo>
                  <a:lnTo>
                    <a:pt x="34" y="899"/>
                  </a:lnTo>
                  <a:lnTo>
                    <a:pt x="34" y="899"/>
                  </a:lnTo>
                  <a:lnTo>
                    <a:pt x="34" y="899"/>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1782"/>
                  </a:lnTo>
                  <a:lnTo>
                    <a:pt x="17" y="1782"/>
                  </a:lnTo>
                  <a:lnTo>
                    <a:pt x="17" y="1782"/>
                  </a:lnTo>
                  <a:lnTo>
                    <a:pt x="17" y="1782"/>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0" y="899"/>
                  </a:lnTo>
                  <a:lnTo>
                    <a:pt x="10" y="899"/>
                  </a:lnTo>
                  <a:lnTo>
                    <a:pt x="10" y="899"/>
                  </a:lnTo>
                  <a:lnTo>
                    <a:pt x="10" y="899"/>
                  </a:lnTo>
                  <a:lnTo>
                    <a:pt x="10" y="899"/>
                  </a:lnTo>
                  <a:lnTo>
                    <a:pt x="10" y="899"/>
                  </a:lnTo>
                  <a:lnTo>
                    <a:pt x="10" y="899"/>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E34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71">
              <a:extLst>
                <a:ext uri="{FF2B5EF4-FFF2-40B4-BE49-F238E27FC236}">
                  <a16:creationId xmlns:a16="http://schemas.microsoft.com/office/drawing/2014/main" id="{B2643B44-2647-474E-823E-77787316215B}"/>
                </a:ext>
              </a:extLst>
            </p:cNvPr>
            <p:cNvSpPr>
              <a:spLocks/>
            </p:cNvSpPr>
            <p:nvPr/>
          </p:nvSpPr>
          <p:spPr bwMode="auto">
            <a:xfrm>
              <a:off x="1077913" y="1011238"/>
              <a:ext cx="5370513" cy="2857500"/>
            </a:xfrm>
            <a:custGeom>
              <a:avLst/>
              <a:gdLst>
                <a:gd name="T0" fmla="*/ 20 w 3383"/>
                <a:gd name="T1" fmla="*/ 89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899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899 h 1800"/>
                <a:gd name="T32" fmla="*/ 1484 w 3383"/>
                <a:gd name="T33" fmla="*/ 899 h 1800"/>
                <a:gd name="T34" fmla="*/ 1852 w 3383"/>
                <a:gd name="T35" fmla="*/ 899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99 h 1800"/>
                <a:gd name="T46" fmla="*/ 2231 w 3383"/>
                <a:gd name="T47" fmla="*/ 899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899 h 1800"/>
                <a:gd name="T72" fmla="*/ 2684 w 3383"/>
                <a:gd name="T73" fmla="*/ 708 h 1800"/>
                <a:gd name="T74" fmla="*/ 2608 w 3383"/>
                <a:gd name="T75" fmla="*/ 899 h 1800"/>
                <a:gd name="T76" fmla="*/ 2451 w 3383"/>
                <a:gd name="T77" fmla="*/ 795 h 1800"/>
                <a:gd name="T78" fmla="*/ 2218 w 3383"/>
                <a:gd name="T79" fmla="*/ 823 h 1800"/>
                <a:gd name="T80" fmla="*/ 2149 w 3383"/>
                <a:gd name="T81" fmla="*/ 899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899 h 1800"/>
                <a:gd name="T92" fmla="*/ 1482 w 3383"/>
                <a:gd name="T93" fmla="*/ 899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899 h 1800"/>
                <a:gd name="T104" fmla="*/ 835 w 3383"/>
                <a:gd name="T105" fmla="*/ 899 h 1800"/>
                <a:gd name="T106" fmla="*/ 732 w 3383"/>
                <a:gd name="T107" fmla="*/ 899 h 1800"/>
                <a:gd name="T108" fmla="*/ 548 w 3383"/>
                <a:gd name="T109" fmla="*/ 1294 h 1800"/>
                <a:gd name="T110" fmla="*/ 453 w 3383"/>
                <a:gd name="T111" fmla="*/ 899 h 1800"/>
                <a:gd name="T112" fmla="*/ 344 w 3383"/>
                <a:gd name="T113" fmla="*/ 899 h 1800"/>
                <a:gd name="T114" fmla="*/ 301 w 3383"/>
                <a:gd name="T115" fmla="*/ 899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899"/>
                  </a:lnTo>
                  <a:lnTo>
                    <a:pt x="10" y="899"/>
                  </a:lnTo>
                  <a:lnTo>
                    <a:pt x="10" y="899"/>
                  </a:lnTo>
                  <a:lnTo>
                    <a:pt x="10" y="899"/>
                  </a:lnTo>
                  <a:lnTo>
                    <a:pt x="10" y="899"/>
                  </a:lnTo>
                  <a:lnTo>
                    <a:pt x="10" y="899"/>
                  </a:lnTo>
                  <a:lnTo>
                    <a:pt x="10"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899"/>
                  </a:lnTo>
                  <a:lnTo>
                    <a:pt x="12" y="899"/>
                  </a:lnTo>
                  <a:lnTo>
                    <a:pt x="12" y="899"/>
                  </a:lnTo>
                  <a:lnTo>
                    <a:pt x="15" y="899"/>
                  </a:lnTo>
                  <a:lnTo>
                    <a:pt x="15" y="899"/>
                  </a:lnTo>
                  <a:lnTo>
                    <a:pt x="15" y="899"/>
                  </a:lnTo>
                  <a:lnTo>
                    <a:pt x="15" y="899"/>
                  </a:lnTo>
                  <a:lnTo>
                    <a:pt x="15" y="899"/>
                  </a:lnTo>
                  <a:lnTo>
                    <a:pt x="15" y="899"/>
                  </a:lnTo>
                  <a:lnTo>
                    <a:pt x="15" y="899"/>
                  </a:lnTo>
                  <a:lnTo>
                    <a:pt x="15" y="899"/>
                  </a:lnTo>
                  <a:lnTo>
                    <a:pt x="16" y="899"/>
                  </a:lnTo>
                  <a:lnTo>
                    <a:pt x="16" y="899"/>
                  </a:lnTo>
                  <a:lnTo>
                    <a:pt x="17" y="899"/>
                  </a:lnTo>
                  <a:lnTo>
                    <a:pt x="17" y="1782"/>
                  </a:lnTo>
                  <a:lnTo>
                    <a:pt x="17" y="1782"/>
                  </a:lnTo>
                  <a:lnTo>
                    <a:pt x="17" y="1782"/>
                  </a:lnTo>
                  <a:lnTo>
                    <a:pt x="17" y="1782"/>
                  </a:lnTo>
                  <a:lnTo>
                    <a:pt x="17" y="899"/>
                  </a:lnTo>
                  <a:lnTo>
                    <a:pt x="17" y="899"/>
                  </a:lnTo>
                  <a:lnTo>
                    <a:pt x="17"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899"/>
                  </a:lnTo>
                  <a:lnTo>
                    <a:pt x="34" y="899"/>
                  </a:lnTo>
                  <a:lnTo>
                    <a:pt x="34" y="899"/>
                  </a:lnTo>
                  <a:lnTo>
                    <a:pt x="35" y="899"/>
                  </a:lnTo>
                  <a:lnTo>
                    <a:pt x="35" y="899"/>
                  </a:lnTo>
                  <a:lnTo>
                    <a:pt x="35" y="899"/>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899"/>
                  </a:lnTo>
                  <a:lnTo>
                    <a:pt x="39" y="899"/>
                  </a:lnTo>
                  <a:lnTo>
                    <a:pt x="39" y="899"/>
                  </a:lnTo>
                  <a:lnTo>
                    <a:pt x="39" y="899"/>
                  </a:lnTo>
                  <a:lnTo>
                    <a:pt x="39" y="899"/>
                  </a:lnTo>
                  <a:lnTo>
                    <a:pt x="39" y="899"/>
                  </a:lnTo>
                  <a:lnTo>
                    <a:pt x="39"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1681"/>
                  </a:lnTo>
                  <a:lnTo>
                    <a:pt x="41" y="1681"/>
                  </a:lnTo>
                  <a:lnTo>
                    <a:pt x="41" y="1681"/>
                  </a:lnTo>
                  <a:lnTo>
                    <a:pt x="41" y="1681"/>
                  </a:lnTo>
                  <a:lnTo>
                    <a:pt x="41" y="1681"/>
                  </a:lnTo>
                  <a:lnTo>
                    <a:pt x="42" y="1681"/>
                  </a:lnTo>
                  <a:lnTo>
                    <a:pt x="42" y="899"/>
                  </a:lnTo>
                  <a:lnTo>
                    <a:pt x="42" y="899"/>
                  </a:lnTo>
                  <a:lnTo>
                    <a:pt x="42" y="899"/>
                  </a:lnTo>
                  <a:lnTo>
                    <a:pt x="43" y="899"/>
                  </a:lnTo>
                  <a:lnTo>
                    <a:pt x="43" y="899"/>
                  </a:lnTo>
                  <a:lnTo>
                    <a:pt x="43" y="89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899"/>
                  </a:lnTo>
                  <a:lnTo>
                    <a:pt x="46" y="899"/>
                  </a:lnTo>
                  <a:lnTo>
                    <a:pt x="46" y="1644"/>
                  </a:lnTo>
                  <a:lnTo>
                    <a:pt x="46" y="1644"/>
                  </a:lnTo>
                  <a:lnTo>
                    <a:pt x="46" y="899"/>
                  </a:lnTo>
                  <a:lnTo>
                    <a:pt x="46" y="899"/>
                  </a:lnTo>
                  <a:lnTo>
                    <a:pt x="46" y="899"/>
                  </a:lnTo>
                  <a:lnTo>
                    <a:pt x="46" y="899"/>
                  </a:lnTo>
                  <a:lnTo>
                    <a:pt x="46" y="899"/>
                  </a:lnTo>
                  <a:lnTo>
                    <a:pt x="47" y="899"/>
                  </a:lnTo>
                  <a:lnTo>
                    <a:pt x="47" y="899"/>
                  </a:lnTo>
                  <a:lnTo>
                    <a:pt x="50" y="899"/>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899"/>
                  </a:lnTo>
                  <a:lnTo>
                    <a:pt x="70" y="899"/>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899"/>
                  </a:lnTo>
                  <a:lnTo>
                    <a:pt x="92" y="899"/>
                  </a:lnTo>
                  <a:lnTo>
                    <a:pt x="92" y="899"/>
                  </a:lnTo>
                  <a:lnTo>
                    <a:pt x="93" y="899"/>
                  </a:lnTo>
                  <a:lnTo>
                    <a:pt x="93" y="1544"/>
                  </a:lnTo>
                  <a:lnTo>
                    <a:pt x="93" y="1544"/>
                  </a:lnTo>
                  <a:lnTo>
                    <a:pt x="93" y="899"/>
                  </a:lnTo>
                  <a:lnTo>
                    <a:pt x="94" y="899"/>
                  </a:lnTo>
                  <a:lnTo>
                    <a:pt x="94" y="1544"/>
                  </a:lnTo>
                  <a:lnTo>
                    <a:pt x="101" y="1544"/>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899"/>
                  </a:lnTo>
                  <a:lnTo>
                    <a:pt x="123" y="899"/>
                  </a:lnTo>
                  <a:lnTo>
                    <a:pt x="123" y="1510"/>
                  </a:lnTo>
                  <a:lnTo>
                    <a:pt x="123" y="1510"/>
                  </a:lnTo>
                  <a:lnTo>
                    <a:pt x="123" y="1510"/>
                  </a:lnTo>
                  <a:lnTo>
                    <a:pt x="125" y="1510"/>
                  </a:lnTo>
                  <a:lnTo>
                    <a:pt x="125" y="1510"/>
                  </a:lnTo>
                  <a:lnTo>
                    <a:pt x="125" y="1510"/>
                  </a:lnTo>
                  <a:lnTo>
                    <a:pt x="125" y="1510"/>
                  </a:lnTo>
                  <a:lnTo>
                    <a:pt x="125" y="1510"/>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899"/>
                  </a:lnTo>
                  <a:lnTo>
                    <a:pt x="135" y="899"/>
                  </a:lnTo>
                  <a:lnTo>
                    <a:pt x="135" y="1492"/>
                  </a:lnTo>
                  <a:lnTo>
                    <a:pt x="136" y="1492"/>
                  </a:lnTo>
                  <a:lnTo>
                    <a:pt x="136" y="1492"/>
                  </a:lnTo>
                  <a:lnTo>
                    <a:pt x="136" y="1492"/>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1453"/>
                  </a:lnTo>
                  <a:lnTo>
                    <a:pt x="141" y="1453"/>
                  </a:lnTo>
                  <a:lnTo>
                    <a:pt x="141" y="899"/>
                  </a:lnTo>
                  <a:lnTo>
                    <a:pt x="141" y="899"/>
                  </a:lnTo>
                  <a:lnTo>
                    <a:pt x="141" y="1453"/>
                  </a:lnTo>
                  <a:lnTo>
                    <a:pt x="141" y="1453"/>
                  </a:lnTo>
                  <a:lnTo>
                    <a:pt x="141" y="899"/>
                  </a:lnTo>
                  <a:lnTo>
                    <a:pt x="142" y="899"/>
                  </a:lnTo>
                  <a:lnTo>
                    <a:pt x="142" y="899"/>
                  </a:lnTo>
                  <a:lnTo>
                    <a:pt x="142" y="899"/>
                  </a:lnTo>
                  <a:lnTo>
                    <a:pt x="142" y="899"/>
                  </a:lnTo>
                  <a:lnTo>
                    <a:pt x="142" y="899"/>
                  </a:lnTo>
                  <a:lnTo>
                    <a:pt x="142" y="899"/>
                  </a:lnTo>
                  <a:lnTo>
                    <a:pt x="143" y="899"/>
                  </a:lnTo>
                  <a:lnTo>
                    <a:pt x="143" y="899"/>
                  </a:lnTo>
                  <a:lnTo>
                    <a:pt x="144" y="899"/>
                  </a:lnTo>
                  <a:lnTo>
                    <a:pt x="144" y="899"/>
                  </a:lnTo>
                  <a:lnTo>
                    <a:pt x="147" y="899"/>
                  </a:lnTo>
                  <a:lnTo>
                    <a:pt x="147" y="899"/>
                  </a:lnTo>
                  <a:lnTo>
                    <a:pt x="147" y="899"/>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899"/>
                  </a:lnTo>
                  <a:lnTo>
                    <a:pt x="204" y="899"/>
                  </a:lnTo>
                  <a:lnTo>
                    <a:pt x="204" y="899"/>
                  </a:lnTo>
                  <a:lnTo>
                    <a:pt x="204" y="899"/>
                  </a:lnTo>
                  <a:lnTo>
                    <a:pt x="204" y="899"/>
                  </a:lnTo>
                  <a:lnTo>
                    <a:pt x="204" y="899"/>
                  </a:lnTo>
                  <a:lnTo>
                    <a:pt x="204" y="1425"/>
                  </a:lnTo>
                  <a:lnTo>
                    <a:pt x="205" y="1425"/>
                  </a:lnTo>
                  <a:lnTo>
                    <a:pt x="205" y="1425"/>
                  </a:lnTo>
                  <a:lnTo>
                    <a:pt x="206" y="1425"/>
                  </a:lnTo>
                  <a:lnTo>
                    <a:pt x="206" y="1425"/>
                  </a:lnTo>
                  <a:lnTo>
                    <a:pt x="207" y="1425"/>
                  </a:lnTo>
                  <a:lnTo>
                    <a:pt x="207" y="899"/>
                  </a:lnTo>
                  <a:lnTo>
                    <a:pt x="207" y="899"/>
                  </a:lnTo>
                  <a:lnTo>
                    <a:pt x="207" y="1420"/>
                  </a:lnTo>
                  <a:lnTo>
                    <a:pt x="207" y="1420"/>
                  </a:lnTo>
                  <a:lnTo>
                    <a:pt x="207" y="1420"/>
                  </a:lnTo>
                  <a:lnTo>
                    <a:pt x="209" y="1420"/>
                  </a:lnTo>
                  <a:lnTo>
                    <a:pt x="209" y="899"/>
                  </a:lnTo>
                  <a:lnTo>
                    <a:pt x="209" y="899"/>
                  </a:lnTo>
                  <a:lnTo>
                    <a:pt x="209" y="1420"/>
                  </a:lnTo>
                  <a:lnTo>
                    <a:pt x="209" y="1420"/>
                  </a:lnTo>
                  <a:lnTo>
                    <a:pt x="209" y="1420"/>
                  </a:lnTo>
                  <a:lnTo>
                    <a:pt x="209" y="1420"/>
                  </a:lnTo>
                  <a:lnTo>
                    <a:pt x="209" y="899"/>
                  </a:lnTo>
                  <a:lnTo>
                    <a:pt x="209" y="899"/>
                  </a:lnTo>
                  <a:lnTo>
                    <a:pt x="209" y="899"/>
                  </a:lnTo>
                  <a:lnTo>
                    <a:pt x="210" y="899"/>
                  </a:lnTo>
                  <a:lnTo>
                    <a:pt x="210" y="899"/>
                  </a:lnTo>
                  <a:lnTo>
                    <a:pt x="211" y="899"/>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899"/>
                  </a:lnTo>
                  <a:lnTo>
                    <a:pt x="221" y="899"/>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1406"/>
                  </a:lnTo>
                  <a:lnTo>
                    <a:pt x="247" y="1406"/>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1380"/>
                  </a:lnTo>
                  <a:lnTo>
                    <a:pt x="309" y="1380"/>
                  </a:lnTo>
                  <a:lnTo>
                    <a:pt x="309" y="1380"/>
                  </a:lnTo>
                  <a:lnTo>
                    <a:pt x="309" y="1380"/>
                  </a:lnTo>
                  <a:lnTo>
                    <a:pt x="309" y="1380"/>
                  </a:lnTo>
                  <a:lnTo>
                    <a:pt x="309" y="1380"/>
                  </a:lnTo>
                  <a:lnTo>
                    <a:pt x="309" y="899"/>
                  </a:lnTo>
                  <a:lnTo>
                    <a:pt x="309" y="899"/>
                  </a:lnTo>
                  <a:lnTo>
                    <a:pt x="309" y="899"/>
                  </a:lnTo>
                  <a:lnTo>
                    <a:pt x="310" y="899"/>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8" y="1370"/>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899"/>
                  </a:lnTo>
                  <a:lnTo>
                    <a:pt x="335" y="899"/>
                  </a:lnTo>
                  <a:lnTo>
                    <a:pt x="335" y="899"/>
                  </a:lnTo>
                  <a:lnTo>
                    <a:pt x="335" y="899"/>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899"/>
                  </a:lnTo>
                  <a:lnTo>
                    <a:pt x="351" y="899"/>
                  </a:lnTo>
                  <a:lnTo>
                    <a:pt x="351" y="899"/>
                  </a:lnTo>
                  <a:lnTo>
                    <a:pt x="351" y="899"/>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899"/>
                  </a:lnTo>
                  <a:lnTo>
                    <a:pt x="382" y="899"/>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899"/>
                  </a:lnTo>
                  <a:lnTo>
                    <a:pt x="383" y="899"/>
                  </a:lnTo>
                  <a:lnTo>
                    <a:pt x="383" y="899"/>
                  </a:lnTo>
                  <a:lnTo>
                    <a:pt x="383" y="899"/>
                  </a:lnTo>
                  <a:lnTo>
                    <a:pt x="383" y="899"/>
                  </a:lnTo>
                  <a:lnTo>
                    <a:pt x="383" y="899"/>
                  </a:lnTo>
                  <a:lnTo>
                    <a:pt x="383" y="899"/>
                  </a:lnTo>
                  <a:lnTo>
                    <a:pt x="383" y="899"/>
                  </a:lnTo>
                  <a:lnTo>
                    <a:pt x="383" y="899"/>
                  </a:lnTo>
                  <a:lnTo>
                    <a:pt x="384" y="899"/>
                  </a:lnTo>
                  <a:lnTo>
                    <a:pt x="384" y="899"/>
                  </a:lnTo>
                  <a:lnTo>
                    <a:pt x="387" y="899"/>
                  </a:lnTo>
                  <a:lnTo>
                    <a:pt x="387"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899"/>
                  </a:lnTo>
                  <a:lnTo>
                    <a:pt x="430" y="899"/>
                  </a:lnTo>
                  <a:lnTo>
                    <a:pt x="430" y="899"/>
                  </a:lnTo>
                  <a:lnTo>
                    <a:pt x="430" y="89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899"/>
                  </a:lnTo>
                  <a:lnTo>
                    <a:pt x="453" y="899"/>
                  </a:lnTo>
                  <a:lnTo>
                    <a:pt x="453" y="899"/>
                  </a:lnTo>
                  <a:lnTo>
                    <a:pt x="453" y="899"/>
                  </a:lnTo>
                  <a:lnTo>
                    <a:pt x="453" y="899"/>
                  </a:lnTo>
                  <a:lnTo>
                    <a:pt x="453" y="899"/>
                  </a:lnTo>
                  <a:lnTo>
                    <a:pt x="453" y="899"/>
                  </a:lnTo>
                  <a:lnTo>
                    <a:pt x="453" y="899"/>
                  </a:lnTo>
                  <a:lnTo>
                    <a:pt x="453" y="1324"/>
                  </a:lnTo>
                  <a:lnTo>
                    <a:pt x="453" y="1324"/>
                  </a:lnTo>
                  <a:lnTo>
                    <a:pt x="453" y="899"/>
                  </a:lnTo>
                  <a:lnTo>
                    <a:pt x="453" y="899"/>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899"/>
                  </a:lnTo>
                  <a:lnTo>
                    <a:pt x="459" y="899"/>
                  </a:lnTo>
                  <a:lnTo>
                    <a:pt x="459" y="899"/>
                  </a:lnTo>
                  <a:lnTo>
                    <a:pt x="460" y="899"/>
                  </a:lnTo>
                  <a:lnTo>
                    <a:pt x="460" y="899"/>
                  </a:lnTo>
                  <a:lnTo>
                    <a:pt x="460" y="899"/>
                  </a:lnTo>
                  <a:lnTo>
                    <a:pt x="460" y="899"/>
                  </a:lnTo>
                  <a:lnTo>
                    <a:pt x="461" y="899"/>
                  </a:lnTo>
                  <a:lnTo>
                    <a:pt x="461" y="899"/>
                  </a:lnTo>
                  <a:lnTo>
                    <a:pt x="462" y="899"/>
                  </a:lnTo>
                  <a:lnTo>
                    <a:pt x="462" y="899"/>
                  </a:lnTo>
                  <a:lnTo>
                    <a:pt x="463" y="899"/>
                  </a:lnTo>
                  <a:lnTo>
                    <a:pt x="463" y="899"/>
                  </a:lnTo>
                  <a:lnTo>
                    <a:pt x="464" y="899"/>
                  </a:lnTo>
                  <a:lnTo>
                    <a:pt x="464" y="899"/>
                  </a:lnTo>
                  <a:lnTo>
                    <a:pt x="470" y="899"/>
                  </a:lnTo>
                  <a:lnTo>
                    <a:pt x="470" y="899"/>
                  </a:lnTo>
                  <a:lnTo>
                    <a:pt x="470" y="899"/>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899"/>
                  </a:lnTo>
                  <a:lnTo>
                    <a:pt x="472" y="899"/>
                  </a:lnTo>
                  <a:lnTo>
                    <a:pt x="472" y="1317"/>
                  </a:lnTo>
                  <a:lnTo>
                    <a:pt x="472" y="1317"/>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1314"/>
                  </a:lnTo>
                  <a:lnTo>
                    <a:pt x="510" y="1314"/>
                  </a:lnTo>
                  <a:lnTo>
                    <a:pt x="510" y="1314"/>
                  </a:lnTo>
                  <a:lnTo>
                    <a:pt x="510" y="1314"/>
                  </a:lnTo>
                  <a:lnTo>
                    <a:pt x="510" y="1314"/>
                  </a:lnTo>
                  <a:lnTo>
                    <a:pt x="510" y="1314"/>
                  </a:lnTo>
                  <a:lnTo>
                    <a:pt x="510" y="899"/>
                  </a:lnTo>
                  <a:lnTo>
                    <a:pt x="511" y="899"/>
                  </a:lnTo>
                  <a:lnTo>
                    <a:pt x="511" y="1309"/>
                  </a:lnTo>
                  <a:lnTo>
                    <a:pt x="511" y="1309"/>
                  </a:lnTo>
                  <a:lnTo>
                    <a:pt x="511" y="1309"/>
                  </a:lnTo>
                  <a:lnTo>
                    <a:pt x="511" y="1309"/>
                  </a:lnTo>
                  <a:lnTo>
                    <a:pt x="511" y="899"/>
                  </a:lnTo>
                  <a:lnTo>
                    <a:pt x="511" y="899"/>
                  </a:lnTo>
                  <a:lnTo>
                    <a:pt x="511" y="899"/>
                  </a:lnTo>
                  <a:lnTo>
                    <a:pt x="511" y="899"/>
                  </a:lnTo>
                  <a:lnTo>
                    <a:pt x="511" y="899"/>
                  </a:lnTo>
                  <a:lnTo>
                    <a:pt x="511" y="899"/>
                  </a:lnTo>
                  <a:lnTo>
                    <a:pt x="511" y="899"/>
                  </a:lnTo>
                  <a:lnTo>
                    <a:pt x="512" y="899"/>
                  </a:lnTo>
                  <a:lnTo>
                    <a:pt x="512" y="899"/>
                  </a:lnTo>
                  <a:lnTo>
                    <a:pt x="514" y="899"/>
                  </a:lnTo>
                  <a:lnTo>
                    <a:pt x="514"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899"/>
                  </a:lnTo>
                  <a:lnTo>
                    <a:pt x="554" y="899"/>
                  </a:lnTo>
                  <a:lnTo>
                    <a:pt x="554"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73" y="899"/>
                  </a:lnTo>
                  <a:lnTo>
                    <a:pt x="573" y="1292"/>
                  </a:lnTo>
                  <a:lnTo>
                    <a:pt x="574" y="1292"/>
                  </a:lnTo>
                  <a:lnTo>
                    <a:pt x="574" y="1292"/>
                  </a:lnTo>
                  <a:lnTo>
                    <a:pt x="576" y="1292"/>
                  </a:lnTo>
                  <a:lnTo>
                    <a:pt x="576" y="899"/>
                  </a:lnTo>
                  <a:lnTo>
                    <a:pt x="579" y="899"/>
                  </a:lnTo>
                  <a:lnTo>
                    <a:pt x="579" y="1292"/>
                  </a:lnTo>
                  <a:lnTo>
                    <a:pt x="580" y="1292"/>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899"/>
                  </a:lnTo>
                  <a:lnTo>
                    <a:pt x="588" y="899"/>
                  </a:lnTo>
                  <a:lnTo>
                    <a:pt x="588" y="1290"/>
                  </a:lnTo>
                  <a:lnTo>
                    <a:pt x="588" y="1290"/>
                  </a:lnTo>
                  <a:lnTo>
                    <a:pt x="588" y="1290"/>
                  </a:lnTo>
                  <a:lnTo>
                    <a:pt x="589" y="1290"/>
                  </a:lnTo>
                  <a:lnTo>
                    <a:pt x="589" y="1290"/>
                  </a:lnTo>
                  <a:lnTo>
                    <a:pt x="590" y="1290"/>
                  </a:lnTo>
                  <a:lnTo>
                    <a:pt x="590" y="1290"/>
                  </a:lnTo>
                  <a:lnTo>
                    <a:pt x="591" y="1290"/>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1284"/>
                  </a:lnTo>
                  <a:lnTo>
                    <a:pt x="605" y="1284"/>
                  </a:lnTo>
                  <a:lnTo>
                    <a:pt x="605" y="899"/>
                  </a:lnTo>
                  <a:lnTo>
                    <a:pt x="606" y="899"/>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899"/>
                  </a:lnTo>
                  <a:lnTo>
                    <a:pt x="673" y="899"/>
                  </a:lnTo>
                  <a:lnTo>
                    <a:pt x="673" y="899"/>
                  </a:lnTo>
                  <a:lnTo>
                    <a:pt x="674" y="899"/>
                  </a:lnTo>
                  <a:lnTo>
                    <a:pt x="674" y="899"/>
                  </a:lnTo>
                  <a:lnTo>
                    <a:pt x="674" y="899"/>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1273"/>
                  </a:lnTo>
                  <a:lnTo>
                    <a:pt x="677" y="1273"/>
                  </a:lnTo>
                  <a:lnTo>
                    <a:pt x="677" y="1273"/>
                  </a:lnTo>
                  <a:lnTo>
                    <a:pt x="679" y="1273"/>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1253"/>
                  </a:lnTo>
                  <a:lnTo>
                    <a:pt x="768" y="1253"/>
                  </a:lnTo>
                  <a:lnTo>
                    <a:pt x="768" y="1253"/>
                  </a:lnTo>
                  <a:lnTo>
                    <a:pt x="777" y="1253"/>
                  </a:lnTo>
                  <a:lnTo>
                    <a:pt x="777" y="1252"/>
                  </a:lnTo>
                  <a:lnTo>
                    <a:pt x="777" y="1252"/>
                  </a:lnTo>
                  <a:lnTo>
                    <a:pt x="777" y="1252"/>
                  </a:lnTo>
                  <a:lnTo>
                    <a:pt x="777" y="1252"/>
                  </a:lnTo>
                  <a:lnTo>
                    <a:pt x="777" y="899"/>
                  </a:lnTo>
                  <a:lnTo>
                    <a:pt x="777" y="899"/>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899"/>
                  </a:lnTo>
                  <a:lnTo>
                    <a:pt x="793" y="899"/>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8" y="899"/>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899"/>
                  </a:lnTo>
                  <a:lnTo>
                    <a:pt x="851" y="899"/>
                  </a:lnTo>
                  <a:lnTo>
                    <a:pt x="851" y="899"/>
                  </a:lnTo>
                  <a:lnTo>
                    <a:pt x="851" y="899"/>
                  </a:lnTo>
                  <a:lnTo>
                    <a:pt x="851" y="1219"/>
                  </a:lnTo>
                  <a:lnTo>
                    <a:pt x="851" y="1219"/>
                  </a:lnTo>
                  <a:lnTo>
                    <a:pt x="851" y="1219"/>
                  </a:lnTo>
                  <a:lnTo>
                    <a:pt x="851" y="1219"/>
                  </a:lnTo>
                  <a:lnTo>
                    <a:pt x="851" y="899"/>
                  </a:lnTo>
                  <a:lnTo>
                    <a:pt x="851" y="899"/>
                  </a:lnTo>
                  <a:lnTo>
                    <a:pt x="851" y="1218"/>
                  </a:lnTo>
                  <a:lnTo>
                    <a:pt x="851" y="1218"/>
                  </a:lnTo>
                  <a:lnTo>
                    <a:pt x="851" y="1218"/>
                  </a:lnTo>
                  <a:lnTo>
                    <a:pt x="851" y="1218"/>
                  </a:lnTo>
                  <a:lnTo>
                    <a:pt x="851" y="1218"/>
                  </a:lnTo>
                  <a:lnTo>
                    <a:pt x="852" y="1218"/>
                  </a:lnTo>
                  <a:lnTo>
                    <a:pt x="85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899"/>
                  </a:lnTo>
                  <a:lnTo>
                    <a:pt x="886" y="899"/>
                  </a:lnTo>
                  <a:lnTo>
                    <a:pt x="886" y="1213"/>
                  </a:lnTo>
                  <a:lnTo>
                    <a:pt x="886" y="1213"/>
                  </a:lnTo>
                  <a:lnTo>
                    <a:pt x="886" y="1213"/>
                  </a:lnTo>
                  <a:lnTo>
                    <a:pt x="887" y="1213"/>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3" y="899"/>
                  </a:lnTo>
                  <a:lnTo>
                    <a:pt x="913" y="899"/>
                  </a:lnTo>
                  <a:lnTo>
                    <a:pt x="913" y="899"/>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899"/>
                  </a:lnTo>
                  <a:lnTo>
                    <a:pt x="929" y="899"/>
                  </a:lnTo>
                  <a:lnTo>
                    <a:pt x="929" y="899"/>
                  </a:lnTo>
                  <a:lnTo>
                    <a:pt x="931" y="899"/>
                  </a:lnTo>
                  <a:lnTo>
                    <a:pt x="931" y="899"/>
                  </a:lnTo>
                  <a:lnTo>
                    <a:pt x="932" y="899"/>
                  </a:lnTo>
                  <a:lnTo>
                    <a:pt x="932" y="899"/>
                  </a:lnTo>
                  <a:lnTo>
                    <a:pt x="932" y="899"/>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899"/>
                  </a:lnTo>
                  <a:lnTo>
                    <a:pt x="935" y="899"/>
                  </a:lnTo>
                  <a:lnTo>
                    <a:pt x="935" y="899"/>
                  </a:lnTo>
                  <a:lnTo>
                    <a:pt x="935" y="899"/>
                  </a:lnTo>
                  <a:lnTo>
                    <a:pt x="935" y="899"/>
                  </a:lnTo>
                  <a:lnTo>
                    <a:pt x="936" y="899"/>
                  </a:lnTo>
                  <a:lnTo>
                    <a:pt x="936" y="899"/>
                  </a:lnTo>
                  <a:lnTo>
                    <a:pt x="936" y="899"/>
                  </a:lnTo>
                  <a:lnTo>
                    <a:pt x="936" y="899"/>
                  </a:lnTo>
                  <a:lnTo>
                    <a:pt x="938" y="899"/>
                  </a:lnTo>
                  <a:lnTo>
                    <a:pt x="938" y="899"/>
                  </a:lnTo>
                  <a:lnTo>
                    <a:pt x="943" y="899"/>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9" y="899"/>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899"/>
                  </a:lnTo>
                  <a:lnTo>
                    <a:pt x="1003" y="899"/>
                  </a:lnTo>
                  <a:lnTo>
                    <a:pt x="1003" y="1167"/>
                  </a:lnTo>
                  <a:lnTo>
                    <a:pt x="1004" y="1167"/>
                  </a:lnTo>
                  <a:lnTo>
                    <a:pt x="1004" y="1164"/>
                  </a:lnTo>
                  <a:lnTo>
                    <a:pt x="1004" y="1164"/>
                  </a:lnTo>
                  <a:lnTo>
                    <a:pt x="1004" y="1164"/>
                  </a:lnTo>
                  <a:lnTo>
                    <a:pt x="1004" y="1164"/>
                  </a:lnTo>
                  <a:lnTo>
                    <a:pt x="1004" y="1158"/>
                  </a:lnTo>
                  <a:lnTo>
                    <a:pt x="1004" y="1158"/>
                  </a:lnTo>
                  <a:lnTo>
                    <a:pt x="1004" y="899"/>
                  </a:lnTo>
                  <a:lnTo>
                    <a:pt x="1004" y="899"/>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1146"/>
                  </a:lnTo>
                  <a:lnTo>
                    <a:pt x="1069" y="1146"/>
                  </a:lnTo>
                  <a:lnTo>
                    <a:pt x="1069" y="1146"/>
                  </a:lnTo>
                  <a:lnTo>
                    <a:pt x="1069" y="1146"/>
                  </a:lnTo>
                  <a:lnTo>
                    <a:pt x="1069" y="899"/>
                  </a:lnTo>
                  <a:lnTo>
                    <a:pt x="1069" y="899"/>
                  </a:lnTo>
                  <a:lnTo>
                    <a:pt x="1069" y="899"/>
                  </a:lnTo>
                  <a:lnTo>
                    <a:pt x="1069" y="899"/>
                  </a:lnTo>
                  <a:lnTo>
                    <a:pt x="1069" y="899"/>
                  </a:lnTo>
                  <a:lnTo>
                    <a:pt x="1069" y="899"/>
                  </a:lnTo>
                  <a:lnTo>
                    <a:pt x="1069" y="899"/>
                  </a:lnTo>
                  <a:lnTo>
                    <a:pt x="1069" y="899"/>
                  </a:lnTo>
                  <a:lnTo>
                    <a:pt x="1069" y="899"/>
                  </a:lnTo>
                  <a:lnTo>
                    <a:pt x="1071" y="899"/>
                  </a:lnTo>
                  <a:lnTo>
                    <a:pt x="1071" y="899"/>
                  </a:lnTo>
                  <a:lnTo>
                    <a:pt x="1074" y="899"/>
                  </a:lnTo>
                  <a:lnTo>
                    <a:pt x="1074" y="899"/>
                  </a:lnTo>
                  <a:lnTo>
                    <a:pt x="1077" y="899"/>
                  </a:lnTo>
                  <a:lnTo>
                    <a:pt x="1077" y="899"/>
                  </a:lnTo>
                  <a:lnTo>
                    <a:pt x="1101" y="899"/>
                  </a:lnTo>
                  <a:lnTo>
                    <a:pt x="1101" y="1136"/>
                  </a:lnTo>
                  <a:lnTo>
                    <a:pt x="1101" y="1136"/>
                  </a:lnTo>
                  <a:lnTo>
                    <a:pt x="1101" y="1136"/>
                  </a:lnTo>
                  <a:lnTo>
                    <a:pt x="1102" y="1136"/>
                  </a:lnTo>
                  <a:lnTo>
                    <a:pt x="1102" y="1136"/>
                  </a:lnTo>
                  <a:lnTo>
                    <a:pt x="1102" y="1136"/>
                  </a:lnTo>
                  <a:lnTo>
                    <a:pt x="1102" y="1136"/>
                  </a:lnTo>
                  <a:lnTo>
                    <a:pt x="1102" y="1136"/>
                  </a:lnTo>
                  <a:lnTo>
                    <a:pt x="1102" y="899"/>
                  </a:lnTo>
                  <a:lnTo>
                    <a:pt x="1104" y="899"/>
                  </a:lnTo>
                  <a:lnTo>
                    <a:pt x="1104" y="899"/>
                  </a:lnTo>
                  <a:lnTo>
                    <a:pt x="1129" y="899"/>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899"/>
                  </a:lnTo>
                  <a:lnTo>
                    <a:pt x="1322" y="899"/>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899"/>
                  </a:lnTo>
                  <a:lnTo>
                    <a:pt x="1333" y="899"/>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899"/>
                  </a:lnTo>
                  <a:lnTo>
                    <a:pt x="1367" y="899"/>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1063"/>
                  </a:lnTo>
                  <a:lnTo>
                    <a:pt x="1388" y="1063"/>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1042"/>
                  </a:lnTo>
                  <a:lnTo>
                    <a:pt x="1422" y="1042"/>
                  </a:lnTo>
                  <a:lnTo>
                    <a:pt x="1422" y="1042"/>
                  </a:lnTo>
                  <a:lnTo>
                    <a:pt x="1423" y="1042"/>
                  </a:lnTo>
                  <a:lnTo>
                    <a:pt x="1423" y="1042"/>
                  </a:lnTo>
                  <a:lnTo>
                    <a:pt x="1425" y="1042"/>
                  </a:lnTo>
                  <a:lnTo>
                    <a:pt x="1425" y="1042"/>
                  </a:lnTo>
                  <a:lnTo>
                    <a:pt x="1432" y="1042"/>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1033"/>
                  </a:lnTo>
                  <a:lnTo>
                    <a:pt x="1475" y="1033"/>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1029"/>
                  </a:lnTo>
                  <a:lnTo>
                    <a:pt x="1478" y="1029"/>
                  </a:lnTo>
                  <a:lnTo>
                    <a:pt x="1478" y="899"/>
                  </a:lnTo>
                  <a:lnTo>
                    <a:pt x="1478" y="899"/>
                  </a:lnTo>
                  <a:lnTo>
                    <a:pt x="1478" y="1029"/>
                  </a:lnTo>
                  <a:lnTo>
                    <a:pt x="1478" y="1029"/>
                  </a:lnTo>
                  <a:lnTo>
                    <a:pt x="1478" y="1029"/>
                  </a:lnTo>
                  <a:lnTo>
                    <a:pt x="1478" y="1029"/>
                  </a:lnTo>
                  <a:lnTo>
                    <a:pt x="1478" y="899"/>
                  </a:lnTo>
                  <a:lnTo>
                    <a:pt x="1479" y="899"/>
                  </a:lnTo>
                  <a:lnTo>
                    <a:pt x="1479"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1019"/>
                  </a:lnTo>
                  <a:lnTo>
                    <a:pt x="1484" y="1019"/>
                  </a:lnTo>
                  <a:lnTo>
                    <a:pt x="1484" y="1017"/>
                  </a:lnTo>
                  <a:lnTo>
                    <a:pt x="1484" y="1017"/>
                  </a:lnTo>
                  <a:lnTo>
                    <a:pt x="1484" y="1017"/>
                  </a:lnTo>
                  <a:lnTo>
                    <a:pt x="1484" y="1017"/>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899"/>
                  </a:lnTo>
                  <a:lnTo>
                    <a:pt x="1695" y="899"/>
                  </a:lnTo>
                  <a:lnTo>
                    <a:pt x="1695" y="899"/>
                  </a:lnTo>
                  <a:lnTo>
                    <a:pt x="1698" y="899"/>
                  </a:lnTo>
                  <a:lnTo>
                    <a:pt x="1698" y="1005"/>
                  </a:lnTo>
                  <a:lnTo>
                    <a:pt x="1698" y="1005"/>
                  </a:lnTo>
                  <a:lnTo>
                    <a:pt x="1698" y="1005"/>
                  </a:lnTo>
                  <a:lnTo>
                    <a:pt x="1699" y="1005"/>
                  </a:lnTo>
                  <a:lnTo>
                    <a:pt x="1699" y="1004"/>
                  </a:lnTo>
                  <a:lnTo>
                    <a:pt x="1699" y="1004"/>
                  </a:lnTo>
                  <a:lnTo>
                    <a:pt x="1699" y="1004"/>
                  </a:lnTo>
                  <a:lnTo>
                    <a:pt x="1699" y="1004"/>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970"/>
                  </a:lnTo>
                  <a:lnTo>
                    <a:pt x="1814" y="970"/>
                  </a:lnTo>
                  <a:lnTo>
                    <a:pt x="1814" y="970"/>
                  </a:lnTo>
                  <a:lnTo>
                    <a:pt x="1814" y="970"/>
                  </a:lnTo>
                  <a:lnTo>
                    <a:pt x="1814" y="970"/>
                  </a:lnTo>
                  <a:lnTo>
                    <a:pt x="1815" y="970"/>
                  </a:lnTo>
                  <a:lnTo>
                    <a:pt x="1815" y="899"/>
                  </a:lnTo>
                  <a:lnTo>
                    <a:pt x="1817" y="899"/>
                  </a:lnTo>
                  <a:lnTo>
                    <a:pt x="1817" y="966"/>
                  </a:lnTo>
                  <a:lnTo>
                    <a:pt x="1817" y="966"/>
                  </a:lnTo>
                  <a:lnTo>
                    <a:pt x="1817" y="966"/>
                  </a:lnTo>
                  <a:lnTo>
                    <a:pt x="1820" y="966"/>
                  </a:lnTo>
                  <a:lnTo>
                    <a:pt x="1820" y="966"/>
                  </a:lnTo>
                  <a:lnTo>
                    <a:pt x="1844" y="966"/>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899"/>
                  </a:lnTo>
                  <a:lnTo>
                    <a:pt x="1855" y="899"/>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899"/>
                  </a:lnTo>
                  <a:lnTo>
                    <a:pt x="1944" y="899"/>
                  </a:lnTo>
                  <a:lnTo>
                    <a:pt x="1944" y="899"/>
                  </a:lnTo>
                  <a:lnTo>
                    <a:pt x="1944" y="899"/>
                  </a:lnTo>
                  <a:lnTo>
                    <a:pt x="1944" y="899"/>
                  </a:lnTo>
                  <a:lnTo>
                    <a:pt x="1944" y="899"/>
                  </a:lnTo>
                  <a:lnTo>
                    <a:pt x="1944" y="899"/>
                  </a:lnTo>
                  <a:lnTo>
                    <a:pt x="1944" y="899"/>
                  </a:lnTo>
                  <a:lnTo>
                    <a:pt x="1944" y="920"/>
                  </a:lnTo>
                  <a:lnTo>
                    <a:pt x="1944" y="920"/>
                  </a:lnTo>
                  <a:lnTo>
                    <a:pt x="1944" y="920"/>
                  </a:lnTo>
                  <a:lnTo>
                    <a:pt x="1945" y="920"/>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916"/>
                  </a:lnTo>
                  <a:lnTo>
                    <a:pt x="1948" y="916"/>
                  </a:lnTo>
                  <a:lnTo>
                    <a:pt x="1948" y="916"/>
                  </a:lnTo>
                  <a:lnTo>
                    <a:pt x="1948" y="916"/>
                  </a:lnTo>
                  <a:lnTo>
                    <a:pt x="1948" y="899"/>
                  </a:lnTo>
                  <a:lnTo>
                    <a:pt x="1948" y="899"/>
                  </a:lnTo>
                  <a:lnTo>
                    <a:pt x="1948" y="915"/>
                  </a:lnTo>
                  <a:lnTo>
                    <a:pt x="1948" y="915"/>
                  </a:lnTo>
                  <a:lnTo>
                    <a:pt x="1948"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9"/>
                  </a:lnTo>
                  <a:lnTo>
                    <a:pt x="2059" y="899"/>
                  </a:lnTo>
                  <a:lnTo>
                    <a:pt x="2059" y="899"/>
                  </a:lnTo>
                  <a:lnTo>
                    <a:pt x="2059" y="899"/>
                  </a:lnTo>
                  <a:lnTo>
                    <a:pt x="2059" y="899"/>
                  </a:lnTo>
                  <a:lnTo>
                    <a:pt x="2059" y="899"/>
                  </a:lnTo>
                  <a:lnTo>
                    <a:pt x="2059" y="892"/>
                  </a:lnTo>
                  <a:lnTo>
                    <a:pt x="2059" y="892"/>
                  </a:lnTo>
                  <a:lnTo>
                    <a:pt x="2059" y="899"/>
                  </a:lnTo>
                  <a:lnTo>
                    <a:pt x="2060" y="899"/>
                  </a:lnTo>
                  <a:lnTo>
                    <a:pt x="2060" y="892"/>
                  </a:lnTo>
                  <a:lnTo>
                    <a:pt x="2060" y="892"/>
                  </a:lnTo>
                  <a:lnTo>
                    <a:pt x="2060" y="892"/>
                  </a:lnTo>
                  <a:lnTo>
                    <a:pt x="2061" y="892"/>
                  </a:lnTo>
                  <a:lnTo>
                    <a:pt x="2061" y="892"/>
                  </a:lnTo>
                  <a:lnTo>
                    <a:pt x="2064" y="892"/>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99"/>
                  </a:lnTo>
                  <a:lnTo>
                    <a:pt x="2079" y="899"/>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99"/>
                  </a:lnTo>
                  <a:lnTo>
                    <a:pt x="2089" y="899"/>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99"/>
                  </a:lnTo>
                  <a:lnTo>
                    <a:pt x="2135" y="899"/>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63"/>
                  </a:lnTo>
                  <a:lnTo>
                    <a:pt x="2155" y="863"/>
                  </a:lnTo>
                  <a:lnTo>
                    <a:pt x="2155" y="863"/>
                  </a:lnTo>
                  <a:lnTo>
                    <a:pt x="2158" y="863"/>
                  </a:lnTo>
                  <a:lnTo>
                    <a:pt x="2158" y="863"/>
                  </a:lnTo>
                  <a:lnTo>
                    <a:pt x="2175" y="863"/>
                  </a:lnTo>
                  <a:lnTo>
                    <a:pt x="2175" y="899"/>
                  </a:lnTo>
                  <a:lnTo>
                    <a:pt x="2175" y="899"/>
                  </a:lnTo>
                  <a:lnTo>
                    <a:pt x="2175" y="899"/>
                  </a:lnTo>
                  <a:lnTo>
                    <a:pt x="2175" y="899"/>
                  </a:lnTo>
                  <a:lnTo>
                    <a:pt x="2175" y="899"/>
                  </a:lnTo>
                  <a:lnTo>
                    <a:pt x="2175" y="899"/>
                  </a:lnTo>
                  <a:lnTo>
                    <a:pt x="2175" y="862"/>
                  </a:lnTo>
                  <a:lnTo>
                    <a:pt x="2175" y="862"/>
                  </a:lnTo>
                  <a:lnTo>
                    <a:pt x="2175" y="899"/>
                  </a:lnTo>
                  <a:lnTo>
                    <a:pt x="2176" y="899"/>
                  </a:lnTo>
                  <a:lnTo>
                    <a:pt x="2176" y="862"/>
                  </a:lnTo>
                  <a:lnTo>
                    <a:pt x="2178" y="862"/>
                  </a:lnTo>
                  <a:lnTo>
                    <a:pt x="2178" y="861"/>
                  </a:lnTo>
                  <a:lnTo>
                    <a:pt x="2182" y="861"/>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54"/>
                  </a:lnTo>
                  <a:lnTo>
                    <a:pt x="2183" y="854"/>
                  </a:lnTo>
                  <a:lnTo>
                    <a:pt x="2183" y="854"/>
                  </a:lnTo>
                  <a:lnTo>
                    <a:pt x="2183" y="854"/>
                  </a:lnTo>
                  <a:lnTo>
                    <a:pt x="2183" y="851"/>
                  </a:lnTo>
                  <a:lnTo>
                    <a:pt x="2183" y="851"/>
                  </a:lnTo>
                  <a:lnTo>
                    <a:pt x="2183" y="851"/>
                  </a:lnTo>
                  <a:lnTo>
                    <a:pt x="2183" y="851"/>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99"/>
                  </a:lnTo>
                  <a:lnTo>
                    <a:pt x="2273" y="899"/>
                  </a:lnTo>
                  <a:lnTo>
                    <a:pt x="2273" y="899"/>
                  </a:lnTo>
                  <a:lnTo>
                    <a:pt x="2273" y="899"/>
                  </a:lnTo>
                  <a:lnTo>
                    <a:pt x="2273" y="899"/>
                  </a:lnTo>
                  <a:lnTo>
                    <a:pt x="2273" y="899"/>
                  </a:lnTo>
                  <a:lnTo>
                    <a:pt x="2273" y="899"/>
                  </a:lnTo>
                  <a:lnTo>
                    <a:pt x="2273" y="899"/>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99"/>
                  </a:lnTo>
                  <a:lnTo>
                    <a:pt x="2293" y="899"/>
                  </a:lnTo>
                  <a:lnTo>
                    <a:pt x="2293" y="806"/>
                  </a:lnTo>
                  <a:lnTo>
                    <a:pt x="2294" y="806"/>
                  </a:lnTo>
                  <a:lnTo>
                    <a:pt x="2294" y="806"/>
                  </a:lnTo>
                  <a:lnTo>
                    <a:pt x="2298" y="806"/>
                  </a:lnTo>
                  <a:lnTo>
                    <a:pt x="2298" y="806"/>
                  </a:lnTo>
                  <a:lnTo>
                    <a:pt x="2298" y="806"/>
                  </a:lnTo>
                  <a:lnTo>
                    <a:pt x="2298" y="806"/>
                  </a:lnTo>
                  <a:lnTo>
                    <a:pt x="2298" y="806"/>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899"/>
                  </a:lnTo>
                  <a:lnTo>
                    <a:pt x="2311" y="899"/>
                  </a:lnTo>
                  <a:lnTo>
                    <a:pt x="2311" y="899"/>
                  </a:lnTo>
                  <a:lnTo>
                    <a:pt x="2350" y="899"/>
                  </a:lnTo>
                  <a:lnTo>
                    <a:pt x="2350" y="899"/>
                  </a:lnTo>
                  <a:lnTo>
                    <a:pt x="2350" y="899"/>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899"/>
                  </a:lnTo>
                  <a:lnTo>
                    <a:pt x="2409" y="899"/>
                  </a:lnTo>
                  <a:lnTo>
                    <a:pt x="2409" y="899"/>
                  </a:lnTo>
                  <a:lnTo>
                    <a:pt x="2409" y="899"/>
                  </a:lnTo>
                  <a:lnTo>
                    <a:pt x="2409" y="899"/>
                  </a:lnTo>
                  <a:lnTo>
                    <a:pt x="2409" y="899"/>
                  </a:lnTo>
                  <a:lnTo>
                    <a:pt x="2409" y="796"/>
                  </a:lnTo>
                  <a:lnTo>
                    <a:pt x="2409" y="796"/>
                  </a:lnTo>
                  <a:lnTo>
                    <a:pt x="2409" y="899"/>
                  </a:lnTo>
                  <a:lnTo>
                    <a:pt x="2409" y="899"/>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899"/>
                  </a:lnTo>
                  <a:lnTo>
                    <a:pt x="2630" y="899"/>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899"/>
                  </a:lnTo>
                  <a:lnTo>
                    <a:pt x="2690" y="899"/>
                  </a:lnTo>
                  <a:lnTo>
                    <a:pt x="2690"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899"/>
                  </a:lnTo>
                  <a:lnTo>
                    <a:pt x="2735" y="899"/>
                  </a:lnTo>
                  <a:lnTo>
                    <a:pt x="2735" y="654"/>
                  </a:lnTo>
                  <a:lnTo>
                    <a:pt x="2736" y="654"/>
                  </a:lnTo>
                  <a:lnTo>
                    <a:pt x="2736" y="654"/>
                  </a:lnTo>
                  <a:lnTo>
                    <a:pt x="2748" y="654"/>
                  </a:lnTo>
                  <a:lnTo>
                    <a:pt x="2748" y="899"/>
                  </a:lnTo>
                  <a:lnTo>
                    <a:pt x="2752" y="899"/>
                  </a:lnTo>
                  <a:lnTo>
                    <a:pt x="2752" y="899"/>
                  </a:lnTo>
                  <a:lnTo>
                    <a:pt x="2775" y="899"/>
                  </a:lnTo>
                  <a:lnTo>
                    <a:pt x="2775" y="652"/>
                  </a:lnTo>
                  <a:lnTo>
                    <a:pt x="2775" y="652"/>
                  </a:lnTo>
                  <a:lnTo>
                    <a:pt x="2775" y="652"/>
                  </a:lnTo>
                  <a:lnTo>
                    <a:pt x="2775" y="652"/>
                  </a:lnTo>
                  <a:lnTo>
                    <a:pt x="2775" y="652"/>
                  </a:lnTo>
                  <a:lnTo>
                    <a:pt x="2775" y="652"/>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623"/>
                  </a:lnTo>
                  <a:lnTo>
                    <a:pt x="2837" y="623"/>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899"/>
                  </a:lnTo>
                  <a:lnTo>
                    <a:pt x="3253" y="899"/>
                  </a:lnTo>
                  <a:lnTo>
                    <a:pt x="3253" y="899"/>
                  </a:lnTo>
                  <a:lnTo>
                    <a:pt x="3253" y="899"/>
                  </a:lnTo>
                  <a:lnTo>
                    <a:pt x="3253" y="899"/>
                  </a:lnTo>
                  <a:lnTo>
                    <a:pt x="3253" y="899"/>
                  </a:lnTo>
                  <a:lnTo>
                    <a:pt x="3253" y="183"/>
                  </a:lnTo>
                  <a:lnTo>
                    <a:pt x="3253" y="183"/>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899"/>
                  </a:lnTo>
                  <a:lnTo>
                    <a:pt x="3253" y="204"/>
                  </a:lnTo>
                  <a:lnTo>
                    <a:pt x="3252" y="204"/>
                  </a:lnTo>
                  <a:lnTo>
                    <a:pt x="3252" y="204"/>
                  </a:lnTo>
                  <a:lnTo>
                    <a:pt x="3252" y="204"/>
                  </a:lnTo>
                  <a:lnTo>
                    <a:pt x="3252" y="211"/>
                  </a:lnTo>
                  <a:lnTo>
                    <a:pt x="3252" y="211"/>
                  </a:lnTo>
                  <a:lnTo>
                    <a:pt x="3252" y="211"/>
                  </a:lnTo>
                  <a:lnTo>
                    <a:pt x="3252" y="211"/>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2" y="899"/>
                  </a:lnTo>
                  <a:lnTo>
                    <a:pt x="3251" y="899"/>
                  </a:lnTo>
                  <a:lnTo>
                    <a:pt x="3251" y="899"/>
                  </a:lnTo>
                  <a:lnTo>
                    <a:pt x="3251" y="899"/>
                  </a:lnTo>
                  <a:lnTo>
                    <a:pt x="3251" y="221"/>
                  </a:lnTo>
                  <a:lnTo>
                    <a:pt x="3250" y="221"/>
                  </a:lnTo>
                  <a:lnTo>
                    <a:pt x="3250" y="899"/>
                  </a:lnTo>
                  <a:lnTo>
                    <a:pt x="3250" y="899"/>
                  </a:lnTo>
                  <a:lnTo>
                    <a:pt x="3250"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899"/>
                  </a:lnTo>
                  <a:lnTo>
                    <a:pt x="3249" y="261"/>
                  </a:lnTo>
                  <a:lnTo>
                    <a:pt x="3249" y="261"/>
                  </a:lnTo>
                  <a:lnTo>
                    <a:pt x="3249" y="261"/>
                  </a:lnTo>
                  <a:lnTo>
                    <a:pt x="3249" y="261"/>
                  </a:lnTo>
                  <a:lnTo>
                    <a:pt x="3249" y="899"/>
                  </a:lnTo>
                  <a:lnTo>
                    <a:pt x="3249" y="899"/>
                  </a:lnTo>
                  <a:lnTo>
                    <a:pt x="3249" y="899"/>
                  </a:lnTo>
                  <a:lnTo>
                    <a:pt x="3249" y="899"/>
                  </a:lnTo>
                  <a:lnTo>
                    <a:pt x="3249" y="899"/>
                  </a:lnTo>
                  <a:lnTo>
                    <a:pt x="3249" y="899"/>
                  </a:lnTo>
                  <a:lnTo>
                    <a:pt x="3249" y="899"/>
                  </a:lnTo>
                  <a:lnTo>
                    <a:pt x="3249" y="899"/>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899"/>
                  </a:lnTo>
                  <a:lnTo>
                    <a:pt x="3245" y="899"/>
                  </a:lnTo>
                  <a:lnTo>
                    <a:pt x="3245"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899"/>
                  </a:lnTo>
                  <a:lnTo>
                    <a:pt x="3244" y="321"/>
                  </a:lnTo>
                  <a:lnTo>
                    <a:pt x="3243" y="321"/>
                  </a:lnTo>
                  <a:lnTo>
                    <a:pt x="3243" y="321"/>
                  </a:lnTo>
                  <a:lnTo>
                    <a:pt x="3243" y="321"/>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899"/>
                  </a:lnTo>
                  <a:lnTo>
                    <a:pt x="3243" y="324"/>
                  </a:lnTo>
                  <a:lnTo>
                    <a:pt x="3218" y="324"/>
                  </a:lnTo>
                  <a:lnTo>
                    <a:pt x="3218" y="324"/>
                  </a:lnTo>
                  <a:lnTo>
                    <a:pt x="3218" y="324"/>
                  </a:lnTo>
                  <a:lnTo>
                    <a:pt x="3218" y="899"/>
                  </a:lnTo>
                  <a:lnTo>
                    <a:pt x="3218" y="899"/>
                  </a:lnTo>
                  <a:lnTo>
                    <a:pt x="3218" y="899"/>
                  </a:lnTo>
                  <a:lnTo>
                    <a:pt x="3218" y="899"/>
                  </a:lnTo>
                  <a:lnTo>
                    <a:pt x="3218" y="899"/>
                  </a:lnTo>
                  <a:lnTo>
                    <a:pt x="3218" y="899"/>
                  </a:lnTo>
                  <a:lnTo>
                    <a:pt x="3218" y="899"/>
                  </a:lnTo>
                  <a:lnTo>
                    <a:pt x="3218" y="899"/>
                  </a:lnTo>
                  <a:lnTo>
                    <a:pt x="3218"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899"/>
                  </a:lnTo>
                  <a:lnTo>
                    <a:pt x="3217" y="350"/>
                  </a:lnTo>
                  <a:lnTo>
                    <a:pt x="3216" y="350"/>
                  </a:lnTo>
                  <a:lnTo>
                    <a:pt x="3216" y="350"/>
                  </a:lnTo>
                  <a:lnTo>
                    <a:pt x="3216" y="350"/>
                  </a:lnTo>
                  <a:lnTo>
                    <a:pt x="3216" y="350"/>
                  </a:lnTo>
                  <a:lnTo>
                    <a:pt x="3216" y="350"/>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899"/>
                  </a:lnTo>
                  <a:lnTo>
                    <a:pt x="3216" y="357"/>
                  </a:lnTo>
                  <a:lnTo>
                    <a:pt x="3216" y="357"/>
                  </a:lnTo>
                  <a:lnTo>
                    <a:pt x="3216" y="361"/>
                  </a:lnTo>
                  <a:lnTo>
                    <a:pt x="3216" y="361"/>
                  </a:lnTo>
                  <a:lnTo>
                    <a:pt x="3216" y="364"/>
                  </a:lnTo>
                  <a:lnTo>
                    <a:pt x="3216" y="364"/>
                  </a:lnTo>
                  <a:lnTo>
                    <a:pt x="3216" y="364"/>
                  </a:lnTo>
                  <a:lnTo>
                    <a:pt x="3216" y="364"/>
                  </a:lnTo>
                  <a:lnTo>
                    <a:pt x="3216" y="899"/>
                  </a:lnTo>
                  <a:lnTo>
                    <a:pt x="3216" y="899"/>
                  </a:lnTo>
                  <a:lnTo>
                    <a:pt x="3216" y="899"/>
                  </a:lnTo>
                  <a:lnTo>
                    <a:pt x="3216" y="899"/>
                  </a:lnTo>
                  <a:lnTo>
                    <a:pt x="3216" y="899"/>
                  </a:lnTo>
                  <a:lnTo>
                    <a:pt x="3216" y="899"/>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899"/>
                  </a:lnTo>
                  <a:lnTo>
                    <a:pt x="3197" y="899"/>
                  </a:lnTo>
                  <a:lnTo>
                    <a:pt x="3197" y="899"/>
                  </a:lnTo>
                  <a:lnTo>
                    <a:pt x="3196" y="899"/>
                  </a:lnTo>
                  <a:lnTo>
                    <a:pt x="3196" y="899"/>
                  </a:lnTo>
                  <a:lnTo>
                    <a:pt x="3195" y="899"/>
                  </a:lnTo>
                  <a:lnTo>
                    <a:pt x="3195" y="899"/>
                  </a:lnTo>
                  <a:lnTo>
                    <a:pt x="3194" y="899"/>
                  </a:lnTo>
                  <a:lnTo>
                    <a:pt x="3194" y="899"/>
                  </a:lnTo>
                  <a:lnTo>
                    <a:pt x="3194" y="899"/>
                  </a:lnTo>
                  <a:lnTo>
                    <a:pt x="3194" y="899"/>
                  </a:lnTo>
                  <a:lnTo>
                    <a:pt x="3194" y="899"/>
                  </a:lnTo>
                  <a:lnTo>
                    <a:pt x="3194" y="899"/>
                  </a:lnTo>
                  <a:lnTo>
                    <a:pt x="3194" y="899"/>
                  </a:lnTo>
                  <a:lnTo>
                    <a:pt x="3194"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899"/>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899"/>
                  </a:lnTo>
                  <a:lnTo>
                    <a:pt x="3192" y="899"/>
                  </a:lnTo>
                  <a:lnTo>
                    <a:pt x="3192" y="899"/>
                  </a:lnTo>
                  <a:lnTo>
                    <a:pt x="3192" y="899"/>
                  </a:lnTo>
                  <a:lnTo>
                    <a:pt x="3192" y="899"/>
                  </a:lnTo>
                  <a:lnTo>
                    <a:pt x="3192" y="899"/>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899"/>
                  </a:lnTo>
                  <a:lnTo>
                    <a:pt x="3189" y="438"/>
                  </a:lnTo>
                  <a:lnTo>
                    <a:pt x="3189" y="438"/>
                  </a:lnTo>
                  <a:lnTo>
                    <a:pt x="3189" y="899"/>
                  </a:lnTo>
                  <a:lnTo>
                    <a:pt x="3189" y="899"/>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623"/>
                  </a:lnTo>
                  <a:lnTo>
                    <a:pt x="2837" y="623"/>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652"/>
                  </a:lnTo>
                  <a:lnTo>
                    <a:pt x="2775" y="652"/>
                  </a:lnTo>
                  <a:lnTo>
                    <a:pt x="2775" y="899"/>
                  </a:lnTo>
                  <a:lnTo>
                    <a:pt x="2775" y="899"/>
                  </a:lnTo>
                  <a:lnTo>
                    <a:pt x="2775" y="652"/>
                  </a:lnTo>
                  <a:lnTo>
                    <a:pt x="2775" y="652"/>
                  </a:lnTo>
                  <a:lnTo>
                    <a:pt x="2775" y="899"/>
                  </a:lnTo>
                  <a:lnTo>
                    <a:pt x="2752" y="899"/>
                  </a:lnTo>
                  <a:lnTo>
                    <a:pt x="2752" y="899"/>
                  </a:lnTo>
                  <a:lnTo>
                    <a:pt x="2748" y="899"/>
                  </a:lnTo>
                  <a:lnTo>
                    <a:pt x="2748" y="654"/>
                  </a:lnTo>
                  <a:lnTo>
                    <a:pt x="2736" y="654"/>
                  </a:lnTo>
                  <a:lnTo>
                    <a:pt x="2736" y="654"/>
                  </a:lnTo>
                  <a:lnTo>
                    <a:pt x="2735" y="654"/>
                  </a:lnTo>
                  <a:lnTo>
                    <a:pt x="2735" y="899"/>
                  </a:lnTo>
                  <a:lnTo>
                    <a:pt x="2735" y="899"/>
                  </a:lnTo>
                  <a:lnTo>
                    <a:pt x="2735" y="654"/>
                  </a:lnTo>
                  <a:lnTo>
                    <a:pt x="2735" y="654"/>
                  </a:lnTo>
                  <a:lnTo>
                    <a:pt x="2735" y="654"/>
                  </a:lnTo>
                  <a:lnTo>
                    <a:pt x="2735" y="654"/>
                  </a:lnTo>
                  <a:lnTo>
                    <a:pt x="2735" y="654"/>
                  </a:lnTo>
                  <a:lnTo>
                    <a:pt x="2735" y="654"/>
                  </a:lnTo>
                  <a:lnTo>
                    <a:pt x="2735" y="899"/>
                  </a:lnTo>
                  <a:lnTo>
                    <a:pt x="2735" y="899"/>
                  </a:lnTo>
                  <a:lnTo>
                    <a:pt x="2735" y="899"/>
                  </a:lnTo>
                  <a:lnTo>
                    <a:pt x="2735" y="899"/>
                  </a:lnTo>
                  <a:lnTo>
                    <a:pt x="2735"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3" y="899"/>
                  </a:lnTo>
                  <a:lnTo>
                    <a:pt x="2693" y="899"/>
                  </a:lnTo>
                  <a:lnTo>
                    <a:pt x="2693" y="899"/>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2" y="899"/>
                  </a:lnTo>
                  <a:lnTo>
                    <a:pt x="2692"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90" y="899"/>
                  </a:lnTo>
                  <a:lnTo>
                    <a:pt x="2689" y="899"/>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2" y="899"/>
                  </a:lnTo>
                  <a:lnTo>
                    <a:pt x="2682" y="899"/>
                  </a:lnTo>
                  <a:lnTo>
                    <a:pt x="2681" y="899"/>
                  </a:lnTo>
                  <a:lnTo>
                    <a:pt x="2681" y="721"/>
                  </a:lnTo>
                  <a:lnTo>
                    <a:pt x="2665" y="721"/>
                  </a:lnTo>
                  <a:lnTo>
                    <a:pt x="2665" y="721"/>
                  </a:lnTo>
                  <a:lnTo>
                    <a:pt x="2663" y="721"/>
                  </a:lnTo>
                  <a:lnTo>
                    <a:pt x="2663" y="721"/>
                  </a:lnTo>
                  <a:lnTo>
                    <a:pt x="2662" y="721"/>
                  </a:lnTo>
                  <a:lnTo>
                    <a:pt x="2662" y="721"/>
                  </a:lnTo>
                  <a:lnTo>
                    <a:pt x="2662" y="721"/>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58" y="899"/>
                  </a:lnTo>
                  <a:lnTo>
                    <a:pt x="2658" y="899"/>
                  </a:lnTo>
                  <a:lnTo>
                    <a:pt x="2658" y="899"/>
                  </a:lnTo>
                  <a:lnTo>
                    <a:pt x="2658" y="899"/>
                  </a:lnTo>
                  <a:lnTo>
                    <a:pt x="2658" y="899"/>
                  </a:lnTo>
                  <a:lnTo>
                    <a:pt x="2658" y="899"/>
                  </a:lnTo>
                  <a:lnTo>
                    <a:pt x="2658" y="899"/>
                  </a:lnTo>
                  <a:lnTo>
                    <a:pt x="2658"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7" y="899"/>
                  </a:lnTo>
                  <a:lnTo>
                    <a:pt x="2653" y="899"/>
                  </a:lnTo>
                  <a:lnTo>
                    <a:pt x="2653"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899"/>
                  </a:lnTo>
                  <a:lnTo>
                    <a:pt x="2645" y="899"/>
                  </a:lnTo>
                  <a:lnTo>
                    <a:pt x="2645" y="899"/>
                  </a:lnTo>
                  <a:lnTo>
                    <a:pt x="2639" y="899"/>
                  </a:lnTo>
                  <a:lnTo>
                    <a:pt x="2639" y="899"/>
                  </a:lnTo>
                  <a:lnTo>
                    <a:pt x="2639" y="899"/>
                  </a:lnTo>
                  <a:lnTo>
                    <a:pt x="2639"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8"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7" y="899"/>
                  </a:lnTo>
                  <a:lnTo>
                    <a:pt x="2631" y="899"/>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899"/>
                  </a:lnTo>
                  <a:lnTo>
                    <a:pt x="2613" y="899"/>
                  </a:lnTo>
                  <a:lnTo>
                    <a:pt x="2613" y="760"/>
                  </a:lnTo>
                  <a:lnTo>
                    <a:pt x="2612" y="760"/>
                  </a:lnTo>
                  <a:lnTo>
                    <a:pt x="2612" y="760"/>
                  </a:lnTo>
                  <a:lnTo>
                    <a:pt x="2612" y="760"/>
                  </a:lnTo>
                  <a:lnTo>
                    <a:pt x="2612" y="899"/>
                  </a:lnTo>
                  <a:lnTo>
                    <a:pt x="2609" y="899"/>
                  </a:lnTo>
                  <a:lnTo>
                    <a:pt x="2609"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8" y="899"/>
                  </a:lnTo>
                  <a:lnTo>
                    <a:pt x="2607" y="899"/>
                  </a:lnTo>
                  <a:lnTo>
                    <a:pt x="2607" y="899"/>
                  </a:lnTo>
                  <a:lnTo>
                    <a:pt x="2607" y="899"/>
                  </a:lnTo>
                  <a:lnTo>
                    <a:pt x="2607" y="762"/>
                  </a:lnTo>
                  <a:lnTo>
                    <a:pt x="2607" y="762"/>
                  </a:lnTo>
                  <a:lnTo>
                    <a:pt x="2607" y="899"/>
                  </a:lnTo>
                  <a:lnTo>
                    <a:pt x="2607" y="899"/>
                  </a:lnTo>
                  <a:lnTo>
                    <a:pt x="2607" y="899"/>
                  </a:lnTo>
                  <a:lnTo>
                    <a:pt x="2607" y="899"/>
                  </a:lnTo>
                  <a:lnTo>
                    <a:pt x="2607" y="762"/>
                  </a:lnTo>
                  <a:lnTo>
                    <a:pt x="2607" y="762"/>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7" y="899"/>
                  </a:lnTo>
                  <a:lnTo>
                    <a:pt x="2605" y="899"/>
                  </a:lnTo>
                  <a:lnTo>
                    <a:pt x="2605" y="899"/>
                  </a:lnTo>
                  <a:lnTo>
                    <a:pt x="2605" y="899"/>
                  </a:lnTo>
                  <a:lnTo>
                    <a:pt x="2605" y="899"/>
                  </a:lnTo>
                  <a:lnTo>
                    <a:pt x="2605" y="899"/>
                  </a:lnTo>
                  <a:lnTo>
                    <a:pt x="2605" y="899"/>
                  </a:lnTo>
                  <a:lnTo>
                    <a:pt x="2604" y="899"/>
                  </a:lnTo>
                  <a:lnTo>
                    <a:pt x="2604" y="899"/>
                  </a:lnTo>
                  <a:lnTo>
                    <a:pt x="2604" y="899"/>
                  </a:lnTo>
                  <a:lnTo>
                    <a:pt x="2604" y="765"/>
                  </a:lnTo>
                  <a:lnTo>
                    <a:pt x="2599" y="765"/>
                  </a:lnTo>
                  <a:lnTo>
                    <a:pt x="2599" y="899"/>
                  </a:lnTo>
                  <a:lnTo>
                    <a:pt x="2596" y="899"/>
                  </a:lnTo>
                  <a:lnTo>
                    <a:pt x="2596" y="899"/>
                  </a:lnTo>
                  <a:lnTo>
                    <a:pt x="2593" y="899"/>
                  </a:lnTo>
                  <a:lnTo>
                    <a:pt x="2593" y="765"/>
                  </a:lnTo>
                  <a:lnTo>
                    <a:pt x="2592" y="765"/>
                  </a:lnTo>
                  <a:lnTo>
                    <a:pt x="2592" y="899"/>
                  </a:lnTo>
                  <a:lnTo>
                    <a:pt x="2591" y="899"/>
                  </a:lnTo>
                  <a:lnTo>
                    <a:pt x="2591" y="765"/>
                  </a:lnTo>
                  <a:lnTo>
                    <a:pt x="2591" y="765"/>
                  </a:lnTo>
                  <a:lnTo>
                    <a:pt x="2591" y="765"/>
                  </a:lnTo>
                  <a:lnTo>
                    <a:pt x="2591" y="765"/>
                  </a:lnTo>
                  <a:lnTo>
                    <a:pt x="2591" y="899"/>
                  </a:lnTo>
                  <a:lnTo>
                    <a:pt x="2591" y="899"/>
                  </a:lnTo>
                  <a:lnTo>
                    <a:pt x="2591"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899"/>
                  </a:lnTo>
                  <a:lnTo>
                    <a:pt x="2590" y="899"/>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899"/>
                  </a:lnTo>
                  <a:lnTo>
                    <a:pt x="2532" y="899"/>
                  </a:lnTo>
                  <a:lnTo>
                    <a:pt x="2532"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27" y="899"/>
                  </a:lnTo>
                  <a:lnTo>
                    <a:pt x="2527"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4" y="899"/>
                  </a:lnTo>
                  <a:lnTo>
                    <a:pt x="2524" y="899"/>
                  </a:lnTo>
                  <a:lnTo>
                    <a:pt x="2514" y="899"/>
                  </a:lnTo>
                  <a:lnTo>
                    <a:pt x="2514" y="899"/>
                  </a:lnTo>
                  <a:lnTo>
                    <a:pt x="2503" y="899"/>
                  </a:lnTo>
                  <a:lnTo>
                    <a:pt x="2503" y="899"/>
                  </a:lnTo>
                  <a:lnTo>
                    <a:pt x="2499" y="899"/>
                  </a:lnTo>
                  <a:lnTo>
                    <a:pt x="2499" y="899"/>
                  </a:lnTo>
                  <a:lnTo>
                    <a:pt x="2496" y="899"/>
                  </a:lnTo>
                  <a:lnTo>
                    <a:pt x="2496" y="899"/>
                  </a:lnTo>
                  <a:lnTo>
                    <a:pt x="2495" y="899"/>
                  </a:lnTo>
                  <a:lnTo>
                    <a:pt x="2495" y="899"/>
                  </a:lnTo>
                  <a:lnTo>
                    <a:pt x="2493" y="899"/>
                  </a:lnTo>
                  <a:lnTo>
                    <a:pt x="2493" y="899"/>
                  </a:lnTo>
                  <a:lnTo>
                    <a:pt x="2492" y="899"/>
                  </a:lnTo>
                  <a:lnTo>
                    <a:pt x="2492" y="899"/>
                  </a:lnTo>
                  <a:lnTo>
                    <a:pt x="2490" y="899"/>
                  </a:lnTo>
                  <a:lnTo>
                    <a:pt x="2490" y="899"/>
                  </a:lnTo>
                  <a:lnTo>
                    <a:pt x="2489" y="899"/>
                  </a:lnTo>
                  <a:lnTo>
                    <a:pt x="2489"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8" y="899"/>
                  </a:lnTo>
                  <a:lnTo>
                    <a:pt x="2481" y="899"/>
                  </a:lnTo>
                  <a:lnTo>
                    <a:pt x="2481" y="899"/>
                  </a:lnTo>
                  <a:lnTo>
                    <a:pt x="2476" y="899"/>
                  </a:lnTo>
                  <a:lnTo>
                    <a:pt x="2476" y="899"/>
                  </a:lnTo>
                  <a:lnTo>
                    <a:pt x="2474" y="899"/>
                  </a:lnTo>
                  <a:lnTo>
                    <a:pt x="2474" y="899"/>
                  </a:lnTo>
                  <a:lnTo>
                    <a:pt x="2472" y="899"/>
                  </a:lnTo>
                  <a:lnTo>
                    <a:pt x="2472" y="899"/>
                  </a:lnTo>
                  <a:lnTo>
                    <a:pt x="2472" y="899"/>
                  </a:lnTo>
                  <a:lnTo>
                    <a:pt x="2472" y="899"/>
                  </a:lnTo>
                  <a:lnTo>
                    <a:pt x="2471" y="899"/>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899"/>
                  </a:lnTo>
                  <a:lnTo>
                    <a:pt x="2451" y="899"/>
                  </a:lnTo>
                  <a:lnTo>
                    <a:pt x="2451" y="899"/>
                  </a:lnTo>
                  <a:lnTo>
                    <a:pt x="2439" y="899"/>
                  </a:lnTo>
                  <a:lnTo>
                    <a:pt x="2439" y="899"/>
                  </a:lnTo>
                  <a:lnTo>
                    <a:pt x="2428" y="899"/>
                  </a:lnTo>
                  <a:lnTo>
                    <a:pt x="2428" y="899"/>
                  </a:lnTo>
                  <a:lnTo>
                    <a:pt x="2422" y="899"/>
                  </a:lnTo>
                  <a:lnTo>
                    <a:pt x="2422" y="899"/>
                  </a:lnTo>
                  <a:lnTo>
                    <a:pt x="2417" y="899"/>
                  </a:lnTo>
                  <a:lnTo>
                    <a:pt x="2417" y="899"/>
                  </a:lnTo>
                  <a:lnTo>
                    <a:pt x="2413" y="899"/>
                  </a:lnTo>
                  <a:lnTo>
                    <a:pt x="2413" y="899"/>
                  </a:lnTo>
                  <a:lnTo>
                    <a:pt x="2411" y="899"/>
                  </a:lnTo>
                  <a:lnTo>
                    <a:pt x="2411"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409" y="899"/>
                  </a:lnTo>
                  <a:lnTo>
                    <a:pt x="2382" y="899"/>
                  </a:lnTo>
                  <a:lnTo>
                    <a:pt x="2382" y="899"/>
                  </a:lnTo>
                  <a:lnTo>
                    <a:pt x="2371" y="899"/>
                  </a:lnTo>
                  <a:lnTo>
                    <a:pt x="2371" y="899"/>
                  </a:lnTo>
                  <a:lnTo>
                    <a:pt x="2369" y="899"/>
                  </a:lnTo>
                  <a:lnTo>
                    <a:pt x="2369" y="899"/>
                  </a:lnTo>
                  <a:lnTo>
                    <a:pt x="2367" y="899"/>
                  </a:lnTo>
                  <a:lnTo>
                    <a:pt x="2367" y="899"/>
                  </a:lnTo>
                  <a:lnTo>
                    <a:pt x="2366" y="899"/>
                  </a:lnTo>
                  <a:lnTo>
                    <a:pt x="2366" y="899"/>
                  </a:lnTo>
                  <a:lnTo>
                    <a:pt x="2365" y="899"/>
                  </a:lnTo>
                  <a:lnTo>
                    <a:pt x="2365" y="899"/>
                  </a:lnTo>
                  <a:lnTo>
                    <a:pt x="2365" y="899"/>
                  </a:lnTo>
                  <a:lnTo>
                    <a:pt x="2365" y="899"/>
                  </a:lnTo>
                  <a:lnTo>
                    <a:pt x="2365" y="899"/>
                  </a:lnTo>
                  <a:lnTo>
                    <a:pt x="2365" y="899"/>
                  </a:lnTo>
                  <a:lnTo>
                    <a:pt x="2365" y="899"/>
                  </a:lnTo>
                  <a:lnTo>
                    <a:pt x="2365" y="899"/>
                  </a:lnTo>
                  <a:lnTo>
                    <a:pt x="2351" y="899"/>
                  </a:lnTo>
                  <a:lnTo>
                    <a:pt x="2351" y="899"/>
                  </a:lnTo>
                  <a:lnTo>
                    <a:pt x="2350" y="899"/>
                  </a:lnTo>
                  <a:lnTo>
                    <a:pt x="2350" y="899"/>
                  </a:lnTo>
                  <a:lnTo>
                    <a:pt x="2350" y="899"/>
                  </a:lnTo>
                  <a:lnTo>
                    <a:pt x="2350" y="899"/>
                  </a:lnTo>
                  <a:lnTo>
                    <a:pt x="2311" y="899"/>
                  </a:lnTo>
                  <a:lnTo>
                    <a:pt x="2311" y="899"/>
                  </a:lnTo>
                  <a:lnTo>
                    <a:pt x="2308" y="899"/>
                  </a:lnTo>
                  <a:lnTo>
                    <a:pt x="2308" y="899"/>
                  </a:lnTo>
                  <a:lnTo>
                    <a:pt x="2299" y="899"/>
                  </a:lnTo>
                  <a:lnTo>
                    <a:pt x="2299"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4" y="899"/>
                  </a:lnTo>
                  <a:lnTo>
                    <a:pt x="2294" y="899"/>
                  </a:lnTo>
                  <a:lnTo>
                    <a:pt x="2293" y="899"/>
                  </a:lnTo>
                  <a:lnTo>
                    <a:pt x="2293" y="899"/>
                  </a:lnTo>
                  <a:lnTo>
                    <a:pt x="2292" y="899"/>
                  </a:lnTo>
                  <a:lnTo>
                    <a:pt x="2292" y="899"/>
                  </a:lnTo>
                  <a:lnTo>
                    <a:pt x="2288" y="899"/>
                  </a:lnTo>
                  <a:lnTo>
                    <a:pt x="2288" y="899"/>
                  </a:lnTo>
                  <a:lnTo>
                    <a:pt x="2285" y="899"/>
                  </a:lnTo>
                  <a:lnTo>
                    <a:pt x="2285" y="899"/>
                  </a:lnTo>
                  <a:lnTo>
                    <a:pt x="2283" y="899"/>
                  </a:lnTo>
                  <a:lnTo>
                    <a:pt x="2283" y="899"/>
                  </a:lnTo>
                  <a:lnTo>
                    <a:pt x="2282" y="899"/>
                  </a:lnTo>
                  <a:lnTo>
                    <a:pt x="2282" y="899"/>
                  </a:lnTo>
                  <a:lnTo>
                    <a:pt x="2280" y="899"/>
                  </a:lnTo>
                  <a:lnTo>
                    <a:pt x="2280" y="899"/>
                  </a:lnTo>
                  <a:lnTo>
                    <a:pt x="2279" y="899"/>
                  </a:lnTo>
                  <a:lnTo>
                    <a:pt x="2279" y="899"/>
                  </a:lnTo>
                  <a:lnTo>
                    <a:pt x="2279" y="899"/>
                  </a:lnTo>
                  <a:lnTo>
                    <a:pt x="2279" y="899"/>
                  </a:lnTo>
                  <a:lnTo>
                    <a:pt x="2278" y="899"/>
                  </a:lnTo>
                  <a:lnTo>
                    <a:pt x="2278" y="899"/>
                  </a:lnTo>
                  <a:lnTo>
                    <a:pt x="2278" y="899"/>
                  </a:lnTo>
                  <a:lnTo>
                    <a:pt x="2278" y="899"/>
                  </a:lnTo>
                  <a:lnTo>
                    <a:pt x="2277" y="899"/>
                  </a:lnTo>
                  <a:lnTo>
                    <a:pt x="2277" y="899"/>
                  </a:lnTo>
                  <a:lnTo>
                    <a:pt x="2277" y="899"/>
                  </a:lnTo>
                  <a:lnTo>
                    <a:pt x="2277" y="899"/>
                  </a:lnTo>
                  <a:lnTo>
                    <a:pt x="2277" y="899"/>
                  </a:lnTo>
                  <a:lnTo>
                    <a:pt x="2277" y="899"/>
                  </a:lnTo>
                  <a:lnTo>
                    <a:pt x="2275" y="899"/>
                  </a:lnTo>
                  <a:lnTo>
                    <a:pt x="2275" y="899"/>
                  </a:lnTo>
                  <a:lnTo>
                    <a:pt x="2273" y="899"/>
                  </a:lnTo>
                  <a:lnTo>
                    <a:pt x="2273" y="899"/>
                  </a:lnTo>
                  <a:lnTo>
                    <a:pt x="2273" y="899"/>
                  </a:lnTo>
                  <a:lnTo>
                    <a:pt x="2273" y="899"/>
                  </a:lnTo>
                  <a:lnTo>
                    <a:pt x="2273" y="899"/>
                  </a:lnTo>
                  <a:lnTo>
                    <a:pt x="2273" y="899"/>
                  </a:lnTo>
                  <a:lnTo>
                    <a:pt x="2273" y="899"/>
                  </a:lnTo>
                  <a:lnTo>
                    <a:pt x="2273" y="899"/>
                  </a:lnTo>
                  <a:lnTo>
                    <a:pt x="2273" y="899"/>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51"/>
                  </a:lnTo>
                  <a:lnTo>
                    <a:pt x="2183" y="851"/>
                  </a:lnTo>
                  <a:lnTo>
                    <a:pt x="2183" y="851"/>
                  </a:lnTo>
                  <a:lnTo>
                    <a:pt x="2183" y="851"/>
                  </a:lnTo>
                  <a:lnTo>
                    <a:pt x="2183" y="854"/>
                  </a:lnTo>
                  <a:lnTo>
                    <a:pt x="2183" y="854"/>
                  </a:lnTo>
                  <a:lnTo>
                    <a:pt x="2183" y="854"/>
                  </a:lnTo>
                  <a:lnTo>
                    <a:pt x="2183" y="854"/>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99"/>
                  </a:lnTo>
                  <a:lnTo>
                    <a:pt x="2178" y="899"/>
                  </a:lnTo>
                  <a:lnTo>
                    <a:pt x="2178" y="862"/>
                  </a:lnTo>
                  <a:lnTo>
                    <a:pt x="2176" y="862"/>
                  </a:lnTo>
                  <a:lnTo>
                    <a:pt x="2176" y="899"/>
                  </a:lnTo>
                  <a:lnTo>
                    <a:pt x="2175" y="899"/>
                  </a:lnTo>
                  <a:lnTo>
                    <a:pt x="2175" y="862"/>
                  </a:lnTo>
                  <a:lnTo>
                    <a:pt x="2175" y="862"/>
                  </a:lnTo>
                  <a:lnTo>
                    <a:pt x="2175" y="899"/>
                  </a:lnTo>
                  <a:lnTo>
                    <a:pt x="2175" y="899"/>
                  </a:lnTo>
                  <a:lnTo>
                    <a:pt x="2175" y="899"/>
                  </a:lnTo>
                  <a:lnTo>
                    <a:pt x="2175" y="899"/>
                  </a:lnTo>
                  <a:lnTo>
                    <a:pt x="2175" y="899"/>
                  </a:lnTo>
                  <a:lnTo>
                    <a:pt x="2175" y="899"/>
                  </a:lnTo>
                  <a:lnTo>
                    <a:pt x="2175" y="863"/>
                  </a:lnTo>
                  <a:lnTo>
                    <a:pt x="2158" y="863"/>
                  </a:lnTo>
                  <a:lnTo>
                    <a:pt x="2158" y="863"/>
                  </a:lnTo>
                  <a:lnTo>
                    <a:pt x="2155" y="863"/>
                  </a:lnTo>
                  <a:lnTo>
                    <a:pt x="2155" y="863"/>
                  </a:lnTo>
                  <a:lnTo>
                    <a:pt x="2155" y="863"/>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99"/>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99"/>
                  </a:lnTo>
                  <a:lnTo>
                    <a:pt x="2144" y="899"/>
                  </a:lnTo>
                  <a:lnTo>
                    <a:pt x="2144" y="899"/>
                  </a:lnTo>
                  <a:lnTo>
                    <a:pt x="2144" y="899"/>
                  </a:lnTo>
                  <a:lnTo>
                    <a:pt x="2144" y="899"/>
                  </a:lnTo>
                  <a:lnTo>
                    <a:pt x="2144" y="899"/>
                  </a:lnTo>
                  <a:lnTo>
                    <a:pt x="2144" y="899"/>
                  </a:lnTo>
                  <a:lnTo>
                    <a:pt x="2141" y="899"/>
                  </a:lnTo>
                  <a:lnTo>
                    <a:pt x="2141" y="899"/>
                  </a:lnTo>
                  <a:lnTo>
                    <a:pt x="2138" y="899"/>
                  </a:lnTo>
                  <a:lnTo>
                    <a:pt x="2138" y="899"/>
                  </a:lnTo>
                  <a:lnTo>
                    <a:pt x="2138" y="899"/>
                  </a:lnTo>
                  <a:lnTo>
                    <a:pt x="2138" y="882"/>
                  </a:lnTo>
                  <a:lnTo>
                    <a:pt x="2136" y="882"/>
                  </a:lnTo>
                  <a:lnTo>
                    <a:pt x="2136"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99"/>
                  </a:lnTo>
                  <a:lnTo>
                    <a:pt x="2135" y="882"/>
                  </a:lnTo>
                  <a:lnTo>
                    <a:pt x="2135" y="882"/>
                  </a:lnTo>
                  <a:lnTo>
                    <a:pt x="2135" y="899"/>
                  </a:lnTo>
                  <a:lnTo>
                    <a:pt x="2135" y="899"/>
                  </a:lnTo>
                  <a:lnTo>
                    <a:pt x="2135" y="899"/>
                  </a:lnTo>
                  <a:lnTo>
                    <a:pt x="2135" y="899"/>
                  </a:lnTo>
                  <a:lnTo>
                    <a:pt x="2135" y="899"/>
                  </a:lnTo>
                  <a:lnTo>
                    <a:pt x="2135" y="899"/>
                  </a:lnTo>
                  <a:lnTo>
                    <a:pt x="2135" y="899"/>
                  </a:lnTo>
                  <a:lnTo>
                    <a:pt x="2090" y="899"/>
                  </a:lnTo>
                  <a:lnTo>
                    <a:pt x="2090" y="899"/>
                  </a:lnTo>
                  <a:lnTo>
                    <a:pt x="2090" y="899"/>
                  </a:lnTo>
                  <a:lnTo>
                    <a:pt x="2090" y="899"/>
                  </a:lnTo>
                  <a:lnTo>
                    <a:pt x="2090" y="899"/>
                  </a:lnTo>
                  <a:lnTo>
                    <a:pt x="2090" y="899"/>
                  </a:lnTo>
                  <a:lnTo>
                    <a:pt x="2090" y="899"/>
                  </a:lnTo>
                  <a:lnTo>
                    <a:pt x="2090" y="899"/>
                  </a:lnTo>
                  <a:lnTo>
                    <a:pt x="2090" y="899"/>
                  </a:lnTo>
                  <a:lnTo>
                    <a:pt x="2090"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9"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99"/>
                  </a:lnTo>
                  <a:lnTo>
                    <a:pt x="2088" y="884"/>
                  </a:lnTo>
                  <a:lnTo>
                    <a:pt x="2087" y="884"/>
                  </a:lnTo>
                  <a:lnTo>
                    <a:pt x="2087" y="884"/>
                  </a:lnTo>
                  <a:lnTo>
                    <a:pt x="2086" y="884"/>
                  </a:lnTo>
                  <a:lnTo>
                    <a:pt x="2086" y="899"/>
                  </a:lnTo>
                  <a:lnTo>
                    <a:pt x="2086" y="899"/>
                  </a:lnTo>
                  <a:lnTo>
                    <a:pt x="2086" y="899"/>
                  </a:lnTo>
                  <a:lnTo>
                    <a:pt x="2085" y="899"/>
                  </a:lnTo>
                  <a:lnTo>
                    <a:pt x="2085" y="899"/>
                  </a:lnTo>
                  <a:lnTo>
                    <a:pt x="2085" y="899"/>
                  </a:lnTo>
                  <a:lnTo>
                    <a:pt x="2085" y="899"/>
                  </a:lnTo>
                  <a:lnTo>
                    <a:pt x="2085" y="899"/>
                  </a:lnTo>
                  <a:lnTo>
                    <a:pt x="2085" y="899"/>
                  </a:lnTo>
                  <a:lnTo>
                    <a:pt x="2083" y="899"/>
                  </a:lnTo>
                  <a:lnTo>
                    <a:pt x="2083" y="899"/>
                  </a:lnTo>
                  <a:lnTo>
                    <a:pt x="2082" y="899"/>
                  </a:lnTo>
                  <a:lnTo>
                    <a:pt x="2082" y="899"/>
                  </a:lnTo>
                  <a:lnTo>
                    <a:pt x="2082" y="899"/>
                  </a:lnTo>
                  <a:lnTo>
                    <a:pt x="2082"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1"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80" y="899"/>
                  </a:lnTo>
                  <a:lnTo>
                    <a:pt x="2079" y="899"/>
                  </a:lnTo>
                  <a:lnTo>
                    <a:pt x="2079" y="899"/>
                  </a:lnTo>
                  <a:lnTo>
                    <a:pt x="2078" y="899"/>
                  </a:lnTo>
                  <a:lnTo>
                    <a:pt x="2078" y="899"/>
                  </a:lnTo>
                  <a:lnTo>
                    <a:pt x="2078" y="899"/>
                  </a:lnTo>
                  <a:lnTo>
                    <a:pt x="2078" y="899"/>
                  </a:lnTo>
                  <a:lnTo>
                    <a:pt x="2078" y="899"/>
                  </a:lnTo>
                  <a:lnTo>
                    <a:pt x="2078" y="899"/>
                  </a:lnTo>
                  <a:lnTo>
                    <a:pt x="2078" y="899"/>
                  </a:lnTo>
                  <a:lnTo>
                    <a:pt x="2078"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2"/>
                  </a:lnTo>
                  <a:lnTo>
                    <a:pt x="2061" y="892"/>
                  </a:lnTo>
                  <a:lnTo>
                    <a:pt x="2061" y="892"/>
                  </a:lnTo>
                  <a:lnTo>
                    <a:pt x="2060" y="892"/>
                  </a:lnTo>
                  <a:lnTo>
                    <a:pt x="2060" y="892"/>
                  </a:lnTo>
                  <a:lnTo>
                    <a:pt x="2060" y="892"/>
                  </a:lnTo>
                  <a:lnTo>
                    <a:pt x="2060" y="899"/>
                  </a:lnTo>
                  <a:lnTo>
                    <a:pt x="2059" y="899"/>
                  </a:lnTo>
                  <a:lnTo>
                    <a:pt x="2059" y="892"/>
                  </a:lnTo>
                  <a:lnTo>
                    <a:pt x="2059" y="892"/>
                  </a:lnTo>
                  <a:lnTo>
                    <a:pt x="2059" y="899"/>
                  </a:lnTo>
                  <a:lnTo>
                    <a:pt x="2059" y="899"/>
                  </a:lnTo>
                  <a:lnTo>
                    <a:pt x="2059" y="899"/>
                  </a:lnTo>
                  <a:lnTo>
                    <a:pt x="2059" y="899"/>
                  </a:lnTo>
                  <a:lnTo>
                    <a:pt x="2059" y="899"/>
                  </a:lnTo>
                  <a:lnTo>
                    <a:pt x="2059" y="899"/>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48" y="915"/>
                  </a:lnTo>
                  <a:lnTo>
                    <a:pt x="1948" y="915"/>
                  </a:lnTo>
                  <a:lnTo>
                    <a:pt x="1948" y="915"/>
                  </a:lnTo>
                  <a:lnTo>
                    <a:pt x="1948" y="899"/>
                  </a:lnTo>
                  <a:lnTo>
                    <a:pt x="1948" y="899"/>
                  </a:lnTo>
                  <a:lnTo>
                    <a:pt x="1948" y="916"/>
                  </a:lnTo>
                  <a:lnTo>
                    <a:pt x="1948" y="916"/>
                  </a:lnTo>
                  <a:lnTo>
                    <a:pt x="1948" y="916"/>
                  </a:lnTo>
                  <a:lnTo>
                    <a:pt x="1948" y="916"/>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920"/>
                  </a:lnTo>
                  <a:lnTo>
                    <a:pt x="1944" y="920"/>
                  </a:lnTo>
                  <a:lnTo>
                    <a:pt x="1944" y="920"/>
                  </a:lnTo>
                  <a:lnTo>
                    <a:pt x="1944" y="920"/>
                  </a:lnTo>
                  <a:lnTo>
                    <a:pt x="1944" y="899"/>
                  </a:lnTo>
                  <a:lnTo>
                    <a:pt x="1944" y="899"/>
                  </a:lnTo>
                  <a:lnTo>
                    <a:pt x="1944" y="899"/>
                  </a:lnTo>
                  <a:lnTo>
                    <a:pt x="1944" y="899"/>
                  </a:lnTo>
                  <a:lnTo>
                    <a:pt x="1944" y="899"/>
                  </a:lnTo>
                  <a:lnTo>
                    <a:pt x="1944" y="899"/>
                  </a:lnTo>
                  <a:lnTo>
                    <a:pt x="1944" y="899"/>
                  </a:lnTo>
                  <a:lnTo>
                    <a:pt x="1944" y="899"/>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899"/>
                  </a:lnTo>
                  <a:lnTo>
                    <a:pt x="1854" y="899"/>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966"/>
                  </a:lnTo>
                  <a:lnTo>
                    <a:pt x="1820" y="966"/>
                  </a:lnTo>
                  <a:lnTo>
                    <a:pt x="1820" y="966"/>
                  </a:lnTo>
                  <a:lnTo>
                    <a:pt x="1817" y="966"/>
                  </a:lnTo>
                  <a:lnTo>
                    <a:pt x="1817" y="966"/>
                  </a:lnTo>
                  <a:lnTo>
                    <a:pt x="1817" y="966"/>
                  </a:lnTo>
                  <a:lnTo>
                    <a:pt x="1817" y="899"/>
                  </a:lnTo>
                  <a:lnTo>
                    <a:pt x="1815" y="899"/>
                  </a:lnTo>
                  <a:lnTo>
                    <a:pt x="1815" y="970"/>
                  </a:lnTo>
                  <a:lnTo>
                    <a:pt x="1814" y="970"/>
                  </a:lnTo>
                  <a:lnTo>
                    <a:pt x="1814" y="970"/>
                  </a:lnTo>
                  <a:lnTo>
                    <a:pt x="1814" y="970"/>
                  </a:lnTo>
                  <a:lnTo>
                    <a:pt x="1814" y="970"/>
                  </a:lnTo>
                  <a:lnTo>
                    <a:pt x="1814" y="970"/>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1004"/>
                  </a:lnTo>
                  <a:lnTo>
                    <a:pt x="1699" y="1004"/>
                  </a:lnTo>
                  <a:lnTo>
                    <a:pt x="1699" y="1004"/>
                  </a:lnTo>
                  <a:lnTo>
                    <a:pt x="1699" y="1004"/>
                  </a:lnTo>
                  <a:lnTo>
                    <a:pt x="1699" y="1005"/>
                  </a:lnTo>
                  <a:lnTo>
                    <a:pt x="1698" y="1005"/>
                  </a:lnTo>
                  <a:lnTo>
                    <a:pt x="1698" y="1005"/>
                  </a:lnTo>
                  <a:lnTo>
                    <a:pt x="1698" y="1005"/>
                  </a:lnTo>
                  <a:lnTo>
                    <a:pt x="1698" y="899"/>
                  </a:lnTo>
                  <a:lnTo>
                    <a:pt x="1695" y="899"/>
                  </a:lnTo>
                  <a:lnTo>
                    <a:pt x="1695" y="899"/>
                  </a:lnTo>
                  <a:lnTo>
                    <a:pt x="1695" y="899"/>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1017"/>
                  </a:lnTo>
                  <a:lnTo>
                    <a:pt x="1484" y="1017"/>
                  </a:lnTo>
                  <a:lnTo>
                    <a:pt x="1484" y="1017"/>
                  </a:lnTo>
                  <a:lnTo>
                    <a:pt x="1484" y="1017"/>
                  </a:lnTo>
                  <a:lnTo>
                    <a:pt x="1484" y="1019"/>
                  </a:lnTo>
                  <a:lnTo>
                    <a:pt x="1484" y="101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79" y="899"/>
                  </a:lnTo>
                  <a:lnTo>
                    <a:pt x="1479" y="899"/>
                  </a:lnTo>
                  <a:lnTo>
                    <a:pt x="1478" y="899"/>
                  </a:lnTo>
                  <a:lnTo>
                    <a:pt x="1478" y="1029"/>
                  </a:lnTo>
                  <a:lnTo>
                    <a:pt x="1478" y="1029"/>
                  </a:lnTo>
                  <a:lnTo>
                    <a:pt x="1478" y="1029"/>
                  </a:lnTo>
                  <a:lnTo>
                    <a:pt x="1478" y="1029"/>
                  </a:lnTo>
                  <a:lnTo>
                    <a:pt x="1478" y="899"/>
                  </a:lnTo>
                  <a:lnTo>
                    <a:pt x="1478" y="899"/>
                  </a:lnTo>
                  <a:lnTo>
                    <a:pt x="1478" y="1029"/>
                  </a:lnTo>
                  <a:lnTo>
                    <a:pt x="1478" y="102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1033"/>
                  </a:lnTo>
                  <a:lnTo>
                    <a:pt x="1474" y="1033"/>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1042"/>
                  </a:lnTo>
                  <a:lnTo>
                    <a:pt x="1425" y="1042"/>
                  </a:lnTo>
                  <a:lnTo>
                    <a:pt x="1425" y="1042"/>
                  </a:lnTo>
                  <a:lnTo>
                    <a:pt x="1423" y="1042"/>
                  </a:lnTo>
                  <a:lnTo>
                    <a:pt x="1423" y="1042"/>
                  </a:lnTo>
                  <a:lnTo>
                    <a:pt x="1422" y="1042"/>
                  </a:lnTo>
                  <a:lnTo>
                    <a:pt x="1422" y="1042"/>
                  </a:lnTo>
                  <a:lnTo>
                    <a:pt x="1421" y="1042"/>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1063"/>
                  </a:lnTo>
                  <a:lnTo>
                    <a:pt x="1388" y="1063"/>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899"/>
                  </a:lnTo>
                  <a:lnTo>
                    <a:pt x="1366" y="899"/>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899"/>
                  </a:lnTo>
                  <a:lnTo>
                    <a:pt x="1332" y="899"/>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899"/>
                  </a:lnTo>
                  <a:lnTo>
                    <a:pt x="1319" y="899"/>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899"/>
                  </a:lnTo>
                  <a:lnTo>
                    <a:pt x="1104" y="899"/>
                  </a:lnTo>
                  <a:lnTo>
                    <a:pt x="1104" y="899"/>
                  </a:lnTo>
                  <a:lnTo>
                    <a:pt x="1102" y="899"/>
                  </a:lnTo>
                  <a:lnTo>
                    <a:pt x="1102" y="1136"/>
                  </a:lnTo>
                  <a:lnTo>
                    <a:pt x="1102" y="1136"/>
                  </a:lnTo>
                  <a:lnTo>
                    <a:pt x="1102" y="1136"/>
                  </a:lnTo>
                  <a:lnTo>
                    <a:pt x="1102" y="1136"/>
                  </a:lnTo>
                  <a:lnTo>
                    <a:pt x="1102" y="1136"/>
                  </a:lnTo>
                  <a:lnTo>
                    <a:pt x="1101" y="1136"/>
                  </a:lnTo>
                  <a:lnTo>
                    <a:pt x="1101" y="1136"/>
                  </a:lnTo>
                  <a:lnTo>
                    <a:pt x="1101" y="1136"/>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1146"/>
                  </a:lnTo>
                  <a:lnTo>
                    <a:pt x="1069" y="1146"/>
                  </a:lnTo>
                  <a:lnTo>
                    <a:pt x="1069" y="1146"/>
                  </a:lnTo>
                  <a:lnTo>
                    <a:pt x="1069" y="1146"/>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899"/>
                  </a:lnTo>
                  <a:lnTo>
                    <a:pt x="1004" y="899"/>
                  </a:lnTo>
                  <a:lnTo>
                    <a:pt x="1004" y="1158"/>
                  </a:lnTo>
                  <a:lnTo>
                    <a:pt x="1004" y="1158"/>
                  </a:lnTo>
                  <a:lnTo>
                    <a:pt x="1004" y="1164"/>
                  </a:lnTo>
                  <a:lnTo>
                    <a:pt x="1004" y="1164"/>
                  </a:lnTo>
                  <a:lnTo>
                    <a:pt x="1004" y="1164"/>
                  </a:lnTo>
                  <a:lnTo>
                    <a:pt x="1004" y="1164"/>
                  </a:lnTo>
                  <a:lnTo>
                    <a:pt x="1004" y="1167"/>
                  </a:lnTo>
                  <a:lnTo>
                    <a:pt x="1003" y="1167"/>
                  </a:lnTo>
                  <a:lnTo>
                    <a:pt x="1003" y="899"/>
                  </a:lnTo>
                  <a:lnTo>
                    <a:pt x="1002" y="899"/>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899"/>
                  </a:lnTo>
                  <a:lnTo>
                    <a:pt x="932" y="899"/>
                  </a:lnTo>
                  <a:lnTo>
                    <a:pt x="932" y="899"/>
                  </a:lnTo>
                  <a:lnTo>
                    <a:pt x="931" y="899"/>
                  </a:lnTo>
                  <a:lnTo>
                    <a:pt x="931" y="899"/>
                  </a:lnTo>
                  <a:lnTo>
                    <a:pt x="929" y="899"/>
                  </a:lnTo>
                  <a:lnTo>
                    <a:pt x="929" y="899"/>
                  </a:lnTo>
                  <a:lnTo>
                    <a:pt x="928" y="8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899"/>
                  </a:lnTo>
                  <a:lnTo>
                    <a:pt x="913" y="899"/>
                  </a:lnTo>
                  <a:lnTo>
                    <a:pt x="913"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1213"/>
                  </a:lnTo>
                  <a:lnTo>
                    <a:pt x="886" y="1213"/>
                  </a:lnTo>
                  <a:lnTo>
                    <a:pt x="886" y="1213"/>
                  </a:lnTo>
                  <a:lnTo>
                    <a:pt x="886" y="1213"/>
                  </a:lnTo>
                  <a:lnTo>
                    <a:pt x="886" y="899"/>
                  </a:lnTo>
                  <a:lnTo>
                    <a:pt x="886" y="899"/>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52" y="899"/>
                  </a:lnTo>
                  <a:lnTo>
                    <a:pt x="852" y="1218"/>
                  </a:lnTo>
                  <a:lnTo>
                    <a:pt x="851" y="1218"/>
                  </a:lnTo>
                  <a:lnTo>
                    <a:pt x="851" y="1218"/>
                  </a:lnTo>
                  <a:lnTo>
                    <a:pt x="851" y="1218"/>
                  </a:lnTo>
                  <a:lnTo>
                    <a:pt x="851" y="1218"/>
                  </a:lnTo>
                  <a:lnTo>
                    <a:pt x="851" y="1218"/>
                  </a:lnTo>
                  <a:lnTo>
                    <a:pt x="851" y="899"/>
                  </a:lnTo>
                  <a:lnTo>
                    <a:pt x="851" y="899"/>
                  </a:lnTo>
                  <a:lnTo>
                    <a:pt x="851" y="1219"/>
                  </a:lnTo>
                  <a:lnTo>
                    <a:pt x="851" y="1219"/>
                  </a:lnTo>
                  <a:lnTo>
                    <a:pt x="851" y="1219"/>
                  </a:lnTo>
                  <a:lnTo>
                    <a:pt x="851" y="1219"/>
                  </a:lnTo>
                  <a:lnTo>
                    <a:pt x="851" y="899"/>
                  </a:lnTo>
                  <a:lnTo>
                    <a:pt x="851" y="899"/>
                  </a:lnTo>
                  <a:lnTo>
                    <a:pt x="851" y="899"/>
                  </a:lnTo>
                  <a:lnTo>
                    <a:pt x="850" y="899"/>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795" y="899"/>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899"/>
                  </a:lnTo>
                  <a:lnTo>
                    <a:pt x="792" y="899"/>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899"/>
                  </a:lnTo>
                  <a:lnTo>
                    <a:pt x="777" y="899"/>
                  </a:lnTo>
                  <a:lnTo>
                    <a:pt x="777" y="1252"/>
                  </a:lnTo>
                  <a:lnTo>
                    <a:pt x="777" y="1252"/>
                  </a:lnTo>
                  <a:lnTo>
                    <a:pt x="777" y="1252"/>
                  </a:lnTo>
                  <a:lnTo>
                    <a:pt x="777" y="1252"/>
                  </a:lnTo>
                  <a:lnTo>
                    <a:pt x="777" y="1253"/>
                  </a:lnTo>
                  <a:lnTo>
                    <a:pt x="768" y="1253"/>
                  </a:lnTo>
                  <a:lnTo>
                    <a:pt x="768" y="1253"/>
                  </a:lnTo>
                  <a:lnTo>
                    <a:pt x="768" y="1253"/>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1273"/>
                  </a:lnTo>
                  <a:lnTo>
                    <a:pt x="677" y="1273"/>
                  </a:lnTo>
                  <a:lnTo>
                    <a:pt x="677" y="1273"/>
                  </a:lnTo>
                  <a:lnTo>
                    <a:pt x="677" y="1273"/>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899"/>
                  </a:lnTo>
                  <a:lnTo>
                    <a:pt x="674" y="899"/>
                  </a:lnTo>
                  <a:lnTo>
                    <a:pt x="674" y="899"/>
                  </a:lnTo>
                  <a:lnTo>
                    <a:pt x="673" y="899"/>
                  </a:lnTo>
                  <a:lnTo>
                    <a:pt x="673" y="899"/>
                  </a:lnTo>
                  <a:lnTo>
                    <a:pt x="673" y="899"/>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899"/>
                  </a:lnTo>
                  <a:lnTo>
                    <a:pt x="605" y="899"/>
                  </a:lnTo>
                  <a:lnTo>
                    <a:pt x="605" y="1284"/>
                  </a:lnTo>
                  <a:lnTo>
                    <a:pt x="605" y="1284"/>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1290"/>
                  </a:lnTo>
                  <a:lnTo>
                    <a:pt x="590" y="1290"/>
                  </a:lnTo>
                  <a:lnTo>
                    <a:pt x="590" y="1290"/>
                  </a:lnTo>
                  <a:lnTo>
                    <a:pt x="589" y="1290"/>
                  </a:lnTo>
                  <a:lnTo>
                    <a:pt x="589" y="1290"/>
                  </a:lnTo>
                  <a:lnTo>
                    <a:pt x="588" y="1290"/>
                  </a:lnTo>
                  <a:lnTo>
                    <a:pt x="588" y="1290"/>
                  </a:lnTo>
                  <a:lnTo>
                    <a:pt x="588" y="1290"/>
                  </a:lnTo>
                  <a:lnTo>
                    <a:pt x="588" y="899"/>
                  </a:lnTo>
                  <a:lnTo>
                    <a:pt x="587" y="899"/>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1292"/>
                  </a:lnTo>
                  <a:lnTo>
                    <a:pt x="579" y="1292"/>
                  </a:lnTo>
                  <a:lnTo>
                    <a:pt x="579" y="899"/>
                  </a:lnTo>
                  <a:lnTo>
                    <a:pt x="576" y="899"/>
                  </a:lnTo>
                  <a:lnTo>
                    <a:pt x="576" y="1292"/>
                  </a:lnTo>
                  <a:lnTo>
                    <a:pt x="574" y="1292"/>
                  </a:lnTo>
                  <a:lnTo>
                    <a:pt x="574" y="1292"/>
                  </a:lnTo>
                  <a:lnTo>
                    <a:pt x="573" y="1292"/>
                  </a:lnTo>
                  <a:lnTo>
                    <a:pt x="573"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54" y="899"/>
                  </a:lnTo>
                  <a:lnTo>
                    <a:pt x="554" y="899"/>
                  </a:lnTo>
                  <a:lnTo>
                    <a:pt x="554" y="899"/>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1309"/>
                  </a:lnTo>
                  <a:lnTo>
                    <a:pt x="511" y="1309"/>
                  </a:lnTo>
                  <a:lnTo>
                    <a:pt x="511" y="1309"/>
                  </a:lnTo>
                  <a:lnTo>
                    <a:pt x="511" y="1309"/>
                  </a:lnTo>
                  <a:lnTo>
                    <a:pt x="511" y="899"/>
                  </a:lnTo>
                  <a:lnTo>
                    <a:pt x="510" y="899"/>
                  </a:lnTo>
                  <a:lnTo>
                    <a:pt x="510" y="1314"/>
                  </a:lnTo>
                  <a:lnTo>
                    <a:pt x="510" y="1314"/>
                  </a:lnTo>
                  <a:lnTo>
                    <a:pt x="510" y="1314"/>
                  </a:lnTo>
                  <a:lnTo>
                    <a:pt x="510" y="1314"/>
                  </a:lnTo>
                  <a:lnTo>
                    <a:pt x="510" y="1314"/>
                  </a:lnTo>
                  <a:lnTo>
                    <a:pt x="477" y="1314"/>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1317"/>
                  </a:lnTo>
                  <a:lnTo>
                    <a:pt x="472" y="1317"/>
                  </a:lnTo>
                  <a:lnTo>
                    <a:pt x="472" y="899"/>
                  </a:lnTo>
                  <a:lnTo>
                    <a:pt x="471" y="899"/>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899"/>
                  </a:lnTo>
                  <a:lnTo>
                    <a:pt x="453" y="899"/>
                  </a:lnTo>
                  <a:lnTo>
                    <a:pt x="453" y="1324"/>
                  </a:lnTo>
                  <a:lnTo>
                    <a:pt x="453" y="1324"/>
                  </a:lnTo>
                  <a:lnTo>
                    <a:pt x="453" y="899"/>
                  </a:lnTo>
                  <a:lnTo>
                    <a:pt x="453" y="899"/>
                  </a:lnTo>
                  <a:lnTo>
                    <a:pt x="453" y="899"/>
                  </a:lnTo>
                  <a:lnTo>
                    <a:pt x="453" y="899"/>
                  </a:lnTo>
                  <a:lnTo>
                    <a:pt x="453" y="899"/>
                  </a:lnTo>
                  <a:lnTo>
                    <a:pt x="453" y="899"/>
                  </a:lnTo>
                  <a:lnTo>
                    <a:pt x="453" y="899"/>
                  </a:lnTo>
                  <a:lnTo>
                    <a:pt x="453" y="899"/>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899"/>
                  </a:lnTo>
                  <a:lnTo>
                    <a:pt x="430" y="899"/>
                  </a:lnTo>
                  <a:lnTo>
                    <a:pt x="430" y="899"/>
                  </a:lnTo>
                  <a:lnTo>
                    <a:pt x="430" y="899"/>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899"/>
                  </a:lnTo>
                  <a:lnTo>
                    <a:pt x="382" y="899"/>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899"/>
                  </a:lnTo>
                  <a:lnTo>
                    <a:pt x="351" y="899"/>
                  </a:lnTo>
                  <a:lnTo>
                    <a:pt x="351" y="899"/>
                  </a:lnTo>
                  <a:lnTo>
                    <a:pt x="351" y="899"/>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899"/>
                  </a:lnTo>
                  <a:lnTo>
                    <a:pt x="309" y="899"/>
                  </a:lnTo>
                  <a:lnTo>
                    <a:pt x="309" y="899"/>
                  </a:lnTo>
                  <a:lnTo>
                    <a:pt x="309" y="899"/>
                  </a:lnTo>
                  <a:lnTo>
                    <a:pt x="309" y="1380"/>
                  </a:lnTo>
                  <a:lnTo>
                    <a:pt x="309" y="1380"/>
                  </a:lnTo>
                  <a:lnTo>
                    <a:pt x="309" y="1380"/>
                  </a:lnTo>
                  <a:lnTo>
                    <a:pt x="309" y="1380"/>
                  </a:lnTo>
                  <a:lnTo>
                    <a:pt x="309" y="1380"/>
                  </a:lnTo>
                  <a:lnTo>
                    <a:pt x="309" y="1380"/>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6"/>
                  </a:lnTo>
                  <a:lnTo>
                    <a:pt x="243" y="1406"/>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899"/>
                  </a:lnTo>
                  <a:lnTo>
                    <a:pt x="220" y="899"/>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899"/>
                  </a:lnTo>
                  <a:lnTo>
                    <a:pt x="210" y="899"/>
                  </a:lnTo>
                  <a:lnTo>
                    <a:pt x="210" y="899"/>
                  </a:lnTo>
                  <a:lnTo>
                    <a:pt x="209" y="899"/>
                  </a:lnTo>
                  <a:lnTo>
                    <a:pt x="209" y="899"/>
                  </a:lnTo>
                  <a:lnTo>
                    <a:pt x="209" y="899"/>
                  </a:lnTo>
                  <a:lnTo>
                    <a:pt x="209" y="1420"/>
                  </a:lnTo>
                  <a:lnTo>
                    <a:pt x="209" y="1420"/>
                  </a:lnTo>
                  <a:lnTo>
                    <a:pt x="209" y="1420"/>
                  </a:lnTo>
                  <a:lnTo>
                    <a:pt x="209" y="1420"/>
                  </a:lnTo>
                  <a:lnTo>
                    <a:pt x="209" y="899"/>
                  </a:lnTo>
                  <a:lnTo>
                    <a:pt x="209" y="899"/>
                  </a:lnTo>
                  <a:lnTo>
                    <a:pt x="209" y="1420"/>
                  </a:lnTo>
                  <a:lnTo>
                    <a:pt x="207" y="1420"/>
                  </a:lnTo>
                  <a:lnTo>
                    <a:pt x="207" y="1420"/>
                  </a:lnTo>
                  <a:lnTo>
                    <a:pt x="207" y="1420"/>
                  </a:lnTo>
                  <a:lnTo>
                    <a:pt x="207" y="899"/>
                  </a:lnTo>
                  <a:lnTo>
                    <a:pt x="207" y="899"/>
                  </a:lnTo>
                  <a:lnTo>
                    <a:pt x="207" y="1425"/>
                  </a:lnTo>
                  <a:lnTo>
                    <a:pt x="206" y="1425"/>
                  </a:lnTo>
                  <a:lnTo>
                    <a:pt x="206" y="1425"/>
                  </a:lnTo>
                  <a:lnTo>
                    <a:pt x="205" y="1425"/>
                  </a:lnTo>
                  <a:lnTo>
                    <a:pt x="205" y="1425"/>
                  </a:lnTo>
                  <a:lnTo>
                    <a:pt x="204" y="1425"/>
                  </a:lnTo>
                  <a:lnTo>
                    <a:pt x="204" y="899"/>
                  </a:lnTo>
                  <a:lnTo>
                    <a:pt x="204" y="899"/>
                  </a:lnTo>
                  <a:lnTo>
                    <a:pt x="204" y="899"/>
                  </a:lnTo>
                  <a:lnTo>
                    <a:pt x="204" y="899"/>
                  </a:lnTo>
                  <a:lnTo>
                    <a:pt x="204" y="899"/>
                  </a:lnTo>
                  <a:lnTo>
                    <a:pt x="204" y="899"/>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1453"/>
                  </a:lnTo>
                  <a:lnTo>
                    <a:pt x="141" y="1453"/>
                  </a:lnTo>
                  <a:lnTo>
                    <a:pt x="141" y="899"/>
                  </a:lnTo>
                  <a:lnTo>
                    <a:pt x="141" y="899"/>
                  </a:lnTo>
                  <a:lnTo>
                    <a:pt x="141" y="1453"/>
                  </a:lnTo>
                  <a:lnTo>
                    <a:pt x="141" y="1453"/>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92"/>
                  </a:lnTo>
                  <a:lnTo>
                    <a:pt x="136" y="1492"/>
                  </a:lnTo>
                  <a:lnTo>
                    <a:pt x="136" y="1492"/>
                  </a:lnTo>
                  <a:lnTo>
                    <a:pt x="135" y="1492"/>
                  </a:lnTo>
                  <a:lnTo>
                    <a:pt x="135" y="899"/>
                  </a:lnTo>
                  <a:lnTo>
                    <a:pt x="135" y="899"/>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10"/>
                  </a:lnTo>
                  <a:lnTo>
                    <a:pt x="125" y="1510"/>
                  </a:lnTo>
                  <a:lnTo>
                    <a:pt x="125" y="1510"/>
                  </a:lnTo>
                  <a:lnTo>
                    <a:pt x="125" y="1510"/>
                  </a:lnTo>
                  <a:lnTo>
                    <a:pt x="125" y="1510"/>
                  </a:lnTo>
                  <a:lnTo>
                    <a:pt x="123" y="1510"/>
                  </a:lnTo>
                  <a:lnTo>
                    <a:pt x="123" y="1510"/>
                  </a:lnTo>
                  <a:lnTo>
                    <a:pt x="123" y="1510"/>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5" y="899"/>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1544"/>
                  </a:lnTo>
                  <a:lnTo>
                    <a:pt x="94" y="1544"/>
                  </a:lnTo>
                  <a:lnTo>
                    <a:pt x="94" y="899"/>
                  </a:lnTo>
                  <a:lnTo>
                    <a:pt x="93" y="899"/>
                  </a:lnTo>
                  <a:lnTo>
                    <a:pt x="93" y="1544"/>
                  </a:lnTo>
                  <a:lnTo>
                    <a:pt x="93" y="1544"/>
                  </a:lnTo>
                  <a:lnTo>
                    <a:pt x="93" y="899"/>
                  </a:lnTo>
                  <a:lnTo>
                    <a:pt x="92" y="899"/>
                  </a:lnTo>
                  <a:lnTo>
                    <a:pt x="92" y="899"/>
                  </a:lnTo>
                  <a:lnTo>
                    <a:pt x="89" y="899"/>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899"/>
                  </a:lnTo>
                  <a:lnTo>
                    <a:pt x="47" y="899"/>
                  </a:lnTo>
                  <a:lnTo>
                    <a:pt x="47" y="899"/>
                  </a:lnTo>
                  <a:lnTo>
                    <a:pt x="46" y="899"/>
                  </a:lnTo>
                  <a:lnTo>
                    <a:pt x="46" y="899"/>
                  </a:lnTo>
                  <a:lnTo>
                    <a:pt x="46" y="899"/>
                  </a:lnTo>
                  <a:lnTo>
                    <a:pt x="46" y="899"/>
                  </a:lnTo>
                  <a:lnTo>
                    <a:pt x="46" y="899"/>
                  </a:lnTo>
                  <a:lnTo>
                    <a:pt x="46" y="1644"/>
                  </a:lnTo>
                  <a:lnTo>
                    <a:pt x="46" y="1644"/>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3" y="89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899"/>
                  </a:lnTo>
                  <a:lnTo>
                    <a:pt x="43" y="899"/>
                  </a:lnTo>
                  <a:lnTo>
                    <a:pt x="43" y="899"/>
                  </a:lnTo>
                  <a:lnTo>
                    <a:pt x="42" y="899"/>
                  </a:lnTo>
                  <a:lnTo>
                    <a:pt x="42" y="899"/>
                  </a:lnTo>
                  <a:lnTo>
                    <a:pt x="42" y="899"/>
                  </a:lnTo>
                  <a:lnTo>
                    <a:pt x="42" y="1681"/>
                  </a:lnTo>
                  <a:lnTo>
                    <a:pt x="41" y="1681"/>
                  </a:lnTo>
                  <a:lnTo>
                    <a:pt x="41" y="1681"/>
                  </a:lnTo>
                  <a:lnTo>
                    <a:pt x="41" y="1681"/>
                  </a:lnTo>
                  <a:lnTo>
                    <a:pt x="41" y="1681"/>
                  </a:lnTo>
                  <a:lnTo>
                    <a:pt x="41" y="1681"/>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39" y="899"/>
                  </a:lnTo>
                  <a:lnTo>
                    <a:pt x="39" y="899"/>
                  </a:lnTo>
                  <a:lnTo>
                    <a:pt x="39" y="899"/>
                  </a:lnTo>
                  <a:lnTo>
                    <a:pt x="39" y="899"/>
                  </a:lnTo>
                  <a:lnTo>
                    <a:pt x="39" y="899"/>
                  </a:lnTo>
                  <a:lnTo>
                    <a:pt x="39" y="899"/>
                  </a:lnTo>
                  <a:lnTo>
                    <a:pt x="39" y="899"/>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899"/>
                  </a:lnTo>
                  <a:lnTo>
                    <a:pt x="35" y="899"/>
                  </a:lnTo>
                  <a:lnTo>
                    <a:pt x="35" y="899"/>
                  </a:lnTo>
                  <a:lnTo>
                    <a:pt x="34" y="899"/>
                  </a:lnTo>
                  <a:lnTo>
                    <a:pt x="34" y="899"/>
                  </a:lnTo>
                  <a:lnTo>
                    <a:pt x="34" y="899"/>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1782"/>
                  </a:lnTo>
                  <a:lnTo>
                    <a:pt x="17" y="1782"/>
                  </a:lnTo>
                  <a:lnTo>
                    <a:pt x="17" y="1782"/>
                  </a:lnTo>
                  <a:lnTo>
                    <a:pt x="17" y="1782"/>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0" y="899"/>
                  </a:lnTo>
                  <a:lnTo>
                    <a:pt x="10" y="899"/>
                  </a:lnTo>
                  <a:lnTo>
                    <a:pt x="10" y="899"/>
                  </a:lnTo>
                  <a:lnTo>
                    <a:pt x="10" y="899"/>
                  </a:lnTo>
                  <a:lnTo>
                    <a:pt x="10" y="899"/>
                  </a:lnTo>
                  <a:lnTo>
                    <a:pt x="10" y="899"/>
                  </a:lnTo>
                  <a:lnTo>
                    <a:pt x="10" y="899"/>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FF69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72">
              <a:extLst>
                <a:ext uri="{FF2B5EF4-FFF2-40B4-BE49-F238E27FC236}">
                  <a16:creationId xmlns:a16="http://schemas.microsoft.com/office/drawing/2014/main" id="{EB222B7E-6C54-4268-8F52-EE4C3F6AAAF5}"/>
                </a:ext>
              </a:extLst>
            </p:cNvPr>
            <p:cNvSpPr>
              <a:spLocks/>
            </p:cNvSpPr>
            <p:nvPr/>
          </p:nvSpPr>
          <p:spPr bwMode="auto">
            <a:xfrm>
              <a:off x="1077913" y="1011238"/>
              <a:ext cx="5370513" cy="2857500"/>
            </a:xfrm>
            <a:custGeom>
              <a:avLst/>
              <a:gdLst>
                <a:gd name="T0" fmla="*/ 20 w 3383"/>
                <a:gd name="T1" fmla="*/ 89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899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899 h 1800"/>
                <a:gd name="T32" fmla="*/ 1484 w 3383"/>
                <a:gd name="T33" fmla="*/ 899 h 1800"/>
                <a:gd name="T34" fmla="*/ 1852 w 3383"/>
                <a:gd name="T35" fmla="*/ 899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99 h 1800"/>
                <a:gd name="T46" fmla="*/ 2231 w 3383"/>
                <a:gd name="T47" fmla="*/ 899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899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99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899 h 1800"/>
                <a:gd name="T92" fmla="*/ 1482 w 3383"/>
                <a:gd name="T93" fmla="*/ 899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899 h 1800"/>
                <a:gd name="T104" fmla="*/ 835 w 3383"/>
                <a:gd name="T105" fmla="*/ 899 h 1800"/>
                <a:gd name="T106" fmla="*/ 732 w 3383"/>
                <a:gd name="T107" fmla="*/ 899 h 1800"/>
                <a:gd name="T108" fmla="*/ 548 w 3383"/>
                <a:gd name="T109" fmla="*/ 1294 h 1800"/>
                <a:gd name="T110" fmla="*/ 453 w 3383"/>
                <a:gd name="T111" fmla="*/ 899 h 1800"/>
                <a:gd name="T112" fmla="*/ 344 w 3383"/>
                <a:gd name="T113" fmla="*/ 899 h 1800"/>
                <a:gd name="T114" fmla="*/ 301 w 3383"/>
                <a:gd name="T115" fmla="*/ 899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4" y="899"/>
                  </a:lnTo>
                  <a:lnTo>
                    <a:pt x="4" y="899"/>
                  </a:lnTo>
                  <a:lnTo>
                    <a:pt x="4" y="899"/>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899"/>
                  </a:lnTo>
                  <a:lnTo>
                    <a:pt x="10" y="899"/>
                  </a:lnTo>
                  <a:lnTo>
                    <a:pt x="10"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899"/>
                  </a:lnTo>
                  <a:lnTo>
                    <a:pt x="12" y="899"/>
                  </a:lnTo>
                  <a:lnTo>
                    <a:pt x="12" y="899"/>
                  </a:lnTo>
                  <a:lnTo>
                    <a:pt x="15" y="899"/>
                  </a:lnTo>
                  <a:lnTo>
                    <a:pt x="15" y="899"/>
                  </a:lnTo>
                  <a:lnTo>
                    <a:pt x="15" y="899"/>
                  </a:lnTo>
                  <a:lnTo>
                    <a:pt x="15" y="899"/>
                  </a:lnTo>
                  <a:lnTo>
                    <a:pt x="15" y="899"/>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9" y="899"/>
                  </a:lnTo>
                  <a:lnTo>
                    <a:pt x="19" y="899"/>
                  </a:lnTo>
                  <a:lnTo>
                    <a:pt x="20" y="899"/>
                  </a:lnTo>
                  <a:lnTo>
                    <a:pt x="20" y="899"/>
                  </a:lnTo>
                  <a:lnTo>
                    <a:pt x="20" y="899"/>
                  </a:lnTo>
                  <a:lnTo>
                    <a:pt x="20" y="899"/>
                  </a:lnTo>
                  <a:lnTo>
                    <a:pt x="20" y="899"/>
                  </a:lnTo>
                  <a:lnTo>
                    <a:pt x="20" y="1767"/>
                  </a:lnTo>
                  <a:lnTo>
                    <a:pt x="20" y="1767"/>
                  </a:lnTo>
                  <a:lnTo>
                    <a:pt x="20" y="1767"/>
                  </a:lnTo>
                  <a:lnTo>
                    <a:pt x="20" y="1767"/>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899"/>
                  </a:lnTo>
                  <a:lnTo>
                    <a:pt x="29" y="899"/>
                  </a:lnTo>
                  <a:lnTo>
                    <a:pt x="29" y="899"/>
                  </a:lnTo>
                  <a:lnTo>
                    <a:pt x="30" y="899"/>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1714"/>
                  </a:lnTo>
                  <a:lnTo>
                    <a:pt x="34" y="1714"/>
                  </a:lnTo>
                  <a:lnTo>
                    <a:pt x="34" y="1714"/>
                  </a:lnTo>
                  <a:lnTo>
                    <a:pt x="35" y="1714"/>
                  </a:lnTo>
                  <a:lnTo>
                    <a:pt x="35" y="899"/>
                  </a:lnTo>
                  <a:lnTo>
                    <a:pt x="35" y="899"/>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899"/>
                  </a:lnTo>
                  <a:lnTo>
                    <a:pt x="37" y="899"/>
                  </a:lnTo>
                  <a:lnTo>
                    <a:pt x="37" y="899"/>
                  </a:lnTo>
                  <a:lnTo>
                    <a:pt x="38" y="899"/>
                  </a:lnTo>
                  <a:lnTo>
                    <a:pt x="38" y="899"/>
                  </a:lnTo>
                  <a:lnTo>
                    <a:pt x="38" y="899"/>
                  </a:lnTo>
                  <a:lnTo>
                    <a:pt x="38" y="899"/>
                  </a:lnTo>
                  <a:lnTo>
                    <a:pt x="38" y="899"/>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899"/>
                  </a:lnTo>
                  <a:lnTo>
                    <a:pt x="39" y="899"/>
                  </a:lnTo>
                  <a:lnTo>
                    <a:pt x="39" y="899"/>
                  </a:lnTo>
                  <a:lnTo>
                    <a:pt x="39" y="899"/>
                  </a:lnTo>
                  <a:lnTo>
                    <a:pt x="39"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899"/>
                  </a:lnTo>
                  <a:lnTo>
                    <a:pt x="41" y="899"/>
                  </a:lnTo>
                  <a:lnTo>
                    <a:pt x="41" y="899"/>
                  </a:lnTo>
                  <a:lnTo>
                    <a:pt x="41" y="899"/>
                  </a:lnTo>
                  <a:lnTo>
                    <a:pt x="41" y="899"/>
                  </a:lnTo>
                  <a:lnTo>
                    <a:pt x="41" y="899"/>
                  </a:lnTo>
                  <a:lnTo>
                    <a:pt x="41" y="1681"/>
                  </a:lnTo>
                  <a:lnTo>
                    <a:pt x="41" y="1681"/>
                  </a:lnTo>
                  <a:lnTo>
                    <a:pt x="41" y="1681"/>
                  </a:lnTo>
                  <a:lnTo>
                    <a:pt x="41" y="1681"/>
                  </a:lnTo>
                  <a:lnTo>
                    <a:pt x="41" y="1681"/>
                  </a:lnTo>
                  <a:lnTo>
                    <a:pt x="42" y="1681"/>
                  </a:lnTo>
                  <a:lnTo>
                    <a:pt x="42" y="899"/>
                  </a:lnTo>
                  <a:lnTo>
                    <a:pt x="42" y="899"/>
                  </a:lnTo>
                  <a:lnTo>
                    <a:pt x="42" y="899"/>
                  </a:lnTo>
                  <a:lnTo>
                    <a:pt x="43" y="899"/>
                  </a:lnTo>
                  <a:lnTo>
                    <a:pt x="43" y="899"/>
                  </a:lnTo>
                  <a:lnTo>
                    <a:pt x="43" y="89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6" y="899"/>
                  </a:lnTo>
                  <a:lnTo>
                    <a:pt x="46" y="1646"/>
                  </a:lnTo>
                  <a:lnTo>
                    <a:pt x="46" y="1646"/>
                  </a:lnTo>
                  <a:lnTo>
                    <a:pt x="46" y="1644"/>
                  </a:lnTo>
                  <a:lnTo>
                    <a:pt x="46" y="1644"/>
                  </a:lnTo>
                  <a:lnTo>
                    <a:pt x="46" y="1644"/>
                  </a:lnTo>
                  <a:lnTo>
                    <a:pt x="46" y="1644"/>
                  </a:lnTo>
                  <a:lnTo>
                    <a:pt x="46" y="899"/>
                  </a:lnTo>
                  <a:lnTo>
                    <a:pt x="46" y="899"/>
                  </a:lnTo>
                  <a:lnTo>
                    <a:pt x="46" y="1644"/>
                  </a:lnTo>
                  <a:lnTo>
                    <a:pt x="47" y="1644"/>
                  </a:lnTo>
                  <a:lnTo>
                    <a:pt x="47" y="899"/>
                  </a:lnTo>
                  <a:lnTo>
                    <a:pt x="50" y="899"/>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899"/>
                  </a:lnTo>
                  <a:lnTo>
                    <a:pt x="86" y="899"/>
                  </a:lnTo>
                  <a:lnTo>
                    <a:pt x="86" y="899"/>
                  </a:lnTo>
                  <a:lnTo>
                    <a:pt x="86" y="899"/>
                  </a:lnTo>
                  <a:lnTo>
                    <a:pt x="86" y="899"/>
                  </a:lnTo>
                  <a:lnTo>
                    <a:pt x="86" y="899"/>
                  </a:lnTo>
                  <a:lnTo>
                    <a:pt x="86" y="899"/>
                  </a:lnTo>
                  <a:lnTo>
                    <a:pt x="86" y="899"/>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899"/>
                  </a:lnTo>
                  <a:lnTo>
                    <a:pt x="94" y="899"/>
                  </a:lnTo>
                  <a:lnTo>
                    <a:pt x="94" y="1544"/>
                  </a:lnTo>
                  <a:lnTo>
                    <a:pt x="101" y="1544"/>
                  </a:lnTo>
                  <a:lnTo>
                    <a:pt x="101" y="899"/>
                  </a:lnTo>
                  <a:lnTo>
                    <a:pt x="102" y="899"/>
                  </a:lnTo>
                  <a:lnTo>
                    <a:pt x="102" y="899"/>
                  </a:lnTo>
                  <a:lnTo>
                    <a:pt x="103" y="899"/>
                  </a:lnTo>
                  <a:lnTo>
                    <a:pt x="103" y="899"/>
                  </a:lnTo>
                  <a:lnTo>
                    <a:pt x="103" y="899"/>
                  </a:lnTo>
                  <a:lnTo>
                    <a:pt x="103" y="899"/>
                  </a:lnTo>
                  <a:lnTo>
                    <a:pt x="103" y="899"/>
                  </a:lnTo>
                  <a:lnTo>
                    <a:pt x="103" y="899"/>
                  </a:lnTo>
                  <a:lnTo>
                    <a:pt x="103" y="899"/>
                  </a:lnTo>
                  <a:lnTo>
                    <a:pt x="103" y="899"/>
                  </a:lnTo>
                  <a:lnTo>
                    <a:pt x="104" y="899"/>
                  </a:lnTo>
                  <a:lnTo>
                    <a:pt x="104" y="899"/>
                  </a:lnTo>
                  <a:lnTo>
                    <a:pt x="106" y="899"/>
                  </a:lnTo>
                  <a:lnTo>
                    <a:pt x="106" y="899"/>
                  </a:lnTo>
                  <a:lnTo>
                    <a:pt x="107" y="899"/>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899"/>
                  </a:lnTo>
                  <a:lnTo>
                    <a:pt x="135" y="899"/>
                  </a:lnTo>
                  <a:lnTo>
                    <a:pt x="135" y="1492"/>
                  </a:lnTo>
                  <a:lnTo>
                    <a:pt x="136" y="1492"/>
                  </a:lnTo>
                  <a:lnTo>
                    <a:pt x="136" y="1492"/>
                  </a:lnTo>
                  <a:lnTo>
                    <a:pt x="136" y="1492"/>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899"/>
                  </a:lnTo>
                  <a:lnTo>
                    <a:pt x="137" y="899"/>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1" y="899"/>
                  </a:lnTo>
                  <a:lnTo>
                    <a:pt x="141" y="899"/>
                  </a:lnTo>
                  <a:lnTo>
                    <a:pt x="141" y="899"/>
                  </a:lnTo>
                  <a:lnTo>
                    <a:pt x="141" y="899"/>
                  </a:lnTo>
                  <a:lnTo>
                    <a:pt x="141" y="899"/>
                  </a:lnTo>
                  <a:lnTo>
                    <a:pt x="141" y="899"/>
                  </a:lnTo>
                  <a:lnTo>
                    <a:pt x="141" y="899"/>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899"/>
                  </a:lnTo>
                  <a:lnTo>
                    <a:pt x="147" y="899"/>
                  </a:lnTo>
                  <a:lnTo>
                    <a:pt x="147" y="899"/>
                  </a:lnTo>
                  <a:lnTo>
                    <a:pt x="147" y="899"/>
                  </a:lnTo>
                  <a:lnTo>
                    <a:pt x="147" y="899"/>
                  </a:lnTo>
                  <a:lnTo>
                    <a:pt x="148" y="899"/>
                  </a:lnTo>
                  <a:lnTo>
                    <a:pt x="148" y="899"/>
                  </a:lnTo>
                  <a:lnTo>
                    <a:pt x="148" y="899"/>
                  </a:lnTo>
                  <a:lnTo>
                    <a:pt x="148" y="899"/>
                  </a:lnTo>
                  <a:lnTo>
                    <a:pt x="148" y="899"/>
                  </a:lnTo>
                  <a:lnTo>
                    <a:pt x="148" y="899"/>
                  </a:lnTo>
                  <a:lnTo>
                    <a:pt x="148" y="89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899"/>
                  </a:lnTo>
                  <a:lnTo>
                    <a:pt x="204" y="899"/>
                  </a:lnTo>
                  <a:lnTo>
                    <a:pt x="204" y="899"/>
                  </a:lnTo>
                  <a:lnTo>
                    <a:pt x="204" y="899"/>
                  </a:lnTo>
                  <a:lnTo>
                    <a:pt x="204" y="899"/>
                  </a:lnTo>
                  <a:lnTo>
                    <a:pt x="204" y="899"/>
                  </a:lnTo>
                  <a:lnTo>
                    <a:pt x="204" y="1425"/>
                  </a:lnTo>
                  <a:lnTo>
                    <a:pt x="205" y="1425"/>
                  </a:lnTo>
                  <a:lnTo>
                    <a:pt x="205" y="1425"/>
                  </a:lnTo>
                  <a:lnTo>
                    <a:pt x="206" y="1425"/>
                  </a:lnTo>
                  <a:lnTo>
                    <a:pt x="206" y="1425"/>
                  </a:lnTo>
                  <a:lnTo>
                    <a:pt x="207" y="1425"/>
                  </a:lnTo>
                  <a:lnTo>
                    <a:pt x="207" y="899"/>
                  </a:lnTo>
                  <a:lnTo>
                    <a:pt x="207" y="899"/>
                  </a:lnTo>
                  <a:lnTo>
                    <a:pt x="207" y="1420"/>
                  </a:lnTo>
                  <a:lnTo>
                    <a:pt x="207" y="1420"/>
                  </a:lnTo>
                  <a:lnTo>
                    <a:pt x="207" y="1420"/>
                  </a:lnTo>
                  <a:lnTo>
                    <a:pt x="209" y="1420"/>
                  </a:lnTo>
                  <a:lnTo>
                    <a:pt x="209" y="899"/>
                  </a:lnTo>
                  <a:lnTo>
                    <a:pt x="209" y="899"/>
                  </a:lnTo>
                  <a:lnTo>
                    <a:pt x="209" y="1420"/>
                  </a:lnTo>
                  <a:lnTo>
                    <a:pt x="209" y="1420"/>
                  </a:lnTo>
                  <a:lnTo>
                    <a:pt x="209" y="1420"/>
                  </a:lnTo>
                  <a:lnTo>
                    <a:pt x="209" y="1420"/>
                  </a:lnTo>
                  <a:lnTo>
                    <a:pt x="209" y="899"/>
                  </a:lnTo>
                  <a:lnTo>
                    <a:pt x="209" y="899"/>
                  </a:lnTo>
                  <a:lnTo>
                    <a:pt x="209" y="899"/>
                  </a:lnTo>
                  <a:lnTo>
                    <a:pt x="210" y="899"/>
                  </a:lnTo>
                  <a:lnTo>
                    <a:pt x="210" y="899"/>
                  </a:lnTo>
                  <a:lnTo>
                    <a:pt x="211" y="899"/>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899"/>
                  </a:lnTo>
                  <a:lnTo>
                    <a:pt x="221" y="899"/>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1406"/>
                  </a:lnTo>
                  <a:lnTo>
                    <a:pt x="247" y="1406"/>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899"/>
                  </a:lnTo>
                  <a:lnTo>
                    <a:pt x="266" y="899"/>
                  </a:lnTo>
                  <a:lnTo>
                    <a:pt x="266" y="899"/>
                  </a:lnTo>
                  <a:lnTo>
                    <a:pt x="266" y="899"/>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1386"/>
                  </a:lnTo>
                  <a:lnTo>
                    <a:pt x="296" y="1386"/>
                  </a:lnTo>
                  <a:lnTo>
                    <a:pt x="296" y="1386"/>
                  </a:lnTo>
                  <a:lnTo>
                    <a:pt x="296" y="1386"/>
                  </a:lnTo>
                  <a:lnTo>
                    <a:pt x="296" y="1386"/>
                  </a:lnTo>
                  <a:lnTo>
                    <a:pt x="296" y="1386"/>
                  </a:lnTo>
                  <a:lnTo>
                    <a:pt x="296" y="1386"/>
                  </a:lnTo>
                  <a:lnTo>
                    <a:pt x="296" y="1386"/>
                  </a:lnTo>
                  <a:lnTo>
                    <a:pt x="296" y="899"/>
                  </a:lnTo>
                  <a:lnTo>
                    <a:pt x="297" y="899"/>
                  </a:lnTo>
                  <a:lnTo>
                    <a:pt x="297" y="899"/>
                  </a:lnTo>
                  <a:lnTo>
                    <a:pt x="299" y="899"/>
                  </a:lnTo>
                  <a:lnTo>
                    <a:pt x="299" y="899"/>
                  </a:lnTo>
                  <a:lnTo>
                    <a:pt x="301" y="899"/>
                  </a:lnTo>
                  <a:lnTo>
                    <a:pt x="301" y="899"/>
                  </a:lnTo>
                  <a:lnTo>
                    <a:pt x="307" y="899"/>
                  </a:lnTo>
                  <a:lnTo>
                    <a:pt x="307" y="899"/>
                  </a:lnTo>
                  <a:lnTo>
                    <a:pt x="307" y="899"/>
                  </a:lnTo>
                  <a:lnTo>
                    <a:pt x="307" y="899"/>
                  </a:lnTo>
                  <a:lnTo>
                    <a:pt x="308" y="899"/>
                  </a:lnTo>
                  <a:lnTo>
                    <a:pt x="308" y="899"/>
                  </a:lnTo>
                  <a:lnTo>
                    <a:pt x="309" y="899"/>
                  </a:lnTo>
                  <a:lnTo>
                    <a:pt x="309" y="1380"/>
                  </a:lnTo>
                  <a:lnTo>
                    <a:pt x="309" y="1380"/>
                  </a:lnTo>
                  <a:lnTo>
                    <a:pt x="309" y="1380"/>
                  </a:lnTo>
                  <a:lnTo>
                    <a:pt x="309" y="1380"/>
                  </a:lnTo>
                  <a:lnTo>
                    <a:pt x="309" y="1380"/>
                  </a:lnTo>
                  <a:lnTo>
                    <a:pt x="309" y="1380"/>
                  </a:lnTo>
                  <a:lnTo>
                    <a:pt x="309" y="899"/>
                  </a:lnTo>
                  <a:lnTo>
                    <a:pt x="309" y="899"/>
                  </a:lnTo>
                  <a:lnTo>
                    <a:pt x="309" y="899"/>
                  </a:lnTo>
                  <a:lnTo>
                    <a:pt x="310" y="899"/>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8" y="1370"/>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899"/>
                  </a:lnTo>
                  <a:lnTo>
                    <a:pt x="335" y="899"/>
                  </a:lnTo>
                  <a:lnTo>
                    <a:pt x="335" y="899"/>
                  </a:lnTo>
                  <a:lnTo>
                    <a:pt x="335" y="899"/>
                  </a:lnTo>
                  <a:lnTo>
                    <a:pt x="335"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1362"/>
                  </a:lnTo>
                  <a:lnTo>
                    <a:pt x="342" y="1362"/>
                  </a:lnTo>
                  <a:lnTo>
                    <a:pt x="342" y="1362"/>
                  </a:lnTo>
                  <a:lnTo>
                    <a:pt x="342" y="1362"/>
                  </a:lnTo>
                  <a:lnTo>
                    <a:pt x="342" y="1362"/>
                  </a:lnTo>
                  <a:lnTo>
                    <a:pt x="342" y="1362"/>
                  </a:lnTo>
                  <a:lnTo>
                    <a:pt x="342" y="899"/>
                  </a:lnTo>
                  <a:lnTo>
                    <a:pt x="342" y="899"/>
                  </a:lnTo>
                  <a:lnTo>
                    <a:pt x="342" y="899"/>
                  </a:lnTo>
                  <a:lnTo>
                    <a:pt x="342" y="899"/>
                  </a:lnTo>
                  <a:lnTo>
                    <a:pt x="342" y="899"/>
                  </a:lnTo>
                  <a:lnTo>
                    <a:pt x="342" y="89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899"/>
                  </a:lnTo>
                  <a:lnTo>
                    <a:pt x="351" y="899"/>
                  </a:lnTo>
                  <a:lnTo>
                    <a:pt x="351" y="899"/>
                  </a:lnTo>
                  <a:lnTo>
                    <a:pt x="351" y="899"/>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899"/>
                  </a:lnTo>
                  <a:lnTo>
                    <a:pt x="382" y="899"/>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899"/>
                  </a:lnTo>
                  <a:lnTo>
                    <a:pt x="383" y="899"/>
                  </a:lnTo>
                  <a:lnTo>
                    <a:pt x="383" y="899"/>
                  </a:lnTo>
                  <a:lnTo>
                    <a:pt x="383" y="899"/>
                  </a:lnTo>
                  <a:lnTo>
                    <a:pt x="383" y="899"/>
                  </a:lnTo>
                  <a:lnTo>
                    <a:pt x="383" y="899"/>
                  </a:lnTo>
                  <a:lnTo>
                    <a:pt x="383" y="1336"/>
                  </a:lnTo>
                  <a:lnTo>
                    <a:pt x="383" y="1336"/>
                  </a:lnTo>
                  <a:lnTo>
                    <a:pt x="383" y="1336"/>
                  </a:lnTo>
                  <a:lnTo>
                    <a:pt x="384" y="1336"/>
                  </a:lnTo>
                  <a:lnTo>
                    <a:pt x="384" y="1336"/>
                  </a:lnTo>
                  <a:lnTo>
                    <a:pt x="387" y="1336"/>
                  </a:lnTo>
                  <a:lnTo>
                    <a:pt x="387" y="1336"/>
                  </a:lnTo>
                  <a:lnTo>
                    <a:pt x="398" y="1336"/>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899"/>
                  </a:lnTo>
                  <a:lnTo>
                    <a:pt x="430" y="899"/>
                  </a:lnTo>
                  <a:lnTo>
                    <a:pt x="430" y="899"/>
                  </a:lnTo>
                  <a:lnTo>
                    <a:pt x="430" y="89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899"/>
                  </a:lnTo>
                  <a:lnTo>
                    <a:pt x="453" y="899"/>
                  </a:lnTo>
                  <a:lnTo>
                    <a:pt x="453" y="899"/>
                  </a:lnTo>
                  <a:lnTo>
                    <a:pt x="453" y="899"/>
                  </a:lnTo>
                  <a:lnTo>
                    <a:pt x="453" y="899"/>
                  </a:lnTo>
                  <a:lnTo>
                    <a:pt x="453" y="899"/>
                  </a:lnTo>
                  <a:lnTo>
                    <a:pt x="453" y="899"/>
                  </a:lnTo>
                  <a:lnTo>
                    <a:pt x="453" y="899"/>
                  </a:lnTo>
                  <a:lnTo>
                    <a:pt x="453" y="1324"/>
                  </a:lnTo>
                  <a:lnTo>
                    <a:pt x="453" y="1324"/>
                  </a:lnTo>
                  <a:lnTo>
                    <a:pt x="453" y="899"/>
                  </a:lnTo>
                  <a:lnTo>
                    <a:pt x="453" y="899"/>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1318"/>
                  </a:lnTo>
                  <a:lnTo>
                    <a:pt x="458" y="1318"/>
                  </a:lnTo>
                  <a:lnTo>
                    <a:pt x="458" y="899"/>
                  </a:lnTo>
                  <a:lnTo>
                    <a:pt x="458" y="899"/>
                  </a:lnTo>
                  <a:lnTo>
                    <a:pt x="458" y="1318"/>
                  </a:lnTo>
                  <a:lnTo>
                    <a:pt x="458" y="1318"/>
                  </a:lnTo>
                  <a:lnTo>
                    <a:pt x="458" y="1318"/>
                  </a:lnTo>
                  <a:lnTo>
                    <a:pt x="458" y="1318"/>
                  </a:lnTo>
                  <a:lnTo>
                    <a:pt x="458" y="1318"/>
                  </a:lnTo>
                  <a:lnTo>
                    <a:pt x="458" y="1318"/>
                  </a:lnTo>
                  <a:lnTo>
                    <a:pt x="458" y="899"/>
                  </a:lnTo>
                  <a:lnTo>
                    <a:pt x="458" y="899"/>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899"/>
                  </a:lnTo>
                  <a:lnTo>
                    <a:pt x="470" y="899"/>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899"/>
                  </a:lnTo>
                  <a:lnTo>
                    <a:pt x="472" y="899"/>
                  </a:lnTo>
                  <a:lnTo>
                    <a:pt x="472" y="1317"/>
                  </a:lnTo>
                  <a:lnTo>
                    <a:pt x="472" y="1317"/>
                  </a:lnTo>
                  <a:lnTo>
                    <a:pt x="472" y="899"/>
                  </a:lnTo>
                  <a:lnTo>
                    <a:pt x="474" y="899"/>
                  </a:lnTo>
                  <a:lnTo>
                    <a:pt x="474" y="899"/>
                  </a:lnTo>
                  <a:lnTo>
                    <a:pt x="475" y="899"/>
                  </a:lnTo>
                  <a:lnTo>
                    <a:pt x="475" y="899"/>
                  </a:lnTo>
                  <a:lnTo>
                    <a:pt x="477" y="899"/>
                  </a:lnTo>
                  <a:lnTo>
                    <a:pt x="477" y="899"/>
                  </a:lnTo>
                  <a:lnTo>
                    <a:pt x="477" y="899"/>
                  </a:lnTo>
                  <a:lnTo>
                    <a:pt x="477" y="899"/>
                  </a:lnTo>
                  <a:lnTo>
                    <a:pt x="477" y="899"/>
                  </a:lnTo>
                  <a:lnTo>
                    <a:pt x="477" y="1314"/>
                  </a:lnTo>
                  <a:lnTo>
                    <a:pt x="510" y="1314"/>
                  </a:lnTo>
                  <a:lnTo>
                    <a:pt x="510" y="1314"/>
                  </a:lnTo>
                  <a:lnTo>
                    <a:pt x="510" y="1314"/>
                  </a:lnTo>
                  <a:lnTo>
                    <a:pt x="510" y="1314"/>
                  </a:lnTo>
                  <a:lnTo>
                    <a:pt x="510" y="1314"/>
                  </a:lnTo>
                  <a:lnTo>
                    <a:pt x="510" y="899"/>
                  </a:lnTo>
                  <a:lnTo>
                    <a:pt x="511" y="899"/>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8" y="899"/>
                  </a:lnTo>
                  <a:lnTo>
                    <a:pt x="528" y="899"/>
                  </a:lnTo>
                  <a:lnTo>
                    <a:pt x="529" y="899"/>
                  </a:lnTo>
                  <a:lnTo>
                    <a:pt x="529" y="899"/>
                  </a:lnTo>
                  <a:lnTo>
                    <a:pt x="529" y="899"/>
                  </a:lnTo>
                  <a:lnTo>
                    <a:pt x="529" y="899"/>
                  </a:lnTo>
                  <a:lnTo>
                    <a:pt x="530" y="8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899"/>
                  </a:lnTo>
                  <a:lnTo>
                    <a:pt x="554" y="899"/>
                  </a:lnTo>
                  <a:lnTo>
                    <a:pt x="554"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73" y="899"/>
                  </a:lnTo>
                  <a:lnTo>
                    <a:pt x="573" y="1292"/>
                  </a:lnTo>
                  <a:lnTo>
                    <a:pt x="574" y="1292"/>
                  </a:lnTo>
                  <a:lnTo>
                    <a:pt x="574" y="1292"/>
                  </a:lnTo>
                  <a:lnTo>
                    <a:pt x="576" y="1292"/>
                  </a:lnTo>
                  <a:lnTo>
                    <a:pt x="576" y="899"/>
                  </a:lnTo>
                  <a:lnTo>
                    <a:pt x="579" y="899"/>
                  </a:lnTo>
                  <a:lnTo>
                    <a:pt x="579" y="1292"/>
                  </a:lnTo>
                  <a:lnTo>
                    <a:pt x="580" y="1292"/>
                  </a:lnTo>
                  <a:lnTo>
                    <a:pt x="580" y="899"/>
                  </a:lnTo>
                  <a:lnTo>
                    <a:pt x="581" y="899"/>
                  </a:lnTo>
                  <a:lnTo>
                    <a:pt x="581" y="899"/>
                  </a:lnTo>
                  <a:lnTo>
                    <a:pt x="582" y="899"/>
                  </a:lnTo>
                  <a:lnTo>
                    <a:pt x="582" y="899"/>
                  </a:lnTo>
                  <a:lnTo>
                    <a:pt x="582" y="899"/>
                  </a:lnTo>
                  <a:lnTo>
                    <a:pt x="582" y="899"/>
                  </a:lnTo>
                  <a:lnTo>
                    <a:pt x="582" y="899"/>
                  </a:lnTo>
                  <a:lnTo>
                    <a:pt x="582" y="899"/>
                  </a:lnTo>
                  <a:lnTo>
                    <a:pt x="582" y="899"/>
                  </a:lnTo>
                  <a:lnTo>
                    <a:pt x="582" y="899"/>
                  </a:lnTo>
                  <a:lnTo>
                    <a:pt x="586" y="899"/>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899"/>
                  </a:lnTo>
                  <a:lnTo>
                    <a:pt x="588" y="899"/>
                  </a:lnTo>
                  <a:lnTo>
                    <a:pt x="588" y="1290"/>
                  </a:lnTo>
                  <a:lnTo>
                    <a:pt x="588" y="1290"/>
                  </a:lnTo>
                  <a:lnTo>
                    <a:pt x="588" y="1290"/>
                  </a:lnTo>
                  <a:lnTo>
                    <a:pt x="589" y="1290"/>
                  </a:lnTo>
                  <a:lnTo>
                    <a:pt x="589" y="1290"/>
                  </a:lnTo>
                  <a:lnTo>
                    <a:pt x="590" y="1290"/>
                  </a:lnTo>
                  <a:lnTo>
                    <a:pt x="590" y="1290"/>
                  </a:lnTo>
                  <a:lnTo>
                    <a:pt x="591" y="1290"/>
                  </a:lnTo>
                  <a:lnTo>
                    <a:pt x="591" y="899"/>
                  </a:lnTo>
                  <a:lnTo>
                    <a:pt x="592" y="899"/>
                  </a:lnTo>
                  <a:lnTo>
                    <a:pt x="592" y="899"/>
                  </a:lnTo>
                  <a:lnTo>
                    <a:pt x="594" y="899"/>
                  </a:lnTo>
                  <a:lnTo>
                    <a:pt x="594" y="899"/>
                  </a:lnTo>
                  <a:lnTo>
                    <a:pt x="595" y="899"/>
                  </a:lnTo>
                  <a:lnTo>
                    <a:pt x="595" y="899"/>
                  </a:lnTo>
                  <a:lnTo>
                    <a:pt x="595" y="899"/>
                  </a:lnTo>
                  <a:lnTo>
                    <a:pt x="595" y="899"/>
                  </a:lnTo>
                  <a:lnTo>
                    <a:pt x="596" y="899"/>
                  </a:lnTo>
                  <a:lnTo>
                    <a:pt x="596" y="899"/>
                  </a:lnTo>
                  <a:lnTo>
                    <a:pt x="597" y="899"/>
                  </a:lnTo>
                  <a:lnTo>
                    <a:pt x="597" y="899"/>
                  </a:lnTo>
                  <a:lnTo>
                    <a:pt x="598" y="899"/>
                  </a:lnTo>
                  <a:lnTo>
                    <a:pt x="598"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9" y="899"/>
                  </a:lnTo>
                  <a:lnTo>
                    <a:pt x="599" y="899"/>
                  </a:lnTo>
                  <a:lnTo>
                    <a:pt x="600" y="899"/>
                  </a:lnTo>
                  <a:lnTo>
                    <a:pt x="600" y="899"/>
                  </a:lnTo>
                  <a:lnTo>
                    <a:pt x="602" y="899"/>
                  </a:lnTo>
                  <a:lnTo>
                    <a:pt x="602" y="899"/>
                  </a:lnTo>
                  <a:lnTo>
                    <a:pt x="605" y="899"/>
                  </a:lnTo>
                  <a:lnTo>
                    <a:pt x="605" y="899"/>
                  </a:lnTo>
                  <a:lnTo>
                    <a:pt x="605" y="899"/>
                  </a:lnTo>
                  <a:lnTo>
                    <a:pt x="605" y="1284"/>
                  </a:lnTo>
                  <a:lnTo>
                    <a:pt x="605" y="1284"/>
                  </a:lnTo>
                  <a:lnTo>
                    <a:pt x="605" y="899"/>
                  </a:lnTo>
                  <a:lnTo>
                    <a:pt x="606" y="899"/>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899"/>
                  </a:lnTo>
                  <a:lnTo>
                    <a:pt x="607" y="899"/>
                  </a:lnTo>
                  <a:lnTo>
                    <a:pt x="607" y="899"/>
                  </a:lnTo>
                  <a:lnTo>
                    <a:pt x="607" y="899"/>
                  </a:lnTo>
                  <a:lnTo>
                    <a:pt x="607" y="899"/>
                  </a:lnTo>
                  <a:lnTo>
                    <a:pt x="607" y="899"/>
                  </a:lnTo>
                  <a:lnTo>
                    <a:pt x="607" y="899"/>
                  </a:lnTo>
                  <a:lnTo>
                    <a:pt x="608" y="899"/>
                  </a:lnTo>
                  <a:lnTo>
                    <a:pt x="608" y="899"/>
                  </a:lnTo>
                  <a:lnTo>
                    <a:pt x="610" y="899"/>
                  </a:lnTo>
                  <a:lnTo>
                    <a:pt x="610" y="899"/>
                  </a:lnTo>
                  <a:lnTo>
                    <a:pt x="612" y="899"/>
                  </a:lnTo>
                  <a:lnTo>
                    <a:pt x="612" y="899"/>
                  </a:lnTo>
                  <a:lnTo>
                    <a:pt x="616" y="899"/>
                  </a:lnTo>
                  <a:lnTo>
                    <a:pt x="616" y="899"/>
                  </a:lnTo>
                  <a:lnTo>
                    <a:pt x="629" y="899"/>
                  </a:lnTo>
                  <a:lnTo>
                    <a:pt x="629" y="899"/>
                  </a:lnTo>
                  <a:lnTo>
                    <a:pt x="649" y="899"/>
                  </a:lnTo>
                  <a:lnTo>
                    <a:pt x="649" y="899"/>
                  </a:lnTo>
                  <a:lnTo>
                    <a:pt x="649" y="899"/>
                  </a:lnTo>
                  <a:lnTo>
                    <a:pt x="649" y="899"/>
                  </a:lnTo>
                  <a:lnTo>
                    <a:pt x="649" y="899"/>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899"/>
                  </a:lnTo>
                  <a:lnTo>
                    <a:pt x="673" y="899"/>
                  </a:lnTo>
                  <a:lnTo>
                    <a:pt x="673" y="899"/>
                  </a:lnTo>
                  <a:lnTo>
                    <a:pt x="674" y="899"/>
                  </a:lnTo>
                  <a:lnTo>
                    <a:pt x="674" y="899"/>
                  </a:lnTo>
                  <a:lnTo>
                    <a:pt x="674" y="899"/>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1273"/>
                  </a:lnTo>
                  <a:lnTo>
                    <a:pt x="677" y="1273"/>
                  </a:lnTo>
                  <a:lnTo>
                    <a:pt x="677" y="1273"/>
                  </a:lnTo>
                  <a:lnTo>
                    <a:pt x="679" y="1273"/>
                  </a:lnTo>
                  <a:lnTo>
                    <a:pt x="679"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7" y="899"/>
                  </a:lnTo>
                  <a:lnTo>
                    <a:pt x="737" y="899"/>
                  </a:lnTo>
                  <a:lnTo>
                    <a:pt x="737" y="899"/>
                  </a:lnTo>
                  <a:lnTo>
                    <a:pt x="737" y="899"/>
                  </a:lnTo>
                  <a:lnTo>
                    <a:pt x="737" y="899"/>
                  </a:lnTo>
                  <a:lnTo>
                    <a:pt x="737" y="899"/>
                  </a:lnTo>
                  <a:lnTo>
                    <a:pt x="737" y="899"/>
                  </a:lnTo>
                  <a:lnTo>
                    <a:pt x="737" y="899"/>
                  </a:lnTo>
                  <a:lnTo>
                    <a:pt x="743" y="899"/>
                  </a:lnTo>
                  <a:lnTo>
                    <a:pt x="743" y="899"/>
                  </a:lnTo>
                  <a:lnTo>
                    <a:pt x="752" y="899"/>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8" y="899"/>
                  </a:lnTo>
                  <a:lnTo>
                    <a:pt x="768" y="899"/>
                  </a:lnTo>
                  <a:lnTo>
                    <a:pt x="768" y="899"/>
                  </a:lnTo>
                  <a:lnTo>
                    <a:pt x="768" y="1253"/>
                  </a:lnTo>
                  <a:lnTo>
                    <a:pt x="768" y="1253"/>
                  </a:lnTo>
                  <a:lnTo>
                    <a:pt x="768" y="1253"/>
                  </a:lnTo>
                  <a:lnTo>
                    <a:pt x="777" y="1253"/>
                  </a:lnTo>
                  <a:lnTo>
                    <a:pt x="777" y="1252"/>
                  </a:lnTo>
                  <a:lnTo>
                    <a:pt x="777" y="1252"/>
                  </a:lnTo>
                  <a:lnTo>
                    <a:pt x="777" y="1252"/>
                  </a:lnTo>
                  <a:lnTo>
                    <a:pt x="777" y="1252"/>
                  </a:lnTo>
                  <a:lnTo>
                    <a:pt x="777" y="899"/>
                  </a:lnTo>
                  <a:lnTo>
                    <a:pt x="777" y="899"/>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899"/>
                  </a:lnTo>
                  <a:lnTo>
                    <a:pt x="793" y="899"/>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8" y="899"/>
                  </a:lnTo>
                  <a:lnTo>
                    <a:pt x="828" y="899"/>
                  </a:lnTo>
                  <a:lnTo>
                    <a:pt x="828" y="899"/>
                  </a:lnTo>
                  <a:lnTo>
                    <a:pt x="828" y="899"/>
                  </a:lnTo>
                  <a:lnTo>
                    <a:pt x="828" y="899"/>
                  </a:lnTo>
                  <a:lnTo>
                    <a:pt x="828" y="1240"/>
                  </a:lnTo>
                  <a:lnTo>
                    <a:pt x="828" y="1240"/>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899"/>
                  </a:lnTo>
                  <a:lnTo>
                    <a:pt x="836" y="899"/>
                  </a:lnTo>
                  <a:lnTo>
                    <a:pt x="836" y="899"/>
                  </a:lnTo>
                  <a:lnTo>
                    <a:pt x="836" y="899"/>
                  </a:lnTo>
                  <a:lnTo>
                    <a:pt x="836" y="899"/>
                  </a:lnTo>
                  <a:lnTo>
                    <a:pt x="836" y="899"/>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899"/>
                  </a:lnTo>
                  <a:lnTo>
                    <a:pt x="847" y="899"/>
                  </a:lnTo>
                  <a:lnTo>
                    <a:pt x="847" y="899"/>
                  </a:lnTo>
                  <a:lnTo>
                    <a:pt x="847" y="899"/>
                  </a:lnTo>
                  <a:lnTo>
                    <a:pt x="847"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8" y="899"/>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899"/>
                  </a:lnTo>
                  <a:lnTo>
                    <a:pt x="851" y="899"/>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82" y="899"/>
                  </a:lnTo>
                  <a:lnTo>
                    <a:pt x="882" y="899"/>
                  </a:lnTo>
                  <a:lnTo>
                    <a:pt x="882" y="899"/>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899"/>
                  </a:lnTo>
                  <a:lnTo>
                    <a:pt x="886" y="899"/>
                  </a:lnTo>
                  <a:lnTo>
                    <a:pt x="886" y="1213"/>
                  </a:lnTo>
                  <a:lnTo>
                    <a:pt x="886" y="1213"/>
                  </a:lnTo>
                  <a:lnTo>
                    <a:pt x="886" y="1213"/>
                  </a:lnTo>
                  <a:lnTo>
                    <a:pt x="887" y="1213"/>
                  </a:lnTo>
                  <a:lnTo>
                    <a:pt x="887" y="899"/>
                  </a:lnTo>
                  <a:lnTo>
                    <a:pt x="887" y="899"/>
                  </a:lnTo>
                  <a:lnTo>
                    <a:pt x="887" y="899"/>
                  </a:lnTo>
                  <a:lnTo>
                    <a:pt x="887" y="899"/>
                  </a:lnTo>
                  <a:lnTo>
                    <a:pt x="887" y="899"/>
                  </a:lnTo>
                  <a:lnTo>
                    <a:pt x="887" y="899"/>
                  </a:lnTo>
                  <a:lnTo>
                    <a:pt x="887" y="899"/>
                  </a:lnTo>
                  <a:lnTo>
                    <a:pt x="888" y="899"/>
                  </a:lnTo>
                  <a:lnTo>
                    <a:pt x="888" y="899"/>
                  </a:lnTo>
                  <a:lnTo>
                    <a:pt x="888" y="899"/>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899"/>
                  </a:lnTo>
                  <a:lnTo>
                    <a:pt x="899" y="899"/>
                  </a:lnTo>
                  <a:lnTo>
                    <a:pt x="899" y="899"/>
                  </a:lnTo>
                  <a:lnTo>
                    <a:pt x="899" y="899"/>
                  </a:lnTo>
                  <a:lnTo>
                    <a:pt x="899" y="899"/>
                  </a:lnTo>
                  <a:lnTo>
                    <a:pt x="899" y="899"/>
                  </a:lnTo>
                  <a:lnTo>
                    <a:pt x="899" y="899"/>
                  </a:lnTo>
                  <a:lnTo>
                    <a:pt x="899" y="899"/>
                  </a:lnTo>
                  <a:lnTo>
                    <a:pt x="899" y="899"/>
                  </a:lnTo>
                  <a:lnTo>
                    <a:pt x="900" y="899"/>
                  </a:lnTo>
                  <a:lnTo>
                    <a:pt x="900" y="899"/>
                  </a:lnTo>
                  <a:lnTo>
                    <a:pt x="900" y="899"/>
                  </a:lnTo>
                  <a:lnTo>
                    <a:pt x="900" y="899"/>
                  </a:lnTo>
                  <a:lnTo>
                    <a:pt x="902" y="899"/>
                  </a:lnTo>
                  <a:lnTo>
                    <a:pt x="902" y="899"/>
                  </a:lnTo>
                  <a:lnTo>
                    <a:pt x="907" y="899"/>
                  </a:lnTo>
                  <a:lnTo>
                    <a:pt x="907" y="899"/>
                  </a:lnTo>
                  <a:lnTo>
                    <a:pt x="909" y="899"/>
                  </a:lnTo>
                  <a:lnTo>
                    <a:pt x="909" y="899"/>
                  </a:lnTo>
                  <a:lnTo>
                    <a:pt x="910" y="899"/>
                  </a:lnTo>
                  <a:lnTo>
                    <a:pt x="910" y="899"/>
                  </a:lnTo>
                  <a:lnTo>
                    <a:pt x="910" y="899"/>
                  </a:lnTo>
                  <a:lnTo>
                    <a:pt x="910"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3" y="899"/>
                  </a:lnTo>
                  <a:lnTo>
                    <a:pt x="913" y="899"/>
                  </a:lnTo>
                  <a:lnTo>
                    <a:pt x="913" y="899"/>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899"/>
                  </a:lnTo>
                  <a:lnTo>
                    <a:pt x="929" y="899"/>
                  </a:lnTo>
                  <a:lnTo>
                    <a:pt x="929" y="899"/>
                  </a:lnTo>
                  <a:lnTo>
                    <a:pt x="931" y="899"/>
                  </a:lnTo>
                  <a:lnTo>
                    <a:pt x="931" y="899"/>
                  </a:lnTo>
                  <a:lnTo>
                    <a:pt x="932" y="899"/>
                  </a:lnTo>
                  <a:lnTo>
                    <a:pt x="932" y="899"/>
                  </a:lnTo>
                  <a:lnTo>
                    <a:pt x="932" y="899"/>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1192"/>
                  </a:lnTo>
                  <a:lnTo>
                    <a:pt x="935" y="1192"/>
                  </a:lnTo>
                  <a:lnTo>
                    <a:pt x="935" y="1192"/>
                  </a:lnTo>
                  <a:lnTo>
                    <a:pt x="935" y="1192"/>
                  </a:lnTo>
                  <a:lnTo>
                    <a:pt x="935" y="899"/>
                  </a:lnTo>
                  <a:lnTo>
                    <a:pt x="936" y="899"/>
                  </a:lnTo>
                  <a:lnTo>
                    <a:pt x="936" y="899"/>
                  </a:lnTo>
                  <a:lnTo>
                    <a:pt x="936" y="899"/>
                  </a:lnTo>
                  <a:lnTo>
                    <a:pt x="936" y="899"/>
                  </a:lnTo>
                  <a:lnTo>
                    <a:pt x="938" y="899"/>
                  </a:lnTo>
                  <a:lnTo>
                    <a:pt x="938" y="899"/>
                  </a:lnTo>
                  <a:lnTo>
                    <a:pt x="943" y="899"/>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899"/>
                  </a:lnTo>
                  <a:lnTo>
                    <a:pt x="948" y="899"/>
                  </a:lnTo>
                  <a:lnTo>
                    <a:pt x="948" y="1186"/>
                  </a:lnTo>
                  <a:lnTo>
                    <a:pt x="948" y="1186"/>
                  </a:lnTo>
                  <a:lnTo>
                    <a:pt x="948" y="899"/>
                  </a:lnTo>
                  <a:lnTo>
                    <a:pt x="949" y="899"/>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899"/>
                  </a:lnTo>
                  <a:lnTo>
                    <a:pt x="952" y="899"/>
                  </a:lnTo>
                  <a:lnTo>
                    <a:pt x="952" y="899"/>
                  </a:lnTo>
                  <a:lnTo>
                    <a:pt x="952" y="899"/>
                  </a:lnTo>
                  <a:lnTo>
                    <a:pt x="952" y="899"/>
                  </a:lnTo>
                  <a:lnTo>
                    <a:pt x="955" y="899"/>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899"/>
                  </a:lnTo>
                  <a:lnTo>
                    <a:pt x="1003" y="899"/>
                  </a:lnTo>
                  <a:lnTo>
                    <a:pt x="1003" y="1167"/>
                  </a:lnTo>
                  <a:lnTo>
                    <a:pt x="1004" y="1167"/>
                  </a:lnTo>
                  <a:lnTo>
                    <a:pt x="1004" y="1164"/>
                  </a:lnTo>
                  <a:lnTo>
                    <a:pt x="1004" y="1164"/>
                  </a:lnTo>
                  <a:lnTo>
                    <a:pt x="1004" y="1164"/>
                  </a:lnTo>
                  <a:lnTo>
                    <a:pt x="1004" y="1164"/>
                  </a:lnTo>
                  <a:lnTo>
                    <a:pt x="1004" y="1158"/>
                  </a:lnTo>
                  <a:lnTo>
                    <a:pt x="1004" y="1158"/>
                  </a:lnTo>
                  <a:lnTo>
                    <a:pt x="1004" y="899"/>
                  </a:lnTo>
                  <a:lnTo>
                    <a:pt x="1004" y="899"/>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899"/>
                  </a:lnTo>
                  <a:lnTo>
                    <a:pt x="1062" y="899"/>
                  </a:lnTo>
                  <a:lnTo>
                    <a:pt x="1062" y="899"/>
                  </a:lnTo>
                  <a:lnTo>
                    <a:pt x="1067" y="899"/>
                  </a:lnTo>
                  <a:lnTo>
                    <a:pt x="1067" y="899"/>
                  </a:lnTo>
                  <a:lnTo>
                    <a:pt x="1067" y="899"/>
                  </a:lnTo>
                  <a:lnTo>
                    <a:pt x="1067" y="899"/>
                  </a:lnTo>
                  <a:lnTo>
                    <a:pt x="1067" y="899"/>
                  </a:lnTo>
                  <a:lnTo>
                    <a:pt x="1067" y="899"/>
                  </a:lnTo>
                  <a:lnTo>
                    <a:pt x="1069" y="899"/>
                  </a:lnTo>
                  <a:lnTo>
                    <a:pt x="1069" y="1146"/>
                  </a:lnTo>
                  <a:lnTo>
                    <a:pt x="1069" y="1146"/>
                  </a:lnTo>
                  <a:lnTo>
                    <a:pt x="1069" y="1146"/>
                  </a:lnTo>
                  <a:lnTo>
                    <a:pt x="1069" y="1146"/>
                  </a:lnTo>
                  <a:lnTo>
                    <a:pt x="1069" y="899"/>
                  </a:lnTo>
                  <a:lnTo>
                    <a:pt x="1069" y="899"/>
                  </a:lnTo>
                  <a:lnTo>
                    <a:pt x="1069" y="899"/>
                  </a:lnTo>
                  <a:lnTo>
                    <a:pt x="1069" y="899"/>
                  </a:lnTo>
                  <a:lnTo>
                    <a:pt x="1069" y="899"/>
                  </a:lnTo>
                  <a:lnTo>
                    <a:pt x="1069" y="899"/>
                  </a:lnTo>
                  <a:lnTo>
                    <a:pt x="1069" y="899"/>
                  </a:lnTo>
                  <a:lnTo>
                    <a:pt x="1069" y="899"/>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899"/>
                  </a:lnTo>
                  <a:lnTo>
                    <a:pt x="1104" y="899"/>
                  </a:lnTo>
                  <a:lnTo>
                    <a:pt x="1104" y="899"/>
                  </a:lnTo>
                  <a:lnTo>
                    <a:pt x="1129" y="899"/>
                  </a:lnTo>
                  <a:lnTo>
                    <a:pt x="1129" y="899"/>
                  </a:lnTo>
                  <a:lnTo>
                    <a:pt x="1129" y="899"/>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899"/>
                  </a:lnTo>
                  <a:lnTo>
                    <a:pt x="1179" y="899"/>
                  </a:lnTo>
                  <a:lnTo>
                    <a:pt x="1179" y="899"/>
                  </a:lnTo>
                  <a:lnTo>
                    <a:pt x="1179" y="899"/>
                  </a:lnTo>
                  <a:lnTo>
                    <a:pt x="1179" y="899"/>
                  </a:lnTo>
                  <a:lnTo>
                    <a:pt x="1179" y="899"/>
                  </a:lnTo>
                  <a:lnTo>
                    <a:pt x="1179" y="899"/>
                  </a:lnTo>
                  <a:lnTo>
                    <a:pt x="1180" y="899"/>
                  </a:lnTo>
                  <a:lnTo>
                    <a:pt x="1180" y="899"/>
                  </a:lnTo>
                  <a:lnTo>
                    <a:pt x="1181" y="899"/>
                  </a:lnTo>
                  <a:lnTo>
                    <a:pt x="1181"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899"/>
                  </a:lnTo>
                  <a:lnTo>
                    <a:pt x="1322" y="899"/>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899"/>
                  </a:lnTo>
                  <a:lnTo>
                    <a:pt x="1326" y="899"/>
                  </a:lnTo>
                  <a:lnTo>
                    <a:pt x="1326" y="899"/>
                  </a:lnTo>
                  <a:lnTo>
                    <a:pt x="1326" y="899"/>
                  </a:lnTo>
                  <a:lnTo>
                    <a:pt x="1326" y="899"/>
                  </a:lnTo>
                  <a:lnTo>
                    <a:pt x="1326" y="899"/>
                  </a:lnTo>
                  <a:lnTo>
                    <a:pt x="1326" y="899"/>
                  </a:lnTo>
                  <a:lnTo>
                    <a:pt x="1327" y="899"/>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899"/>
                  </a:lnTo>
                  <a:lnTo>
                    <a:pt x="1333" y="899"/>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899"/>
                  </a:lnTo>
                  <a:lnTo>
                    <a:pt x="1367" y="899"/>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899"/>
                  </a:lnTo>
                  <a:lnTo>
                    <a:pt x="1387" y="899"/>
                  </a:lnTo>
                  <a:lnTo>
                    <a:pt x="1387" y="899"/>
                  </a:lnTo>
                  <a:lnTo>
                    <a:pt x="1387" y="899"/>
                  </a:lnTo>
                  <a:lnTo>
                    <a:pt x="1387" y="899"/>
                  </a:lnTo>
                  <a:lnTo>
                    <a:pt x="1387" y="899"/>
                  </a:lnTo>
                  <a:lnTo>
                    <a:pt x="1387" y="899"/>
                  </a:lnTo>
                  <a:lnTo>
                    <a:pt x="1388" y="899"/>
                  </a:lnTo>
                  <a:lnTo>
                    <a:pt x="1388" y="899"/>
                  </a:lnTo>
                  <a:lnTo>
                    <a:pt x="1388" y="899"/>
                  </a:lnTo>
                  <a:lnTo>
                    <a:pt x="1388" y="1063"/>
                  </a:lnTo>
                  <a:lnTo>
                    <a:pt x="1388" y="1063"/>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899"/>
                  </a:lnTo>
                  <a:lnTo>
                    <a:pt x="1404" y="899"/>
                  </a:lnTo>
                  <a:lnTo>
                    <a:pt x="1404" y="899"/>
                  </a:lnTo>
                  <a:lnTo>
                    <a:pt x="1404" y="899"/>
                  </a:lnTo>
                  <a:lnTo>
                    <a:pt x="1404" y="899"/>
                  </a:lnTo>
                  <a:lnTo>
                    <a:pt x="1404" y="899"/>
                  </a:lnTo>
                  <a:lnTo>
                    <a:pt x="1404" y="899"/>
                  </a:lnTo>
                  <a:lnTo>
                    <a:pt x="1404" y="899"/>
                  </a:lnTo>
                  <a:lnTo>
                    <a:pt x="1404" y="899"/>
                  </a:lnTo>
                  <a:lnTo>
                    <a:pt x="1404" y="899"/>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3" y="899"/>
                  </a:lnTo>
                  <a:lnTo>
                    <a:pt x="1413" y="899"/>
                  </a:lnTo>
                  <a:lnTo>
                    <a:pt x="1413" y="899"/>
                  </a:lnTo>
                  <a:lnTo>
                    <a:pt x="1413" y="899"/>
                  </a:lnTo>
                  <a:lnTo>
                    <a:pt x="1413" y="899"/>
                  </a:lnTo>
                  <a:lnTo>
                    <a:pt x="1413" y="899"/>
                  </a:lnTo>
                  <a:lnTo>
                    <a:pt x="1414" y="899"/>
                  </a:lnTo>
                  <a:lnTo>
                    <a:pt x="1414" y="899"/>
                  </a:lnTo>
                  <a:lnTo>
                    <a:pt x="1421" y="899"/>
                  </a:lnTo>
                  <a:lnTo>
                    <a:pt x="1421" y="1042"/>
                  </a:lnTo>
                  <a:lnTo>
                    <a:pt x="1422" y="1042"/>
                  </a:lnTo>
                  <a:lnTo>
                    <a:pt x="1422" y="1042"/>
                  </a:lnTo>
                  <a:lnTo>
                    <a:pt x="1423" y="1042"/>
                  </a:lnTo>
                  <a:lnTo>
                    <a:pt x="1423" y="1042"/>
                  </a:lnTo>
                  <a:lnTo>
                    <a:pt x="1425" y="1042"/>
                  </a:lnTo>
                  <a:lnTo>
                    <a:pt x="1425" y="1042"/>
                  </a:lnTo>
                  <a:lnTo>
                    <a:pt x="1432" y="1042"/>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899"/>
                  </a:lnTo>
                  <a:lnTo>
                    <a:pt x="1439" y="899"/>
                  </a:lnTo>
                  <a:lnTo>
                    <a:pt x="1439" y="899"/>
                  </a:lnTo>
                  <a:lnTo>
                    <a:pt x="1441" y="899"/>
                  </a:lnTo>
                  <a:lnTo>
                    <a:pt x="1441" y="899"/>
                  </a:lnTo>
                  <a:lnTo>
                    <a:pt x="1453" y="899"/>
                  </a:lnTo>
                  <a:lnTo>
                    <a:pt x="1453" y="899"/>
                  </a:lnTo>
                  <a:lnTo>
                    <a:pt x="1453" y="899"/>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1033"/>
                  </a:lnTo>
                  <a:lnTo>
                    <a:pt x="1475" y="1033"/>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1029"/>
                  </a:lnTo>
                  <a:lnTo>
                    <a:pt x="1478" y="1029"/>
                  </a:lnTo>
                  <a:lnTo>
                    <a:pt x="1478" y="899"/>
                  </a:lnTo>
                  <a:lnTo>
                    <a:pt x="1478" y="899"/>
                  </a:lnTo>
                  <a:lnTo>
                    <a:pt x="1478" y="1029"/>
                  </a:lnTo>
                  <a:lnTo>
                    <a:pt x="1478" y="1029"/>
                  </a:lnTo>
                  <a:lnTo>
                    <a:pt x="1478" y="1029"/>
                  </a:lnTo>
                  <a:lnTo>
                    <a:pt x="1478" y="1029"/>
                  </a:lnTo>
                  <a:lnTo>
                    <a:pt x="1478" y="899"/>
                  </a:lnTo>
                  <a:lnTo>
                    <a:pt x="1479" y="899"/>
                  </a:lnTo>
                  <a:lnTo>
                    <a:pt x="1479"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1019"/>
                  </a:lnTo>
                  <a:lnTo>
                    <a:pt x="1484" y="1019"/>
                  </a:lnTo>
                  <a:lnTo>
                    <a:pt x="1484" y="1017"/>
                  </a:lnTo>
                  <a:lnTo>
                    <a:pt x="1484" y="1017"/>
                  </a:lnTo>
                  <a:lnTo>
                    <a:pt x="1484" y="1017"/>
                  </a:lnTo>
                  <a:lnTo>
                    <a:pt x="1484" y="1017"/>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899"/>
                  </a:lnTo>
                  <a:lnTo>
                    <a:pt x="1695" y="899"/>
                  </a:lnTo>
                  <a:lnTo>
                    <a:pt x="1695" y="899"/>
                  </a:lnTo>
                  <a:lnTo>
                    <a:pt x="1698" y="899"/>
                  </a:lnTo>
                  <a:lnTo>
                    <a:pt x="1698" y="1005"/>
                  </a:lnTo>
                  <a:lnTo>
                    <a:pt x="1698" y="1005"/>
                  </a:lnTo>
                  <a:lnTo>
                    <a:pt x="1698" y="1005"/>
                  </a:lnTo>
                  <a:lnTo>
                    <a:pt x="1699" y="1005"/>
                  </a:lnTo>
                  <a:lnTo>
                    <a:pt x="1699" y="1004"/>
                  </a:lnTo>
                  <a:lnTo>
                    <a:pt x="1699" y="1004"/>
                  </a:lnTo>
                  <a:lnTo>
                    <a:pt x="1699" y="1004"/>
                  </a:lnTo>
                  <a:lnTo>
                    <a:pt x="1699" y="1004"/>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899"/>
                  </a:lnTo>
                  <a:lnTo>
                    <a:pt x="1814" y="899"/>
                  </a:lnTo>
                  <a:lnTo>
                    <a:pt x="1814" y="970"/>
                  </a:lnTo>
                  <a:lnTo>
                    <a:pt x="1814" y="970"/>
                  </a:lnTo>
                  <a:lnTo>
                    <a:pt x="1814" y="970"/>
                  </a:lnTo>
                  <a:lnTo>
                    <a:pt x="1814" y="970"/>
                  </a:lnTo>
                  <a:lnTo>
                    <a:pt x="1814" y="970"/>
                  </a:lnTo>
                  <a:lnTo>
                    <a:pt x="1815" y="970"/>
                  </a:lnTo>
                  <a:lnTo>
                    <a:pt x="1815" y="899"/>
                  </a:lnTo>
                  <a:lnTo>
                    <a:pt x="1817" y="899"/>
                  </a:lnTo>
                  <a:lnTo>
                    <a:pt x="1817" y="966"/>
                  </a:lnTo>
                  <a:lnTo>
                    <a:pt x="1817" y="966"/>
                  </a:lnTo>
                  <a:lnTo>
                    <a:pt x="1817" y="966"/>
                  </a:lnTo>
                  <a:lnTo>
                    <a:pt x="1820" y="966"/>
                  </a:lnTo>
                  <a:lnTo>
                    <a:pt x="1820" y="966"/>
                  </a:lnTo>
                  <a:lnTo>
                    <a:pt x="1844" y="966"/>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899"/>
                  </a:lnTo>
                  <a:lnTo>
                    <a:pt x="1855" y="899"/>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899"/>
                  </a:lnTo>
                  <a:lnTo>
                    <a:pt x="1944" y="899"/>
                  </a:lnTo>
                  <a:lnTo>
                    <a:pt x="1944" y="899"/>
                  </a:lnTo>
                  <a:lnTo>
                    <a:pt x="1944" y="899"/>
                  </a:lnTo>
                  <a:lnTo>
                    <a:pt x="1944" y="899"/>
                  </a:lnTo>
                  <a:lnTo>
                    <a:pt x="1944" y="899"/>
                  </a:lnTo>
                  <a:lnTo>
                    <a:pt x="1944" y="899"/>
                  </a:lnTo>
                  <a:lnTo>
                    <a:pt x="1944" y="899"/>
                  </a:lnTo>
                  <a:lnTo>
                    <a:pt x="1944" y="920"/>
                  </a:lnTo>
                  <a:lnTo>
                    <a:pt x="1944" y="920"/>
                  </a:lnTo>
                  <a:lnTo>
                    <a:pt x="1944" y="920"/>
                  </a:lnTo>
                  <a:lnTo>
                    <a:pt x="1945" y="920"/>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8" y="899"/>
                  </a:lnTo>
                  <a:lnTo>
                    <a:pt x="1948" y="899"/>
                  </a:lnTo>
                  <a:lnTo>
                    <a:pt x="1948" y="899"/>
                  </a:lnTo>
                  <a:lnTo>
                    <a:pt x="1948" y="916"/>
                  </a:lnTo>
                  <a:lnTo>
                    <a:pt x="1948" y="916"/>
                  </a:lnTo>
                  <a:lnTo>
                    <a:pt x="1948" y="916"/>
                  </a:lnTo>
                  <a:lnTo>
                    <a:pt x="1948" y="916"/>
                  </a:lnTo>
                  <a:lnTo>
                    <a:pt x="1948" y="899"/>
                  </a:lnTo>
                  <a:lnTo>
                    <a:pt x="1948" y="899"/>
                  </a:lnTo>
                  <a:lnTo>
                    <a:pt x="1948" y="915"/>
                  </a:lnTo>
                  <a:lnTo>
                    <a:pt x="1948" y="915"/>
                  </a:lnTo>
                  <a:lnTo>
                    <a:pt x="1948"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899"/>
                  </a:lnTo>
                  <a:lnTo>
                    <a:pt x="2055" y="899"/>
                  </a:lnTo>
                  <a:lnTo>
                    <a:pt x="2055" y="899"/>
                  </a:lnTo>
                  <a:lnTo>
                    <a:pt x="2055" y="899"/>
                  </a:lnTo>
                  <a:lnTo>
                    <a:pt x="2055" y="899"/>
                  </a:lnTo>
                  <a:lnTo>
                    <a:pt x="2055" y="899"/>
                  </a:lnTo>
                  <a:lnTo>
                    <a:pt x="2055" y="899"/>
                  </a:lnTo>
                  <a:lnTo>
                    <a:pt x="2055" y="899"/>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9"/>
                  </a:lnTo>
                  <a:lnTo>
                    <a:pt x="2059" y="899"/>
                  </a:lnTo>
                  <a:lnTo>
                    <a:pt x="2059" y="899"/>
                  </a:lnTo>
                  <a:lnTo>
                    <a:pt x="2059" y="899"/>
                  </a:lnTo>
                  <a:lnTo>
                    <a:pt x="2059" y="899"/>
                  </a:lnTo>
                  <a:lnTo>
                    <a:pt x="2059" y="899"/>
                  </a:lnTo>
                  <a:lnTo>
                    <a:pt x="2059" y="892"/>
                  </a:lnTo>
                  <a:lnTo>
                    <a:pt x="2059" y="892"/>
                  </a:lnTo>
                  <a:lnTo>
                    <a:pt x="2059" y="899"/>
                  </a:lnTo>
                  <a:lnTo>
                    <a:pt x="2060" y="899"/>
                  </a:lnTo>
                  <a:lnTo>
                    <a:pt x="2060" y="892"/>
                  </a:lnTo>
                  <a:lnTo>
                    <a:pt x="2060" y="892"/>
                  </a:lnTo>
                  <a:lnTo>
                    <a:pt x="2060" y="892"/>
                  </a:lnTo>
                  <a:lnTo>
                    <a:pt x="2061" y="892"/>
                  </a:lnTo>
                  <a:lnTo>
                    <a:pt x="2061" y="892"/>
                  </a:lnTo>
                  <a:lnTo>
                    <a:pt x="2064" y="892"/>
                  </a:lnTo>
                  <a:lnTo>
                    <a:pt x="2064"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99"/>
                  </a:lnTo>
                  <a:lnTo>
                    <a:pt x="2079" y="899"/>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99"/>
                  </a:lnTo>
                  <a:lnTo>
                    <a:pt x="2089" y="899"/>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99"/>
                  </a:lnTo>
                  <a:lnTo>
                    <a:pt x="2135" y="899"/>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99"/>
                  </a:lnTo>
                  <a:lnTo>
                    <a:pt x="2149" y="899"/>
                  </a:lnTo>
                  <a:lnTo>
                    <a:pt x="2149" y="899"/>
                  </a:lnTo>
                  <a:lnTo>
                    <a:pt x="2149" y="899"/>
                  </a:lnTo>
                  <a:lnTo>
                    <a:pt x="2149" y="899"/>
                  </a:lnTo>
                  <a:lnTo>
                    <a:pt x="2149" y="899"/>
                  </a:lnTo>
                  <a:lnTo>
                    <a:pt x="2149" y="899"/>
                  </a:lnTo>
                  <a:lnTo>
                    <a:pt x="2149" y="899"/>
                  </a:lnTo>
                  <a:lnTo>
                    <a:pt x="2149"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3" y="899"/>
                  </a:lnTo>
                  <a:lnTo>
                    <a:pt x="2153" y="899"/>
                  </a:lnTo>
                  <a:lnTo>
                    <a:pt x="2153" y="89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99"/>
                  </a:lnTo>
                  <a:lnTo>
                    <a:pt x="2154" y="899"/>
                  </a:lnTo>
                  <a:lnTo>
                    <a:pt x="2154" y="899"/>
                  </a:lnTo>
                  <a:lnTo>
                    <a:pt x="2154" y="899"/>
                  </a:lnTo>
                  <a:lnTo>
                    <a:pt x="2154" y="899"/>
                  </a:lnTo>
                  <a:lnTo>
                    <a:pt x="2154" y="899"/>
                  </a:lnTo>
                  <a:lnTo>
                    <a:pt x="2154" y="899"/>
                  </a:lnTo>
                  <a:lnTo>
                    <a:pt x="2154" y="899"/>
                  </a:lnTo>
                  <a:lnTo>
                    <a:pt x="2154" y="899"/>
                  </a:lnTo>
                  <a:lnTo>
                    <a:pt x="2155" y="899"/>
                  </a:lnTo>
                  <a:lnTo>
                    <a:pt x="2155" y="863"/>
                  </a:lnTo>
                  <a:lnTo>
                    <a:pt x="2155" y="863"/>
                  </a:lnTo>
                  <a:lnTo>
                    <a:pt x="2155" y="863"/>
                  </a:lnTo>
                  <a:lnTo>
                    <a:pt x="2158" y="863"/>
                  </a:lnTo>
                  <a:lnTo>
                    <a:pt x="2158" y="863"/>
                  </a:lnTo>
                  <a:lnTo>
                    <a:pt x="2175" y="863"/>
                  </a:lnTo>
                  <a:lnTo>
                    <a:pt x="2175" y="899"/>
                  </a:lnTo>
                  <a:lnTo>
                    <a:pt x="2175" y="899"/>
                  </a:lnTo>
                  <a:lnTo>
                    <a:pt x="2175" y="899"/>
                  </a:lnTo>
                  <a:lnTo>
                    <a:pt x="2175" y="899"/>
                  </a:lnTo>
                  <a:lnTo>
                    <a:pt x="2175" y="899"/>
                  </a:lnTo>
                  <a:lnTo>
                    <a:pt x="2175" y="899"/>
                  </a:lnTo>
                  <a:lnTo>
                    <a:pt x="2175" y="862"/>
                  </a:lnTo>
                  <a:lnTo>
                    <a:pt x="2175" y="862"/>
                  </a:lnTo>
                  <a:lnTo>
                    <a:pt x="2175" y="899"/>
                  </a:lnTo>
                  <a:lnTo>
                    <a:pt x="2176" y="899"/>
                  </a:lnTo>
                  <a:lnTo>
                    <a:pt x="2176" y="862"/>
                  </a:lnTo>
                  <a:lnTo>
                    <a:pt x="2178" y="862"/>
                  </a:lnTo>
                  <a:lnTo>
                    <a:pt x="2178" y="861"/>
                  </a:lnTo>
                  <a:lnTo>
                    <a:pt x="2182" y="861"/>
                  </a:lnTo>
                  <a:lnTo>
                    <a:pt x="2182" y="899"/>
                  </a:lnTo>
                  <a:lnTo>
                    <a:pt x="2182" y="899"/>
                  </a:lnTo>
                  <a:lnTo>
                    <a:pt x="2182" y="899"/>
                  </a:lnTo>
                  <a:lnTo>
                    <a:pt x="2182" y="899"/>
                  </a:lnTo>
                  <a:lnTo>
                    <a:pt x="2182" y="899"/>
                  </a:lnTo>
                  <a:lnTo>
                    <a:pt x="2182" y="899"/>
                  </a:lnTo>
                  <a:lnTo>
                    <a:pt x="2182" y="899"/>
                  </a:lnTo>
                  <a:lnTo>
                    <a:pt x="2183" y="899"/>
                  </a:lnTo>
                  <a:lnTo>
                    <a:pt x="2183" y="899"/>
                  </a:lnTo>
                  <a:lnTo>
                    <a:pt x="2183" y="899"/>
                  </a:lnTo>
                  <a:lnTo>
                    <a:pt x="2183" y="899"/>
                  </a:lnTo>
                  <a:lnTo>
                    <a:pt x="2183" y="899"/>
                  </a:lnTo>
                  <a:lnTo>
                    <a:pt x="2183" y="899"/>
                  </a:lnTo>
                  <a:lnTo>
                    <a:pt x="2183" y="899"/>
                  </a:lnTo>
                  <a:lnTo>
                    <a:pt x="2183" y="854"/>
                  </a:lnTo>
                  <a:lnTo>
                    <a:pt x="2183" y="854"/>
                  </a:lnTo>
                  <a:lnTo>
                    <a:pt x="2183" y="854"/>
                  </a:lnTo>
                  <a:lnTo>
                    <a:pt x="2183" y="854"/>
                  </a:lnTo>
                  <a:lnTo>
                    <a:pt x="2183" y="851"/>
                  </a:lnTo>
                  <a:lnTo>
                    <a:pt x="2183" y="851"/>
                  </a:lnTo>
                  <a:lnTo>
                    <a:pt x="2183" y="851"/>
                  </a:lnTo>
                  <a:lnTo>
                    <a:pt x="2183" y="851"/>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44"/>
                  </a:lnTo>
                  <a:lnTo>
                    <a:pt x="2186" y="844"/>
                  </a:lnTo>
                  <a:lnTo>
                    <a:pt x="2186" y="899"/>
                  </a:lnTo>
                  <a:lnTo>
                    <a:pt x="2186" y="899"/>
                  </a:lnTo>
                  <a:lnTo>
                    <a:pt x="2186" y="899"/>
                  </a:lnTo>
                  <a:lnTo>
                    <a:pt x="2186" y="899"/>
                  </a:lnTo>
                  <a:lnTo>
                    <a:pt x="2186" y="899"/>
                  </a:lnTo>
                  <a:lnTo>
                    <a:pt x="2186" y="899"/>
                  </a:lnTo>
                  <a:lnTo>
                    <a:pt x="2186" y="899"/>
                  </a:lnTo>
                  <a:lnTo>
                    <a:pt x="2186" y="899"/>
                  </a:lnTo>
                  <a:lnTo>
                    <a:pt x="2186"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5" y="899"/>
                  </a:lnTo>
                  <a:lnTo>
                    <a:pt x="2215" y="899"/>
                  </a:lnTo>
                  <a:lnTo>
                    <a:pt x="2215" y="899"/>
                  </a:lnTo>
                  <a:lnTo>
                    <a:pt x="2215" y="899"/>
                  </a:lnTo>
                  <a:lnTo>
                    <a:pt x="2215" y="899"/>
                  </a:lnTo>
                  <a:lnTo>
                    <a:pt x="2215" y="899"/>
                  </a:lnTo>
                  <a:lnTo>
                    <a:pt x="2216" y="899"/>
                  </a:lnTo>
                  <a:lnTo>
                    <a:pt x="2216"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33" y="899"/>
                  </a:lnTo>
                  <a:lnTo>
                    <a:pt x="2233"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40" y="899"/>
                  </a:lnTo>
                  <a:lnTo>
                    <a:pt x="2240" y="899"/>
                  </a:lnTo>
                  <a:lnTo>
                    <a:pt x="2240" y="899"/>
                  </a:lnTo>
                  <a:lnTo>
                    <a:pt x="2240" y="899"/>
                  </a:lnTo>
                  <a:lnTo>
                    <a:pt x="2240" y="899"/>
                  </a:lnTo>
                  <a:lnTo>
                    <a:pt x="2240" y="899"/>
                  </a:lnTo>
                  <a:lnTo>
                    <a:pt x="2241" y="899"/>
                  </a:lnTo>
                  <a:lnTo>
                    <a:pt x="2241" y="899"/>
                  </a:lnTo>
                  <a:lnTo>
                    <a:pt x="2241" y="899"/>
                  </a:lnTo>
                  <a:lnTo>
                    <a:pt x="2241" y="899"/>
                  </a:lnTo>
                  <a:lnTo>
                    <a:pt x="2243" y="899"/>
                  </a:lnTo>
                  <a:lnTo>
                    <a:pt x="2243" y="899"/>
                  </a:lnTo>
                  <a:lnTo>
                    <a:pt x="2249" y="899"/>
                  </a:lnTo>
                  <a:lnTo>
                    <a:pt x="2249" y="899"/>
                  </a:lnTo>
                  <a:lnTo>
                    <a:pt x="2265" y="899"/>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99"/>
                  </a:lnTo>
                  <a:lnTo>
                    <a:pt x="2273" y="899"/>
                  </a:lnTo>
                  <a:lnTo>
                    <a:pt x="2273" y="899"/>
                  </a:lnTo>
                  <a:lnTo>
                    <a:pt x="2273" y="899"/>
                  </a:lnTo>
                  <a:lnTo>
                    <a:pt x="2273" y="899"/>
                  </a:lnTo>
                  <a:lnTo>
                    <a:pt x="2273" y="899"/>
                  </a:lnTo>
                  <a:lnTo>
                    <a:pt x="2273" y="899"/>
                  </a:lnTo>
                  <a:lnTo>
                    <a:pt x="2273" y="899"/>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99"/>
                  </a:lnTo>
                  <a:lnTo>
                    <a:pt x="2293" y="899"/>
                  </a:lnTo>
                  <a:lnTo>
                    <a:pt x="2293" y="806"/>
                  </a:lnTo>
                  <a:lnTo>
                    <a:pt x="2294" y="806"/>
                  </a:lnTo>
                  <a:lnTo>
                    <a:pt x="2294" y="806"/>
                  </a:lnTo>
                  <a:lnTo>
                    <a:pt x="2298" y="806"/>
                  </a:lnTo>
                  <a:lnTo>
                    <a:pt x="2298" y="806"/>
                  </a:lnTo>
                  <a:lnTo>
                    <a:pt x="2298" y="806"/>
                  </a:lnTo>
                  <a:lnTo>
                    <a:pt x="2298" y="806"/>
                  </a:lnTo>
                  <a:lnTo>
                    <a:pt x="2298" y="806"/>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899"/>
                  </a:lnTo>
                  <a:lnTo>
                    <a:pt x="2311" y="899"/>
                  </a:lnTo>
                  <a:lnTo>
                    <a:pt x="2311" y="899"/>
                  </a:lnTo>
                  <a:lnTo>
                    <a:pt x="2350" y="899"/>
                  </a:lnTo>
                  <a:lnTo>
                    <a:pt x="2350" y="899"/>
                  </a:lnTo>
                  <a:lnTo>
                    <a:pt x="2350" y="899"/>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899"/>
                  </a:lnTo>
                  <a:lnTo>
                    <a:pt x="2409" y="899"/>
                  </a:lnTo>
                  <a:lnTo>
                    <a:pt x="2409" y="899"/>
                  </a:lnTo>
                  <a:lnTo>
                    <a:pt x="2409" y="899"/>
                  </a:lnTo>
                  <a:lnTo>
                    <a:pt x="2409" y="899"/>
                  </a:lnTo>
                  <a:lnTo>
                    <a:pt x="2409" y="899"/>
                  </a:lnTo>
                  <a:lnTo>
                    <a:pt x="2409" y="796"/>
                  </a:lnTo>
                  <a:lnTo>
                    <a:pt x="2409" y="796"/>
                  </a:lnTo>
                  <a:lnTo>
                    <a:pt x="2409" y="899"/>
                  </a:lnTo>
                  <a:lnTo>
                    <a:pt x="2409" y="899"/>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899"/>
                  </a:lnTo>
                  <a:lnTo>
                    <a:pt x="2630" y="899"/>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899"/>
                  </a:lnTo>
                  <a:lnTo>
                    <a:pt x="2690" y="899"/>
                  </a:lnTo>
                  <a:lnTo>
                    <a:pt x="2690"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899"/>
                  </a:lnTo>
                  <a:lnTo>
                    <a:pt x="2693" y="899"/>
                  </a:lnTo>
                  <a:lnTo>
                    <a:pt x="2693" y="899"/>
                  </a:lnTo>
                  <a:lnTo>
                    <a:pt x="2694" y="899"/>
                  </a:lnTo>
                  <a:lnTo>
                    <a:pt x="2694" y="899"/>
                  </a:lnTo>
                  <a:lnTo>
                    <a:pt x="2697" y="899"/>
                  </a:lnTo>
                  <a:lnTo>
                    <a:pt x="2697" y="899"/>
                  </a:lnTo>
                  <a:lnTo>
                    <a:pt x="2702" y="899"/>
                  </a:lnTo>
                  <a:lnTo>
                    <a:pt x="2702" y="899"/>
                  </a:lnTo>
                  <a:lnTo>
                    <a:pt x="2702" y="899"/>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899"/>
                  </a:lnTo>
                  <a:lnTo>
                    <a:pt x="2735" y="899"/>
                  </a:lnTo>
                  <a:lnTo>
                    <a:pt x="2735" y="654"/>
                  </a:lnTo>
                  <a:lnTo>
                    <a:pt x="2736" y="654"/>
                  </a:lnTo>
                  <a:lnTo>
                    <a:pt x="2736" y="654"/>
                  </a:lnTo>
                  <a:lnTo>
                    <a:pt x="2748" y="654"/>
                  </a:lnTo>
                  <a:lnTo>
                    <a:pt x="2748" y="899"/>
                  </a:lnTo>
                  <a:lnTo>
                    <a:pt x="2752" y="899"/>
                  </a:lnTo>
                  <a:lnTo>
                    <a:pt x="2752" y="899"/>
                  </a:lnTo>
                  <a:lnTo>
                    <a:pt x="2775" y="899"/>
                  </a:lnTo>
                  <a:lnTo>
                    <a:pt x="2775" y="652"/>
                  </a:lnTo>
                  <a:lnTo>
                    <a:pt x="2775" y="652"/>
                  </a:lnTo>
                  <a:lnTo>
                    <a:pt x="2775" y="652"/>
                  </a:lnTo>
                  <a:lnTo>
                    <a:pt x="2775" y="652"/>
                  </a:lnTo>
                  <a:lnTo>
                    <a:pt x="2775" y="652"/>
                  </a:lnTo>
                  <a:lnTo>
                    <a:pt x="2775" y="652"/>
                  </a:lnTo>
                  <a:lnTo>
                    <a:pt x="2775"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623"/>
                  </a:lnTo>
                  <a:lnTo>
                    <a:pt x="2837" y="623"/>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8" y="899"/>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899"/>
                  </a:lnTo>
                  <a:lnTo>
                    <a:pt x="2903" y="899"/>
                  </a:lnTo>
                  <a:lnTo>
                    <a:pt x="2903"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6" y="899"/>
                  </a:lnTo>
                  <a:lnTo>
                    <a:pt x="2906" y="899"/>
                  </a:lnTo>
                  <a:lnTo>
                    <a:pt x="2909" y="899"/>
                  </a:lnTo>
                  <a:lnTo>
                    <a:pt x="2909" y="899"/>
                  </a:lnTo>
                  <a:lnTo>
                    <a:pt x="2913" y="899"/>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899"/>
                  </a:lnTo>
                  <a:lnTo>
                    <a:pt x="3058" y="899"/>
                  </a:lnTo>
                  <a:lnTo>
                    <a:pt x="3058" y="899"/>
                  </a:lnTo>
                  <a:lnTo>
                    <a:pt x="3060" y="899"/>
                  </a:lnTo>
                  <a:lnTo>
                    <a:pt x="3060"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76" y="899"/>
                  </a:lnTo>
                  <a:lnTo>
                    <a:pt x="3076" y="899"/>
                  </a:lnTo>
                  <a:lnTo>
                    <a:pt x="3101" y="899"/>
                  </a:lnTo>
                  <a:lnTo>
                    <a:pt x="3101" y="899"/>
                  </a:lnTo>
                  <a:lnTo>
                    <a:pt x="3156" y="899"/>
                  </a:lnTo>
                  <a:lnTo>
                    <a:pt x="3156" y="899"/>
                  </a:lnTo>
                  <a:lnTo>
                    <a:pt x="3156" y="899"/>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623"/>
                  </a:lnTo>
                  <a:lnTo>
                    <a:pt x="2837" y="623"/>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652"/>
                  </a:lnTo>
                  <a:lnTo>
                    <a:pt x="2775" y="652"/>
                  </a:lnTo>
                  <a:lnTo>
                    <a:pt x="2775" y="652"/>
                  </a:lnTo>
                  <a:lnTo>
                    <a:pt x="2775" y="652"/>
                  </a:lnTo>
                  <a:lnTo>
                    <a:pt x="2775" y="652"/>
                  </a:lnTo>
                  <a:lnTo>
                    <a:pt x="2775" y="652"/>
                  </a:lnTo>
                  <a:lnTo>
                    <a:pt x="2775" y="899"/>
                  </a:lnTo>
                  <a:lnTo>
                    <a:pt x="2752" y="899"/>
                  </a:lnTo>
                  <a:lnTo>
                    <a:pt x="2752" y="899"/>
                  </a:lnTo>
                  <a:lnTo>
                    <a:pt x="2748" y="899"/>
                  </a:lnTo>
                  <a:lnTo>
                    <a:pt x="2748" y="654"/>
                  </a:lnTo>
                  <a:lnTo>
                    <a:pt x="2736" y="654"/>
                  </a:lnTo>
                  <a:lnTo>
                    <a:pt x="2736" y="654"/>
                  </a:lnTo>
                  <a:lnTo>
                    <a:pt x="2735" y="654"/>
                  </a:lnTo>
                  <a:lnTo>
                    <a:pt x="2735" y="899"/>
                  </a:lnTo>
                  <a:lnTo>
                    <a:pt x="2735" y="899"/>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2" y="899"/>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0" y="899"/>
                  </a:lnTo>
                  <a:lnTo>
                    <a:pt x="2690" y="899"/>
                  </a:lnTo>
                  <a:lnTo>
                    <a:pt x="2689" y="899"/>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899"/>
                  </a:lnTo>
                  <a:lnTo>
                    <a:pt x="2613" y="899"/>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4" y="899"/>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899"/>
                  </a:lnTo>
                  <a:lnTo>
                    <a:pt x="2409" y="899"/>
                  </a:lnTo>
                  <a:lnTo>
                    <a:pt x="2409" y="796"/>
                  </a:lnTo>
                  <a:lnTo>
                    <a:pt x="2409" y="796"/>
                  </a:lnTo>
                  <a:lnTo>
                    <a:pt x="2409" y="899"/>
                  </a:lnTo>
                  <a:lnTo>
                    <a:pt x="2409" y="899"/>
                  </a:lnTo>
                  <a:lnTo>
                    <a:pt x="2409" y="899"/>
                  </a:lnTo>
                  <a:lnTo>
                    <a:pt x="2409" y="899"/>
                  </a:lnTo>
                  <a:lnTo>
                    <a:pt x="2409" y="899"/>
                  </a:lnTo>
                  <a:lnTo>
                    <a:pt x="2409" y="899"/>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899"/>
                  </a:lnTo>
                  <a:lnTo>
                    <a:pt x="2350" y="899"/>
                  </a:lnTo>
                  <a:lnTo>
                    <a:pt x="2350" y="899"/>
                  </a:lnTo>
                  <a:lnTo>
                    <a:pt x="2311" y="899"/>
                  </a:lnTo>
                  <a:lnTo>
                    <a:pt x="2311" y="899"/>
                  </a:lnTo>
                  <a:lnTo>
                    <a:pt x="2308" y="8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6"/>
                  </a:lnTo>
                  <a:lnTo>
                    <a:pt x="2298" y="806"/>
                  </a:lnTo>
                  <a:lnTo>
                    <a:pt x="2298" y="806"/>
                  </a:lnTo>
                  <a:lnTo>
                    <a:pt x="2298" y="806"/>
                  </a:lnTo>
                  <a:lnTo>
                    <a:pt x="2298" y="806"/>
                  </a:lnTo>
                  <a:lnTo>
                    <a:pt x="2294" y="806"/>
                  </a:lnTo>
                  <a:lnTo>
                    <a:pt x="2294" y="806"/>
                  </a:lnTo>
                  <a:lnTo>
                    <a:pt x="2293" y="806"/>
                  </a:lnTo>
                  <a:lnTo>
                    <a:pt x="2293" y="899"/>
                  </a:lnTo>
                  <a:lnTo>
                    <a:pt x="2292" y="899"/>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99"/>
                  </a:lnTo>
                  <a:lnTo>
                    <a:pt x="2273" y="899"/>
                  </a:lnTo>
                  <a:lnTo>
                    <a:pt x="2273" y="899"/>
                  </a:lnTo>
                  <a:lnTo>
                    <a:pt x="2273" y="899"/>
                  </a:lnTo>
                  <a:lnTo>
                    <a:pt x="2273" y="899"/>
                  </a:lnTo>
                  <a:lnTo>
                    <a:pt x="2273" y="899"/>
                  </a:lnTo>
                  <a:lnTo>
                    <a:pt x="2273" y="899"/>
                  </a:lnTo>
                  <a:lnTo>
                    <a:pt x="2273" y="899"/>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51"/>
                  </a:lnTo>
                  <a:lnTo>
                    <a:pt x="2183" y="851"/>
                  </a:lnTo>
                  <a:lnTo>
                    <a:pt x="2183" y="851"/>
                  </a:lnTo>
                  <a:lnTo>
                    <a:pt x="2183" y="851"/>
                  </a:lnTo>
                  <a:lnTo>
                    <a:pt x="2183" y="854"/>
                  </a:lnTo>
                  <a:lnTo>
                    <a:pt x="2183" y="854"/>
                  </a:lnTo>
                  <a:lnTo>
                    <a:pt x="2183" y="854"/>
                  </a:lnTo>
                  <a:lnTo>
                    <a:pt x="2183" y="854"/>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61"/>
                  </a:lnTo>
                  <a:lnTo>
                    <a:pt x="2178" y="861"/>
                  </a:lnTo>
                  <a:lnTo>
                    <a:pt x="2178" y="862"/>
                  </a:lnTo>
                  <a:lnTo>
                    <a:pt x="2176" y="862"/>
                  </a:lnTo>
                  <a:lnTo>
                    <a:pt x="2176" y="899"/>
                  </a:lnTo>
                  <a:lnTo>
                    <a:pt x="2175" y="899"/>
                  </a:lnTo>
                  <a:lnTo>
                    <a:pt x="2175" y="862"/>
                  </a:lnTo>
                  <a:lnTo>
                    <a:pt x="2175" y="862"/>
                  </a:lnTo>
                  <a:lnTo>
                    <a:pt x="2175" y="899"/>
                  </a:lnTo>
                  <a:lnTo>
                    <a:pt x="2175" y="899"/>
                  </a:lnTo>
                  <a:lnTo>
                    <a:pt x="2175" y="899"/>
                  </a:lnTo>
                  <a:lnTo>
                    <a:pt x="2175" y="899"/>
                  </a:lnTo>
                  <a:lnTo>
                    <a:pt x="2175" y="899"/>
                  </a:lnTo>
                  <a:lnTo>
                    <a:pt x="2175" y="899"/>
                  </a:lnTo>
                  <a:lnTo>
                    <a:pt x="2175" y="863"/>
                  </a:lnTo>
                  <a:lnTo>
                    <a:pt x="2158" y="863"/>
                  </a:lnTo>
                  <a:lnTo>
                    <a:pt x="2158" y="863"/>
                  </a:lnTo>
                  <a:lnTo>
                    <a:pt x="2155" y="863"/>
                  </a:lnTo>
                  <a:lnTo>
                    <a:pt x="2155" y="863"/>
                  </a:lnTo>
                  <a:lnTo>
                    <a:pt x="2155" y="863"/>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99"/>
                  </a:lnTo>
                  <a:lnTo>
                    <a:pt x="2090" y="899"/>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99"/>
                  </a:lnTo>
                  <a:lnTo>
                    <a:pt x="2089" y="899"/>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99"/>
                  </a:lnTo>
                  <a:lnTo>
                    <a:pt x="2078" y="899"/>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2"/>
                  </a:lnTo>
                  <a:lnTo>
                    <a:pt x="2061" y="892"/>
                  </a:lnTo>
                  <a:lnTo>
                    <a:pt x="2061" y="892"/>
                  </a:lnTo>
                  <a:lnTo>
                    <a:pt x="2060" y="892"/>
                  </a:lnTo>
                  <a:lnTo>
                    <a:pt x="2060" y="892"/>
                  </a:lnTo>
                  <a:lnTo>
                    <a:pt x="2060" y="892"/>
                  </a:lnTo>
                  <a:lnTo>
                    <a:pt x="2060" y="899"/>
                  </a:lnTo>
                  <a:lnTo>
                    <a:pt x="2059" y="899"/>
                  </a:lnTo>
                  <a:lnTo>
                    <a:pt x="2059" y="892"/>
                  </a:lnTo>
                  <a:lnTo>
                    <a:pt x="2059" y="892"/>
                  </a:lnTo>
                  <a:lnTo>
                    <a:pt x="2059" y="899"/>
                  </a:lnTo>
                  <a:lnTo>
                    <a:pt x="2059" y="899"/>
                  </a:lnTo>
                  <a:lnTo>
                    <a:pt x="2059" y="899"/>
                  </a:lnTo>
                  <a:lnTo>
                    <a:pt x="2059" y="899"/>
                  </a:lnTo>
                  <a:lnTo>
                    <a:pt x="2059" y="899"/>
                  </a:lnTo>
                  <a:lnTo>
                    <a:pt x="2059" y="899"/>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48" y="915"/>
                  </a:lnTo>
                  <a:lnTo>
                    <a:pt x="1948" y="915"/>
                  </a:lnTo>
                  <a:lnTo>
                    <a:pt x="1948" y="915"/>
                  </a:lnTo>
                  <a:lnTo>
                    <a:pt x="1948" y="899"/>
                  </a:lnTo>
                  <a:lnTo>
                    <a:pt x="1948" y="899"/>
                  </a:lnTo>
                  <a:lnTo>
                    <a:pt x="1948" y="916"/>
                  </a:lnTo>
                  <a:lnTo>
                    <a:pt x="1948" y="916"/>
                  </a:lnTo>
                  <a:lnTo>
                    <a:pt x="1948" y="916"/>
                  </a:lnTo>
                  <a:lnTo>
                    <a:pt x="1948" y="916"/>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920"/>
                  </a:lnTo>
                  <a:lnTo>
                    <a:pt x="1944" y="920"/>
                  </a:lnTo>
                  <a:lnTo>
                    <a:pt x="1944" y="920"/>
                  </a:lnTo>
                  <a:lnTo>
                    <a:pt x="1944" y="920"/>
                  </a:lnTo>
                  <a:lnTo>
                    <a:pt x="1944" y="899"/>
                  </a:lnTo>
                  <a:lnTo>
                    <a:pt x="1944" y="899"/>
                  </a:lnTo>
                  <a:lnTo>
                    <a:pt x="1944" y="899"/>
                  </a:lnTo>
                  <a:lnTo>
                    <a:pt x="1944" y="899"/>
                  </a:lnTo>
                  <a:lnTo>
                    <a:pt x="1944" y="899"/>
                  </a:lnTo>
                  <a:lnTo>
                    <a:pt x="1944" y="899"/>
                  </a:lnTo>
                  <a:lnTo>
                    <a:pt x="1944" y="899"/>
                  </a:lnTo>
                  <a:lnTo>
                    <a:pt x="1944" y="899"/>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899"/>
                  </a:lnTo>
                  <a:lnTo>
                    <a:pt x="1854" y="899"/>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966"/>
                  </a:lnTo>
                  <a:lnTo>
                    <a:pt x="1820" y="966"/>
                  </a:lnTo>
                  <a:lnTo>
                    <a:pt x="1820" y="966"/>
                  </a:lnTo>
                  <a:lnTo>
                    <a:pt x="1817" y="966"/>
                  </a:lnTo>
                  <a:lnTo>
                    <a:pt x="1817" y="966"/>
                  </a:lnTo>
                  <a:lnTo>
                    <a:pt x="1817" y="966"/>
                  </a:lnTo>
                  <a:lnTo>
                    <a:pt x="1817" y="899"/>
                  </a:lnTo>
                  <a:lnTo>
                    <a:pt x="1815" y="899"/>
                  </a:lnTo>
                  <a:lnTo>
                    <a:pt x="1815" y="970"/>
                  </a:lnTo>
                  <a:lnTo>
                    <a:pt x="1814" y="970"/>
                  </a:lnTo>
                  <a:lnTo>
                    <a:pt x="1814" y="970"/>
                  </a:lnTo>
                  <a:lnTo>
                    <a:pt x="1814" y="970"/>
                  </a:lnTo>
                  <a:lnTo>
                    <a:pt x="1814" y="970"/>
                  </a:lnTo>
                  <a:lnTo>
                    <a:pt x="1814" y="970"/>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1004"/>
                  </a:lnTo>
                  <a:lnTo>
                    <a:pt x="1699" y="1004"/>
                  </a:lnTo>
                  <a:lnTo>
                    <a:pt x="1699" y="1004"/>
                  </a:lnTo>
                  <a:lnTo>
                    <a:pt x="1699" y="1004"/>
                  </a:lnTo>
                  <a:lnTo>
                    <a:pt x="1699" y="1005"/>
                  </a:lnTo>
                  <a:lnTo>
                    <a:pt x="1698" y="1005"/>
                  </a:lnTo>
                  <a:lnTo>
                    <a:pt x="1698" y="1005"/>
                  </a:lnTo>
                  <a:lnTo>
                    <a:pt x="1698" y="1005"/>
                  </a:lnTo>
                  <a:lnTo>
                    <a:pt x="1698" y="899"/>
                  </a:lnTo>
                  <a:lnTo>
                    <a:pt x="1695" y="899"/>
                  </a:lnTo>
                  <a:lnTo>
                    <a:pt x="1695" y="899"/>
                  </a:lnTo>
                  <a:lnTo>
                    <a:pt x="1695" y="899"/>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1017"/>
                  </a:lnTo>
                  <a:lnTo>
                    <a:pt x="1484" y="1017"/>
                  </a:lnTo>
                  <a:lnTo>
                    <a:pt x="1484" y="1017"/>
                  </a:lnTo>
                  <a:lnTo>
                    <a:pt x="1484" y="1017"/>
                  </a:lnTo>
                  <a:lnTo>
                    <a:pt x="1484" y="1019"/>
                  </a:lnTo>
                  <a:lnTo>
                    <a:pt x="1484" y="101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79" y="899"/>
                  </a:lnTo>
                  <a:lnTo>
                    <a:pt x="1479" y="899"/>
                  </a:lnTo>
                  <a:lnTo>
                    <a:pt x="1478" y="899"/>
                  </a:lnTo>
                  <a:lnTo>
                    <a:pt x="1478" y="1029"/>
                  </a:lnTo>
                  <a:lnTo>
                    <a:pt x="1478" y="1029"/>
                  </a:lnTo>
                  <a:lnTo>
                    <a:pt x="1478" y="1029"/>
                  </a:lnTo>
                  <a:lnTo>
                    <a:pt x="1478" y="1029"/>
                  </a:lnTo>
                  <a:lnTo>
                    <a:pt x="1478" y="899"/>
                  </a:lnTo>
                  <a:lnTo>
                    <a:pt x="1478" y="899"/>
                  </a:lnTo>
                  <a:lnTo>
                    <a:pt x="1478" y="1029"/>
                  </a:lnTo>
                  <a:lnTo>
                    <a:pt x="1478" y="102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1033"/>
                  </a:lnTo>
                  <a:lnTo>
                    <a:pt x="1474" y="1033"/>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1042"/>
                  </a:lnTo>
                  <a:lnTo>
                    <a:pt x="1425" y="1042"/>
                  </a:lnTo>
                  <a:lnTo>
                    <a:pt x="1425" y="1042"/>
                  </a:lnTo>
                  <a:lnTo>
                    <a:pt x="1423" y="1042"/>
                  </a:lnTo>
                  <a:lnTo>
                    <a:pt x="1423" y="1042"/>
                  </a:lnTo>
                  <a:lnTo>
                    <a:pt x="1422" y="1042"/>
                  </a:lnTo>
                  <a:lnTo>
                    <a:pt x="1422" y="1042"/>
                  </a:lnTo>
                  <a:lnTo>
                    <a:pt x="1421" y="1042"/>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1063"/>
                  </a:lnTo>
                  <a:lnTo>
                    <a:pt x="1388" y="1063"/>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899"/>
                  </a:lnTo>
                  <a:lnTo>
                    <a:pt x="1366" y="899"/>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899"/>
                  </a:lnTo>
                  <a:lnTo>
                    <a:pt x="1332" y="899"/>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899"/>
                  </a:lnTo>
                  <a:lnTo>
                    <a:pt x="1319" y="899"/>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899"/>
                  </a:lnTo>
                  <a:lnTo>
                    <a:pt x="1104" y="899"/>
                  </a:lnTo>
                  <a:lnTo>
                    <a:pt x="1104" y="899"/>
                  </a:lnTo>
                  <a:lnTo>
                    <a:pt x="1102" y="899"/>
                  </a:lnTo>
                  <a:lnTo>
                    <a:pt x="1102" y="1136"/>
                  </a:lnTo>
                  <a:lnTo>
                    <a:pt x="1102" y="1136"/>
                  </a:lnTo>
                  <a:lnTo>
                    <a:pt x="1102" y="1136"/>
                  </a:lnTo>
                  <a:lnTo>
                    <a:pt x="1102" y="1136"/>
                  </a:lnTo>
                  <a:lnTo>
                    <a:pt x="1102" y="1136"/>
                  </a:lnTo>
                  <a:lnTo>
                    <a:pt x="1101" y="1136"/>
                  </a:lnTo>
                  <a:lnTo>
                    <a:pt x="1101" y="1136"/>
                  </a:lnTo>
                  <a:lnTo>
                    <a:pt x="1101" y="1136"/>
                  </a:lnTo>
                  <a:lnTo>
                    <a:pt x="1101" y="899"/>
                  </a:lnTo>
                  <a:lnTo>
                    <a:pt x="1077" y="899"/>
                  </a:lnTo>
                  <a:lnTo>
                    <a:pt x="1077" y="899"/>
                  </a:lnTo>
                  <a:lnTo>
                    <a:pt x="1074" y="899"/>
                  </a:lnTo>
                  <a:lnTo>
                    <a:pt x="1074" y="899"/>
                  </a:lnTo>
                  <a:lnTo>
                    <a:pt x="1071" y="899"/>
                  </a:lnTo>
                  <a:lnTo>
                    <a:pt x="1071" y="899"/>
                  </a:lnTo>
                  <a:lnTo>
                    <a:pt x="1069" y="899"/>
                  </a:lnTo>
                  <a:lnTo>
                    <a:pt x="1069" y="899"/>
                  </a:lnTo>
                  <a:lnTo>
                    <a:pt x="1069" y="899"/>
                  </a:lnTo>
                  <a:lnTo>
                    <a:pt x="1069" y="899"/>
                  </a:lnTo>
                  <a:lnTo>
                    <a:pt x="1069" y="899"/>
                  </a:lnTo>
                  <a:lnTo>
                    <a:pt x="1069" y="899"/>
                  </a:lnTo>
                  <a:lnTo>
                    <a:pt x="1069" y="899"/>
                  </a:lnTo>
                  <a:lnTo>
                    <a:pt x="1069" y="899"/>
                  </a:lnTo>
                  <a:lnTo>
                    <a:pt x="1069" y="899"/>
                  </a:lnTo>
                  <a:lnTo>
                    <a:pt x="1069" y="1146"/>
                  </a:lnTo>
                  <a:lnTo>
                    <a:pt x="1069" y="1146"/>
                  </a:lnTo>
                  <a:lnTo>
                    <a:pt x="1069" y="1146"/>
                  </a:lnTo>
                  <a:lnTo>
                    <a:pt x="1069" y="1146"/>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899"/>
                  </a:lnTo>
                  <a:lnTo>
                    <a:pt x="1004" y="899"/>
                  </a:lnTo>
                  <a:lnTo>
                    <a:pt x="1004" y="1158"/>
                  </a:lnTo>
                  <a:lnTo>
                    <a:pt x="1004" y="1158"/>
                  </a:lnTo>
                  <a:lnTo>
                    <a:pt x="1004" y="1164"/>
                  </a:lnTo>
                  <a:lnTo>
                    <a:pt x="1004" y="1164"/>
                  </a:lnTo>
                  <a:lnTo>
                    <a:pt x="1004" y="1164"/>
                  </a:lnTo>
                  <a:lnTo>
                    <a:pt x="1004" y="1164"/>
                  </a:lnTo>
                  <a:lnTo>
                    <a:pt x="1004" y="1167"/>
                  </a:lnTo>
                  <a:lnTo>
                    <a:pt x="1003" y="1167"/>
                  </a:lnTo>
                  <a:lnTo>
                    <a:pt x="1003" y="899"/>
                  </a:lnTo>
                  <a:lnTo>
                    <a:pt x="1002" y="899"/>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899"/>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899"/>
                  </a:lnTo>
                  <a:lnTo>
                    <a:pt x="938" y="899"/>
                  </a:lnTo>
                  <a:lnTo>
                    <a:pt x="938" y="899"/>
                  </a:lnTo>
                  <a:lnTo>
                    <a:pt x="936" y="899"/>
                  </a:lnTo>
                  <a:lnTo>
                    <a:pt x="936" y="899"/>
                  </a:lnTo>
                  <a:lnTo>
                    <a:pt x="936" y="899"/>
                  </a:lnTo>
                  <a:lnTo>
                    <a:pt x="936" y="899"/>
                  </a:lnTo>
                  <a:lnTo>
                    <a:pt x="935" y="899"/>
                  </a:lnTo>
                  <a:lnTo>
                    <a:pt x="935" y="899"/>
                  </a:lnTo>
                  <a:lnTo>
                    <a:pt x="935" y="899"/>
                  </a:lnTo>
                  <a:lnTo>
                    <a:pt x="935" y="899"/>
                  </a:lnTo>
                  <a:lnTo>
                    <a:pt x="935" y="899"/>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899"/>
                  </a:lnTo>
                  <a:lnTo>
                    <a:pt x="932" y="899"/>
                  </a:lnTo>
                  <a:lnTo>
                    <a:pt x="932" y="899"/>
                  </a:lnTo>
                  <a:lnTo>
                    <a:pt x="931" y="899"/>
                  </a:lnTo>
                  <a:lnTo>
                    <a:pt x="931" y="899"/>
                  </a:lnTo>
                  <a:lnTo>
                    <a:pt x="929" y="899"/>
                  </a:lnTo>
                  <a:lnTo>
                    <a:pt x="929" y="899"/>
                  </a:lnTo>
                  <a:lnTo>
                    <a:pt x="928" y="8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899"/>
                  </a:lnTo>
                  <a:lnTo>
                    <a:pt x="913" y="899"/>
                  </a:lnTo>
                  <a:lnTo>
                    <a:pt x="913"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1213"/>
                  </a:lnTo>
                  <a:lnTo>
                    <a:pt x="886" y="1213"/>
                  </a:lnTo>
                  <a:lnTo>
                    <a:pt x="886" y="1213"/>
                  </a:lnTo>
                  <a:lnTo>
                    <a:pt x="886" y="1213"/>
                  </a:lnTo>
                  <a:lnTo>
                    <a:pt x="886" y="899"/>
                  </a:lnTo>
                  <a:lnTo>
                    <a:pt x="886" y="899"/>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899"/>
                  </a:lnTo>
                  <a:lnTo>
                    <a:pt x="881" y="899"/>
                  </a:lnTo>
                  <a:lnTo>
                    <a:pt x="881" y="899"/>
                  </a:lnTo>
                  <a:lnTo>
                    <a:pt x="852" y="899"/>
                  </a:lnTo>
                  <a:lnTo>
                    <a:pt x="852" y="1218"/>
                  </a:lnTo>
                  <a:lnTo>
                    <a:pt x="851" y="1218"/>
                  </a:lnTo>
                  <a:lnTo>
                    <a:pt x="851" y="1218"/>
                  </a:lnTo>
                  <a:lnTo>
                    <a:pt x="851" y="1218"/>
                  </a:lnTo>
                  <a:lnTo>
                    <a:pt x="851" y="1218"/>
                  </a:lnTo>
                  <a:lnTo>
                    <a:pt x="851" y="1218"/>
                  </a:lnTo>
                  <a:lnTo>
                    <a:pt x="851" y="899"/>
                  </a:lnTo>
                  <a:lnTo>
                    <a:pt x="851" y="899"/>
                  </a:lnTo>
                  <a:lnTo>
                    <a:pt x="851" y="1219"/>
                  </a:lnTo>
                  <a:lnTo>
                    <a:pt x="851" y="1219"/>
                  </a:lnTo>
                  <a:lnTo>
                    <a:pt x="851" y="1219"/>
                  </a:lnTo>
                  <a:lnTo>
                    <a:pt x="851" y="1219"/>
                  </a:lnTo>
                  <a:lnTo>
                    <a:pt x="851" y="899"/>
                  </a:lnTo>
                  <a:lnTo>
                    <a:pt x="851" y="899"/>
                  </a:lnTo>
                  <a:lnTo>
                    <a:pt x="851" y="899"/>
                  </a:lnTo>
                  <a:lnTo>
                    <a:pt x="850" y="899"/>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899"/>
                  </a:lnTo>
                  <a:lnTo>
                    <a:pt x="828" y="899"/>
                  </a:lnTo>
                  <a:lnTo>
                    <a:pt x="828" y="899"/>
                  </a:lnTo>
                  <a:lnTo>
                    <a:pt x="828" y="899"/>
                  </a:lnTo>
                  <a:lnTo>
                    <a:pt x="828" y="899"/>
                  </a:lnTo>
                  <a:lnTo>
                    <a:pt x="828" y="899"/>
                  </a:lnTo>
                  <a:lnTo>
                    <a:pt x="828"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795" y="899"/>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899"/>
                  </a:lnTo>
                  <a:lnTo>
                    <a:pt x="792" y="899"/>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899"/>
                  </a:lnTo>
                  <a:lnTo>
                    <a:pt x="777" y="899"/>
                  </a:lnTo>
                  <a:lnTo>
                    <a:pt x="777" y="1252"/>
                  </a:lnTo>
                  <a:lnTo>
                    <a:pt x="777" y="1252"/>
                  </a:lnTo>
                  <a:lnTo>
                    <a:pt x="777" y="1252"/>
                  </a:lnTo>
                  <a:lnTo>
                    <a:pt x="777" y="1252"/>
                  </a:lnTo>
                  <a:lnTo>
                    <a:pt x="777" y="1253"/>
                  </a:lnTo>
                  <a:lnTo>
                    <a:pt x="768" y="1253"/>
                  </a:lnTo>
                  <a:lnTo>
                    <a:pt x="768" y="1253"/>
                  </a:lnTo>
                  <a:lnTo>
                    <a:pt x="768" y="1253"/>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1273"/>
                  </a:lnTo>
                  <a:lnTo>
                    <a:pt x="677" y="1273"/>
                  </a:lnTo>
                  <a:lnTo>
                    <a:pt x="677" y="1273"/>
                  </a:lnTo>
                  <a:lnTo>
                    <a:pt x="677" y="1273"/>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899"/>
                  </a:lnTo>
                  <a:lnTo>
                    <a:pt x="674" y="899"/>
                  </a:lnTo>
                  <a:lnTo>
                    <a:pt x="674" y="899"/>
                  </a:lnTo>
                  <a:lnTo>
                    <a:pt x="673" y="899"/>
                  </a:lnTo>
                  <a:lnTo>
                    <a:pt x="673" y="899"/>
                  </a:lnTo>
                  <a:lnTo>
                    <a:pt x="673" y="899"/>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899"/>
                  </a:lnTo>
                  <a:lnTo>
                    <a:pt x="605" y="899"/>
                  </a:lnTo>
                  <a:lnTo>
                    <a:pt x="605" y="1284"/>
                  </a:lnTo>
                  <a:lnTo>
                    <a:pt x="605" y="1284"/>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1290"/>
                  </a:lnTo>
                  <a:lnTo>
                    <a:pt x="590" y="1290"/>
                  </a:lnTo>
                  <a:lnTo>
                    <a:pt x="590" y="1290"/>
                  </a:lnTo>
                  <a:lnTo>
                    <a:pt x="589" y="1290"/>
                  </a:lnTo>
                  <a:lnTo>
                    <a:pt x="589" y="1290"/>
                  </a:lnTo>
                  <a:lnTo>
                    <a:pt x="588" y="1290"/>
                  </a:lnTo>
                  <a:lnTo>
                    <a:pt x="588" y="1290"/>
                  </a:lnTo>
                  <a:lnTo>
                    <a:pt x="588" y="1290"/>
                  </a:lnTo>
                  <a:lnTo>
                    <a:pt x="588" y="899"/>
                  </a:lnTo>
                  <a:lnTo>
                    <a:pt x="587" y="899"/>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1292"/>
                  </a:lnTo>
                  <a:lnTo>
                    <a:pt x="579" y="1292"/>
                  </a:lnTo>
                  <a:lnTo>
                    <a:pt x="579" y="899"/>
                  </a:lnTo>
                  <a:lnTo>
                    <a:pt x="576" y="899"/>
                  </a:lnTo>
                  <a:lnTo>
                    <a:pt x="576" y="1292"/>
                  </a:lnTo>
                  <a:lnTo>
                    <a:pt x="574" y="1292"/>
                  </a:lnTo>
                  <a:lnTo>
                    <a:pt x="574" y="1292"/>
                  </a:lnTo>
                  <a:lnTo>
                    <a:pt x="573" y="1292"/>
                  </a:lnTo>
                  <a:lnTo>
                    <a:pt x="573"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54" y="899"/>
                  </a:lnTo>
                  <a:lnTo>
                    <a:pt x="554" y="899"/>
                  </a:lnTo>
                  <a:lnTo>
                    <a:pt x="554" y="899"/>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4" y="899"/>
                  </a:lnTo>
                  <a:lnTo>
                    <a:pt x="514" y="899"/>
                  </a:lnTo>
                  <a:lnTo>
                    <a:pt x="512" y="899"/>
                  </a:lnTo>
                  <a:lnTo>
                    <a:pt x="512" y="899"/>
                  </a:lnTo>
                  <a:lnTo>
                    <a:pt x="511" y="899"/>
                  </a:lnTo>
                  <a:lnTo>
                    <a:pt x="511" y="899"/>
                  </a:lnTo>
                  <a:lnTo>
                    <a:pt x="511" y="899"/>
                  </a:lnTo>
                  <a:lnTo>
                    <a:pt x="511" y="899"/>
                  </a:lnTo>
                  <a:lnTo>
                    <a:pt x="511" y="899"/>
                  </a:lnTo>
                  <a:lnTo>
                    <a:pt x="511" y="899"/>
                  </a:lnTo>
                  <a:lnTo>
                    <a:pt x="511" y="899"/>
                  </a:lnTo>
                  <a:lnTo>
                    <a:pt x="511" y="1309"/>
                  </a:lnTo>
                  <a:lnTo>
                    <a:pt x="511" y="1309"/>
                  </a:lnTo>
                  <a:lnTo>
                    <a:pt x="511" y="1309"/>
                  </a:lnTo>
                  <a:lnTo>
                    <a:pt x="511" y="1309"/>
                  </a:lnTo>
                  <a:lnTo>
                    <a:pt x="511" y="899"/>
                  </a:lnTo>
                  <a:lnTo>
                    <a:pt x="510" y="899"/>
                  </a:lnTo>
                  <a:lnTo>
                    <a:pt x="510" y="1314"/>
                  </a:lnTo>
                  <a:lnTo>
                    <a:pt x="510" y="1314"/>
                  </a:lnTo>
                  <a:lnTo>
                    <a:pt x="510" y="1314"/>
                  </a:lnTo>
                  <a:lnTo>
                    <a:pt x="510" y="1314"/>
                  </a:lnTo>
                  <a:lnTo>
                    <a:pt x="510" y="1314"/>
                  </a:lnTo>
                  <a:lnTo>
                    <a:pt x="477" y="1314"/>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1317"/>
                  </a:lnTo>
                  <a:lnTo>
                    <a:pt x="472" y="1317"/>
                  </a:lnTo>
                  <a:lnTo>
                    <a:pt x="472" y="899"/>
                  </a:lnTo>
                  <a:lnTo>
                    <a:pt x="471" y="899"/>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899"/>
                  </a:lnTo>
                  <a:lnTo>
                    <a:pt x="470" y="899"/>
                  </a:lnTo>
                  <a:lnTo>
                    <a:pt x="470" y="899"/>
                  </a:lnTo>
                  <a:lnTo>
                    <a:pt x="464" y="899"/>
                  </a:lnTo>
                  <a:lnTo>
                    <a:pt x="464" y="899"/>
                  </a:lnTo>
                  <a:lnTo>
                    <a:pt x="463" y="899"/>
                  </a:lnTo>
                  <a:lnTo>
                    <a:pt x="463" y="899"/>
                  </a:lnTo>
                  <a:lnTo>
                    <a:pt x="462" y="899"/>
                  </a:lnTo>
                  <a:lnTo>
                    <a:pt x="462" y="899"/>
                  </a:lnTo>
                  <a:lnTo>
                    <a:pt x="461" y="899"/>
                  </a:lnTo>
                  <a:lnTo>
                    <a:pt x="461" y="899"/>
                  </a:lnTo>
                  <a:lnTo>
                    <a:pt x="460" y="899"/>
                  </a:lnTo>
                  <a:lnTo>
                    <a:pt x="460" y="899"/>
                  </a:lnTo>
                  <a:lnTo>
                    <a:pt x="460" y="899"/>
                  </a:lnTo>
                  <a:lnTo>
                    <a:pt x="460" y="899"/>
                  </a:lnTo>
                  <a:lnTo>
                    <a:pt x="459" y="899"/>
                  </a:lnTo>
                  <a:lnTo>
                    <a:pt x="459" y="899"/>
                  </a:lnTo>
                  <a:lnTo>
                    <a:pt x="458" y="899"/>
                  </a:lnTo>
                  <a:lnTo>
                    <a:pt x="458" y="899"/>
                  </a:lnTo>
                  <a:lnTo>
                    <a:pt x="458" y="899"/>
                  </a:lnTo>
                  <a:lnTo>
                    <a:pt x="458" y="899"/>
                  </a:lnTo>
                  <a:lnTo>
                    <a:pt x="458" y="899"/>
                  </a:lnTo>
                  <a:lnTo>
                    <a:pt x="458" y="1318"/>
                  </a:lnTo>
                  <a:lnTo>
                    <a:pt x="458" y="1318"/>
                  </a:lnTo>
                  <a:lnTo>
                    <a:pt x="458" y="899"/>
                  </a:lnTo>
                  <a:lnTo>
                    <a:pt x="458" y="899"/>
                  </a:lnTo>
                  <a:lnTo>
                    <a:pt x="458" y="1318"/>
                  </a:lnTo>
                  <a:lnTo>
                    <a:pt x="458" y="1318"/>
                  </a:lnTo>
                  <a:lnTo>
                    <a:pt x="458" y="899"/>
                  </a:lnTo>
                  <a:lnTo>
                    <a:pt x="458" y="899"/>
                  </a:lnTo>
                  <a:lnTo>
                    <a:pt x="458" y="899"/>
                  </a:lnTo>
                  <a:lnTo>
                    <a:pt x="458" y="899"/>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899"/>
                  </a:lnTo>
                  <a:lnTo>
                    <a:pt x="453" y="899"/>
                  </a:lnTo>
                  <a:lnTo>
                    <a:pt x="453" y="1324"/>
                  </a:lnTo>
                  <a:lnTo>
                    <a:pt x="453" y="1324"/>
                  </a:lnTo>
                  <a:lnTo>
                    <a:pt x="453" y="899"/>
                  </a:lnTo>
                  <a:lnTo>
                    <a:pt x="453" y="899"/>
                  </a:lnTo>
                  <a:lnTo>
                    <a:pt x="453" y="899"/>
                  </a:lnTo>
                  <a:lnTo>
                    <a:pt x="453" y="899"/>
                  </a:lnTo>
                  <a:lnTo>
                    <a:pt x="453" y="899"/>
                  </a:lnTo>
                  <a:lnTo>
                    <a:pt x="453" y="899"/>
                  </a:lnTo>
                  <a:lnTo>
                    <a:pt x="453" y="899"/>
                  </a:lnTo>
                  <a:lnTo>
                    <a:pt x="453" y="899"/>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899"/>
                  </a:lnTo>
                  <a:lnTo>
                    <a:pt x="430" y="899"/>
                  </a:lnTo>
                  <a:lnTo>
                    <a:pt x="430" y="899"/>
                  </a:lnTo>
                  <a:lnTo>
                    <a:pt x="430" y="899"/>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87" y="899"/>
                  </a:lnTo>
                  <a:lnTo>
                    <a:pt x="387" y="899"/>
                  </a:lnTo>
                  <a:lnTo>
                    <a:pt x="384" y="899"/>
                  </a:lnTo>
                  <a:lnTo>
                    <a:pt x="384" y="899"/>
                  </a:lnTo>
                  <a:lnTo>
                    <a:pt x="383" y="899"/>
                  </a:lnTo>
                  <a:lnTo>
                    <a:pt x="383" y="899"/>
                  </a:lnTo>
                  <a:lnTo>
                    <a:pt x="383" y="899"/>
                  </a:lnTo>
                  <a:lnTo>
                    <a:pt x="383" y="899"/>
                  </a:lnTo>
                  <a:lnTo>
                    <a:pt x="383" y="899"/>
                  </a:lnTo>
                  <a:lnTo>
                    <a:pt x="383" y="899"/>
                  </a:lnTo>
                  <a:lnTo>
                    <a:pt x="383" y="899"/>
                  </a:lnTo>
                  <a:lnTo>
                    <a:pt x="383" y="899"/>
                  </a:lnTo>
                  <a:lnTo>
                    <a:pt x="383" y="899"/>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899"/>
                  </a:lnTo>
                  <a:lnTo>
                    <a:pt x="382" y="899"/>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899"/>
                  </a:lnTo>
                  <a:lnTo>
                    <a:pt x="351" y="899"/>
                  </a:lnTo>
                  <a:lnTo>
                    <a:pt x="351" y="899"/>
                  </a:lnTo>
                  <a:lnTo>
                    <a:pt x="351" y="899"/>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1366"/>
                  </a:lnTo>
                  <a:lnTo>
                    <a:pt x="335" y="1366"/>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1366"/>
                  </a:lnTo>
                  <a:lnTo>
                    <a:pt x="335" y="1366"/>
                  </a:lnTo>
                  <a:lnTo>
                    <a:pt x="335" y="1366"/>
                  </a:lnTo>
                  <a:lnTo>
                    <a:pt x="335" y="1366"/>
                  </a:lnTo>
                  <a:lnTo>
                    <a:pt x="335" y="899"/>
                  </a:lnTo>
                  <a:lnTo>
                    <a:pt x="335" y="899"/>
                  </a:lnTo>
                  <a:lnTo>
                    <a:pt x="335" y="1366"/>
                  </a:lnTo>
                  <a:lnTo>
                    <a:pt x="335" y="1366"/>
                  </a:lnTo>
                  <a:lnTo>
                    <a:pt x="335" y="899"/>
                  </a:lnTo>
                  <a:lnTo>
                    <a:pt x="335" y="899"/>
                  </a:lnTo>
                  <a:lnTo>
                    <a:pt x="335" y="899"/>
                  </a:lnTo>
                  <a:lnTo>
                    <a:pt x="335" y="899"/>
                  </a:lnTo>
                  <a:lnTo>
                    <a:pt x="335" y="1366"/>
                  </a:lnTo>
                  <a:lnTo>
                    <a:pt x="335" y="1366"/>
                  </a:lnTo>
                  <a:lnTo>
                    <a:pt x="335" y="899"/>
                  </a:lnTo>
                  <a:lnTo>
                    <a:pt x="335" y="899"/>
                  </a:lnTo>
                  <a:lnTo>
                    <a:pt x="335" y="899"/>
                  </a:lnTo>
                  <a:lnTo>
                    <a:pt x="335" y="899"/>
                  </a:lnTo>
                  <a:lnTo>
                    <a:pt x="335" y="899"/>
                  </a:lnTo>
                  <a:lnTo>
                    <a:pt x="335" y="899"/>
                  </a:lnTo>
                  <a:lnTo>
                    <a:pt x="335" y="899"/>
                  </a:lnTo>
                  <a:lnTo>
                    <a:pt x="335" y="899"/>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899"/>
                  </a:lnTo>
                  <a:lnTo>
                    <a:pt x="309" y="899"/>
                  </a:lnTo>
                  <a:lnTo>
                    <a:pt x="309" y="899"/>
                  </a:lnTo>
                  <a:lnTo>
                    <a:pt x="309" y="899"/>
                  </a:lnTo>
                  <a:lnTo>
                    <a:pt x="309" y="1380"/>
                  </a:lnTo>
                  <a:lnTo>
                    <a:pt x="309" y="1380"/>
                  </a:lnTo>
                  <a:lnTo>
                    <a:pt x="309" y="1380"/>
                  </a:lnTo>
                  <a:lnTo>
                    <a:pt x="309" y="1380"/>
                  </a:lnTo>
                  <a:lnTo>
                    <a:pt x="309" y="1380"/>
                  </a:lnTo>
                  <a:lnTo>
                    <a:pt x="309" y="1380"/>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6"/>
                  </a:lnTo>
                  <a:lnTo>
                    <a:pt x="243" y="1406"/>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899"/>
                  </a:lnTo>
                  <a:lnTo>
                    <a:pt x="220" y="899"/>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899"/>
                  </a:lnTo>
                  <a:lnTo>
                    <a:pt x="210" y="899"/>
                  </a:lnTo>
                  <a:lnTo>
                    <a:pt x="210" y="899"/>
                  </a:lnTo>
                  <a:lnTo>
                    <a:pt x="209" y="899"/>
                  </a:lnTo>
                  <a:lnTo>
                    <a:pt x="209" y="899"/>
                  </a:lnTo>
                  <a:lnTo>
                    <a:pt x="209" y="899"/>
                  </a:lnTo>
                  <a:lnTo>
                    <a:pt x="209" y="1420"/>
                  </a:lnTo>
                  <a:lnTo>
                    <a:pt x="209" y="1420"/>
                  </a:lnTo>
                  <a:lnTo>
                    <a:pt x="209" y="1420"/>
                  </a:lnTo>
                  <a:lnTo>
                    <a:pt x="209" y="1420"/>
                  </a:lnTo>
                  <a:lnTo>
                    <a:pt x="209" y="899"/>
                  </a:lnTo>
                  <a:lnTo>
                    <a:pt x="209" y="899"/>
                  </a:lnTo>
                  <a:lnTo>
                    <a:pt x="209" y="1420"/>
                  </a:lnTo>
                  <a:lnTo>
                    <a:pt x="207" y="1420"/>
                  </a:lnTo>
                  <a:lnTo>
                    <a:pt x="207" y="1420"/>
                  </a:lnTo>
                  <a:lnTo>
                    <a:pt x="207" y="1420"/>
                  </a:lnTo>
                  <a:lnTo>
                    <a:pt x="207" y="899"/>
                  </a:lnTo>
                  <a:lnTo>
                    <a:pt x="207" y="899"/>
                  </a:lnTo>
                  <a:lnTo>
                    <a:pt x="207" y="1425"/>
                  </a:lnTo>
                  <a:lnTo>
                    <a:pt x="206" y="1425"/>
                  </a:lnTo>
                  <a:lnTo>
                    <a:pt x="206" y="1425"/>
                  </a:lnTo>
                  <a:lnTo>
                    <a:pt x="205" y="1425"/>
                  </a:lnTo>
                  <a:lnTo>
                    <a:pt x="205" y="1425"/>
                  </a:lnTo>
                  <a:lnTo>
                    <a:pt x="204" y="1425"/>
                  </a:lnTo>
                  <a:lnTo>
                    <a:pt x="204" y="899"/>
                  </a:lnTo>
                  <a:lnTo>
                    <a:pt x="204" y="899"/>
                  </a:lnTo>
                  <a:lnTo>
                    <a:pt x="204" y="899"/>
                  </a:lnTo>
                  <a:lnTo>
                    <a:pt x="204" y="899"/>
                  </a:lnTo>
                  <a:lnTo>
                    <a:pt x="204" y="899"/>
                  </a:lnTo>
                  <a:lnTo>
                    <a:pt x="204" y="899"/>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899"/>
                  </a:lnTo>
                  <a:lnTo>
                    <a:pt x="147" y="899"/>
                  </a:lnTo>
                  <a:lnTo>
                    <a:pt x="147" y="899"/>
                  </a:lnTo>
                  <a:lnTo>
                    <a:pt x="144" y="899"/>
                  </a:lnTo>
                  <a:lnTo>
                    <a:pt x="144" y="899"/>
                  </a:lnTo>
                  <a:lnTo>
                    <a:pt x="143" y="899"/>
                  </a:lnTo>
                  <a:lnTo>
                    <a:pt x="143" y="899"/>
                  </a:lnTo>
                  <a:lnTo>
                    <a:pt x="142" y="899"/>
                  </a:lnTo>
                  <a:lnTo>
                    <a:pt x="142" y="899"/>
                  </a:lnTo>
                  <a:lnTo>
                    <a:pt x="142" y="899"/>
                  </a:lnTo>
                  <a:lnTo>
                    <a:pt x="142" y="899"/>
                  </a:lnTo>
                  <a:lnTo>
                    <a:pt x="142" y="899"/>
                  </a:lnTo>
                  <a:lnTo>
                    <a:pt x="142" y="899"/>
                  </a:lnTo>
                  <a:lnTo>
                    <a:pt x="141" y="899"/>
                  </a:lnTo>
                  <a:lnTo>
                    <a:pt x="141" y="1453"/>
                  </a:lnTo>
                  <a:lnTo>
                    <a:pt x="141" y="1453"/>
                  </a:lnTo>
                  <a:lnTo>
                    <a:pt x="141" y="899"/>
                  </a:lnTo>
                  <a:lnTo>
                    <a:pt x="141" y="899"/>
                  </a:lnTo>
                  <a:lnTo>
                    <a:pt x="141" y="1453"/>
                  </a:lnTo>
                  <a:lnTo>
                    <a:pt x="141" y="1453"/>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5"/>
                  </a:lnTo>
                  <a:lnTo>
                    <a:pt x="140" y="1465"/>
                  </a:lnTo>
                  <a:lnTo>
                    <a:pt x="140" y="1465"/>
                  </a:lnTo>
                  <a:lnTo>
                    <a:pt x="140" y="1465"/>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92"/>
                  </a:lnTo>
                  <a:lnTo>
                    <a:pt x="136" y="1492"/>
                  </a:lnTo>
                  <a:lnTo>
                    <a:pt x="136" y="1492"/>
                  </a:lnTo>
                  <a:lnTo>
                    <a:pt x="135" y="1492"/>
                  </a:lnTo>
                  <a:lnTo>
                    <a:pt x="135" y="899"/>
                  </a:lnTo>
                  <a:lnTo>
                    <a:pt x="135" y="899"/>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10"/>
                  </a:lnTo>
                  <a:lnTo>
                    <a:pt x="125" y="1510"/>
                  </a:lnTo>
                  <a:lnTo>
                    <a:pt x="125" y="1510"/>
                  </a:lnTo>
                  <a:lnTo>
                    <a:pt x="125" y="1510"/>
                  </a:lnTo>
                  <a:lnTo>
                    <a:pt x="125" y="1510"/>
                  </a:lnTo>
                  <a:lnTo>
                    <a:pt x="123" y="1510"/>
                  </a:lnTo>
                  <a:lnTo>
                    <a:pt x="123" y="1510"/>
                  </a:lnTo>
                  <a:lnTo>
                    <a:pt x="123" y="1510"/>
                  </a:lnTo>
                  <a:lnTo>
                    <a:pt x="123" y="899"/>
                  </a:lnTo>
                  <a:lnTo>
                    <a:pt x="123" y="899"/>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5" y="899"/>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1544"/>
                  </a:lnTo>
                  <a:lnTo>
                    <a:pt x="94" y="1544"/>
                  </a:lnTo>
                  <a:lnTo>
                    <a:pt x="94" y="899"/>
                  </a:lnTo>
                  <a:lnTo>
                    <a:pt x="93" y="899"/>
                  </a:lnTo>
                  <a:lnTo>
                    <a:pt x="93" y="1544"/>
                  </a:lnTo>
                  <a:lnTo>
                    <a:pt x="93" y="1544"/>
                  </a:lnTo>
                  <a:lnTo>
                    <a:pt x="93" y="899"/>
                  </a:lnTo>
                  <a:lnTo>
                    <a:pt x="92" y="899"/>
                  </a:lnTo>
                  <a:lnTo>
                    <a:pt x="92" y="899"/>
                  </a:lnTo>
                  <a:lnTo>
                    <a:pt x="89" y="899"/>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899"/>
                  </a:lnTo>
                  <a:lnTo>
                    <a:pt x="70" y="899"/>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899"/>
                  </a:lnTo>
                  <a:lnTo>
                    <a:pt x="47" y="899"/>
                  </a:lnTo>
                  <a:lnTo>
                    <a:pt x="47" y="899"/>
                  </a:lnTo>
                  <a:lnTo>
                    <a:pt x="46" y="899"/>
                  </a:lnTo>
                  <a:lnTo>
                    <a:pt x="46" y="899"/>
                  </a:lnTo>
                  <a:lnTo>
                    <a:pt x="46" y="899"/>
                  </a:lnTo>
                  <a:lnTo>
                    <a:pt x="46" y="899"/>
                  </a:lnTo>
                  <a:lnTo>
                    <a:pt x="46" y="899"/>
                  </a:lnTo>
                  <a:lnTo>
                    <a:pt x="46" y="1644"/>
                  </a:lnTo>
                  <a:lnTo>
                    <a:pt x="46" y="1644"/>
                  </a:lnTo>
                  <a:lnTo>
                    <a:pt x="46" y="899"/>
                  </a:lnTo>
                  <a:lnTo>
                    <a:pt x="46" y="899"/>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3" y="89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899"/>
                  </a:lnTo>
                  <a:lnTo>
                    <a:pt x="43" y="899"/>
                  </a:lnTo>
                  <a:lnTo>
                    <a:pt x="43" y="899"/>
                  </a:lnTo>
                  <a:lnTo>
                    <a:pt x="42" y="899"/>
                  </a:lnTo>
                  <a:lnTo>
                    <a:pt x="42" y="899"/>
                  </a:lnTo>
                  <a:lnTo>
                    <a:pt x="42" y="899"/>
                  </a:lnTo>
                  <a:lnTo>
                    <a:pt x="42" y="1681"/>
                  </a:lnTo>
                  <a:lnTo>
                    <a:pt x="41" y="1681"/>
                  </a:lnTo>
                  <a:lnTo>
                    <a:pt x="41" y="1681"/>
                  </a:lnTo>
                  <a:lnTo>
                    <a:pt x="41" y="1681"/>
                  </a:lnTo>
                  <a:lnTo>
                    <a:pt x="41" y="1681"/>
                  </a:lnTo>
                  <a:lnTo>
                    <a:pt x="41" y="1681"/>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39" y="899"/>
                  </a:lnTo>
                  <a:lnTo>
                    <a:pt x="39" y="899"/>
                  </a:lnTo>
                  <a:lnTo>
                    <a:pt x="39" y="899"/>
                  </a:lnTo>
                  <a:lnTo>
                    <a:pt x="39" y="899"/>
                  </a:lnTo>
                  <a:lnTo>
                    <a:pt x="39" y="899"/>
                  </a:lnTo>
                  <a:lnTo>
                    <a:pt x="39" y="899"/>
                  </a:lnTo>
                  <a:lnTo>
                    <a:pt x="39" y="899"/>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899"/>
                  </a:lnTo>
                  <a:lnTo>
                    <a:pt x="35" y="899"/>
                  </a:lnTo>
                  <a:lnTo>
                    <a:pt x="35" y="899"/>
                  </a:lnTo>
                  <a:lnTo>
                    <a:pt x="34" y="899"/>
                  </a:lnTo>
                  <a:lnTo>
                    <a:pt x="34" y="899"/>
                  </a:lnTo>
                  <a:lnTo>
                    <a:pt x="34" y="899"/>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7" y="899"/>
                  </a:lnTo>
                  <a:lnTo>
                    <a:pt x="17" y="899"/>
                  </a:lnTo>
                  <a:lnTo>
                    <a:pt x="17" y="899"/>
                  </a:lnTo>
                  <a:lnTo>
                    <a:pt x="17" y="1782"/>
                  </a:lnTo>
                  <a:lnTo>
                    <a:pt x="17" y="1782"/>
                  </a:lnTo>
                  <a:lnTo>
                    <a:pt x="17" y="1782"/>
                  </a:lnTo>
                  <a:lnTo>
                    <a:pt x="17" y="1782"/>
                  </a:lnTo>
                  <a:lnTo>
                    <a:pt x="17" y="899"/>
                  </a:lnTo>
                  <a:lnTo>
                    <a:pt x="16" y="899"/>
                  </a:lnTo>
                  <a:lnTo>
                    <a:pt x="16" y="899"/>
                  </a:lnTo>
                  <a:lnTo>
                    <a:pt x="15" y="899"/>
                  </a:lnTo>
                  <a:lnTo>
                    <a:pt x="15" y="899"/>
                  </a:lnTo>
                  <a:lnTo>
                    <a:pt x="15" y="899"/>
                  </a:lnTo>
                  <a:lnTo>
                    <a:pt x="15" y="899"/>
                  </a:lnTo>
                  <a:lnTo>
                    <a:pt x="15" y="899"/>
                  </a:lnTo>
                  <a:lnTo>
                    <a:pt x="15" y="899"/>
                  </a:lnTo>
                  <a:lnTo>
                    <a:pt x="15" y="899"/>
                  </a:lnTo>
                  <a:lnTo>
                    <a:pt x="15" y="899"/>
                  </a:lnTo>
                  <a:lnTo>
                    <a:pt x="12" y="899"/>
                  </a:lnTo>
                  <a:lnTo>
                    <a:pt x="12" y="899"/>
                  </a:lnTo>
                  <a:lnTo>
                    <a:pt x="11" y="899"/>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0" y="899"/>
                  </a:lnTo>
                  <a:lnTo>
                    <a:pt x="10" y="899"/>
                  </a:lnTo>
                  <a:lnTo>
                    <a:pt x="10" y="899"/>
                  </a:lnTo>
                  <a:lnTo>
                    <a:pt x="10" y="1792"/>
                  </a:lnTo>
                  <a:lnTo>
                    <a:pt x="10" y="1792"/>
                  </a:lnTo>
                  <a:lnTo>
                    <a:pt x="10" y="1792"/>
                  </a:lnTo>
                  <a:lnTo>
                    <a:pt x="10" y="1792"/>
                  </a:lnTo>
                  <a:lnTo>
                    <a:pt x="10" y="1792"/>
                  </a:lnTo>
                  <a:lnTo>
                    <a:pt x="10" y="1792"/>
                  </a:lnTo>
                  <a:lnTo>
                    <a:pt x="10" y="899"/>
                  </a:lnTo>
                  <a:lnTo>
                    <a:pt x="10" y="899"/>
                  </a:lnTo>
                  <a:lnTo>
                    <a:pt x="10" y="899"/>
                  </a:lnTo>
                  <a:lnTo>
                    <a:pt x="10" y="899"/>
                  </a:lnTo>
                  <a:lnTo>
                    <a:pt x="10" y="899"/>
                  </a:lnTo>
                  <a:lnTo>
                    <a:pt x="10" y="899"/>
                  </a:lnTo>
                  <a:lnTo>
                    <a:pt x="10" y="899"/>
                  </a:lnTo>
                  <a:lnTo>
                    <a:pt x="10" y="899"/>
                  </a:lnTo>
                  <a:lnTo>
                    <a:pt x="10" y="899"/>
                  </a:lnTo>
                  <a:lnTo>
                    <a:pt x="10" y="899"/>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F1A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73">
              <a:extLst>
                <a:ext uri="{FF2B5EF4-FFF2-40B4-BE49-F238E27FC236}">
                  <a16:creationId xmlns:a16="http://schemas.microsoft.com/office/drawing/2014/main" id="{B5A4BE15-EDA8-420F-B67C-D3FE1BE3B6D2}"/>
                </a:ext>
              </a:extLst>
            </p:cNvPr>
            <p:cNvSpPr>
              <a:spLocks/>
            </p:cNvSpPr>
            <p:nvPr/>
          </p:nvSpPr>
          <p:spPr bwMode="auto">
            <a:xfrm>
              <a:off x="1077913" y="1011238"/>
              <a:ext cx="5370513" cy="2857500"/>
            </a:xfrm>
            <a:custGeom>
              <a:avLst/>
              <a:gdLst>
                <a:gd name="T0" fmla="*/ 20 w 3383"/>
                <a:gd name="T1" fmla="*/ 176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899 h 1800"/>
                <a:gd name="T32" fmla="*/ 1484 w 3383"/>
                <a:gd name="T33" fmla="*/ 899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99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899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99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899 h 1800"/>
                <a:gd name="T92" fmla="*/ 1482 w 3383"/>
                <a:gd name="T93" fmla="*/ 899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899 h 1800"/>
                <a:gd name="T104" fmla="*/ 835 w 3383"/>
                <a:gd name="T105" fmla="*/ 899 h 1800"/>
                <a:gd name="T106" fmla="*/ 732 w 3383"/>
                <a:gd name="T107" fmla="*/ 899 h 1800"/>
                <a:gd name="T108" fmla="*/ 548 w 3383"/>
                <a:gd name="T109" fmla="*/ 1294 h 1800"/>
                <a:gd name="T110" fmla="*/ 453 w 3383"/>
                <a:gd name="T111" fmla="*/ 899 h 1800"/>
                <a:gd name="T112" fmla="*/ 344 w 3383"/>
                <a:gd name="T113" fmla="*/ 899 h 1800"/>
                <a:gd name="T114" fmla="*/ 301 w 3383"/>
                <a:gd name="T115" fmla="*/ 899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1785"/>
                  </a:lnTo>
                  <a:lnTo>
                    <a:pt x="12" y="1785"/>
                  </a:lnTo>
                  <a:lnTo>
                    <a:pt x="12" y="1785"/>
                  </a:lnTo>
                  <a:lnTo>
                    <a:pt x="15" y="1785"/>
                  </a:lnTo>
                  <a:lnTo>
                    <a:pt x="15" y="899"/>
                  </a:lnTo>
                  <a:lnTo>
                    <a:pt x="15" y="899"/>
                  </a:lnTo>
                  <a:lnTo>
                    <a:pt x="15" y="899"/>
                  </a:lnTo>
                  <a:lnTo>
                    <a:pt x="15" y="899"/>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1669"/>
                  </a:lnTo>
                  <a:lnTo>
                    <a:pt x="44" y="1669"/>
                  </a:lnTo>
                  <a:lnTo>
                    <a:pt x="44" y="1669"/>
                  </a:lnTo>
                  <a:lnTo>
                    <a:pt x="44" y="1669"/>
                  </a:lnTo>
                  <a:lnTo>
                    <a:pt x="44" y="899"/>
                  </a:lnTo>
                  <a:lnTo>
                    <a:pt x="44" y="899"/>
                  </a:lnTo>
                  <a:lnTo>
                    <a:pt x="44" y="1661"/>
                  </a:lnTo>
                  <a:lnTo>
                    <a:pt x="44" y="1661"/>
                  </a:lnTo>
                  <a:lnTo>
                    <a:pt x="44" y="1661"/>
                  </a:lnTo>
                  <a:lnTo>
                    <a:pt x="44" y="1661"/>
                  </a:lnTo>
                  <a:lnTo>
                    <a:pt x="44" y="1656"/>
                  </a:lnTo>
                  <a:lnTo>
                    <a:pt x="44" y="1656"/>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1579"/>
                  </a:lnTo>
                  <a:lnTo>
                    <a:pt x="86" y="1579"/>
                  </a:lnTo>
                  <a:lnTo>
                    <a:pt x="86" y="1579"/>
                  </a:lnTo>
                  <a:lnTo>
                    <a:pt x="86" y="1579"/>
                  </a:lnTo>
                  <a:lnTo>
                    <a:pt x="86" y="899"/>
                  </a:lnTo>
                  <a:lnTo>
                    <a:pt x="86" y="899"/>
                  </a:lnTo>
                  <a:lnTo>
                    <a:pt x="86" y="899"/>
                  </a:lnTo>
                  <a:lnTo>
                    <a:pt x="86" y="899"/>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899"/>
                  </a:lnTo>
                  <a:lnTo>
                    <a:pt x="103" y="899"/>
                  </a:lnTo>
                  <a:lnTo>
                    <a:pt x="103" y="899"/>
                  </a:lnTo>
                  <a:lnTo>
                    <a:pt x="103" y="899"/>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899"/>
                  </a:lnTo>
                  <a:lnTo>
                    <a:pt x="116" y="899"/>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899"/>
                  </a:lnTo>
                  <a:lnTo>
                    <a:pt x="136" y="899"/>
                  </a:lnTo>
                  <a:lnTo>
                    <a:pt x="136" y="899"/>
                  </a:lnTo>
                  <a:lnTo>
                    <a:pt x="136" y="899"/>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1458"/>
                  </a:lnTo>
                  <a:lnTo>
                    <a:pt x="140" y="1458"/>
                  </a:lnTo>
                  <a:lnTo>
                    <a:pt x="140" y="1458"/>
                  </a:lnTo>
                  <a:lnTo>
                    <a:pt x="141" y="1458"/>
                  </a:lnTo>
                  <a:lnTo>
                    <a:pt x="141" y="1458"/>
                  </a:lnTo>
                  <a:lnTo>
                    <a:pt x="141" y="1458"/>
                  </a:lnTo>
                  <a:lnTo>
                    <a:pt x="141" y="899"/>
                  </a:lnTo>
                  <a:lnTo>
                    <a:pt x="141" y="899"/>
                  </a:lnTo>
                  <a:lnTo>
                    <a:pt x="141" y="899"/>
                  </a:lnTo>
                  <a:lnTo>
                    <a:pt x="141" y="899"/>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899"/>
                  </a:lnTo>
                  <a:lnTo>
                    <a:pt x="147" y="899"/>
                  </a:lnTo>
                  <a:lnTo>
                    <a:pt x="147" y="899"/>
                  </a:lnTo>
                  <a:lnTo>
                    <a:pt x="147" y="899"/>
                  </a:lnTo>
                  <a:lnTo>
                    <a:pt x="147" y="1451"/>
                  </a:lnTo>
                  <a:lnTo>
                    <a:pt x="148" y="1451"/>
                  </a:lnTo>
                  <a:lnTo>
                    <a:pt x="148" y="899"/>
                  </a:lnTo>
                  <a:lnTo>
                    <a:pt x="148" y="899"/>
                  </a:lnTo>
                  <a:lnTo>
                    <a:pt x="148" y="899"/>
                  </a:lnTo>
                  <a:lnTo>
                    <a:pt x="148" y="899"/>
                  </a:lnTo>
                  <a:lnTo>
                    <a:pt x="148" y="1449"/>
                  </a:lnTo>
                  <a:lnTo>
                    <a:pt x="148" y="144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899"/>
                  </a:lnTo>
                  <a:lnTo>
                    <a:pt x="150" y="899"/>
                  </a:lnTo>
                  <a:lnTo>
                    <a:pt x="150" y="899"/>
                  </a:lnTo>
                  <a:lnTo>
                    <a:pt x="150" y="899"/>
                  </a:lnTo>
                  <a:lnTo>
                    <a:pt x="150" y="899"/>
                  </a:lnTo>
                  <a:lnTo>
                    <a:pt x="150" y="899"/>
                  </a:lnTo>
                  <a:lnTo>
                    <a:pt x="150" y="899"/>
                  </a:lnTo>
                  <a:lnTo>
                    <a:pt x="150" y="899"/>
                  </a:lnTo>
                  <a:lnTo>
                    <a:pt x="150" y="899"/>
                  </a:lnTo>
                  <a:lnTo>
                    <a:pt x="151" y="899"/>
                  </a:lnTo>
                  <a:lnTo>
                    <a:pt x="151" y="1443"/>
                  </a:lnTo>
                  <a:lnTo>
                    <a:pt x="151" y="1443"/>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2" y="899"/>
                  </a:lnTo>
                  <a:lnTo>
                    <a:pt x="152" y="899"/>
                  </a:lnTo>
                  <a:lnTo>
                    <a:pt x="152" y="899"/>
                  </a:lnTo>
                  <a:lnTo>
                    <a:pt x="152" y="899"/>
                  </a:lnTo>
                  <a:lnTo>
                    <a:pt x="152" y="89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899"/>
                  </a:lnTo>
                  <a:lnTo>
                    <a:pt x="207" y="899"/>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899"/>
                  </a:lnTo>
                  <a:lnTo>
                    <a:pt x="210" y="899"/>
                  </a:lnTo>
                  <a:lnTo>
                    <a:pt x="210" y="1420"/>
                  </a:lnTo>
                  <a:lnTo>
                    <a:pt x="211" y="1420"/>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899"/>
                  </a:lnTo>
                  <a:lnTo>
                    <a:pt x="221" y="899"/>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899"/>
                  </a:lnTo>
                  <a:lnTo>
                    <a:pt x="243" y="899"/>
                  </a:lnTo>
                  <a:lnTo>
                    <a:pt x="243" y="1406"/>
                  </a:lnTo>
                  <a:lnTo>
                    <a:pt x="247" y="1406"/>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1401"/>
                  </a:lnTo>
                  <a:lnTo>
                    <a:pt x="266" y="1401"/>
                  </a:lnTo>
                  <a:lnTo>
                    <a:pt x="266" y="1401"/>
                  </a:lnTo>
                  <a:lnTo>
                    <a:pt x="266" y="1401"/>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1396"/>
                  </a:lnTo>
                  <a:lnTo>
                    <a:pt x="288" y="1396"/>
                  </a:lnTo>
                  <a:lnTo>
                    <a:pt x="288" y="899"/>
                  </a:lnTo>
                  <a:lnTo>
                    <a:pt x="288" y="899"/>
                  </a:lnTo>
                  <a:lnTo>
                    <a:pt x="288" y="1389"/>
                  </a:lnTo>
                  <a:lnTo>
                    <a:pt x="288" y="1389"/>
                  </a:lnTo>
                  <a:lnTo>
                    <a:pt x="288" y="1389"/>
                  </a:lnTo>
                  <a:lnTo>
                    <a:pt x="288" y="138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1386"/>
                  </a:lnTo>
                  <a:lnTo>
                    <a:pt x="295" y="1386"/>
                  </a:lnTo>
                  <a:lnTo>
                    <a:pt x="295" y="1386"/>
                  </a:lnTo>
                  <a:lnTo>
                    <a:pt x="295" y="1386"/>
                  </a:lnTo>
                  <a:lnTo>
                    <a:pt x="295" y="1386"/>
                  </a:lnTo>
                  <a:lnTo>
                    <a:pt x="295" y="1386"/>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899"/>
                  </a:lnTo>
                  <a:lnTo>
                    <a:pt x="310" y="899"/>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899"/>
                  </a:lnTo>
                  <a:lnTo>
                    <a:pt x="402" y="899"/>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899"/>
                  </a:lnTo>
                  <a:lnTo>
                    <a:pt x="477" y="899"/>
                  </a:lnTo>
                  <a:lnTo>
                    <a:pt x="477" y="1314"/>
                  </a:lnTo>
                  <a:lnTo>
                    <a:pt x="510" y="1314"/>
                  </a:lnTo>
                  <a:lnTo>
                    <a:pt x="510" y="1314"/>
                  </a:lnTo>
                  <a:lnTo>
                    <a:pt x="510" y="1314"/>
                  </a:lnTo>
                  <a:lnTo>
                    <a:pt x="510" y="1314"/>
                  </a:lnTo>
                  <a:lnTo>
                    <a:pt x="510" y="1314"/>
                  </a:lnTo>
                  <a:lnTo>
                    <a:pt x="510" y="899"/>
                  </a:lnTo>
                  <a:lnTo>
                    <a:pt x="511" y="899"/>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899"/>
                  </a:lnTo>
                  <a:lnTo>
                    <a:pt x="519" y="899"/>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899"/>
                  </a:lnTo>
                  <a:lnTo>
                    <a:pt x="522" y="899"/>
                  </a:lnTo>
                  <a:lnTo>
                    <a:pt x="522" y="899"/>
                  </a:lnTo>
                  <a:lnTo>
                    <a:pt x="525" y="899"/>
                  </a:lnTo>
                  <a:lnTo>
                    <a:pt x="525" y="899"/>
                  </a:lnTo>
                  <a:lnTo>
                    <a:pt x="525" y="899"/>
                  </a:lnTo>
                  <a:lnTo>
                    <a:pt x="525" y="899"/>
                  </a:lnTo>
                  <a:lnTo>
                    <a:pt x="525" y="899"/>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1300"/>
                  </a:lnTo>
                  <a:lnTo>
                    <a:pt x="527" y="1300"/>
                  </a:lnTo>
                  <a:lnTo>
                    <a:pt x="527" y="1300"/>
                  </a:lnTo>
                  <a:lnTo>
                    <a:pt x="527" y="1300"/>
                  </a:lnTo>
                  <a:lnTo>
                    <a:pt x="527" y="1300"/>
                  </a:lnTo>
                  <a:lnTo>
                    <a:pt x="527" y="1300"/>
                  </a:lnTo>
                  <a:lnTo>
                    <a:pt x="527" y="899"/>
                  </a:lnTo>
                  <a:lnTo>
                    <a:pt x="527" y="899"/>
                  </a:lnTo>
                  <a:lnTo>
                    <a:pt x="527" y="1300"/>
                  </a:lnTo>
                  <a:lnTo>
                    <a:pt x="527" y="1300"/>
                  </a:lnTo>
                  <a:lnTo>
                    <a:pt x="527" y="1300"/>
                  </a:lnTo>
                  <a:lnTo>
                    <a:pt x="527" y="1300"/>
                  </a:lnTo>
                  <a:lnTo>
                    <a:pt x="527" y="899"/>
                  </a:lnTo>
                  <a:lnTo>
                    <a:pt x="527" y="899"/>
                  </a:lnTo>
                  <a:lnTo>
                    <a:pt x="527" y="899"/>
                  </a:lnTo>
                  <a:lnTo>
                    <a:pt x="527" y="899"/>
                  </a:lnTo>
                  <a:lnTo>
                    <a:pt x="527" y="899"/>
                  </a:lnTo>
                  <a:lnTo>
                    <a:pt x="527" y="899"/>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1300"/>
                  </a:lnTo>
                  <a:lnTo>
                    <a:pt x="528" y="1300"/>
                  </a:lnTo>
                  <a:lnTo>
                    <a:pt x="528" y="1300"/>
                  </a:lnTo>
                  <a:lnTo>
                    <a:pt x="529" y="1300"/>
                  </a:lnTo>
                  <a:lnTo>
                    <a:pt x="529" y="899"/>
                  </a:lnTo>
                  <a:lnTo>
                    <a:pt x="529" y="899"/>
                  </a:lnTo>
                  <a:lnTo>
                    <a:pt x="529" y="899"/>
                  </a:lnTo>
                  <a:lnTo>
                    <a:pt x="530" y="8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899"/>
                  </a:lnTo>
                  <a:lnTo>
                    <a:pt x="592" y="899"/>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899"/>
                  </a:lnTo>
                  <a:lnTo>
                    <a:pt x="649" y="899"/>
                  </a:lnTo>
                  <a:lnTo>
                    <a:pt x="649" y="899"/>
                  </a:lnTo>
                  <a:lnTo>
                    <a:pt x="649" y="899"/>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899"/>
                  </a:lnTo>
                  <a:lnTo>
                    <a:pt x="732" y="899"/>
                  </a:lnTo>
                  <a:lnTo>
                    <a:pt x="732" y="899"/>
                  </a:lnTo>
                  <a:lnTo>
                    <a:pt x="736" y="899"/>
                  </a:lnTo>
                  <a:lnTo>
                    <a:pt x="736" y="899"/>
                  </a:lnTo>
                  <a:lnTo>
                    <a:pt x="736" y="899"/>
                  </a:lnTo>
                  <a:lnTo>
                    <a:pt x="736" y="899"/>
                  </a:lnTo>
                  <a:lnTo>
                    <a:pt x="736" y="899"/>
                  </a:lnTo>
                  <a:lnTo>
                    <a:pt x="736" y="1264"/>
                  </a:lnTo>
                  <a:lnTo>
                    <a:pt x="736" y="1264"/>
                  </a:lnTo>
                  <a:lnTo>
                    <a:pt x="736" y="899"/>
                  </a:lnTo>
                  <a:lnTo>
                    <a:pt x="736" y="899"/>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1258"/>
                  </a:lnTo>
                  <a:lnTo>
                    <a:pt x="766" y="1258"/>
                  </a:lnTo>
                  <a:lnTo>
                    <a:pt x="766" y="1258"/>
                  </a:lnTo>
                  <a:lnTo>
                    <a:pt x="766" y="1258"/>
                  </a:lnTo>
                  <a:lnTo>
                    <a:pt x="766" y="1258"/>
                  </a:lnTo>
                  <a:lnTo>
                    <a:pt x="766" y="1258"/>
                  </a:lnTo>
                  <a:lnTo>
                    <a:pt x="766" y="1258"/>
                  </a:lnTo>
                  <a:lnTo>
                    <a:pt x="766" y="1258"/>
                  </a:lnTo>
                  <a:lnTo>
                    <a:pt x="766" y="899"/>
                  </a:lnTo>
                  <a:lnTo>
                    <a:pt x="766" y="899"/>
                  </a:lnTo>
                  <a:lnTo>
                    <a:pt x="766" y="899"/>
                  </a:lnTo>
                  <a:lnTo>
                    <a:pt x="766" y="899"/>
                  </a:lnTo>
                  <a:lnTo>
                    <a:pt x="766" y="899"/>
                  </a:lnTo>
                  <a:lnTo>
                    <a:pt x="766" y="899"/>
                  </a:lnTo>
                  <a:lnTo>
                    <a:pt x="766" y="899"/>
                  </a:lnTo>
                  <a:lnTo>
                    <a:pt x="766" y="899"/>
                  </a:lnTo>
                  <a:lnTo>
                    <a:pt x="766" y="1257"/>
                  </a:lnTo>
                  <a:lnTo>
                    <a:pt x="766" y="1257"/>
                  </a:lnTo>
                  <a:lnTo>
                    <a:pt x="766" y="1257"/>
                  </a:lnTo>
                  <a:lnTo>
                    <a:pt x="766" y="1257"/>
                  </a:lnTo>
                  <a:lnTo>
                    <a:pt x="766" y="899"/>
                  </a:lnTo>
                  <a:lnTo>
                    <a:pt x="767" y="899"/>
                  </a:lnTo>
                  <a:lnTo>
                    <a:pt x="767" y="1257"/>
                  </a:lnTo>
                  <a:lnTo>
                    <a:pt x="767" y="1257"/>
                  </a:lnTo>
                  <a:lnTo>
                    <a:pt x="767" y="899"/>
                  </a:lnTo>
                  <a:lnTo>
                    <a:pt x="767" y="899"/>
                  </a:lnTo>
                  <a:lnTo>
                    <a:pt x="767" y="899"/>
                  </a:lnTo>
                  <a:lnTo>
                    <a:pt x="767" y="899"/>
                  </a:lnTo>
                  <a:lnTo>
                    <a:pt x="767" y="1257"/>
                  </a:lnTo>
                  <a:lnTo>
                    <a:pt x="767" y="1257"/>
                  </a:lnTo>
                  <a:lnTo>
                    <a:pt x="767" y="899"/>
                  </a:lnTo>
                  <a:lnTo>
                    <a:pt x="767" y="899"/>
                  </a:lnTo>
                  <a:lnTo>
                    <a:pt x="767" y="899"/>
                  </a:lnTo>
                  <a:lnTo>
                    <a:pt x="768" y="899"/>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899"/>
                  </a:lnTo>
                  <a:lnTo>
                    <a:pt x="828" y="899"/>
                  </a:lnTo>
                  <a:lnTo>
                    <a:pt x="828" y="899"/>
                  </a:lnTo>
                  <a:lnTo>
                    <a:pt x="828" y="899"/>
                  </a:lnTo>
                  <a:lnTo>
                    <a:pt x="828" y="1240"/>
                  </a:lnTo>
                  <a:lnTo>
                    <a:pt x="828" y="1240"/>
                  </a:lnTo>
                  <a:lnTo>
                    <a:pt x="828" y="1240"/>
                  </a:lnTo>
                  <a:lnTo>
                    <a:pt x="828" y="1240"/>
                  </a:lnTo>
                  <a:lnTo>
                    <a:pt x="828" y="899"/>
                  </a:lnTo>
                  <a:lnTo>
                    <a:pt x="828" y="899"/>
                  </a:lnTo>
                  <a:lnTo>
                    <a:pt x="828" y="1240"/>
                  </a:lnTo>
                  <a:lnTo>
                    <a:pt x="829" y="1240"/>
                  </a:lnTo>
                  <a:lnTo>
                    <a:pt x="829" y="899"/>
                  </a:lnTo>
                  <a:lnTo>
                    <a:pt x="835" y="899"/>
                  </a:lnTo>
                  <a:lnTo>
                    <a:pt x="835" y="899"/>
                  </a:lnTo>
                  <a:lnTo>
                    <a:pt x="835" y="899"/>
                  </a:lnTo>
                  <a:lnTo>
                    <a:pt x="835" y="899"/>
                  </a:lnTo>
                  <a:lnTo>
                    <a:pt x="835" y="899"/>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8" y="899"/>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899"/>
                  </a:lnTo>
                  <a:lnTo>
                    <a:pt x="851" y="899"/>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899"/>
                  </a:lnTo>
                  <a:lnTo>
                    <a:pt x="887" y="899"/>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899"/>
                  </a:lnTo>
                  <a:lnTo>
                    <a:pt x="899" y="899"/>
                  </a:lnTo>
                  <a:lnTo>
                    <a:pt x="899" y="899"/>
                  </a:lnTo>
                  <a:lnTo>
                    <a:pt x="899" y="899"/>
                  </a:lnTo>
                  <a:lnTo>
                    <a:pt x="899" y="1207"/>
                  </a:lnTo>
                  <a:lnTo>
                    <a:pt x="899" y="1207"/>
                  </a:lnTo>
                  <a:lnTo>
                    <a:pt x="899" y="899"/>
                  </a:lnTo>
                  <a:lnTo>
                    <a:pt x="900" y="899"/>
                  </a:lnTo>
                  <a:lnTo>
                    <a:pt x="900" y="899"/>
                  </a:lnTo>
                  <a:lnTo>
                    <a:pt x="900" y="899"/>
                  </a:lnTo>
                  <a:lnTo>
                    <a:pt x="900" y="899"/>
                  </a:lnTo>
                  <a:lnTo>
                    <a:pt x="902" y="899"/>
                  </a:lnTo>
                  <a:lnTo>
                    <a:pt x="902" y="899"/>
                  </a:lnTo>
                  <a:lnTo>
                    <a:pt x="907" y="899"/>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899"/>
                  </a:lnTo>
                  <a:lnTo>
                    <a:pt x="948" y="899"/>
                  </a:lnTo>
                  <a:lnTo>
                    <a:pt x="948" y="1186"/>
                  </a:lnTo>
                  <a:lnTo>
                    <a:pt x="948" y="1186"/>
                  </a:lnTo>
                  <a:lnTo>
                    <a:pt x="948" y="899"/>
                  </a:lnTo>
                  <a:lnTo>
                    <a:pt x="949" y="899"/>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899"/>
                  </a:lnTo>
                  <a:lnTo>
                    <a:pt x="1003" y="899"/>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1150"/>
                  </a:lnTo>
                  <a:lnTo>
                    <a:pt x="1062" y="1150"/>
                  </a:lnTo>
                  <a:lnTo>
                    <a:pt x="1062" y="1150"/>
                  </a:lnTo>
                  <a:lnTo>
                    <a:pt x="1067" y="1150"/>
                  </a:lnTo>
                  <a:lnTo>
                    <a:pt x="1067" y="899"/>
                  </a:lnTo>
                  <a:lnTo>
                    <a:pt x="1067" y="899"/>
                  </a:lnTo>
                  <a:lnTo>
                    <a:pt x="1067" y="899"/>
                  </a:lnTo>
                  <a:lnTo>
                    <a:pt x="1067" y="899"/>
                  </a:lnTo>
                  <a:lnTo>
                    <a:pt x="1067" y="1148"/>
                  </a:lnTo>
                  <a:lnTo>
                    <a:pt x="1069" y="1148"/>
                  </a:lnTo>
                  <a:lnTo>
                    <a:pt x="1069" y="1146"/>
                  </a:lnTo>
                  <a:lnTo>
                    <a:pt x="1069" y="1146"/>
                  </a:lnTo>
                  <a:lnTo>
                    <a:pt x="1069" y="1146"/>
                  </a:lnTo>
                  <a:lnTo>
                    <a:pt x="1069" y="1146"/>
                  </a:lnTo>
                  <a:lnTo>
                    <a:pt x="1069" y="899"/>
                  </a:lnTo>
                  <a:lnTo>
                    <a:pt x="1069" y="899"/>
                  </a:lnTo>
                  <a:lnTo>
                    <a:pt x="1069" y="899"/>
                  </a:lnTo>
                  <a:lnTo>
                    <a:pt x="1069" y="899"/>
                  </a:lnTo>
                  <a:lnTo>
                    <a:pt x="1069" y="899"/>
                  </a:lnTo>
                  <a:lnTo>
                    <a:pt x="1069" y="899"/>
                  </a:lnTo>
                  <a:lnTo>
                    <a:pt x="1069" y="899"/>
                  </a:lnTo>
                  <a:lnTo>
                    <a:pt x="1069" y="899"/>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4" y="899"/>
                  </a:lnTo>
                  <a:lnTo>
                    <a:pt x="1224" y="899"/>
                  </a:lnTo>
                  <a:lnTo>
                    <a:pt x="1224" y="899"/>
                  </a:lnTo>
                  <a:lnTo>
                    <a:pt x="1224" y="899"/>
                  </a:lnTo>
                  <a:lnTo>
                    <a:pt x="1224" y="899"/>
                  </a:lnTo>
                  <a:lnTo>
                    <a:pt x="1224" y="899"/>
                  </a:lnTo>
                  <a:lnTo>
                    <a:pt x="1225" y="899"/>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899"/>
                  </a:lnTo>
                  <a:lnTo>
                    <a:pt x="1249" y="899"/>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899"/>
                  </a:lnTo>
                  <a:lnTo>
                    <a:pt x="1333" y="899"/>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899"/>
                  </a:lnTo>
                  <a:lnTo>
                    <a:pt x="1337" y="899"/>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1"/>
                  </a:lnTo>
                  <a:lnTo>
                    <a:pt x="1354" y="1101"/>
                  </a:lnTo>
                  <a:lnTo>
                    <a:pt x="1354" y="899"/>
                  </a:lnTo>
                  <a:lnTo>
                    <a:pt x="1354" y="8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899"/>
                  </a:lnTo>
                  <a:lnTo>
                    <a:pt x="1366" y="899"/>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899"/>
                  </a:lnTo>
                  <a:lnTo>
                    <a:pt x="1367" y="899"/>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899"/>
                  </a:lnTo>
                  <a:lnTo>
                    <a:pt x="1369" y="899"/>
                  </a:lnTo>
                  <a:lnTo>
                    <a:pt x="1369" y="899"/>
                  </a:lnTo>
                  <a:lnTo>
                    <a:pt x="1369" y="899"/>
                  </a:lnTo>
                  <a:lnTo>
                    <a:pt x="1369" y="899"/>
                  </a:lnTo>
                  <a:lnTo>
                    <a:pt x="1369" y="899"/>
                  </a:lnTo>
                  <a:lnTo>
                    <a:pt x="1369" y="899"/>
                  </a:lnTo>
                  <a:lnTo>
                    <a:pt x="1369" y="899"/>
                  </a:lnTo>
                  <a:lnTo>
                    <a:pt x="1369" y="1074"/>
                  </a:lnTo>
                  <a:lnTo>
                    <a:pt x="1369" y="1074"/>
                  </a:lnTo>
                  <a:lnTo>
                    <a:pt x="1369" y="1074"/>
                  </a:lnTo>
                  <a:lnTo>
                    <a:pt x="1370" y="1074"/>
                  </a:lnTo>
                  <a:lnTo>
                    <a:pt x="1370" y="899"/>
                  </a:lnTo>
                  <a:lnTo>
                    <a:pt x="1375" y="899"/>
                  </a:lnTo>
                  <a:lnTo>
                    <a:pt x="1375" y="899"/>
                  </a:lnTo>
                  <a:lnTo>
                    <a:pt x="1375" y="899"/>
                  </a:lnTo>
                  <a:lnTo>
                    <a:pt x="1375" y="899"/>
                  </a:lnTo>
                  <a:lnTo>
                    <a:pt x="1375" y="899"/>
                  </a:lnTo>
                  <a:lnTo>
                    <a:pt x="1375" y="899"/>
                  </a:lnTo>
                  <a:lnTo>
                    <a:pt x="1380" y="899"/>
                  </a:lnTo>
                  <a:lnTo>
                    <a:pt x="1380" y="899"/>
                  </a:lnTo>
                  <a:lnTo>
                    <a:pt x="1381" y="899"/>
                  </a:lnTo>
                  <a:lnTo>
                    <a:pt x="1381" y="899"/>
                  </a:lnTo>
                  <a:lnTo>
                    <a:pt x="1382" y="899"/>
                  </a:lnTo>
                  <a:lnTo>
                    <a:pt x="1382" y="899"/>
                  </a:lnTo>
                  <a:lnTo>
                    <a:pt x="1385" y="899"/>
                  </a:lnTo>
                  <a:lnTo>
                    <a:pt x="1385" y="899"/>
                  </a:lnTo>
                  <a:lnTo>
                    <a:pt x="1385" y="899"/>
                  </a:lnTo>
                  <a:lnTo>
                    <a:pt x="1385" y="899"/>
                  </a:lnTo>
                  <a:lnTo>
                    <a:pt x="1385" y="899"/>
                  </a:lnTo>
                  <a:lnTo>
                    <a:pt x="1385" y="899"/>
                  </a:lnTo>
                  <a:lnTo>
                    <a:pt x="1386" y="899"/>
                  </a:lnTo>
                  <a:lnTo>
                    <a:pt x="1386" y="899"/>
                  </a:lnTo>
                  <a:lnTo>
                    <a:pt x="1387" y="899"/>
                  </a:lnTo>
                  <a:lnTo>
                    <a:pt x="1387" y="1064"/>
                  </a:lnTo>
                  <a:lnTo>
                    <a:pt x="1387" y="1064"/>
                  </a:lnTo>
                  <a:lnTo>
                    <a:pt x="1387" y="899"/>
                  </a:lnTo>
                  <a:lnTo>
                    <a:pt x="1387" y="899"/>
                  </a:lnTo>
                  <a:lnTo>
                    <a:pt x="1387" y="899"/>
                  </a:lnTo>
                  <a:lnTo>
                    <a:pt x="1387" y="899"/>
                  </a:lnTo>
                  <a:lnTo>
                    <a:pt x="1387" y="899"/>
                  </a:lnTo>
                  <a:lnTo>
                    <a:pt x="1388" y="899"/>
                  </a:lnTo>
                  <a:lnTo>
                    <a:pt x="1388" y="899"/>
                  </a:lnTo>
                  <a:lnTo>
                    <a:pt x="1388" y="899"/>
                  </a:lnTo>
                  <a:lnTo>
                    <a:pt x="1388" y="1063"/>
                  </a:lnTo>
                  <a:lnTo>
                    <a:pt x="1388" y="1063"/>
                  </a:lnTo>
                  <a:lnTo>
                    <a:pt x="1388" y="899"/>
                  </a:lnTo>
                  <a:lnTo>
                    <a:pt x="1388" y="899"/>
                  </a:lnTo>
                  <a:lnTo>
                    <a:pt x="1388" y="899"/>
                  </a:lnTo>
                  <a:lnTo>
                    <a:pt x="1388" y="899"/>
                  </a:lnTo>
                  <a:lnTo>
                    <a:pt x="1388" y="1061"/>
                  </a:lnTo>
                  <a:lnTo>
                    <a:pt x="1388" y="1061"/>
                  </a:lnTo>
                  <a:lnTo>
                    <a:pt x="1388" y="899"/>
                  </a:lnTo>
                  <a:lnTo>
                    <a:pt x="1389" y="899"/>
                  </a:lnTo>
                  <a:lnTo>
                    <a:pt x="1389" y="1061"/>
                  </a:lnTo>
                  <a:lnTo>
                    <a:pt x="1389" y="1061"/>
                  </a:lnTo>
                  <a:lnTo>
                    <a:pt x="1389" y="899"/>
                  </a:lnTo>
                  <a:lnTo>
                    <a:pt x="1390" y="899"/>
                  </a:lnTo>
                  <a:lnTo>
                    <a:pt x="1390" y="899"/>
                  </a:lnTo>
                  <a:lnTo>
                    <a:pt x="1390" y="899"/>
                  </a:lnTo>
                  <a:lnTo>
                    <a:pt x="1390" y="899"/>
                  </a:lnTo>
                  <a:lnTo>
                    <a:pt x="1390" y="899"/>
                  </a:lnTo>
                  <a:lnTo>
                    <a:pt x="1390" y="1060"/>
                  </a:lnTo>
                  <a:lnTo>
                    <a:pt x="1390" y="1060"/>
                  </a:lnTo>
                  <a:lnTo>
                    <a:pt x="1390" y="899"/>
                  </a:lnTo>
                  <a:lnTo>
                    <a:pt x="1390" y="899"/>
                  </a:lnTo>
                  <a:lnTo>
                    <a:pt x="1390" y="1060"/>
                  </a:lnTo>
                  <a:lnTo>
                    <a:pt x="1391" y="1060"/>
                  </a:lnTo>
                  <a:lnTo>
                    <a:pt x="1391" y="1060"/>
                  </a:lnTo>
                  <a:lnTo>
                    <a:pt x="1391" y="1060"/>
                  </a:lnTo>
                  <a:lnTo>
                    <a:pt x="1391" y="1060"/>
                  </a:lnTo>
                  <a:lnTo>
                    <a:pt x="1391" y="1060"/>
                  </a:lnTo>
                  <a:lnTo>
                    <a:pt x="1391" y="899"/>
                  </a:lnTo>
                  <a:lnTo>
                    <a:pt x="1391" y="899"/>
                  </a:lnTo>
                  <a:lnTo>
                    <a:pt x="1391" y="1060"/>
                  </a:lnTo>
                  <a:lnTo>
                    <a:pt x="1391" y="1060"/>
                  </a:lnTo>
                  <a:lnTo>
                    <a:pt x="1391" y="899"/>
                  </a:lnTo>
                  <a:lnTo>
                    <a:pt x="1391" y="899"/>
                  </a:lnTo>
                  <a:lnTo>
                    <a:pt x="1391" y="1060"/>
                  </a:lnTo>
                  <a:lnTo>
                    <a:pt x="1391" y="1060"/>
                  </a:lnTo>
                  <a:lnTo>
                    <a:pt x="1391" y="899"/>
                  </a:lnTo>
                  <a:lnTo>
                    <a:pt x="1391" y="899"/>
                  </a:lnTo>
                  <a:lnTo>
                    <a:pt x="1391" y="1060"/>
                  </a:lnTo>
                  <a:lnTo>
                    <a:pt x="1391" y="1060"/>
                  </a:lnTo>
                  <a:lnTo>
                    <a:pt x="1391" y="1060"/>
                  </a:lnTo>
                  <a:lnTo>
                    <a:pt x="1391" y="1060"/>
                  </a:lnTo>
                  <a:lnTo>
                    <a:pt x="1391" y="899"/>
                  </a:lnTo>
                  <a:lnTo>
                    <a:pt x="1392" y="899"/>
                  </a:lnTo>
                  <a:lnTo>
                    <a:pt x="1392" y="899"/>
                  </a:lnTo>
                  <a:lnTo>
                    <a:pt x="1396" y="899"/>
                  </a:lnTo>
                  <a:lnTo>
                    <a:pt x="1396" y="899"/>
                  </a:lnTo>
                  <a:lnTo>
                    <a:pt x="1396" y="899"/>
                  </a:lnTo>
                  <a:lnTo>
                    <a:pt x="1396" y="899"/>
                  </a:lnTo>
                  <a:lnTo>
                    <a:pt x="1397" y="899"/>
                  </a:lnTo>
                  <a:lnTo>
                    <a:pt x="1397" y="899"/>
                  </a:lnTo>
                  <a:lnTo>
                    <a:pt x="1399" y="899"/>
                  </a:lnTo>
                  <a:lnTo>
                    <a:pt x="1399" y="899"/>
                  </a:lnTo>
                  <a:lnTo>
                    <a:pt x="1399" y="899"/>
                  </a:lnTo>
                  <a:lnTo>
                    <a:pt x="1399" y="899"/>
                  </a:lnTo>
                  <a:lnTo>
                    <a:pt x="1399" y="899"/>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899"/>
                  </a:lnTo>
                  <a:lnTo>
                    <a:pt x="1408" y="89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899"/>
                  </a:lnTo>
                  <a:lnTo>
                    <a:pt x="1410" y="899"/>
                  </a:lnTo>
                  <a:lnTo>
                    <a:pt x="1410" y="899"/>
                  </a:lnTo>
                  <a:lnTo>
                    <a:pt x="1410" y="899"/>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899"/>
                  </a:lnTo>
                  <a:lnTo>
                    <a:pt x="1413" y="899"/>
                  </a:lnTo>
                  <a:lnTo>
                    <a:pt x="1413" y="899"/>
                  </a:lnTo>
                  <a:lnTo>
                    <a:pt x="1413" y="899"/>
                  </a:lnTo>
                  <a:lnTo>
                    <a:pt x="1413" y="899"/>
                  </a:lnTo>
                  <a:lnTo>
                    <a:pt x="1414" y="899"/>
                  </a:lnTo>
                  <a:lnTo>
                    <a:pt x="1414" y="899"/>
                  </a:lnTo>
                  <a:lnTo>
                    <a:pt x="1421" y="899"/>
                  </a:lnTo>
                  <a:lnTo>
                    <a:pt x="1421" y="1042"/>
                  </a:lnTo>
                  <a:lnTo>
                    <a:pt x="1422" y="1042"/>
                  </a:lnTo>
                  <a:lnTo>
                    <a:pt x="1422" y="1042"/>
                  </a:lnTo>
                  <a:lnTo>
                    <a:pt x="1423" y="1042"/>
                  </a:lnTo>
                  <a:lnTo>
                    <a:pt x="1423" y="1042"/>
                  </a:lnTo>
                  <a:lnTo>
                    <a:pt x="1425" y="1042"/>
                  </a:lnTo>
                  <a:lnTo>
                    <a:pt x="1425" y="1042"/>
                  </a:lnTo>
                  <a:lnTo>
                    <a:pt x="1432" y="1042"/>
                  </a:lnTo>
                  <a:lnTo>
                    <a:pt x="1432" y="899"/>
                  </a:lnTo>
                  <a:lnTo>
                    <a:pt x="1432" y="899"/>
                  </a:lnTo>
                  <a:lnTo>
                    <a:pt x="1432" y="899"/>
                  </a:lnTo>
                  <a:lnTo>
                    <a:pt x="1432" y="899"/>
                  </a:lnTo>
                  <a:lnTo>
                    <a:pt x="1432" y="899"/>
                  </a:lnTo>
                  <a:lnTo>
                    <a:pt x="1434" y="899"/>
                  </a:lnTo>
                  <a:lnTo>
                    <a:pt x="1434" y="899"/>
                  </a:lnTo>
                  <a:lnTo>
                    <a:pt x="1434" y="899"/>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899"/>
                  </a:lnTo>
                  <a:lnTo>
                    <a:pt x="1438" y="899"/>
                  </a:lnTo>
                  <a:lnTo>
                    <a:pt x="1438" y="899"/>
                  </a:lnTo>
                  <a:lnTo>
                    <a:pt x="1438" y="899"/>
                  </a:lnTo>
                  <a:lnTo>
                    <a:pt x="1438" y="899"/>
                  </a:lnTo>
                  <a:lnTo>
                    <a:pt x="1438" y="899"/>
                  </a:lnTo>
                  <a:lnTo>
                    <a:pt x="1438" y="1038"/>
                  </a:lnTo>
                  <a:lnTo>
                    <a:pt x="1439" y="1038"/>
                  </a:lnTo>
                  <a:lnTo>
                    <a:pt x="1439" y="1038"/>
                  </a:lnTo>
                  <a:lnTo>
                    <a:pt x="1441" y="1038"/>
                  </a:lnTo>
                  <a:lnTo>
                    <a:pt x="1441" y="1038"/>
                  </a:lnTo>
                  <a:lnTo>
                    <a:pt x="1453" y="1038"/>
                  </a:lnTo>
                  <a:lnTo>
                    <a:pt x="1453" y="1038"/>
                  </a:lnTo>
                  <a:lnTo>
                    <a:pt x="1453" y="1038"/>
                  </a:lnTo>
                  <a:lnTo>
                    <a:pt x="1453" y="899"/>
                  </a:lnTo>
                  <a:lnTo>
                    <a:pt x="1453" y="899"/>
                  </a:lnTo>
                  <a:lnTo>
                    <a:pt x="1453" y="899"/>
                  </a:lnTo>
                  <a:lnTo>
                    <a:pt x="1454" y="899"/>
                  </a:lnTo>
                  <a:lnTo>
                    <a:pt x="1454" y="899"/>
                  </a:lnTo>
                  <a:lnTo>
                    <a:pt x="1455" y="899"/>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899"/>
                  </a:lnTo>
                  <a:lnTo>
                    <a:pt x="1457" y="899"/>
                  </a:lnTo>
                  <a:lnTo>
                    <a:pt x="1457" y="899"/>
                  </a:lnTo>
                  <a:lnTo>
                    <a:pt x="1474" y="899"/>
                  </a:lnTo>
                  <a:lnTo>
                    <a:pt x="1474" y="899"/>
                  </a:lnTo>
                  <a:lnTo>
                    <a:pt x="1474" y="899"/>
                  </a:lnTo>
                  <a:lnTo>
                    <a:pt x="1474" y="899"/>
                  </a:lnTo>
                  <a:lnTo>
                    <a:pt x="1474" y="899"/>
                  </a:lnTo>
                  <a:lnTo>
                    <a:pt x="1474" y="1033"/>
                  </a:lnTo>
                  <a:lnTo>
                    <a:pt x="1475" y="1033"/>
                  </a:lnTo>
                  <a:lnTo>
                    <a:pt x="1475" y="899"/>
                  </a:lnTo>
                  <a:lnTo>
                    <a:pt x="1475" y="899"/>
                  </a:lnTo>
                  <a:lnTo>
                    <a:pt x="1475" y="899"/>
                  </a:lnTo>
                  <a:lnTo>
                    <a:pt x="1475" y="899"/>
                  </a:lnTo>
                  <a:lnTo>
                    <a:pt x="1475" y="899"/>
                  </a:lnTo>
                  <a:lnTo>
                    <a:pt x="1476" y="899"/>
                  </a:lnTo>
                  <a:lnTo>
                    <a:pt x="1476" y="899"/>
                  </a:lnTo>
                  <a:lnTo>
                    <a:pt x="1476" y="899"/>
                  </a:lnTo>
                  <a:lnTo>
                    <a:pt x="1476" y="899"/>
                  </a:lnTo>
                  <a:lnTo>
                    <a:pt x="1478" y="899"/>
                  </a:lnTo>
                  <a:lnTo>
                    <a:pt x="1478" y="1029"/>
                  </a:lnTo>
                  <a:lnTo>
                    <a:pt x="1478" y="1029"/>
                  </a:lnTo>
                  <a:lnTo>
                    <a:pt x="1478" y="899"/>
                  </a:lnTo>
                  <a:lnTo>
                    <a:pt x="1478" y="899"/>
                  </a:lnTo>
                  <a:lnTo>
                    <a:pt x="1478" y="1029"/>
                  </a:lnTo>
                  <a:lnTo>
                    <a:pt x="1478" y="1029"/>
                  </a:lnTo>
                  <a:lnTo>
                    <a:pt x="1478" y="1029"/>
                  </a:lnTo>
                  <a:lnTo>
                    <a:pt x="1478" y="1029"/>
                  </a:lnTo>
                  <a:lnTo>
                    <a:pt x="1478" y="899"/>
                  </a:lnTo>
                  <a:lnTo>
                    <a:pt x="1479" y="899"/>
                  </a:lnTo>
                  <a:lnTo>
                    <a:pt x="1479"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4" y="899"/>
                  </a:lnTo>
                  <a:lnTo>
                    <a:pt x="1484" y="899"/>
                  </a:lnTo>
                  <a:lnTo>
                    <a:pt x="1484" y="899"/>
                  </a:lnTo>
                  <a:lnTo>
                    <a:pt x="1484" y="899"/>
                  </a:lnTo>
                  <a:lnTo>
                    <a:pt x="1484" y="899"/>
                  </a:lnTo>
                  <a:lnTo>
                    <a:pt x="1484" y="899"/>
                  </a:lnTo>
                  <a:lnTo>
                    <a:pt x="1484" y="899"/>
                  </a:lnTo>
                  <a:lnTo>
                    <a:pt x="1484" y="899"/>
                  </a:lnTo>
                  <a:lnTo>
                    <a:pt x="1484" y="899"/>
                  </a:lnTo>
                  <a:lnTo>
                    <a:pt x="1484" y="1019"/>
                  </a:lnTo>
                  <a:lnTo>
                    <a:pt x="1484" y="1019"/>
                  </a:lnTo>
                  <a:lnTo>
                    <a:pt x="1484" y="1017"/>
                  </a:lnTo>
                  <a:lnTo>
                    <a:pt x="1484" y="1017"/>
                  </a:lnTo>
                  <a:lnTo>
                    <a:pt x="1484" y="1017"/>
                  </a:lnTo>
                  <a:lnTo>
                    <a:pt x="1484" y="1017"/>
                  </a:lnTo>
                  <a:lnTo>
                    <a:pt x="1484" y="899"/>
                  </a:lnTo>
                  <a:lnTo>
                    <a:pt x="1485" y="899"/>
                  </a:lnTo>
                  <a:lnTo>
                    <a:pt x="1485" y="899"/>
                  </a:lnTo>
                  <a:lnTo>
                    <a:pt x="1485" y="899"/>
                  </a:lnTo>
                  <a:lnTo>
                    <a:pt x="1485" y="899"/>
                  </a:lnTo>
                  <a:lnTo>
                    <a:pt x="1485" y="899"/>
                  </a:lnTo>
                  <a:lnTo>
                    <a:pt x="1485" y="899"/>
                  </a:lnTo>
                  <a:lnTo>
                    <a:pt x="1486" y="899"/>
                  </a:lnTo>
                  <a:lnTo>
                    <a:pt x="1486" y="899"/>
                  </a:lnTo>
                  <a:lnTo>
                    <a:pt x="1487" y="899"/>
                  </a:lnTo>
                  <a:lnTo>
                    <a:pt x="1487" y="899"/>
                  </a:lnTo>
                  <a:lnTo>
                    <a:pt x="1489" y="899"/>
                  </a:lnTo>
                  <a:lnTo>
                    <a:pt x="1489" y="899"/>
                  </a:lnTo>
                  <a:lnTo>
                    <a:pt x="1495" y="899"/>
                  </a:lnTo>
                  <a:lnTo>
                    <a:pt x="1495" y="899"/>
                  </a:lnTo>
                  <a:lnTo>
                    <a:pt x="1507" y="899"/>
                  </a:lnTo>
                  <a:lnTo>
                    <a:pt x="1507" y="899"/>
                  </a:lnTo>
                  <a:lnTo>
                    <a:pt x="1535" y="899"/>
                  </a:lnTo>
                  <a:lnTo>
                    <a:pt x="1535" y="899"/>
                  </a:lnTo>
                  <a:lnTo>
                    <a:pt x="1535" y="899"/>
                  </a:lnTo>
                  <a:lnTo>
                    <a:pt x="1535" y="899"/>
                  </a:lnTo>
                  <a:lnTo>
                    <a:pt x="1535" y="899"/>
                  </a:lnTo>
                  <a:lnTo>
                    <a:pt x="1535" y="899"/>
                  </a:lnTo>
                  <a:lnTo>
                    <a:pt x="1536" y="899"/>
                  </a:lnTo>
                  <a:lnTo>
                    <a:pt x="1536" y="899"/>
                  </a:lnTo>
                  <a:lnTo>
                    <a:pt x="1536" y="899"/>
                  </a:lnTo>
                  <a:lnTo>
                    <a:pt x="1536" y="899"/>
                  </a:lnTo>
                  <a:lnTo>
                    <a:pt x="1537" y="899"/>
                  </a:lnTo>
                  <a:lnTo>
                    <a:pt x="1537" y="899"/>
                  </a:lnTo>
                  <a:lnTo>
                    <a:pt x="1538" y="899"/>
                  </a:lnTo>
                  <a:lnTo>
                    <a:pt x="1538" y="899"/>
                  </a:lnTo>
                  <a:lnTo>
                    <a:pt x="1539" y="899"/>
                  </a:lnTo>
                  <a:lnTo>
                    <a:pt x="1539" y="899"/>
                  </a:lnTo>
                  <a:lnTo>
                    <a:pt x="1541" y="899"/>
                  </a:lnTo>
                  <a:lnTo>
                    <a:pt x="1541" y="899"/>
                  </a:lnTo>
                  <a:lnTo>
                    <a:pt x="1544" y="899"/>
                  </a:lnTo>
                  <a:lnTo>
                    <a:pt x="1544" y="899"/>
                  </a:lnTo>
                  <a:lnTo>
                    <a:pt x="1549" y="899"/>
                  </a:lnTo>
                  <a:lnTo>
                    <a:pt x="1549" y="899"/>
                  </a:lnTo>
                  <a:lnTo>
                    <a:pt x="1558" y="899"/>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899"/>
                  </a:lnTo>
                  <a:lnTo>
                    <a:pt x="1695" y="899"/>
                  </a:lnTo>
                  <a:lnTo>
                    <a:pt x="1695" y="899"/>
                  </a:lnTo>
                  <a:lnTo>
                    <a:pt x="1698" y="899"/>
                  </a:lnTo>
                  <a:lnTo>
                    <a:pt x="1698" y="1005"/>
                  </a:lnTo>
                  <a:lnTo>
                    <a:pt x="1698" y="1005"/>
                  </a:lnTo>
                  <a:lnTo>
                    <a:pt x="1698" y="1005"/>
                  </a:lnTo>
                  <a:lnTo>
                    <a:pt x="1699" y="1005"/>
                  </a:lnTo>
                  <a:lnTo>
                    <a:pt x="1699" y="1004"/>
                  </a:lnTo>
                  <a:lnTo>
                    <a:pt x="1699" y="1004"/>
                  </a:lnTo>
                  <a:lnTo>
                    <a:pt x="1699" y="1004"/>
                  </a:lnTo>
                  <a:lnTo>
                    <a:pt x="1699" y="1004"/>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899"/>
                  </a:lnTo>
                  <a:lnTo>
                    <a:pt x="1700" y="899"/>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899"/>
                  </a:lnTo>
                  <a:lnTo>
                    <a:pt x="1702" y="899"/>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974"/>
                  </a:lnTo>
                  <a:lnTo>
                    <a:pt x="1814" y="974"/>
                  </a:lnTo>
                  <a:lnTo>
                    <a:pt x="1814" y="970"/>
                  </a:lnTo>
                  <a:lnTo>
                    <a:pt x="1814" y="970"/>
                  </a:lnTo>
                  <a:lnTo>
                    <a:pt x="1814" y="970"/>
                  </a:lnTo>
                  <a:lnTo>
                    <a:pt x="1814" y="970"/>
                  </a:lnTo>
                  <a:lnTo>
                    <a:pt x="1814" y="970"/>
                  </a:lnTo>
                  <a:lnTo>
                    <a:pt x="1815" y="970"/>
                  </a:lnTo>
                  <a:lnTo>
                    <a:pt x="1815" y="899"/>
                  </a:lnTo>
                  <a:lnTo>
                    <a:pt x="1817" y="899"/>
                  </a:lnTo>
                  <a:lnTo>
                    <a:pt x="1817" y="966"/>
                  </a:lnTo>
                  <a:lnTo>
                    <a:pt x="1817" y="966"/>
                  </a:lnTo>
                  <a:lnTo>
                    <a:pt x="1817" y="966"/>
                  </a:lnTo>
                  <a:lnTo>
                    <a:pt x="1820" y="966"/>
                  </a:lnTo>
                  <a:lnTo>
                    <a:pt x="1820" y="966"/>
                  </a:lnTo>
                  <a:lnTo>
                    <a:pt x="1844" y="966"/>
                  </a:lnTo>
                  <a:lnTo>
                    <a:pt x="1844" y="899"/>
                  </a:lnTo>
                  <a:lnTo>
                    <a:pt x="1845" y="899"/>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899"/>
                  </a:lnTo>
                  <a:lnTo>
                    <a:pt x="1852" y="899"/>
                  </a:lnTo>
                  <a:lnTo>
                    <a:pt x="1852" y="899"/>
                  </a:lnTo>
                  <a:lnTo>
                    <a:pt x="1852" y="899"/>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899"/>
                  </a:lnTo>
                  <a:lnTo>
                    <a:pt x="1901" y="899"/>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899"/>
                  </a:lnTo>
                  <a:lnTo>
                    <a:pt x="1903" y="899"/>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899"/>
                  </a:lnTo>
                  <a:lnTo>
                    <a:pt x="1945" y="899"/>
                  </a:lnTo>
                  <a:lnTo>
                    <a:pt x="1945" y="899"/>
                  </a:lnTo>
                  <a:lnTo>
                    <a:pt x="1945" y="899"/>
                  </a:lnTo>
                  <a:lnTo>
                    <a:pt x="1945" y="899"/>
                  </a:lnTo>
                  <a:lnTo>
                    <a:pt x="1945" y="89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9"/>
                  </a:lnTo>
                  <a:lnTo>
                    <a:pt x="2059" y="899"/>
                  </a:lnTo>
                  <a:lnTo>
                    <a:pt x="2059" y="894"/>
                  </a:lnTo>
                  <a:lnTo>
                    <a:pt x="2059" y="894"/>
                  </a:lnTo>
                  <a:lnTo>
                    <a:pt x="2059" y="894"/>
                  </a:lnTo>
                  <a:lnTo>
                    <a:pt x="2059" y="894"/>
                  </a:lnTo>
                  <a:lnTo>
                    <a:pt x="2059" y="893"/>
                  </a:lnTo>
                  <a:lnTo>
                    <a:pt x="2059" y="893"/>
                  </a:lnTo>
                  <a:lnTo>
                    <a:pt x="2059" y="893"/>
                  </a:lnTo>
                  <a:lnTo>
                    <a:pt x="2059" y="893"/>
                  </a:lnTo>
                  <a:lnTo>
                    <a:pt x="2059" y="899"/>
                  </a:lnTo>
                  <a:lnTo>
                    <a:pt x="2059" y="899"/>
                  </a:lnTo>
                  <a:lnTo>
                    <a:pt x="2059" y="892"/>
                  </a:lnTo>
                  <a:lnTo>
                    <a:pt x="2059" y="892"/>
                  </a:lnTo>
                  <a:lnTo>
                    <a:pt x="2059" y="899"/>
                  </a:lnTo>
                  <a:lnTo>
                    <a:pt x="2060" y="899"/>
                  </a:lnTo>
                  <a:lnTo>
                    <a:pt x="2060" y="892"/>
                  </a:lnTo>
                  <a:lnTo>
                    <a:pt x="2060" y="892"/>
                  </a:lnTo>
                  <a:lnTo>
                    <a:pt x="2060" y="892"/>
                  </a:lnTo>
                  <a:lnTo>
                    <a:pt x="2061" y="892"/>
                  </a:lnTo>
                  <a:lnTo>
                    <a:pt x="2061" y="892"/>
                  </a:lnTo>
                  <a:lnTo>
                    <a:pt x="2064" y="892"/>
                  </a:lnTo>
                  <a:lnTo>
                    <a:pt x="2064" y="899"/>
                  </a:lnTo>
                  <a:lnTo>
                    <a:pt x="2077" y="899"/>
                  </a:lnTo>
                  <a:lnTo>
                    <a:pt x="2077" y="899"/>
                  </a:lnTo>
                  <a:lnTo>
                    <a:pt x="2077" y="899"/>
                  </a:lnTo>
                  <a:lnTo>
                    <a:pt x="2077" y="899"/>
                  </a:lnTo>
                  <a:lnTo>
                    <a:pt x="2077" y="899"/>
                  </a:lnTo>
                  <a:lnTo>
                    <a:pt x="2077" y="899"/>
                  </a:lnTo>
                  <a:lnTo>
                    <a:pt x="2077" y="899"/>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99"/>
                  </a:lnTo>
                  <a:lnTo>
                    <a:pt x="2079" y="899"/>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99"/>
                  </a:lnTo>
                  <a:lnTo>
                    <a:pt x="2089" y="899"/>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99"/>
                  </a:lnTo>
                  <a:lnTo>
                    <a:pt x="2135" y="899"/>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99"/>
                  </a:lnTo>
                  <a:lnTo>
                    <a:pt x="2152" y="899"/>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99"/>
                  </a:lnTo>
                  <a:lnTo>
                    <a:pt x="2185" y="899"/>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99"/>
                  </a:lnTo>
                  <a:lnTo>
                    <a:pt x="2215" y="899"/>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99"/>
                  </a:lnTo>
                  <a:lnTo>
                    <a:pt x="2217" y="899"/>
                  </a:lnTo>
                  <a:lnTo>
                    <a:pt x="2217" y="899"/>
                  </a:lnTo>
                  <a:lnTo>
                    <a:pt x="2217" y="89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99"/>
                  </a:lnTo>
                  <a:lnTo>
                    <a:pt x="2231" y="899"/>
                  </a:lnTo>
                  <a:lnTo>
                    <a:pt x="2231" y="818"/>
                  </a:lnTo>
                  <a:lnTo>
                    <a:pt x="2231" y="818"/>
                  </a:lnTo>
                  <a:lnTo>
                    <a:pt x="2231" y="818"/>
                  </a:lnTo>
                  <a:lnTo>
                    <a:pt x="2231" y="818"/>
                  </a:lnTo>
                  <a:lnTo>
                    <a:pt x="2231" y="818"/>
                  </a:lnTo>
                  <a:lnTo>
                    <a:pt x="2231" y="818"/>
                  </a:lnTo>
                  <a:lnTo>
                    <a:pt x="2231" y="818"/>
                  </a:lnTo>
                  <a:lnTo>
                    <a:pt x="2231" y="818"/>
                  </a:lnTo>
                  <a:lnTo>
                    <a:pt x="2231" y="899"/>
                  </a:lnTo>
                  <a:lnTo>
                    <a:pt x="2233" y="899"/>
                  </a:lnTo>
                  <a:lnTo>
                    <a:pt x="2233" y="899"/>
                  </a:lnTo>
                  <a:lnTo>
                    <a:pt x="2239" y="899"/>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99"/>
                  </a:lnTo>
                  <a:lnTo>
                    <a:pt x="2293" y="899"/>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899"/>
                  </a:lnTo>
                  <a:lnTo>
                    <a:pt x="2311" y="899"/>
                  </a:lnTo>
                  <a:lnTo>
                    <a:pt x="2311" y="899"/>
                  </a:lnTo>
                  <a:lnTo>
                    <a:pt x="2350" y="899"/>
                  </a:lnTo>
                  <a:lnTo>
                    <a:pt x="2350" y="899"/>
                  </a:lnTo>
                  <a:lnTo>
                    <a:pt x="2350" y="899"/>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899"/>
                  </a:lnTo>
                  <a:lnTo>
                    <a:pt x="2526" y="899"/>
                  </a:lnTo>
                  <a:lnTo>
                    <a:pt x="2526" y="899"/>
                  </a:lnTo>
                  <a:lnTo>
                    <a:pt x="2526" y="899"/>
                  </a:lnTo>
                  <a:lnTo>
                    <a:pt x="2526" y="899"/>
                  </a:lnTo>
                  <a:lnTo>
                    <a:pt x="2526" y="899"/>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899"/>
                  </a:lnTo>
                  <a:lnTo>
                    <a:pt x="2630" y="899"/>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899"/>
                  </a:lnTo>
                  <a:lnTo>
                    <a:pt x="2649" y="899"/>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899"/>
                  </a:lnTo>
                  <a:lnTo>
                    <a:pt x="2662" y="899"/>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899"/>
                  </a:lnTo>
                  <a:lnTo>
                    <a:pt x="2690" y="899"/>
                  </a:lnTo>
                  <a:lnTo>
                    <a:pt x="2690"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899"/>
                  </a:lnTo>
                  <a:lnTo>
                    <a:pt x="2707" y="899"/>
                  </a:lnTo>
                  <a:lnTo>
                    <a:pt x="2707" y="899"/>
                  </a:lnTo>
                  <a:lnTo>
                    <a:pt x="2712" y="899"/>
                  </a:lnTo>
                  <a:lnTo>
                    <a:pt x="2712" y="899"/>
                  </a:lnTo>
                  <a:lnTo>
                    <a:pt x="2712" y="899"/>
                  </a:lnTo>
                  <a:lnTo>
                    <a:pt x="2712"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899"/>
                  </a:lnTo>
                  <a:lnTo>
                    <a:pt x="2735" y="899"/>
                  </a:lnTo>
                  <a:lnTo>
                    <a:pt x="2735" y="899"/>
                  </a:lnTo>
                  <a:lnTo>
                    <a:pt x="2735" y="899"/>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899"/>
                  </a:lnTo>
                  <a:lnTo>
                    <a:pt x="2735" y="899"/>
                  </a:lnTo>
                  <a:lnTo>
                    <a:pt x="2735" y="654"/>
                  </a:lnTo>
                  <a:lnTo>
                    <a:pt x="2736" y="654"/>
                  </a:lnTo>
                  <a:lnTo>
                    <a:pt x="2736" y="654"/>
                  </a:lnTo>
                  <a:lnTo>
                    <a:pt x="2748" y="654"/>
                  </a:lnTo>
                  <a:lnTo>
                    <a:pt x="2748" y="899"/>
                  </a:lnTo>
                  <a:lnTo>
                    <a:pt x="2752" y="899"/>
                  </a:lnTo>
                  <a:lnTo>
                    <a:pt x="2752" y="899"/>
                  </a:lnTo>
                  <a:lnTo>
                    <a:pt x="2775" y="899"/>
                  </a:lnTo>
                  <a:lnTo>
                    <a:pt x="2775" y="652"/>
                  </a:lnTo>
                  <a:lnTo>
                    <a:pt x="2775" y="652"/>
                  </a:lnTo>
                  <a:lnTo>
                    <a:pt x="2775" y="652"/>
                  </a:lnTo>
                  <a:lnTo>
                    <a:pt x="2775" y="652"/>
                  </a:lnTo>
                  <a:lnTo>
                    <a:pt x="2775" y="652"/>
                  </a:lnTo>
                  <a:lnTo>
                    <a:pt x="2775" y="652"/>
                  </a:lnTo>
                  <a:lnTo>
                    <a:pt x="2775" y="899"/>
                  </a:lnTo>
                  <a:lnTo>
                    <a:pt x="2782" y="899"/>
                  </a:lnTo>
                  <a:lnTo>
                    <a:pt x="2782" y="899"/>
                  </a:lnTo>
                  <a:lnTo>
                    <a:pt x="2782" y="89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899"/>
                  </a:lnTo>
                  <a:lnTo>
                    <a:pt x="2783" y="899"/>
                  </a:lnTo>
                  <a:lnTo>
                    <a:pt x="2783" y="899"/>
                  </a:lnTo>
                  <a:lnTo>
                    <a:pt x="2783" y="899"/>
                  </a:lnTo>
                  <a:lnTo>
                    <a:pt x="2783" y="899"/>
                  </a:lnTo>
                  <a:lnTo>
                    <a:pt x="2791" y="899"/>
                  </a:lnTo>
                  <a:lnTo>
                    <a:pt x="2791" y="899"/>
                  </a:lnTo>
                  <a:lnTo>
                    <a:pt x="2792" y="899"/>
                  </a:lnTo>
                  <a:lnTo>
                    <a:pt x="2792"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5" y="899"/>
                  </a:lnTo>
                  <a:lnTo>
                    <a:pt x="2795" y="899"/>
                  </a:lnTo>
                  <a:lnTo>
                    <a:pt x="2798" y="899"/>
                  </a:lnTo>
                  <a:lnTo>
                    <a:pt x="2798" y="626"/>
                  </a:lnTo>
                  <a:lnTo>
                    <a:pt x="2799" y="626"/>
                  </a:lnTo>
                  <a:lnTo>
                    <a:pt x="2799" y="626"/>
                  </a:lnTo>
                  <a:lnTo>
                    <a:pt x="2837" y="626"/>
                  </a:lnTo>
                  <a:lnTo>
                    <a:pt x="2837" y="899"/>
                  </a:lnTo>
                  <a:lnTo>
                    <a:pt x="2837" y="899"/>
                  </a:lnTo>
                  <a:lnTo>
                    <a:pt x="2837" y="623"/>
                  </a:lnTo>
                  <a:lnTo>
                    <a:pt x="2837" y="623"/>
                  </a:lnTo>
                  <a:lnTo>
                    <a:pt x="2837" y="899"/>
                  </a:lnTo>
                  <a:lnTo>
                    <a:pt x="2840" y="899"/>
                  </a:lnTo>
                  <a:lnTo>
                    <a:pt x="2840" y="899"/>
                  </a:lnTo>
                  <a:lnTo>
                    <a:pt x="2842" y="899"/>
                  </a:lnTo>
                  <a:lnTo>
                    <a:pt x="2842" y="899"/>
                  </a:lnTo>
                  <a:lnTo>
                    <a:pt x="2842" y="899"/>
                  </a:lnTo>
                  <a:lnTo>
                    <a:pt x="2842" y="899"/>
                  </a:lnTo>
                  <a:lnTo>
                    <a:pt x="2842" y="899"/>
                  </a:lnTo>
                  <a:lnTo>
                    <a:pt x="2842" y="899"/>
                  </a:lnTo>
                  <a:lnTo>
                    <a:pt x="2843" y="899"/>
                  </a:lnTo>
                  <a:lnTo>
                    <a:pt x="2843" y="899"/>
                  </a:lnTo>
                  <a:lnTo>
                    <a:pt x="2844" y="899"/>
                  </a:lnTo>
                  <a:lnTo>
                    <a:pt x="2844" y="899"/>
                  </a:lnTo>
                  <a:lnTo>
                    <a:pt x="2848" y="899"/>
                  </a:lnTo>
                  <a:lnTo>
                    <a:pt x="2848" y="899"/>
                  </a:lnTo>
                  <a:lnTo>
                    <a:pt x="2853" y="899"/>
                  </a:lnTo>
                  <a:lnTo>
                    <a:pt x="2853" y="899"/>
                  </a:lnTo>
                  <a:lnTo>
                    <a:pt x="2855" y="899"/>
                  </a:lnTo>
                  <a:lnTo>
                    <a:pt x="2855" y="899"/>
                  </a:lnTo>
                  <a:lnTo>
                    <a:pt x="2856" y="899"/>
                  </a:lnTo>
                  <a:lnTo>
                    <a:pt x="2856" y="899"/>
                  </a:lnTo>
                  <a:lnTo>
                    <a:pt x="2866" y="899"/>
                  </a:lnTo>
                  <a:lnTo>
                    <a:pt x="2866" y="899"/>
                  </a:lnTo>
                  <a:lnTo>
                    <a:pt x="2891" y="899"/>
                  </a:lnTo>
                  <a:lnTo>
                    <a:pt x="2891" y="899"/>
                  </a:lnTo>
                  <a:lnTo>
                    <a:pt x="2895" y="899"/>
                  </a:lnTo>
                  <a:lnTo>
                    <a:pt x="2895" y="899"/>
                  </a:lnTo>
                  <a:lnTo>
                    <a:pt x="2896" y="8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899"/>
                  </a:lnTo>
                  <a:lnTo>
                    <a:pt x="2903" y="899"/>
                  </a:lnTo>
                  <a:lnTo>
                    <a:pt x="2903" y="899"/>
                  </a:lnTo>
                  <a:lnTo>
                    <a:pt x="2904" y="899"/>
                  </a:lnTo>
                  <a:lnTo>
                    <a:pt x="2904" y="899"/>
                  </a:lnTo>
                  <a:lnTo>
                    <a:pt x="2904" y="89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899"/>
                  </a:lnTo>
                  <a:lnTo>
                    <a:pt x="2938" y="899"/>
                  </a:lnTo>
                  <a:lnTo>
                    <a:pt x="2938" y="567"/>
                  </a:lnTo>
                  <a:lnTo>
                    <a:pt x="2938" y="567"/>
                  </a:lnTo>
                  <a:lnTo>
                    <a:pt x="2938" y="567"/>
                  </a:lnTo>
                  <a:lnTo>
                    <a:pt x="2939" y="567"/>
                  </a:lnTo>
                  <a:lnTo>
                    <a:pt x="2939" y="899"/>
                  </a:lnTo>
                  <a:lnTo>
                    <a:pt x="2943" y="899"/>
                  </a:lnTo>
                  <a:lnTo>
                    <a:pt x="2943" y="899"/>
                  </a:lnTo>
                  <a:lnTo>
                    <a:pt x="2943" y="899"/>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899"/>
                  </a:lnTo>
                  <a:lnTo>
                    <a:pt x="2947" y="899"/>
                  </a:lnTo>
                  <a:lnTo>
                    <a:pt x="2947"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51" y="899"/>
                  </a:lnTo>
                  <a:lnTo>
                    <a:pt x="2951" y="547"/>
                  </a:lnTo>
                  <a:lnTo>
                    <a:pt x="2951" y="547"/>
                  </a:lnTo>
                  <a:lnTo>
                    <a:pt x="2951" y="547"/>
                  </a:lnTo>
                  <a:lnTo>
                    <a:pt x="2951" y="547"/>
                  </a:lnTo>
                  <a:lnTo>
                    <a:pt x="2951" y="899"/>
                  </a:lnTo>
                  <a:lnTo>
                    <a:pt x="2952" y="899"/>
                  </a:lnTo>
                  <a:lnTo>
                    <a:pt x="2952" y="899"/>
                  </a:lnTo>
                  <a:lnTo>
                    <a:pt x="2953" y="899"/>
                  </a:lnTo>
                  <a:lnTo>
                    <a:pt x="2953" y="899"/>
                  </a:lnTo>
                  <a:lnTo>
                    <a:pt x="2962" y="899"/>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899"/>
                  </a:lnTo>
                  <a:lnTo>
                    <a:pt x="2972" y="899"/>
                  </a:lnTo>
                  <a:lnTo>
                    <a:pt x="2972" y="899"/>
                  </a:lnTo>
                  <a:lnTo>
                    <a:pt x="3045" y="899"/>
                  </a:lnTo>
                  <a:lnTo>
                    <a:pt x="3045" y="899"/>
                  </a:lnTo>
                  <a:lnTo>
                    <a:pt x="3045" y="899"/>
                  </a:lnTo>
                  <a:lnTo>
                    <a:pt x="3045" y="899"/>
                  </a:lnTo>
                  <a:lnTo>
                    <a:pt x="3046" y="899"/>
                  </a:lnTo>
                  <a:lnTo>
                    <a:pt x="3046" y="899"/>
                  </a:lnTo>
                  <a:lnTo>
                    <a:pt x="3046" y="899"/>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899"/>
                  </a:lnTo>
                  <a:lnTo>
                    <a:pt x="3058" y="899"/>
                  </a:lnTo>
                  <a:lnTo>
                    <a:pt x="3058" y="899"/>
                  </a:lnTo>
                  <a:lnTo>
                    <a:pt x="3060" y="899"/>
                  </a:lnTo>
                  <a:lnTo>
                    <a:pt x="3060" y="899"/>
                  </a:lnTo>
                  <a:lnTo>
                    <a:pt x="3075" y="899"/>
                  </a:lnTo>
                  <a:lnTo>
                    <a:pt x="3075" y="899"/>
                  </a:lnTo>
                  <a:lnTo>
                    <a:pt x="3075" y="899"/>
                  </a:lnTo>
                  <a:lnTo>
                    <a:pt x="3075" y="492"/>
                  </a:lnTo>
                  <a:lnTo>
                    <a:pt x="3075" y="492"/>
                  </a:lnTo>
                  <a:lnTo>
                    <a:pt x="3075" y="492"/>
                  </a:lnTo>
                  <a:lnTo>
                    <a:pt x="3075" y="492"/>
                  </a:lnTo>
                  <a:lnTo>
                    <a:pt x="3075" y="492"/>
                  </a:lnTo>
                  <a:lnTo>
                    <a:pt x="3075" y="492"/>
                  </a:lnTo>
                  <a:lnTo>
                    <a:pt x="3075" y="492"/>
                  </a:lnTo>
                  <a:lnTo>
                    <a:pt x="3076" y="492"/>
                  </a:lnTo>
                  <a:lnTo>
                    <a:pt x="3076" y="899"/>
                  </a:lnTo>
                  <a:lnTo>
                    <a:pt x="3101" y="899"/>
                  </a:lnTo>
                  <a:lnTo>
                    <a:pt x="3101" y="899"/>
                  </a:lnTo>
                  <a:lnTo>
                    <a:pt x="3156" y="899"/>
                  </a:lnTo>
                  <a:lnTo>
                    <a:pt x="3156" y="899"/>
                  </a:lnTo>
                  <a:lnTo>
                    <a:pt x="3156" y="899"/>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899"/>
                  </a:lnTo>
                  <a:lnTo>
                    <a:pt x="3216" y="899"/>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899"/>
                  </a:lnTo>
                  <a:lnTo>
                    <a:pt x="3156" y="899"/>
                  </a:lnTo>
                  <a:lnTo>
                    <a:pt x="3156" y="899"/>
                  </a:lnTo>
                  <a:lnTo>
                    <a:pt x="3101" y="899"/>
                  </a:lnTo>
                  <a:lnTo>
                    <a:pt x="3101" y="899"/>
                  </a:lnTo>
                  <a:lnTo>
                    <a:pt x="3076" y="899"/>
                  </a:lnTo>
                  <a:lnTo>
                    <a:pt x="3076" y="899"/>
                  </a:lnTo>
                  <a:lnTo>
                    <a:pt x="3075" y="899"/>
                  </a:lnTo>
                  <a:lnTo>
                    <a:pt x="3075" y="899"/>
                  </a:lnTo>
                  <a:lnTo>
                    <a:pt x="3075" y="899"/>
                  </a:lnTo>
                  <a:lnTo>
                    <a:pt x="3075" y="899"/>
                  </a:lnTo>
                  <a:lnTo>
                    <a:pt x="3075" y="899"/>
                  </a:lnTo>
                  <a:lnTo>
                    <a:pt x="3075" y="899"/>
                  </a:lnTo>
                  <a:lnTo>
                    <a:pt x="3075" y="899"/>
                  </a:lnTo>
                  <a:lnTo>
                    <a:pt x="3075" y="899"/>
                  </a:lnTo>
                  <a:lnTo>
                    <a:pt x="3075" y="899"/>
                  </a:lnTo>
                  <a:lnTo>
                    <a:pt x="3075" y="899"/>
                  </a:lnTo>
                  <a:lnTo>
                    <a:pt x="3060" y="899"/>
                  </a:lnTo>
                  <a:lnTo>
                    <a:pt x="3060" y="899"/>
                  </a:lnTo>
                  <a:lnTo>
                    <a:pt x="3058" y="899"/>
                  </a:lnTo>
                  <a:lnTo>
                    <a:pt x="3058" y="899"/>
                  </a:lnTo>
                  <a:lnTo>
                    <a:pt x="3058" y="899"/>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899"/>
                  </a:lnTo>
                  <a:lnTo>
                    <a:pt x="2909" y="899"/>
                  </a:lnTo>
                  <a:lnTo>
                    <a:pt x="2909" y="899"/>
                  </a:lnTo>
                  <a:lnTo>
                    <a:pt x="2906" y="899"/>
                  </a:lnTo>
                  <a:lnTo>
                    <a:pt x="2906" y="899"/>
                  </a:lnTo>
                  <a:lnTo>
                    <a:pt x="2904" y="899"/>
                  </a:lnTo>
                  <a:lnTo>
                    <a:pt x="2904" y="899"/>
                  </a:lnTo>
                  <a:lnTo>
                    <a:pt x="2904" y="899"/>
                  </a:lnTo>
                  <a:lnTo>
                    <a:pt x="2904" y="899"/>
                  </a:lnTo>
                  <a:lnTo>
                    <a:pt x="2904" y="899"/>
                  </a:lnTo>
                  <a:lnTo>
                    <a:pt x="2904" y="899"/>
                  </a:lnTo>
                  <a:lnTo>
                    <a:pt x="2904" y="899"/>
                  </a:lnTo>
                  <a:lnTo>
                    <a:pt x="2904" y="899"/>
                  </a:lnTo>
                  <a:lnTo>
                    <a:pt x="2904" y="899"/>
                  </a:lnTo>
                  <a:lnTo>
                    <a:pt x="2904" y="899"/>
                  </a:lnTo>
                  <a:lnTo>
                    <a:pt x="2903" y="899"/>
                  </a:lnTo>
                  <a:lnTo>
                    <a:pt x="2903" y="899"/>
                  </a:lnTo>
                  <a:lnTo>
                    <a:pt x="2902" y="899"/>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623"/>
                  </a:lnTo>
                  <a:lnTo>
                    <a:pt x="2837" y="623"/>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899"/>
                  </a:lnTo>
                  <a:lnTo>
                    <a:pt x="2783" y="899"/>
                  </a:lnTo>
                  <a:lnTo>
                    <a:pt x="2783" y="899"/>
                  </a:lnTo>
                  <a:lnTo>
                    <a:pt x="2783" y="899"/>
                  </a:lnTo>
                  <a:lnTo>
                    <a:pt x="2783"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82" y="899"/>
                  </a:lnTo>
                  <a:lnTo>
                    <a:pt x="2775" y="899"/>
                  </a:lnTo>
                  <a:lnTo>
                    <a:pt x="2775" y="652"/>
                  </a:lnTo>
                  <a:lnTo>
                    <a:pt x="2775" y="652"/>
                  </a:lnTo>
                  <a:lnTo>
                    <a:pt x="2775" y="652"/>
                  </a:lnTo>
                  <a:lnTo>
                    <a:pt x="2775" y="652"/>
                  </a:lnTo>
                  <a:lnTo>
                    <a:pt x="2775" y="652"/>
                  </a:lnTo>
                  <a:lnTo>
                    <a:pt x="2775" y="652"/>
                  </a:lnTo>
                  <a:lnTo>
                    <a:pt x="2775" y="899"/>
                  </a:lnTo>
                  <a:lnTo>
                    <a:pt x="2752" y="899"/>
                  </a:lnTo>
                  <a:lnTo>
                    <a:pt x="2752" y="899"/>
                  </a:lnTo>
                  <a:lnTo>
                    <a:pt x="2748" y="899"/>
                  </a:lnTo>
                  <a:lnTo>
                    <a:pt x="2748" y="654"/>
                  </a:lnTo>
                  <a:lnTo>
                    <a:pt x="2736" y="654"/>
                  </a:lnTo>
                  <a:lnTo>
                    <a:pt x="2736" y="654"/>
                  </a:lnTo>
                  <a:lnTo>
                    <a:pt x="2735" y="654"/>
                  </a:lnTo>
                  <a:lnTo>
                    <a:pt x="2735" y="899"/>
                  </a:lnTo>
                  <a:lnTo>
                    <a:pt x="2735" y="899"/>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899"/>
                  </a:lnTo>
                  <a:lnTo>
                    <a:pt x="2702" y="899"/>
                  </a:lnTo>
                  <a:lnTo>
                    <a:pt x="2702" y="899"/>
                  </a:lnTo>
                  <a:lnTo>
                    <a:pt x="2697" y="899"/>
                  </a:lnTo>
                  <a:lnTo>
                    <a:pt x="2697" y="899"/>
                  </a:lnTo>
                  <a:lnTo>
                    <a:pt x="2694" y="899"/>
                  </a:lnTo>
                  <a:lnTo>
                    <a:pt x="2694" y="899"/>
                  </a:lnTo>
                  <a:lnTo>
                    <a:pt x="2693" y="899"/>
                  </a:lnTo>
                  <a:lnTo>
                    <a:pt x="2693" y="899"/>
                  </a:lnTo>
                  <a:lnTo>
                    <a:pt x="2693" y="899"/>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2" y="899"/>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0" y="899"/>
                  </a:lnTo>
                  <a:lnTo>
                    <a:pt x="2690" y="899"/>
                  </a:lnTo>
                  <a:lnTo>
                    <a:pt x="2689" y="899"/>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899"/>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899"/>
                  </a:lnTo>
                  <a:lnTo>
                    <a:pt x="2613" y="899"/>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899"/>
                  </a:lnTo>
                  <a:lnTo>
                    <a:pt x="2526" y="778"/>
                  </a:lnTo>
                  <a:lnTo>
                    <a:pt x="2526" y="778"/>
                  </a:lnTo>
                  <a:lnTo>
                    <a:pt x="2526" y="899"/>
                  </a:lnTo>
                  <a:lnTo>
                    <a:pt x="2526" y="899"/>
                  </a:lnTo>
                  <a:lnTo>
                    <a:pt x="2526" y="899"/>
                  </a:lnTo>
                  <a:lnTo>
                    <a:pt x="2526" y="899"/>
                  </a:lnTo>
                  <a:lnTo>
                    <a:pt x="2526" y="899"/>
                  </a:lnTo>
                  <a:lnTo>
                    <a:pt x="2526" y="899"/>
                  </a:lnTo>
                  <a:lnTo>
                    <a:pt x="2526" y="899"/>
                  </a:lnTo>
                  <a:lnTo>
                    <a:pt x="2524" y="899"/>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899"/>
                  </a:lnTo>
                  <a:lnTo>
                    <a:pt x="2409" y="899"/>
                  </a:lnTo>
                  <a:lnTo>
                    <a:pt x="2409" y="796"/>
                  </a:lnTo>
                  <a:lnTo>
                    <a:pt x="2409" y="796"/>
                  </a:lnTo>
                  <a:lnTo>
                    <a:pt x="2409" y="899"/>
                  </a:lnTo>
                  <a:lnTo>
                    <a:pt x="2409" y="899"/>
                  </a:lnTo>
                  <a:lnTo>
                    <a:pt x="2409" y="899"/>
                  </a:lnTo>
                  <a:lnTo>
                    <a:pt x="2409" y="899"/>
                  </a:lnTo>
                  <a:lnTo>
                    <a:pt x="2409" y="899"/>
                  </a:lnTo>
                  <a:lnTo>
                    <a:pt x="2409" y="899"/>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899"/>
                  </a:lnTo>
                  <a:lnTo>
                    <a:pt x="2350" y="899"/>
                  </a:lnTo>
                  <a:lnTo>
                    <a:pt x="2350" y="899"/>
                  </a:lnTo>
                  <a:lnTo>
                    <a:pt x="2311" y="899"/>
                  </a:lnTo>
                  <a:lnTo>
                    <a:pt x="2311" y="899"/>
                  </a:lnTo>
                  <a:lnTo>
                    <a:pt x="2308" y="8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6"/>
                  </a:lnTo>
                  <a:lnTo>
                    <a:pt x="2298" y="806"/>
                  </a:lnTo>
                  <a:lnTo>
                    <a:pt x="2298" y="806"/>
                  </a:lnTo>
                  <a:lnTo>
                    <a:pt x="2298" y="806"/>
                  </a:lnTo>
                  <a:lnTo>
                    <a:pt x="2298" y="806"/>
                  </a:lnTo>
                  <a:lnTo>
                    <a:pt x="2294" y="806"/>
                  </a:lnTo>
                  <a:lnTo>
                    <a:pt x="2294" y="806"/>
                  </a:lnTo>
                  <a:lnTo>
                    <a:pt x="2293" y="806"/>
                  </a:lnTo>
                  <a:lnTo>
                    <a:pt x="2293" y="899"/>
                  </a:lnTo>
                  <a:lnTo>
                    <a:pt x="2292" y="899"/>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99"/>
                  </a:lnTo>
                  <a:lnTo>
                    <a:pt x="2273" y="899"/>
                  </a:lnTo>
                  <a:lnTo>
                    <a:pt x="2273" y="899"/>
                  </a:lnTo>
                  <a:lnTo>
                    <a:pt x="2273" y="899"/>
                  </a:lnTo>
                  <a:lnTo>
                    <a:pt x="2273" y="899"/>
                  </a:lnTo>
                  <a:lnTo>
                    <a:pt x="2273" y="899"/>
                  </a:lnTo>
                  <a:lnTo>
                    <a:pt x="2273" y="899"/>
                  </a:lnTo>
                  <a:lnTo>
                    <a:pt x="2273" y="899"/>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99"/>
                  </a:lnTo>
                  <a:lnTo>
                    <a:pt x="2249" y="899"/>
                  </a:lnTo>
                  <a:lnTo>
                    <a:pt x="2249" y="899"/>
                  </a:lnTo>
                  <a:lnTo>
                    <a:pt x="2243" y="899"/>
                  </a:lnTo>
                  <a:lnTo>
                    <a:pt x="2243" y="899"/>
                  </a:lnTo>
                  <a:lnTo>
                    <a:pt x="2241" y="899"/>
                  </a:lnTo>
                  <a:lnTo>
                    <a:pt x="2241" y="899"/>
                  </a:lnTo>
                  <a:lnTo>
                    <a:pt x="2241" y="899"/>
                  </a:lnTo>
                  <a:lnTo>
                    <a:pt x="2241" y="899"/>
                  </a:lnTo>
                  <a:lnTo>
                    <a:pt x="2240" y="899"/>
                  </a:lnTo>
                  <a:lnTo>
                    <a:pt x="2240" y="899"/>
                  </a:lnTo>
                  <a:lnTo>
                    <a:pt x="2240" y="899"/>
                  </a:lnTo>
                  <a:lnTo>
                    <a:pt x="2240" y="899"/>
                  </a:lnTo>
                  <a:lnTo>
                    <a:pt x="2240" y="899"/>
                  </a:lnTo>
                  <a:lnTo>
                    <a:pt x="2240"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9" y="899"/>
                  </a:lnTo>
                  <a:lnTo>
                    <a:pt x="2233" y="899"/>
                  </a:lnTo>
                  <a:lnTo>
                    <a:pt x="2233" y="899"/>
                  </a:lnTo>
                  <a:lnTo>
                    <a:pt x="2231" y="899"/>
                  </a:lnTo>
                  <a:lnTo>
                    <a:pt x="2231" y="899"/>
                  </a:lnTo>
                  <a:lnTo>
                    <a:pt x="2231" y="899"/>
                  </a:lnTo>
                  <a:lnTo>
                    <a:pt x="2231" y="899"/>
                  </a:lnTo>
                  <a:lnTo>
                    <a:pt x="2231" y="899"/>
                  </a:lnTo>
                  <a:lnTo>
                    <a:pt x="2231" y="899"/>
                  </a:lnTo>
                  <a:lnTo>
                    <a:pt x="2231" y="899"/>
                  </a:lnTo>
                  <a:lnTo>
                    <a:pt x="2231" y="899"/>
                  </a:lnTo>
                  <a:lnTo>
                    <a:pt x="2231" y="899"/>
                  </a:lnTo>
                  <a:lnTo>
                    <a:pt x="2231" y="899"/>
                  </a:lnTo>
                  <a:lnTo>
                    <a:pt x="2221" y="899"/>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7" y="899"/>
                  </a:lnTo>
                  <a:lnTo>
                    <a:pt x="2216" y="899"/>
                  </a:lnTo>
                  <a:lnTo>
                    <a:pt x="2216" y="899"/>
                  </a:lnTo>
                  <a:lnTo>
                    <a:pt x="2215" y="899"/>
                  </a:lnTo>
                  <a:lnTo>
                    <a:pt x="2215" y="899"/>
                  </a:lnTo>
                  <a:lnTo>
                    <a:pt x="2215" y="899"/>
                  </a:lnTo>
                  <a:lnTo>
                    <a:pt x="2215" y="899"/>
                  </a:lnTo>
                  <a:lnTo>
                    <a:pt x="2215" y="899"/>
                  </a:lnTo>
                  <a:lnTo>
                    <a:pt x="2215"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99"/>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99"/>
                  </a:lnTo>
                  <a:lnTo>
                    <a:pt x="2187" y="837"/>
                  </a:lnTo>
                  <a:lnTo>
                    <a:pt x="2187" y="837"/>
                  </a:lnTo>
                  <a:lnTo>
                    <a:pt x="2187" y="899"/>
                  </a:lnTo>
                  <a:lnTo>
                    <a:pt x="2187" y="899"/>
                  </a:lnTo>
                  <a:lnTo>
                    <a:pt x="2187" y="899"/>
                  </a:lnTo>
                  <a:lnTo>
                    <a:pt x="2187" y="899"/>
                  </a:lnTo>
                  <a:lnTo>
                    <a:pt x="2187" y="899"/>
                  </a:lnTo>
                  <a:lnTo>
                    <a:pt x="2187" y="899"/>
                  </a:lnTo>
                  <a:lnTo>
                    <a:pt x="2187" y="899"/>
                  </a:lnTo>
                  <a:lnTo>
                    <a:pt x="2186" y="899"/>
                  </a:lnTo>
                  <a:lnTo>
                    <a:pt x="2186" y="899"/>
                  </a:lnTo>
                  <a:lnTo>
                    <a:pt x="2186" y="899"/>
                  </a:lnTo>
                  <a:lnTo>
                    <a:pt x="2186" y="899"/>
                  </a:lnTo>
                  <a:lnTo>
                    <a:pt x="2186" y="899"/>
                  </a:lnTo>
                  <a:lnTo>
                    <a:pt x="2186" y="899"/>
                  </a:lnTo>
                  <a:lnTo>
                    <a:pt x="2186" y="899"/>
                  </a:lnTo>
                  <a:lnTo>
                    <a:pt x="2186" y="899"/>
                  </a:lnTo>
                  <a:lnTo>
                    <a:pt x="2186" y="899"/>
                  </a:lnTo>
                  <a:lnTo>
                    <a:pt x="2186" y="844"/>
                  </a:lnTo>
                  <a:lnTo>
                    <a:pt x="2185" y="844"/>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5"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99"/>
                  </a:lnTo>
                  <a:lnTo>
                    <a:pt x="2183" y="851"/>
                  </a:lnTo>
                  <a:lnTo>
                    <a:pt x="2183" y="851"/>
                  </a:lnTo>
                  <a:lnTo>
                    <a:pt x="2183" y="851"/>
                  </a:lnTo>
                  <a:lnTo>
                    <a:pt x="2183" y="851"/>
                  </a:lnTo>
                  <a:lnTo>
                    <a:pt x="2183" y="854"/>
                  </a:lnTo>
                  <a:lnTo>
                    <a:pt x="2183" y="854"/>
                  </a:lnTo>
                  <a:lnTo>
                    <a:pt x="2183" y="854"/>
                  </a:lnTo>
                  <a:lnTo>
                    <a:pt x="2183" y="854"/>
                  </a:lnTo>
                  <a:lnTo>
                    <a:pt x="2183" y="899"/>
                  </a:lnTo>
                  <a:lnTo>
                    <a:pt x="2183" y="899"/>
                  </a:lnTo>
                  <a:lnTo>
                    <a:pt x="2183" y="899"/>
                  </a:lnTo>
                  <a:lnTo>
                    <a:pt x="2183" y="899"/>
                  </a:lnTo>
                  <a:lnTo>
                    <a:pt x="2183" y="899"/>
                  </a:lnTo>
                  <a:lnTo>
                    <a:pt x="2183" y="899"/>
                  </a:lnTo>
                  <a:lnTo>
                    <a:pt x="2183" y="899"/>
                  </a:lnTo>
                  <a:lnTo>
                    <a:pt x="2182" y="899"/>
                  </a:lnTo>
                  <a:lnTo>
                    <a:pt x="2182" y="899"/>
                  </a:lnTo>
                  <a:lnTo>
                    <a:pt x="2182" y="899"/>
                  </a:lnTo>
                  <a:lnTo>
                    <a:pt x="2182" y="899"/>
                  </a:lnTo>
                  <a:lnTo>
                    <a:pt x="2182" y="899"/>
                  </a:lnTo>
                  <a:lnTo>
                    <a:pt x="2182" y="899"/>
                  </a:lnTo>
                  <a:lnTo>
                    <a:pt x="2182" y="899"/>
                  </a:lnTo>
                  <a:lnTo>
                    <a:pt x="2182" y="861"/>
                  </a:lnTo>
                  <a:lnTo>
                    <a:pt x="2178" y="861"/>
                  </a:lnTo>
                  <a:lnTo>
                    <a:pt x="2178" y="862"/>
                  </a:lnTo>
                  <a:lnTo>
                    <a:pt x="2176" y="862"/>
                  </a:lnTo>
                  <a:lnTo>
                    <a:pt x="2176" y="899"/>
                  </a:lnTo>
                  <a:lnTo>
                    <a:pt x="2175" y="899"/>
                  </a:lnTo>
                  <a:lnTo>
                    <a:pt x="2175" y="862"/>
                  </a:lnTo>
                  <a:lnTo>
                    <a:pt x="2175" y="862"/>
                  </a:lnTo>
                  <a:lnTo>
                    <a:pt x="2175" y="899"/>
                  </a:lnTo>
                  <a:lnTo>
                    <a:pt x="2175" y="899"/>
                  </a:lnTo>
                  <a:lnTo>
                    <a:pt x="2175" y="899"/>
                  </a:lnTo>
                  <a:lnTo>
                    <a:pt x="2175" y="899"/>
                  </a:lnTo>
                  <a:lnTo>
                    <a:pt x="2175" y="899"/>
                  </a:lnTo>
                  <a:lnTo>
                    <a:pt x="2175" y="899"/>
                  </a:lnTo>
                  <a:lnTo>
                    <a:pt x="2175" y="863"/>
                  </a:lnTo>
                  <a:lnTo>
                    <a:pt x="2158" y="863"/>
                  </a:lnTo>
                  <a:lnTo>
                    <a:pt x="2158" y="863"/>
                  </a:lnTo>
                  <a:lnTo>
                    <a:pt x="2155" y="863"/>
                  </a:lnTo>
                  <a:lnTo>
                    <a:pt x="2155" y="863"/>
                  </a:lnTo>
                  <a:lnTo>
                    <a:pt x="2155" y="863"/>
                  </a:lnTo>
                  <a:lnTo>
                    <a:pt x="2155" y="899"/>
                  </a:lnTo>
                  <a:lnTo>
                    <a:pt x="2154" y="899"/>
                  </a:lnTo>
                  <a:lnTo>
                    <a:pt x="2154" y="899"/>
                  </a:lnTo>
                  <a:lnTo>
                    <a:pt x="2154" y="899"/>
                  </a:lnTo>
                  <a:lnTo>
                    <a:pt x="2154" y="899"/>
                  </a:lnTo>
                  <a:lnTo>
                    <a:pt x="2154" y="899"/>
                  </a:lnTo>
                  <a:lnTo>
                    <a:pt x="2154" y="899"/>
                  </a:lnTo>
                  <a:lnTo>
                    <a:pt x="2154" y="899"/>
                  </a:lnTo>
                  <a:lnTo>
                    <a:pt x="2154" y="899"/>
                  </a:lnTo>
                  <a:lnTo>
                    <a:pt x="2154" y="899"/>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99"/>
                  </a:lnTo>
                  <a:lnTo>
                    <a:pt x="2153" y="899"/>
                  </a:lnTo>
                  <a:lnTo>
                    <a:pt x="2153" y="899"/>
                  </a:lnTo>
                  <a:lnTo>
                    <a:pt x="2152" y="899"/>
                  </a:lnTo>
                  <a:lnTo>
                    <a:pt x="2152" y="899"/>
                  </a:lnTo>
                  <a:lnTo>
                    <a:pt x="2152" y="899"/>
                  </a:lnTo>
                  <a:lnTo>
                    <a:pt x="2152" y="899"/>
                  </a:lnTo>
                  <a:lnTo>
                    <a:pt x="2152" y="899"/>
                  </a:lnTo>
                  <a:lnTo>
                    <a:pt x="2152" y="899"/>
                  </a:lnTo>
                  <a:lnTo>
                    <a:pt x="2152" y="899"/>
                  </a:lnTo>
                  <a:lnTo>
                    <a:pt x="2152" y="899"/>
                  </a:lnTo>
                  <a:lnTo>
                    <a:pt x="2152" y="899"/>
                  </a:lnTo>
                  <a:lnTo>
                    <a:pt x="2152"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51" y="899"/>
                  </a:lnTo>
                  <a:lnTo>
                    <a:pt x="2149" y="899"/>
                  </a:lnTo>
                  <a:lnTo>
                    <a:pt x="2149" y="899"/>
                  </a:lnTo>
                  <a:lnTo>
                    <a:pt x="2149" y="899"/>
                  </a:lnTo>
                  <a:lnTo>
                    <a:pt x="2149" y="899"/>
                  </a:lnTo>
                  <a:lnTo>
                    <a:pt x="2149" y="899"/>
                  </a:lnTo>
                  <a:lnTo>
                    <a:pt x="2149" y="899"/>
                  </a:lnTo>
                  <a:lnTo>
                    <a:pt x="2149" y="899"/>
                  </a:lnTo>
                  <a:lnTo>
                    <a:pt x="2149" y="899"/>
                  </a:lnTo>
                  <a:lnTo>
                    <a:pt x="2149" y="899"/>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99"/>
                  </a:lnTo>
                  <a:lnTo>
                    <a:pt x="2090" y="899"/>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99"/>
                  </a:lnTo>
                  <a:lnTo>
                    <a:pt x="2089" y="899"/>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99"/>
                  </a:lnTo>
                  <a:lnTo>
                    <a:pt x="2078" y="899"/>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77" y="899"/>
                  </a:lnTo>
                  <a:lnTo>
                    <a:pt x="2064" y="899"/>
                  </a:lnTo>
                  <a:lnTo>
                    <a:pt x="2064" y="892"/>
                  </a:lnTo>
                  <a:lnTo>
                    <a:pt x="2061" y="892"/>
                  </a:lnTo>
                  <a:lnTo>
                    <a:pt x="2061" y="892"/>
                  </a:lnTo>
                  <a:lnTo>
                    <a:pt x="2060" y="892"/>
                  </a:lnTo>
                  <a:lnTo>
                    <a:pt x="2060" y="892"/>
                  </a:lnTo>
                  <a:lnTo>
                    <a:pt x="2060" y="892"/>
                  </a:lnTo>
                  <a:lnTo>
                    <a:pt x="2060" y="899"/>
                  </a:lnTo>
                  <a:lnTo>
                    <a:pt x="2059" y="899"/>
                  </a:lnTo>
                  <a:lnTo>
                    <a:pt x="2059" y="892"/>
                  </a:lnTo>
                  <a:lnTo>
                    <a:pt x="2059" y="892"/>
                  </a:lnTo>
                  <a:lnTo>
                    <a:pt x="2059" y="899"/>
                  </a:lnTo>
                  <a:lnTo>
                    <a:pt x="2059" y="899"/>
                  </a:lnTo>
                  <a:lnTo>
                    <a:pt x="2059" y="899"/>
                  </a:lnTo>
                  <a:lnTo>
                    <a:pt x="2059" y="899"/>
                  </a:lnTo>
                  <a:lnTo>
                    <a:pt x="2059" y="899"/>
                  </a:lnTo>
                  <a:lnTo>
                    <a:pt x="2059" y="899"/>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899"/>
                  </a:lnTo>
                  <a:lnTo>
                    <a:pt x="2055" y="899"/>
                  </a:lnTo>
                  <a:lnTo>
                    <a:pt x="2055" y="899"/>
                  </a:lnTo>
                  <a:lnTo>
                    <a:pt x="2055" y="899"/>
                  </a:lnTo>
                  <a:lnTo>
                    <a:pt x="2055" y="899"/>
                  </a:lnTo>
                  <a:lnTo>
                    <a:pt x="2055" y="899"/>
                  </a:lnTo>
                  <a:lnTo>
                    <a:pt x="2055" y="899"/>
                  </a:lnTo>
                  <a:lnTo>
                    <a:pt x="2055" y="899"/>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899"/>
                  </a:lnTo>
                  <a:lnTo>
                    <a:pt x="1948" y="899"/>
                  </a:lnTo>
                  <a:lnTo>
                    <a:pt x="1948" y="899"/>
                  </a:lnTo>
                  <a:lnTo>
                    <a:pt x="1948" y="899"/>
                  </a:lnTo>
                  <a:lnTo>
                    <a:pt x="1948" y="899"/>
                  </a:lnTo>
                  <a:lnTo>
                    <a:pt x="1948" y="899"/>
                  </a:lnTo>
                  <a:lnTo>
                    <a:pt x="1948" y="899"/>
                  </a:lnTo>
                  <a:lnTo>
                    <a:pt x="1948" y="899"/>
                  </a:lnTo>
                  <a:lnTo>
                    <a:pt x="1948" y="915"/>
                  </a:lnTo>
                  <a:lnTo>
                    <a:pt x="1948" y="915"/>
                  </a:lnTo>
                  <a:lnTo>
                    <a:pt x="1948" y="915"/>
                  </a:lnTo>
                  <a:lnTo>
                    <a:pt x="1948" y="915"/>
                  </a:lnTo>
                  <a:lnTo>
                    <a:pt x="1948" y="899"/>
                  </a:lnTo>
                  <a:lnTo>
                    <a:pt x="1948" y="899"/>
                  </a:lnTo>
                  <a:lnTo>
                    <a:pt x="1948" y="916"/>
                  </a:lnTo>
                  <a:lnTo>
                    <a:pt x="1948" y="916"/>
                  </a:lnTo>
                  <a:lnTo>
                    <a:pt x="1948" y="916"/>
                  </a:lnTo>
                  <a:lnTo>
                    <a:pt x="1948" y="916"/>
                  </a:lnTo>
                  <a:lnTo>
                    <a:pt x="1948" y="899"/>
                  </a:lnTo>
                  <a:lnTo>
                    <a:pt x="1948" y="899"/>
                  </a:lnTo>
                  <a:lnTo>
                    <a:pt x="1948"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899"/>
                  </a:lnTo>
                  <a:lnTo>
                    <a:pt x="1945" y="920"/>
                  </a:lnTo>
                  <a:lnTo>
                    <a:pt x="1944" y="920"/>
                  </a:lnTo>
                  <a:lnTo>
                    <a:pt x="1944" y="920"/>
                  </a:lnTo>
                  <a:lnTo>
                    <a:pt x="1944" y="920"/>
                  </a:lnTo>
                  <a:lnTo>
                    <a:pt x="1944" y="899"/>
                  </a:lnTo>
                  <a:lnTo>
                    <a:pt x="1944" y="899"/>
                  </a:lnTo>
                  <a:lnTo>
                    <a:pt x="1944" y="899"/>
                  </a:lnTo>
                  <a:lnTo>
                    <a:pt x="1944" y="899"/>
                  </a:lnTo>
                  <a:lnTo>
                    <a:pt x="1944" y="899"/>
                  </a:lnTo>
                  <a:lnTo>
                    <a:pt x="1944" y="899"/>
                  </a:lnTo>
                  <a:lnTo>
                    <a:pt x="1944" y="899"/>
                  </a:lnTo>
                  <a:lnTo>
                    <a:pt x="1944" y="899"/>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899"/>
                  </a:lnTo>
                  <a:lnTo>
                    <a:pt x="1854" y="899"/>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899"/>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966"/>
                  </a:lnTo>
                  <a:lnTo>
                    <a:pt x="1820" y="966"/>
                  </a:lnTo>
                  <a:lnTo>
                    <a:pt x="1820" y="966"/>
                  </a:lnTo>
                  <a:lnTo>
                    <a:pt x="1817" y="966"/>
                  </a:lnTo>
                  <a:lnTo>
                    <a:pt x="1817" y="966"/>
                  </a:lnTo>
                  <a:lnTo>
                    <a:pt x="1817" y="966"/>
                  </a:lnTo>
                  <a:lnTo>
                    <a:pt x="1817" y="899"/>
                  </a:lnTo>
                  <a:lnTo>
                    <a:pt x="1815" y="899"/>
                  </a:lnTo>
                  <a:lnTo>
                    <a:pt x="1815" y="970"/>
                  </a:lnTo>
                  <a:lnTo>
                    <a:pt x="1814" y="970"/>
                  </a:lnTo>
                  <a:lnTo>
                    <a:pt x="1814" y="970"/>
                  </a:lnTo>
                  <a:lnTo>
                    <a:pt x="1814" y="970"/>
                  </a:lnTo>
                  <a:lnTo>
                    <a:pt x="1814" y="970"/>
                  </a:lnTo>
                  <a:lnTo>
                    <a:pt x="1814" y="970"/>
                  </a:lnTo>
                  <a:lnTo>
                    <a:pt x="1814" y="899"/>
                  </a:lnTo>
                  <a:lnTo>
                    <a:pt x="1814" y="899"/>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1004"/>
                  </a:lnTo>
                  <a:lnTo>
                    <a:pt x="1699" y="1004"/>
                  </a:lnTo>
                  <a:lnTo>
                    <a:pt x="1699" y="1004"/>
                  </a:lnTo>
                  <a:lnTo>
                    <a:pt x="1699" y="1004"/>
                  </a:lnTo>
                  <a:lnTo>
                    <a:pt x="1699" y="1005"/>
                  </a:lnTo>
                  <a:lnTo>
                    <a:pt x="1698" y="1005"/>
                  </a:lnTo>
                  <a:lnTo>
                    <a:pt x="1698" y="1005"/>
                  </a:lnTo>
                  <a:lnTo>
                    <a:pt x="1698" y="1005"/>
                  </a:lnTo>
                  <a:lnTo>
                    <a:pt x="1698" y="899"/>
                  </a:lnTo>
                  <a:lnTo>
                    <a:pt x="1695" y="899"/>
                  </a:lnTo>
                  <a:lnTo>
                    <a:pt x="1695" y="899"/>
                  </a:lnTo>
                  <a:lnTo>
                    <a:pt x="1695" y="899"/>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1017"/>
                  </a:lnTo>
                  <a:lnTo>
                    <a:pt x="1484" y="1017"/>
                  </a:lnTo>
                  <a:lnTo>
                    <a:pt x="1484" y="1017"/>
                  </a:lnTo>
                  <a:lnTo>
                    <a:pt x="1484" y="1017"/>
                  </a:lnTo>
                  <a:lnTo>
                    <a:pt x="1484" y="1019"/>
                  </a:lnTo>
                  <a:lnTo>
                    <a:pt x="1484" y="101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79" y="899"/>
                  </a:lnTo>
                  <a:lnTo>
                    <a:pt x="1479" y="899"/>
                  </a:lnTo>
                  <a:lnTo>
                    <a:pt x="1478" y="899"/>
                  </a:lnTo>
                  <a:lnTo>
                    <a:pt x="1478" y="1029"/>
                  </a:lnTo>
                  <a:lnTo>
                    <a:pt x="1478" y="1029"/>
                  </a:lnTo>
                  <a:lnTo>
                    <a:pt x="1478" y="1029"/>
                  </a:lnTo>
                  <a:lnTo>
                    <a:pt x="1478" y="1029"/>
                  </a:lnTo>
                  <a:lnTo>
                    <a:pt x="1478" y="899"/>
                  </a:lnTo>
                  <a:lnTo>
                    <a:pt x="1478" y="899"/>
                  </a:lnTo>
                  <a:lnTo>
                    <a:pt x="1478" y="1029"/>
                  </a:lnTo>
                  <a:lnTo>
                    <a:pt x="1478" y="102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1033"/>
                  </a:lnTo>
                  <a:lnTo>
                    <a:pt x="1474" y="1033"/>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899"/>
                  </a:lnTo>
                  <a:lnTo>
                    <a:pt x="1453" y="899"/>
                  </a:lnTo>
                  <a:lnTo>
                    <a:pt x="1453" y="899"/>
                  </a:lnTo>
                  <a:lnTo>
                    <a:pt x="1441" y="899"/>
                  </a:lnTo>
                  <a:lnTo>
                    <a:pt x="1441" y="899"/>
                  </a:lnTo>
                  <a:lnTo>
                    <a:pt x="1439" y="899"/>
                  </a:lnTo>
                  <a:lnTo>
                    <a:pt x="1439" y="899"/>
                  </a:lnTo>
                  <a:lnTo>
                    <a:pt x="1438" y="899"/>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1042"/>
                  </a:lnTo>
                  <a:lnTo>
                    <a:pt x="1425" y="1042"/>
                  </a:lnTo>
                  <a:lnTo>
                    <a:pt x="1425" y="1042"/>
                  </a:lnTo>
                  <a:lnTo>
                    <a:pt x="1423" y="1042"/>
                  </a:lnTo>
                  <a:lnTo>
                    <a:pt x="1423" y="1042"/>
                  </a:lnTo>
                  <a:lnTo>
                    <a:pt x="1422" y="1042"/>
                  </a:lnTo>
                  <a:lnTo>
                    <a:pt x="1422" y="1042"/>
                  </a:lnTo>
                  <a:lnTo>
                    <a:pt x="1421" y="1042"/>
                  </a:lnTo>
                  <a:lnTo>
                    <a:pt x="1421" y="899"/>
                  </a:lnTo>
                  <a:lnTo>
                    <a:pt x="1414" y="899"/>
                  </a:lnTo>
                  <a:lnTo>
                    <a:pt x="1414" y="899"/>
                  </a:lnTo>
                  <a:lnTo>
                    <a:pt x="1413" y="899"/>
                  </a:lnTo>
                  <a:lnTo>
                    <a:pt x="1413" y="899"/>
                  </a:lnTo>
                  <a:lnTo>
                    <a:pt x="1413" y="899"/>
                  </a:lnTo>
                  <a:lnTo>
                    <a:pt x="1413" y="899"/>
                  </a:lnTo>
                  <a:lnTo>
                    <a:pt x="1413" y="899"/>
                  </a:lnTo>
                  <a:lnTo>
                    <a:pt x="1413"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10"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89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899"/>
                  </a:lnTo>
                  <a:lnTo>
                    <a:pt x="1404" y="899"/>
                  </a:lnTo>
                  <a:lnTo>
                    <a:pt x="1404" y="899"/>
                  </a:lnTo>
                  <a:lnTo>
                    <a:pt x="1404" y="899"/>
                  </a:lnTo>
                  <a:lnTo>
                    <a:pt x="1404" y="899"/>
                  </a:lnTo>
                  <a:lnTo>
                    <a:pt x="1404" y="899"/>
                  </a:lnTo>
                  <a:lnTo>
                    <a:pt x="1404" y="899"/>
                  </a:lnTo>
                  <a:lnTo>
                    <a:pt x="1404" y="899"/>
                  </a:lnTo>
                  <a:lnTo>
                    <a:pt x="1404" y="899"/>
                  </a:lnTo>
                  <a:lnTo>
                    <a:pt x="1403" y="899"/>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899"/>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1063"/>
                  </a:lnTo>
                  <a:lnTo>
                    <a:pt x="1388" y="1063"/>
                  </a:lnTo>
                  <a:lnTo>
                    <a:pt x="1388" y="899"/>
                  </a:lnTo>
                  <a:lnTo>
                    <a:pt x="1388" y="899"/>
                  </a:lnTo>
                  <a:lnTo>
                    <a:pt x="1388" y="899"/>
                  </a:lnTo>
                  <a:lnTo>
                    <a:pt x="1387" y="899"/>
                  </a:lnTo>
                  <a:lnTo>
                    <a:pt x="1387" y="899"/>
                  </a:lnTo>
                  <a:lnTo>
                    <a:pt x="1387" y="899"/>
                  </a:lnTo>
                  <a:lnTo>
                    <a:pt x="1387" y="899"/>
                  </a:lnTo>
                  <a:lnTo>
                    <a:pt x="1387" y="899"/>
                  </a:lnTo>
                  <a:lnTo>
                    <a:pt x="1387" y="899"/>
                  </a:lnTo>
                  <a:lnTo>
                    <a:pt x="1387" y="899"/>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899"/>
                  </a:lnTo>
                  <a:lnTo>
                    <a:pt x="1369" y="899"/>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899"/>
                  </a:lnTo>
                  <a:lnTo>
                    <a:pt x="1366" y="899"/>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899"/>
                  </a:lnTo>
                  <a:lnTo>
                    <a:pt x="1354" y="899"/>
                  </a:lnTo>
                  <a:lnTo>
                    <a:pt x="1354" y="899"/>
                  </a:lnTo>
                  <a:lnTo>
                    <a:pt x="1354" y="899"/>
                  </a:lnTo>
                  <a:lnTo>
                    <a:pt x="1354" y="899"/>
                  </a:lnTo>
                  <a:lnTo>
                    <a:pt x="1354" y="899"/>
                  </a:lnTo>
                  <a:lnTo>
                    <a:pt x="1354" y="899"/>
                  </a:lnTo>
                  <a:lnTo>
                    <a:pt x="1354" y="899"/>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899"/>
                  </a:lnTo>
                  <a:lnTo>
                    <a:pt x="1332" y="899"/>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899"/>
                  </a:lnTo>
                  <a:lnTo>
                    <a:pt x="1326" y="899"/>
                  </a:lnTo>
                  <a:lnTo>
                    <a:pt x="1326" y="899"/>
                  </a:lnTo>
                  <a:lnTo>
                    <a:pt x="1326" y="899"/>
                  </a:lnTo>
                  <a:lnTo>
                    <a:pt x="1326" y="899"/>
                  </a:lnTo>
                  <a:lnTo>
                    <a:pt x="1326" y="899"/>
                  </a:lnTo>
                  <a:lnTo>
                    <a:pt x="1326" y="899"/>
                  </a:lnTo>
                  <a:lnTo>
                    <a:pt x="1326" y="899"/>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899"/>
                  </a:lnTo>
                  <a:lnTo>
                    <a:pt x="1319" y="899"/>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1" y="899"/>
                  </a:lnTo>
                  <a:lnTo>
                    <a:pt x="1181" y="899"/>
                  </a:lnTo>
                  <a:lnTo>
                    <a:pt x="1180" y="899"/>
                  </a:lnTo>
                  <a:lnTo>
                    <a:pt x="1180" y="899"/>
                  </a:lnTo>
                  <a:lnTo>
                    <a:pt x="1179" y="899"/>
                  </a:lnTo>
                  <a:lnTo>
                    <a:pt x="1179" y="899"/>
                  </a:lnTo>
                  <a:lnTo>
                    <a:pt x="1179" y="899"/>
                  </a:lnTo>
                  <a:lnTo>
                    <a:pt x="1179" y="899"/>
                  </a:lnTo>
                  <a:lnTo>
                    <a:pt x="1179" y="899"/>
                  </a:lnTo>
                  <a:lnTo>
                    <a:pt x="1179" y="899"/>
                  </a:lnTo>
                  <a:lnTo>
                    <a:pt x="1179" y="899"/>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899"/>
                  </a:lnTo>
                  <a:lnTo>
                    <a:pt x="1129" y="899"/>
                  </a:lnTo>
                  <a:lnTo>
                    <a:pt x="1129" y="899"/>
                  </a:lnTo>
                  <a:lnTo>
                    <a:pt x="1104" y="899"/>
                  </a:lnTo>
                  <a:lnTo>
                    <a:pt x="1104" y="899"/>
                  </a:lnTo>
                  <a:lnTo>
                    <a:pt x="1102" y="899"/>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899"/>
                  </a:lnTo>
                  <a:lnTo>
                    <a:pt x="1069" y="899"/>
                  </a:lnTo>
                  <a:lnTo>
                    <a:pt x="1069" y="899"/>
                  </a:lnTo>
                  <a:lnTo>
                    <a:pt x="1069" y="899"/>
                  </a:lnTo>
                  <a:lnTo>
                    <a:pt x="1069" y="899"/>
                  </a:lnTo>
                  <a:lnTo>
                    <a:pt x="1069" y="899"/>
                  </a:lnTo>
                  <a:lnTo>
                    <a:pt x="1069" y="899"/>
                  </a:lnTo>
                  <a:lnTo>
                    <a:pt x="1069" y="899"/>
                  </a:lnTo>
                  <a:lnTo>
                    <a:pt x="1069" y="1146"/>
                  </a:lnTo>
                  <a:lnTo>
                    <a:pt x="1069" y="1146"/>
                  </a:lnTo>
                  <a:lnTo>
                    <a:pt x="1069" y="1146"/>
                  </a:lnTo>
                  <a:lnTo>
                    <a:pt x="1069" y="1146"/>
                  </a:lnTo>
                  <a:lnTo>
                    <a:pt x="1069" y="899"/>
                  </a:lnTo>
                  <a:lnTo>
                    <a:pt x="1067" y="899"/>
                  </a:lnTo>
                  <a:lnTo>
                    <a:pt x="1067" y="899"/>
                  </a:lnTo>
                  <a:lnTo>
                    <a:pt x="1067" y="899"/>
                  </a:lnTo>
                  <a:lnTo>
                    <a:pt x="1067" y="899"/>
                  </a:lnTo>
                  <a:lnTo>
                    <a:pt x="1067" y="899"/>
                  </a:lnTo>
                  <a:lnTo>
                    <a:pt x="1067" y="899"/>
                  </a:lnTo>
                  <a:lnTo>
                    <a:pt x="1062" y="899"/>
                  </a:lnTo>
                  <a:lnTo>
                    <a:pt x="1062" y="899"/>
                  </a:lnTo>
                  <a:lnTo>
                    <a:pt x="1061" y="899"/>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899"/>
                  </a:lnTo>
                  <a:lnTo>
                    <a:pt x="1004" y="899"/>
                  </a:lnTo>
                  <a:lnTo>
                    <a:pt x="1004" y="1158"/>
                  </a:lnTo>
                  <a:lnTo>
                    <a:pt x="1004" y="1158"/>
                  </a:lnTo>
                  <a:lnTo>
                    <a:pt x="1004" y="1164"/>
                  </a:lnTo>
                  <a:lnTo>
                    <a:pt x="1004" y="1164"/>
                  </a:lnTo>
                  <a:lnTo>
                    <a:pt x="1004" y="1164"/>
                  </a:lnTo>
                  <a:lnTo>
                    <a:pt x="1004" y="1164"/>
                  </a:lnTo>
                  <a:lnTo>
                    <a:pt x="1004" y="1167"/>
                  </a:lnTo>
                  <a:lnTo>
                    <a:pt x="1003" y="1167"/>
                  </a:lnTo>
                  <a:lnTo>
                    <a:pt x="1003" y="899"/>
                  </a:lnTo>
                  <a:lnTo>
                    <a:pt x="1002" y="899"/>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899"/>
                  </a:lnTo>
                  <a:lnTo>
                    <a:pt x="955" y="899"/>
                  </a:lnTo>
                  <a:lnTo>
                    <a:pt x="955" y="899"/>
                  </a:lnTo>
                  <a:lnTo>
                    <a:pt x="955" y="899"/>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899"/>
                  </a:lnTo>
                  <a:lnTo>
                    <a:pt x="955" y="899"/>
                  </a:lnTo>
                  <a:lnTo>
                    <a:pt x="955" y="899"/>
                  </a:lnTo>
                  <a:lnTo>
                    <a:pt x="955" y="899"/>
                  </a:lnTo>
                  <a:lnTo>
                    <a:pt x="955" y="899"/>
                  </a:lnTo>
                  <a:lnTo>
                    <a:pt x="952" y="899"/>
                  </a:lnTo>
                  <a:lnTo>
                    <a:pt x="952" y="899"/>
                  </a:lnTo>
                  <a:lnTo>
                    <a:pt x="952" y="899"/>
                  </a:lnTo>
                  <a:lnTo>
                    <a:pt x="952" y="899"/>
                  </a:lnTo>
                  <a:lnTo>
                    <a:pt x="951" y="899"/>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899"/>
                  </a:lnTo>
                  <a:lnTo>
                    <a:pt x="949" y="899"/>
                  </a:lnTo>
                  <a:lnTo>
                    <a:pt x="949" y="1185"/>
                  </a:lnTo>
                  <a:lnTo>
                    <a:pt x="949" y="1185"/>
                  </a:lnTo>
                  <a:lnTo>
                    <a:pt x="949" y="1185"/>
                  </a:lnTo>
                  <a:lnTo>
                    <a:pt x="949" y="1185"/>
                  </a:lnTo>
                  <a:lnTo>
                    <a:pt x="949" y="1185"/>
                  </a:lnTo>
                  <a:lnTo>
                    <a:pt x="949" y="1185"/>
                  </a:lnTo>
                  <a:lnTo>
                    <a:pt x="949" y="899"/>
                  </a:lnTo>
                  <a:lnTo>
                    <a:pt x="948" y="899"/>
                  </a:lnTo>
                  <a:lnTo>
                    <a:pt x="948" y="1186"/>
                  </a:lnTo>
                  <a:lnTo>
                    <a:pt x="948" y="1186"/>
                  </a:lnTo>
                  <a:lnTo>
                    <a:pt x="948" y="899"/>
                  </a:lnTo>
                  <a:lnTo>
                    <a:pt x="948" y="899"/>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899"/>
                  </a:lnTo>
                  <a:lnTo>
                    <a:pt x="938" y="899"/>
                  </a:lnTo>
                  <a:lnTo>
                    <a:pt x="938" y="899"/>
                  </a:lnTo>
                  <a:lnTo>
                    <a:pt x="936" y="899"/>
                  </a:lnTo>
                  <a:lnTo>
                    <a:pt x="936" y="899"/>
                  </a:lnTo>
                  <a:lnTo>
                    <a:pt x="936" y="899"/>
                  </a:lnTo>
                  <a:lnTo>
                    <a:pt x="936" y="899"/>
                  </a:lnTo>
                  <a:lnTo>
                    <a:pt x="935" y="899"/>
                  </a:lnTo>
                  <a:lnTo>
                    <a:pt x="935" y="1192"/>
                  </a:lnTo>
                  <a:lnTo>
                    <a:pt x="935" y="1192"/>
                  </a:lnTo>
                  <a:lnTo>
                    <a:pt x="935" y="1192"/>
                  </a:lnTo>
                  <a:lnTo>
                    <a:pt x="935" y="1192"/>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899"/>
                  </a:lnTo>
                  <a:lnTo>
                    <a:pt x="932" y="899"/>
                  </a:lnTo>
                  <a:lnTo>
                    <a:pt x="932" y="899"/>
                  </a:lnTo>
                  <a:lnTo>
                    <a:pt x="931" y="899"/>
                  </a:lnTo>
                  <a:lnTo>
                    <a:pt x="931" y="899"/>
                  </a:lnTo>
                  <a:lnTo>
                    <a:pt x="929" y="899"/>
                  </a:lnTo>
                  <a:lnTo>
                    <a:pt x="929" y="899"/>
                  </a:lnTo>
                  <a:lnTo>
                    <a:pt x="928" y="8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899"/>
                  </a:lnTo>
                  <a:lnTo>
                    <a:pt x="913" y="899"/>
                  </a:lnTo>
                  <a:lnTo>
                    <a:pt x="913" y="899"/>
                  </a:lnTo>
                  <a:lnTo>
                    <a:pt x="912" y="899"/>
                  </a:lnTo>
                  <a:lnTo>
                    <a:pt x="912" y="899"/>
                  </a:lnTo>
                  <a:lnTo>
                    <a:pt x="912" y="899"/>
                  </a:lnTo>
                  <a:lnTo>
                    <a:pt x="912" y="1204"/>
                  </a:lnTo>
                  <a:lnTo>
                    <a:pt x="912" y="1204"/>
                  </a:lnTo>
                  <a:lnTo>
                    <a:pt x="912" y="899"/>
                  </a:lnTo>
                  <a:lnTo>
                    <a:pt x="912" y="899"/>
                  </a:lnTo>
                  <a:lnTo>
                    <a:pt x="912" y="1204"/>
                  </a:lnTo>
                  <a:lnTo>
                    <a:pt x="912" y="1204"/>
                  </a:lnTo>
                  <a:lnTo>
                    <a:pt x="912" y="899"/>
                  </a:lnTo>
                  <a:lnTo>
                    <a:pt x="912" y="899"/>
                  </a:lnTo>
                  <a:lnTo>
                    <a:pt x="912" y="899"/>
                  </a:lnTo>
                  <a:lnTo>
                    <a:pt x="910" y="899"/>
                  </a:lnTo>
                  <a:lnTo>
                    <a:pt x="910" y="899"/>
                  </a:lnTo>
                  <a:lnTo>
                    <a:pt x="910" y="899"/>
                  </a:lnTo>
                  <a:lnTo>
                    <a:pt x="910" y="899"/>
                  </a:lnTo>
                  <a:lnTo>
                    <a:pt x="909" y="899"/>
                  </a:lnTo>
                  <a:lnTo>
                    <a:pt x="909" y="899"/>
                  </a:lnTo>
                  <a:lnTo>
                    <a:pt x="907" y="899"/>
                  </a:lnTo>
                  <a:lnTo>
                    <a:pt x="907" y="899"/>
                  </a:lnTo>
                  <a:lnTo>
                    <a:pt x="902" y="899"/>
                  </a:lnTo>
                  <a:lnTo>
                    <a:pt x="902" y="899"/>
                  </a:lnTo>
                  <a:lnTo>
                    <a:pt x="900" y="899"/>
                  </a:lnTo>
                  <a:lnTo>
                    <a:pt x="900" y="899"/>
                  </a:lnTo>
                  <a:lnTo>
                    <a:pt x="900" y="899"/>
                  </a:lnTo>
                  <a:lnTo>
                    <a:pt x="900" y="899"/>
                  </a:lnTo>
                  <a:lnTo>
                    <a:pt x="899" y="899"/>
                  </a:lnTo>
                  <a:lnTo>
                    <a:pt x="899" y="899"/>
                  </a:lnTo>
                  <a:lnTo>
                    <a:pt x="899" y="899"/>
                  </a:lnTo>
                  <a:lnTo>
                    <a:pt x="899" y="899"/>
                  </a:lnTo>
                  <a:lnTo>
                    <a:pt x="899" y="899"/>
                  </a:lnTo>
                  <a:lnTo>
                    <a:pt x="899" y="899"/>
                  </a:lnTo>
                  <a:lnTo>
                    <a:pt x="899" y="899"/>
                  </a:lnTo>
                  <a:lnTo>
                    <a:pt x="899" y="899"/>
                  </a:lnTo>
                  <a:lnTo>
                    <a:pt x="899" y="899"/>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899"/>
                  </a:lnTo>
                  <a:lnTo>
                    <a:pt x="888" y="899"/>
                  </a:lnTo>
                  <a:lnTo>
                    <a:pt x="888" y="899"/>
                  </a:lnTo>
                  <a:lnTo>
                    <a:pt x="887" y="899"/>
                  </a:lnTo>
                  <a:lnTo>
                    <a:pt x="887" y="899"/>
                  </a:lnTo>
                  <a:lnTo>
                    <a:pt x="887" y="899"/>
                  </a:lnTo>
                  <a:lnTo>
                    <a:pt x="887" y="899"/>
                  </a:lnTo>
                  <a:lnTo>
                    <a:pt x="887" y="899"/>
                  </a:lnTo>
                  <a:lnTo>
                    <a:pt x="887" y="899"/>
                  </a:lnTo>
                  <a:lnTo>
                    <a:pt x="887" y="899"/>
                  </a:lnTo>
                  <a:lnTo>
                    <a:pt x="887" y="1213"/>
                  </a:lnTo>
                  <a:lnTo>
                    <a:pt x="886" y="1213"/>
                  </a:lnTo>
                  <a:lnTo>
                    <a:pt x="886" y="1213"/>
                  </a:lnTo>
                  <a:lnTo>
                    <a:pt x="886" y="1213"/>
                  </a:lnTo>
                  <a:lnTo>
                    <a:pt x="886" y="899"/>
                  </a:lnTo>
                  <a:lnTo>
                    <a:pt x="886" y="899"/>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899"/>
                  </a:lnTo>
                  <a:lnTo>
                    <a:pt x="882" y="899"/>
                  </a:lnTo>
                  <a:lnTo>
                    <a:pt x="882" y="899"/>
                  </a:lnTo>
                  <a:lnTo>
                    <a:pt x="881" y="899"/>
                  </a:lnTo>
                  <a:lnTo>
                    <a:pt x="881" y="899"/>
                  </a:lnTo>
                  <a:lnTo>
                    <a:pt x="881" y="899"/>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899"/>
                  </a:lnTo>
                  <a:lnTo>
                    <a:pt x="850" y="899"/>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899"/>
                  </a:lnTo>
                  <a:lnTo>
                    <a:pt x="847" y="899"/>
                  </a:lnTo>
                  <a:lnTo>
                    <a:pt x="847" y="899"/>
                  </a:lnTo>
                  <a:lnTo>
                    <a:pt x="847" y="899"/>
                  </a:lnTo>
                  <a:lnTo>
                    <a:pt x="847" y="899"/>
                  </a:lnTo>
                  <a:lnTo>
                    <a:pt x="847" y="899"/>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899"/>
                  </a:lnTo>
                  <a:lnTo>
                    <a:pt x="836" y="899"/>
                  </a:lnTo>
                  <a:lnTo>
                    <a:pt x="836" y="899"/>
                  </a:lnTo>
                  <a:lnTo>
                    <a:pt x="836" y="899"/>
                  </a:lnTo>
                  <a:lnTo>
                    <a:pt x="836" y="899"/>
                  </a:lnTo>
                  <a:lnTo>
                    <a:pt x="835" y="899"/>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1240"/>
                  </a:lnTo>
                  <a:lnTo>
                    <a:pt x="828" y="1240"/>
                  </a:lnTo>
                  <a:lnTo>
                    <a:pt x="828" y="899"/>
                  </a:lnTo>
                  <a:lnTo>
                    <a:pt x="828" y="899"/>
                  </a:lnTo>
                  <a:lnTo>
                    <a:pt x="828" y="899"/>
                  </a:lnTo>
                  <a:lnTo>
                    <a:pt x="828" y="899"/>
                  </a:lnTo>
                  <a:lnTo>
                    <a:pt x="828" y="899"/>
                  </a:lnTo>
                  <a:lnTo>
                    <a:pt x="828" y="899"/>
                  </a:lnTo>
                  <a:lnTo>
                    <a:pt x="828" y="899"/>
                  </a:lnTo>
                  <a:lnTo>
                    <a:pt x="828" y="899"/>
                  </a:lnTo>
                  <a:lnTo>
                    <a:pt x="828" y="1242"/>
                  </a:lnTo>
                  <a:lnTo>
                    <a:pt x="828" y="1242"/>
                  </a:lnTo>
                  <a:lnTo>
                    <a:pt x="828" y="1242"/>
                  </a:lnTo>
                  <a:lnTo>
                    <a:pt x="828" y="1242"/>
                  </a:lnTo>
                  <a:lnTo>
                    <a:pt x="828" y="899"/>
                  </a:lnTo>
                  <a:lnTo>
                    <a:pt x="828" y="899"/>
                  </a:lnTo>
                  <a:lnTo>
                    <a:pt x="828" y="899"/>
                  </a:lnTo>
                  <a:lnTo>
                    <a:pt x="827" y="899"/>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899"/>
                  </a:lnTo>
                  <a:lnTo>
                    <a:pt x="795" y="899"/>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899"/>
                  </a:lnTo>
                  <a:lnTo>
                    <a:pt x="793" y="899"/>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899"/>
                  </a:lnTo>
                  <a:lnTo>
                    <a:pt x="793" y="899"/>
                  </a:lnTo>
                  <a:lnTo>
                    <a:pt x="793" y="899"/>
                  </a:lnTo>
                  <a:lnTo>
                    <a:pt x="792" y="899"/>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899"/>
                  </a:lnTo>
                  <a:lnTo>
                    <a:pt x="777" y="899"/>
                  </a:lnTo>
                  <a:lnTo>
                    <a:pt x="777" y="1252"/>
                  </a:lnTo>
                  <a:lnTo>
                    <a:pt x="777" y="1252"/>
                  </a:lnTo>
                  <a:lnTo>
                    <a:pt x="777" y="1252"/>
                  </a:lnTo>
                  <a:lnTo>
                    <a:pt x="777" y="1252"/>
                  </a:lnTo>
                  <a:lnTo>
                    <a:pt x="777" y="1253"/>
                  </a:lnTo>
                  <a:lnTo>
                    <a:pt x="768" y="1253"/>
                  </a:lnTo>
                  <a:lnTo>
                    <a:pt x="768" y="1253"/>
                  </a:lnTo>
                  <a:lnTo>
                    <a:pt x="768" y="1253"/>
                  </a:lnTo>
                  <a:lnTo>
                    <a:pt x="768" y="899"/>
                  </a:lnTo>
                  <a:lnTo>
                    <a:pt x="768" y="899"/>
                  </a:lnTo>
                  <a:lnTo>
                    <a:pt x="768"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7"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899"/>
                  </a:lnTo>
                  <a:lnTo>
                    <a:pt x="743" y="899"/>
                  </a:lnTo>
                  <a:lnTo>
                    <a:pt x="743" y="899"/>
                  </a:lnTo>
                  <a:lnTo>
                    <a:pt x="737" y="899"/>
                  </a:lnTo>
                  <a:lnTo>
                    <a:pt x="737" y="899"/>
                  </a:lnTo>
                  <a:lnTo>
                    <a:pt x="737" y="899"/>
                  </a:lnTo>
                  <a:lnTo>
                    <a:pt x="737" y="899"/>
                  </a:lnTo>
                  <a:lnTo>
                    <a:pt x="737" y="899"/>
                  </a:lnTo>
                  <a:lnTo>
                    <a:pt x="737" y="899"/>
                  </a:lnTo>
                  <a:lnTo>
                    <a:pt x="737" y="899"/>
                  </a:lnTo>
                  <a:lnTo>
                    <a:pt x="737" y="899"/>
                  </a:lnTo>
                  <a:lnTo>
                    <a:pt x="736" y="899"/>
                  </a:lnTo>
                  <a:lnTo>
                    <a:pt x="736" y="899"/>
                  </a:lnTo>
                  <a:lnTo>
                    <a:pt x="736" y="899"/>
                  </a:lnTo>
                  <a:lnTo>
                    <a:pt x="736" y="899"/>
                  </a:lnTo>
                  <a:lnTo>
                    <a:pt x="736" y="899"/>
                  </a:lnTo>
                  <a:lnTo>
                    <a:pt x="736" y="1264"/>
                  </a:lnTo>
                  <a:lnTo>
                    <a:pt x="736" y="1264"/>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899"/>
                  </a:lnTo>
                  <a:lnTo>
                    <a:pt x="680" y="899"/>
                  </a:lnTo>
                  <a:lnTo>
                    <a:pt x="680" y="899"/>
                  </a:lnTo>
                  <a:lnTo>
                    <a:pt x="680" y="899"/>
                  </a:lnTo>
                  <a:lnTo>
                    <a:pt x="680" y="899"/>
                  </a:lnTo>
                  <a:lnTo>
                    <a:pt x="680" y="899"/>
                  </a:lnTo>
                  <a:lnTo>
                    <a:pt x="680" y="899"/>
                  </a:lnTo>
                  <a:lnTo>
                    <a:pt x="680" y="899"/>
                  </a:lnTo>
                  <a:lnTo>
                    <a:pt x="680" y="899"/>
                  </a:lnTo>
                  <a:lnTo>
                    <a:pt x="680" y="899"/>
                  </a:lnTo>
                  <a:lnTo>
                    <a:pt x="680" y="899"/>
                  </a:lnTo>
                  <a:lnTo>
                    <a:pt x="679" y="899"/>
                  </a:lnTo>
                  <a:lnTo>
                    <a:pt x="679" y="1273"/>
                  </a:lnTo>
                  <a:lnTo>
                    <a:pt x="677" y="1273"/>
                  </a:lnTo>
                  <a:lnTo>
                    <a:pt x="677" y="1273"/>
                  </a:lnTo>
                  <a:lnTo>
                    <a:pt x="677" y="1273"/>
                  </a:lnTo>
                  <a:lnTo>
                    <a:pt x="677" y="899"/>
                  </a:lnTo>
                  <a:lnTo>
                    <a:pt x="677" y="899"/>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899"/>
                  </a:lnTo>
                  <a:lnTo>
                    <a:pt x="674" y="899"/>
                  </a:lnTo>
                  <a:lnTo>
                    <a:pt x="674" y="899"/>
                  </a:lnTo>
                  <a:lnTo>
                    <a:pt x="673" y="899"/>
                  </a:lnTo>
                  <a:lnTo>
                    <a:pt x="673" y="899"/>
                  </a:lnTo>
                  <a:lnTo>
                    <a:pt x="673" y="899"/>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899"/>
                  </a:lnTo>
                  <a:lnTo>
                    <a:pt x="649" y="899"/>
                  </a:lnTo>
                  <a:lnTo>
                    <a:pt x="649" y="899"/>
                  </a:lnTo>
                  <a:lnTo>
                    <a:pt x="649" y="899"/>
                  </a:lnTo>
                  <a:lnTo>
                    <a:pt x="649" y="899"/>
                  </a:lnTo>
                  <a:lnTo>
                    <a:pt x="629" y="899"/>
                  </a:lnTo>
                  <a:lnTo>
                    <a:pt x="629" y="899"/>
                  </a:lnTo>
                  <a:lnTo>
                    <a:pt x="616" y="899"/>
                  </a:lnTo>
                  <a:lnTo>
                    <a:pt x="616" y="899"/>
                  </a:lnTo>
                  <a:lnTo>
                    <a:pt x="612" y="899"/>
                  </a:lnTo>
                  <a:lnTo>
                    <a:pt x="612" y="899"/>
                  </a:lnTo>
                  <a:lnTo>
                    <a:pt x="610" y="899"/>
                  </a:lnTo>
                  <a:lnTo>
                    <a:pt x="610" y="899"/>
                  </a:lnTo>
                  <a:lnTo>
                    <a:pt x="608" y="899"/>
                  </a:lnTo>
                  <a:lnTo>
                    <a:pt x="608" y="899"/>
                  </a:lnTo>
                  <a:lnTo>
                    <a:pt x="607" y="899"/>
                  </a:lnTo>
                  <a:lnTo>
                    <a:pt x="607" y="899"/>
                  </a:lnTo>
                  <a:lnTo>
                    <a:pt x="607" y="899"/>
                  </a:lnTo>
                  <a:lnTo>
                    <a:pt x="607" y="899"/>
                  </a:lnTo>
                  <a:lnTo>
                    <a:pt x="607" y="899"/>
                  </a:lnTo>
                  <a:lnTo>
                    <a:pt x="607" y="899"/>
                  </a:lnTo>
                  <a:lnTo>
                    <a:pt x="607" y="899"/>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899"/>
                  </a:lnTo>
                  <a:lnTo>
                    <a:pt x="606" y="899"/>
                  </a:lnTo>
                  <a:lnTo>
                    <a:pt x="606" y="1282"/>
                  </a:lnTo>
                  <a:lnTo>
                    <a:pt x="606" y="1282"/>
                  </a:lnTo>
                  <a:lnTo>
                    <a:pt x="606" y="1282"/>
                  </a:lnTo>
                  <a:lnTo>
                    <a:pt x="606" y="1282"/>
                  </a:lnTo>
                  <a:lnTo>
                    <a:pt x="606" y="899"/>
                  </a:lnTo>
                  <a:lnTo>
                    <a:pt x="605" y="899"/>
                  </a:lnTo>
                  <a:lnTo>
                    <a:pt x="605" y="1284"/>
                  </a:lnTo>
                  <a:lnTo>
                    <a:pt x="605" y="1284"/>
                  </a:lnTo>
                  <a:lnTo>
                    <a:pt x="605" y="899"/>
                  </a:lnTo>
                  <a:lnTo>
                    <a:pt x="605" y="899"/>
                  </a:lnTo>
                  <a:lnTo>
                    <a:pt x="605" y="899"/>
                  </a:lnTo>
                  <a:lnTo>
                    <a:pt x="602" y="899"/>
                  </a:lnTo>
                  <a:lnTo>
                    <a:pt x="602" y="899"/>
                  </a:lnTo>
                  <a:lnTo>
                    <a:pt x="600" y="899"/>
                  </a:lnTo>
                  <a:lnTo>
                    <a:pt x="600" y="899"/>
                  </a:lnTo>
                  <a:lnTo>
                    <a:pt x="599" y="899"/>
                  </a:lnTo>
                  <a:lnTo>
                    <a:pt x="599" y="899"/>
                  </a:lnTo>
                  <a:lnTo>
                    <a:pt x="599" y="899"/>
                  </a:lnTo>
                  <a:lnTo>
                    <a:pt x="599" y="1286"/>
                  </a:lnTo>
                  <a:lnTo>
                    <a:pt x="599" y="1286"/>
                  </a:lnTo>
                  <a:lnTo>
                    <a:pt x="599" y="1286"/>
                  </a:lnTo>
                  <a:lnTo>
                    <a:pt x="599" y="1286"/>
                  </a:lnTo>
                  <a:lnTo>
                    <a:pt x="599" y="1286"/>
                  </a:lnTo>
                  <a:lnTo>
                    <a:pt x="599" y="1286"/>
                  </a:lnTo>
                  <a:lnTo>
                    <a:pt x="599" y="1286"/>
                  </a:lnTo>
                  <a:lnTo>
                    <a:pt x="599" y="1286"/>
                  </a:lnTo>
                  <a:lnTo>
                    <a:pt x="599" y="899"/>
                  </a:lnTo>
                  <a:lnTo>
                    <a:pt x="598" y="899"/>
                  </a:lnTo>
                  <a:lnTo>
                    <a:pt x="598" y="899"/>
                  </a:lnTo>
                  <a:lnTo>
                    <a:pt x="597" y="899"/>
                  </a:lnTo>
                  <a:lnTo>
                    <a:pt x="597" y="899"/>
                  </a:lnTo>
                  <a:lnTo>
                    <a:pt x="596" y="899"/>
                  </a:lnTo>
                  <a:lnTo>
                    <a:pt x="596" y="899"/>
                  </a:lnTo>
                  <a:lnTo>
                    <a:pt x="595" y="899"/>
                  </a:lnTo>
                  <a:lnTo>
                    <a:pt x="595" y="899"/>
                  </a:lnTo>
                  <a:lnTo>
                    <a:pt x="595" y="899"/>
                  </a:lnTo>
                  <a:lnTo>
                    <a:pt x="595" y="899"/>
                  </a:lnTo>
                  <a:lnTo>
                    <a:pt x="594" y="899"/>
                  </a:lnTo>
                  <a:lnTo>
                    <a:pt x="594" y="899"/>
                  </a:lnTo>
                  <a:lnTo>
                    <a:pt x="592" y="899"/>
                  </a:lnTo>
                  <a:lnTo>
                    <a:pt x="592" y="899"/>
                  </a:lnTo>
                  <a:lnTo>
                    <a:pt x="591" y="899"/>
                  </a:lnTo>
                  <a:lnTo>
                    <a:pt x="591" y="1290"/>
                  </a:lnTo>
                  <a:lnTo>
                    <a:pt x="590" y="1290"/>
                  </a:lnTo>
                  <a:lnTo>
                    <a:pt x="590" y="1290"/>
                  </a:lnTo>
                  <a:lnTo>
                    <a:pt x="589" y="1290"/>
                  </a:lnTo>
                  <a:lnTo>
                    <a:pt x="589" y="1290"/>
                  </a:lnTo>
                  <a:lnTo>
                    <a:pt x="588" y="1290"/>
                  </a:lnTo>
                  <a:lnTo>
                    <a:pt x="588" y="1290"/>
                  </a:lnTo>
                  <a:lnTo>
                    <a:pt x="588" y="1290"/>
                  </a:lnTo>
                  <a:lnTo>
                    <a:pt x="588" y="899"/>
                  </a:lnTo>
                  <a:lnTo>
                    <a:pt x="587" y="899"/>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899"/>
                  </a:lnTo>
                  <a:lnTo>
                    <a:pt x="582" y="899"/>
                  </a:lnTo>
                  <a:lnTo>
                    <a:pt x="582" y="899"/>
                  </a:lnTo>
                  <a:lnTo>
                    <a:pt x="582" y="899"/>
                  </a:lnTo>
                  <a:lnTo>
                    <a:pt x="582" y="899"/>
                  </a:lnTo>
                  <a:lnTo>
                    <a:pt x="582" y="899"/>
                  </a:lnTo>
                  <a:lnTo>
                    <a:pt x="582" y="899"/>
                  </a:lnTo>
                  <a:lnTo>
                    <a:pt x="582" y="899"/>
                  </a:lnTo>
                  <a:lnTo>
                    <a:pt x="582" y="899"/>
                  </a:lnTo>
                  <a:lnTo>
                    <a:pt x="581" y="899"/>
                  </a:lnTo>
                  <a:lnTo>
                    <a:pt x="581" y="899"/>
                  </a:lnTo>
                  <a:lnTo>
                    <a:pt x="580" y="899"/>
                  </a:lnTo>
                  <a:lnTo>
                    <a:pt x="580" y="1292"/>
                  </a:lnTo>
                  <a:lnTo>
                    <a:pt x="579" y="1292"/>
                  </a:lnTo>
                  <a:lnTo>
                    <a:pt x="579" y="899"/>
                  </a:lnTo>
                  <a:lnTo>
                    <a:pt x="576" y="899"/>
                  </a:lnTo>
                  <a:lnTo>
                    <a:pt x="576" y="1292"/>
                  </a:lnTo>
                  <a:lnTo>
                    <a:pt x="574" y="1292"/>
                  </a:lnTo>
                  <a:lnTo>
                    <a:pt x="574" y="1292"/>
                  </a:lnTo>
                  <a:lnTo>
                    <a:pt x="573" y="1292"/>
                  </a:lnTo>
                  <a:lnTo>
                    <a:pt x="573" y="899"/>
                  </a:lnTo>
                  <a:lnTo>
                    <a:pt x="573" y="899"/>
                  </a:lnTo>
                  <a:lnTo>
                    <a:pt x="573" y="1292"/>
                  </a:lnTo>
                  <a:lnTo>
                    <a:pt x="573" y="1292"/>
                  </a:lnTo>
                  <a:lnTo>
                    <a:pt x="573" y="1292"/>
                  </a:lnTo>
                  <a:lnTo>
                    <a:pt x="573" y="1292"/>
                  </a:lnTo>
                  <a:lnTo>
                    <a:pt x="573" y="1292"/>
                  </a:lnTo>
                  <a:lnTo>
                    <a:pt x="573" y="1292"/>
                  </a:lnTo>
                  <a:lnTo>
                    <a:pt x="573" y="1292"/>
                  </a:lnTo>
                  <a:lnTo>
                    <a:pt x="573" y="1292"/>
                  </a:lnTo>
                  <a:lnTo>
                    <a:pt x="573" y="899"/>
                  </a:lnTo>
                  <a:lnTo>
                    <a:pt x="554" y="899"/>
                  </a:lnTo>
                  <a:lnTo>
                    <a:pt x="554" y="899"/>
                  </a:lnTo>
                  <a:lnTo>
                    <a:pt x="554" y="899"/>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899"/>
                  </a:lnTo>
                  <a:lnTo>
                    <a:pt x="548" y="899"/>
                  </a:lnTo>
                  <a:lnTo>
                    <a:pt x="548" y="899"/>
                  </a:lnTo>
                  <a:lnTo>
                    <a:pt x="548" y="899"/>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899"/>
                  </a:lnTo>
                  <a:lnTo>
                    <a:pt x="529" y="899"/>
                  </a:lnTo>
                  <a:lnTo>
                    <a:pt x="529" y="899"/>
                  </a:lnTo>
                  <a:lnTo>
                    <a:pt x="529" y="899"/>
                  </a:lnTo>
                  <a:lnTo>
                    <a:pt x="529" y="899"/>
                  </a:lnTo>
                  <a:lnTo>
                    <a:pt x="528" y="899"/>
                  </a:lnTo>
                  <a:lnTo>
                    <a:pt x="528"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899"/>
                  </a:lnTo>
                  <a:lnTo>
                    <a:pt x="510" y="899"/>
                  </a:lnTo>
                  <a:lnTo>
                    <a:pt x="510" y="1314"/>
                  </a:lnTo>
                  <a:lnTo>
                    <a:pt x="510" y="1314"/>
                  </a:lnTo>
                  <a:lnTo>
                    <a:pt x="510" y="1314"/>
                  </a:lnTo>
                  <a:lnTo>
                    <a:pt x="510" y="1314"/>
                  </a:lnTo>
                  <a:lnTo>
                    <a:pt x="510" y="1314"/>
                  </a:lnTo>
                  <a:lnTo>
                    <a:pt x="477" y="1314"/>
                  </a:lnTo>
                  <a:lnTo>
                    <a:pt x="477" y="899"/>
                  </a:lnTo>
                  <a:lnTo>
                    <a:pt x="477" y="899"/>
                  </a:lnTo>
                  <a:lnTo>
                    <a:pt x="477" y="899"/>
                  </a:lnTo>
                  <a:lnTo>
                    <a:pt x="477" y="899"/>
                  </a:lnTo>
                  <a:lnTo>
                    <a:pt x="477" y="899"/>
                  </a:lnTo>
                  <a:lnTo>
                    <a:pt x="475" y="899"/>
                  </a:lnTo>
                  <a:lnTo>
                    <a:pt x="475" y="899"/>
                  </a:lnTo>
                  <a:lnTo>
                    <a:pt x="474" y="899"/>
                  </a:lnTo>
                  <a:lnTo>
                    <a:pt x="474" y="899"/>
                  </a:lnTo>
                  <a:lnTo>
                    <a:pt x="472" y="899"/>
                  </a:lnTo>
                  <a:lnTo>
                    <a:pt x="472" y="1317"/>
                  </a:lnTo>
                  <a:lnTo>
                    <a:pt x="472" y="1317"/>
                  </a:lnTo>
                  <a:lnTo>
                    <a:pt x="472" y="899"/>
                  </a:lnTo>
                  <a:lnTo>
                    <a:pt x="471" y="899"/>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899"/>
                  </a:lnTo>
                  <a:lnTo>
                    <a:pt x="470" y="899"/>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899"/>
                  </a:lnTo>
                  <a:lnTo>
                    <a:pt x="458" y="899"/>
                  </a:lnTo>
                  <a:lnTo>
                    <a:pt x="458" y="1318"/>
                  </a:lnTo>
                  <a:lnTo>
                    <a:pt x="458" y="1318"/>
                  </a:lnTo>
                  <a:lnTo>
                    <a:pt x="458" y="1318"/>
                  </a:lnTo>
                  <a:lnTo>
                    <a:pt x="458" y="1318"/>
                  </a:lnTo>
                  <a:lnTo>
                    <a:pt x="458" y="1318"/>
                  </a:lnTo>
                  <a:lnTo>
                    <a:pt x="458" y="1318"/>
                  </a:lnTo>
                  <a:lnTo>
                    <a:pt x="458" y="899"/>
                  </a:lnTo>
                  <a:lnTo>
                    <a:pt x="458" y="899"/>
                  </a:lnTo>
                  <a:lnTo>
                    <a:pt x="458" y="1318"/>
                  </a:lnTo>
                  <a:lnTo>
                    <a:pt x="458" y="1318"/>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899"/>
                  </a:lnTo>
                  <a:lnTo>
                    <a:pt x="453" y="899"/>
                  </a:lnTo>
                  <a:lnTo>
                    <a:pt x="453" y="1324"/>
                  </a:lnTo>
                  <a:lnTo>
                    <a:pt x="453" y="1324"/>
                  </a:lnTo>
                  <a:lnTo>
                    <a:pt x="453" y="899"/>
                  </a:lnTo>
                  <a:lnTo>
                    <a:pt x="453" y="899"/>
                  </a:lnTo>
                  <a:lnTo>
                    <a:pt x="453" y="899"/>
                  </a:lnTo>
                  <a:lnTo>
                    <a:pt x="453" y="899"/>
                  </a:lnTo>
                  <a:lnTo>
                    <a:pt x="453" y="899"/>
                  </a:lnTo>
                  <a:lnTo>
                    <a:pt x="453" y="899"/>
                  </a:lnTo>
                  <a:lnTo>
                    <a:pt x="453" y="899"/>
                  </a:lnTo>
                  <a:lnTo>
                    <a:pt x="453" y="899"/>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899"/>
                  </a:lnTo>
                  <a:lnTo>
                    <a:pt x="430" y="899"/>
                  </a:lnTo>
                  <a:lnTo>
                    <a:pt x="430" y="899"/>
                  </a:lnTo>
                  <a:lnTo>
                    <a:pt x="430" y="899"/>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899"/>
                  </a:lnTo>
                  <a:lnTo>
                    <a:pt x="398" y="1336"/>
                  </a:lnTo>
                  <a:lnTo>
                    <a:pt x="387" y="1336"/>
                  </a:lnTo>
                  <a:lnTo>
                    <a:pt x="387" y="1336"/>
                  </a:lnTo>
                  <a:lnTo>
                    <a:pt x="384" y="1336"/>
                  </a:lnTo>
                  <a:lnTo>
                    <a:pt x="384" y="1336"/>
                  </a:lnTo>
                  <a:lnTo>
                    <a:pt x="383" y="1336"/>
                  </a:lnTo>
                  <a:lnTo>
                    <a:pt x="383" y="1336"/>
                  </a:lnTo>
                  <a:lnTo>
                    <a:pt x="383" y="1336"/>
                  </a:lnTo>
                  <a:lnTo>
                    <a:pt x="383" y="899"/>
                  </a:lnTo>
                  <a:lnTo>
                    <a:pt x="383" y="899"/>
                  </a:lnTo>
                  <a:lnTo>
                    <a:pt x="383" y="899"/>
                  </a:lnTo>
                  <a:lnTo>
                    <a:pt x="383" y="899"/>
                  </a:lnTo>
                  <a:lnTo>
                    <a:pt x="383" y="899"/>
                  </a:lnTo>
                  <a:lnTo>
                    <a:pt x="383" y="899"/>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899"/>
                  </a:lnTo>
                  <a:lnTo>
                    <a:pt x="382" y="899"/>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899"/>
                  </a:lnTo>
                  <a:lnTo>
                    <a:pt x="351" y="899"/>
                  </a:lnTo>
                  <a:lnTo>
                    <a:pt x="351" y="899"/>
                  </a:lnTo>
                  <a:lnTo>
                    <a:pt x="351" y="899"/>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899"/>
                  </a:lnTo>
                  <a:lnTo>
                    <a:pt x="342" y="899"/>
                  </a:lnTo>
                  <a:lnTo>
                    <a:pt x="342" y="899"/>
                  </a:lnTo>
                  <a:lnTo>
                    <a:pt x="342" y="899"/>
                  </a:lnTo>
                  <a:lnTo>
                    <a:pt x="342" y="899"/>
                  </a:lnTo>
                  <a:lnTo>
                    <a:pt x="342" y="899"/>
                  </a:lnTo>
                  <a:lnTo>
                    <a:pt x="342" y="1362"/>
                  </a:lnTo>
                  <a:lnTo>
                    <a:pt x="342" y="1362"/>
                  </a:lnTo>
                  <a:lnTo>
                    <a:pt x="342" y="1362"/>
                  </a:lnTo>
                  <a:lnTo>
                    <a:pt x="342" y="1362"/>
                  </a:lnTo>
                  <a:lnTo>
                    <a:pt x="342" y="1362"/>
                  </a:lnTo>
                  <a:lnTo>
                    <a:pt x="342" y="1362"/>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6" y="899"/>
                  </a:lnTo>
                  <a:lnTo>
                    <a:pt x="335" y="899"/>
                  </a:lnTo>
                  <a:lnTo>
                    <a:pt x="335" y="899"/>
                  </a:lnTo>
                  <a:lnTo>
                    <a:pt x="335" y="899"/>
                  </a:lnTo>
                  <a:lnTo>
                    <a:pt x="335" y="899"/>
                  </a:lnTo>
                  <a:lnTo>
                    <a:pt x="335" y="899"/>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70"/>
                  </a:lnTo>
                  <a:lnTo>
                    <a:pt x="327" y="1370"/>
                  </a:lnTo>
                  <a:lnTo>
                    <a:pt x="327" y="1370"/>
                  </a:lnTo>
                  <a:lnTo>
                    <a:pt x="327" y="1370"/>
                  </a:lnTo>
                  <a:lnTo>
                    <a:pt x="327" y="899"/>
                  </a:lnTo>
                  <a:lnTo>
                    <a:pt x="327" y="899"/>
                  </a:lnTo>
                  <a:lnTo>
                    <a:pt x="327" y="899"/>
                  </a:lnTo>
                  <a:lnTo>
                    <a:pt x="327" y="899"/>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899"/>
                  </a:lnTo>
                  <a:lnTo>
                    <a:pt x="309" y="899"/>
                  </a:lnTo>
                  <a:lnTo>
                    <a:pt x="309" y="899"/>
                  </a:lnTo>
                  <a:lnTo>
                    <a:pt x="309" y="899"/>
                  </a:lnTo>
                  <a:lnTo>
                    <a:pt x="309" y="1380"/>
                  </a:lnTo>
                  <a:lnTo>
                    <a:pt x="309" y="1380"/>
                  </a:lnTo>
                  <a:lnTo>
                    <a:pt x="309" y="1380"/>
                  </a:lnTo>
                  <a:lnTo>
                    <a:pt x="309" y="1380"/>
                  </a:lnTo>
                  <a:lnTo>
                    <a:pt x="309" y="1380"/>
                  </a:lnTo>
                  <a:lnTo>
                    <a:pt x="309" y="1380"/>
                  </a:lnTo>
                  <a:lnTo>
                    <a:pt x="309" y="899"/>
                  </a:lnTo>
                  <a:lnTo>
                    <a:pt x="308" y="899"/>
                  </a:lnTo>
                  <a:lnTo>
                    <a:pt x="308" y="899"/>
                  </a:lnTo>
                  <a:lnTo>
                    <a:pt x="307" y="899"/>
                  </a:lnTo>
                  <a:lnTo>
                    <a:pt x="307" y="899"/>
                  </a:lnTo>
                  <a:lnTo>
                    <a:pt x="307" y="899"/>
                  </a:lnTo>
                  <a:lnTo>
                    <a:pt x="307" y="899"/>
                  </a:lnTo>
                  <a:lnTo>
                    <a:pt x="301" y="899"/>
                  </a:lnTo>
                  <a:lnTo>
                    <a:pt x="301" y="899"/>
                  </a:lnTo>
                  <a:lnTo>
                    <a:pt x="299" y="899"/>
                  </a:lnTo>
                  <a:lnTo>
                    <a:pt x="299" y="899"/>
                  </a:lnTo>
                  <a:lnTo>
                    <a:pt x="297" y="899"/>
                  </a:lnTo>
                  <a:lnTo>
                    <a:pt x="297" y="899"/>
                  </a:lnTo>
                  <a:lnTo>
                    <a:pt x="296" y="899"/>
                  </a:lnTo>
                  <a:lnTo>
                    <a:pt x="296" y="1386"/>
                  </a:lnTo>
                  <a:lnTo>
                    <a:pt x="296" y="1386"/>
                  </a:lnTo>
                  <a:lnTo>
                    <a:pt x="296" y="1386"/>
                  </a:lnTo>
                  <a:lnTo>
                    <a:pt x="296" y="1386"/>
                  </a:lnTo>
                  <a:lnTo>
                    <a:pt x="296" y="1386"/>
                  </a:lnTo>
                  <a:lnTo>
                    <a:pt x="296" y="1386"/>
                  </a:lnTo>
                  <a:lnTo>
                    <a:pt x="296" y="1386"/>
                  </a:lnTo>
                  <a:lnTo>
                    <a:pt x="296" y="1386"/>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899"/>
                  </a:lnTo>
                  <a:lnTo>
                    <a:pt x="288" y="899"/>
                  </a:lnTo>
                  <a:lnTo>
                    <a:pt x="288" y="899"/>
                  </a:lnTo>
                  <a:lnTo>
                    <a:pt x="288" y="899"/>
                  </a:lnTo>
                  <a:lnTo>
                    <a:pt x="288" y="899"/>
                  </a:lnTo>
                  <a:lnTo>
                    <a:pt x="288" y="899"/>
                  </a:lnTo>
                  <a:lnTo>
                    <a:pt x="288" y="899"/>
                  </a:lnTo>
                  <a:lnTo>
                    <a:pt x="286" y="899"/>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899"/>
                  </a:lnTo>
                  <a:lnTo>
                    <a:pt x="266" y="899"/>
                  </a:lnTo>
                  <a:lnTo>
                    <a:pt x="266" y="899"/>
                  </a:lnTo>
                  <a:lnTo>
                    <a:pt x="266" y="899"/>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6"/>
                  </a:lnTo>
                  <a:lnTo>
                    <a:pt x="243" y="1406"/>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899"/>
                  </a:lnTo>
                  <a:lnTo>
                    <a:pt x="239" y="899"/>
                  </a:lnTo>
                  <a:lnTo>
                    <a:pt x="239" y="899"/>
                  </a:lnTo>
                  <a:lnTo>
                    <a:pt x="239" y="899"/>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899"/>
                  </a:lnTo>
                  <a:lnTo>
                    <a:pt x="220" y="899"/>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899"/>
                  </a:lnTo>
                  <a:lnTo>
                    <a:pt x="210" y="899"/>
                  </a:lnTo>
                  <a:lnTo>
                    <a:pt x="210" y="899"/>
                  </a:lnTo>
                  <a:lnTo>
                    <a:pt x="209" y="899"/>
                  </a:lnTo>
                  <a:lnTo>
                    <a:pt x="209" y="899"/>
                  </a:lnTo>
                  <a:lnTo>
                    <a:pt x="209" y="899"/>
                  </a:lnTo>
                  <a:lnTo>
                    <a:pt x="209" y="1420"/>
                  </a:lnTo>
                  <a:lnTo>
                    <a:pt x="209" y="1420"/>
                  </a:lnTo>
                  <a:lnTo>
                    <a:pt x="209" y="1420"/>
                  </a:lnTo>
                  <a:lnTo>
                    <a:pt x="209" y="1420"/>
                  </a:lnTo>
                  <a:lnTo>
                    <a:pt x="209" y="899"/>
                  </a:lnTo>
                  <a:lnTo>
                    <a:pt x="209" y="899"/>
                  </a:lnTo>
                  <a:lnTo>
                    <a:pt x="209" y="1420"/>
                  </a:lnTo>
                  <a:lnTo>
                    <a:pt x="207" y="1420"/>
                  </a:lnTo>
                  <a:lnTo>
                    <a:pt x="207" y="1420"/>
                  </a:lnTo>
                  <a:lnTo>
                    <a:pt x="207" y="1420"/>
                  </a:lnTo>
                  <a:lnTo>
                    <a:pt x="207" y="899"/>
                  </a:lnTo>
                  <a:lnTo>
                    <a:pt x="207" y="899"/>
                  </a:lnTo>
                  <a:lnTo>
                    <a:pt x="207" y="1425"/>
                  </a:lnTo>
                  <a:lnTo>
                    <a:pt x="206" y="1425"/>
                  </a:lnTo>
                  <a:lnTo>
                    <a:pt x="206" y="1425"/>
                  </a:lnTo>
                  <a:lnTo>
                    <a:pt x="205" y="1425"/>
                  </a:lnTo>
                  <a:lnTo>
                    <a:pt x="205" y="1425"/>
                  </a:lnTo>
                  <a:lnTo>
                    <a:pt x="204" y="1425"/>
                  </a:lnTo>
                  <a:lnTo>
                    <a:pt x="204" y="899"/>
                  </a:lnTo>
                  <a:lnTo>
                    <a:pt x="204" y="899"/>
                  </a:lnTo>
                  <a:lnTo>
                    <a:pt x="204" y="899"/>
                  </a:lnTo>
                  <a:lnTo>
                    <a:pt x="204" y="899"/>
                  </a:lnTo>
                  <a:lnTo>
                    <a:pt x="204" y="899"/>
                  </a:lnTo>
                  <a:lnTo>
                    <a:pt x="204" y="899"/>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899"/>
                  </a:lnTo>
                  <a:lnTo>
                    <a:pt x="148" y="899"/>
                  </a:lnTo>
                  <a:lnTo>
                    <a:pt x="148" y="899"/>
                  </a:lnTo>
                  <a:lnTo>
                    <a:pt x="148" y="899"/>
                  </a:lnTo>
                  <a:lnTo>
                    <a:pt x="148" y="899"/>
                  </a:lnTo>
                  <a:lnTo>
                    <a:pt x="148" y="899"/>
                  </a:lnTo>
                  <a:lnTo>
                    <a:pt x="148" y="899"/>
                  </a:lnTo>
                  <a:lnTo>
                    <a:pt x="147" y="899"/>
                  </a:lnTo>
                  <a:lnTo>
                    <a:pt x="147" y="899"/>
                  </a:lnTo>
                  <a:lnTo>
                    <a:pt x="147" y="899"/>
                  </a:lnTo>
                  <a:lnTo>
                    <a:pt x="147" y="899"/>
                  </a:lnTo>
                  <a:lnTo>
                    <a:pt x="147" y="899"/>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899"/>
                  </a:lnTo>
                  <a:lnTo>
                    <a:pt x="141" y="899"/>
                  </a:lnTo>
                  <a:lnTo>
                    <a:pt x="141" y="899"/>
                  </a:lnTo>
                  <a:lnTo>
                    <a:pt x="141" y="899"/>
                  </a:lnTo>
                  <a:lnTo>
                    <a:pt x="141" y="899"/>
                  </a:lnTo>
                  <a:lnTo>
                    <a:pt x="141" y="899"/>
                  </a:lnTo>
                  <a:lnTo>
                    <a:pt x="141"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899"/>
                  </a:lnTo>
                  <a:lnTo>
                    <a:pt x="137" y="899"/>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92"/>
                  </a:lnTo>
                  <a:lnTo>
                    <a:pt x="136" y="1492"/>
                  </a:lnTo>
                  <a:lnTo>
                    <a:pt x="136" y="1492"/>
                  </a:lnTo>
                  <a:lnTo>
                    <a:pt x="135" y="1492"/>
                  </a:lnTo>
                  <a:lnTo>
                    <a:pt x="135" y="899"/>
                  </a:lnTo>
                  <a:lnTo>
                    <a:pt x="135" y="899"/>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5" y="899"/>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899"/>
                  </a:lnTo>
                  <a:lnTo>
                    <a:pt x="106" y="899"/>
                  </a:lnTo>
                  <a:lnTo>
                    <a:pt x="106" y="899"/>
                  </a:lnTo>
                  <a:lnTo>
                    <a:pt x="104" y="899"/>
                  </a:lnTo>
                  <a:lnTo>
                    <a:pt x="104" y="899"/>
                  </a:lnTo>
                  <a:lnTo>
                    <a:pt x="103" y="899"/>
                  </a:lnTo>
                  <a:lnTo>
                    <a:pt x="103" y="899"/>
                  </a:lnTo>
                  <a:lnTo>
                    <a:pt x="103" y="899"/>
                  </a:lnTo>
                  <a:lnTo>
                    <a:pt x="103" y="899"/>
                  </a:lnTo>
                  <a:lnTo>
                    <a:pt x="103" y="899"/>
                  </a:lnTo>
                  <a:lnTo>
                    <a:pt x="103" y="899"/>
                  </a:lnTo>
                  <a:lnTo>
                    <a:pt x="103" y="899"/>
                  </a:lnTo>
                  <a:lnTo>
                    <a:pt x="103" y="899"/>
                  </a:lnTo>
                  <a:lnTo>
                    <a:pt x="102" y="899"/>
                  </a:lnTo>
                  <a:lnTo>
                    <a:pt x="102" y="899"/>
                  </a:lnTo>
                  <a:lnTo>
                    <a:pt x="101" y="899"/>
                  </a:lnTo>
                  <a:lnTo>
                    <a:pt x="101" y="1544"/>
                  </a:lnTo>
                  <a:lnTo>
                    <a:pt x="94" y="1544"/>
                  </a:lnTo>
                  <a:lnTo>
                    <a:pt x="94" y="899"/>
                  </a:lnTo>
                  <a:lnTo>
                    <a:pt x="93" y="899"/>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899"/>
                  </a:lnTo>
                  <a:lnTo>
                    <a:pt x="86" y="899"/>
                  </a:lnTo>
                  <a:lnTo>
                    <a:pt x="86" y="899"/>
                  </a:lnTo>
                  <a:lnTo>
                    <a:pt x="86" y="899"/>
                  </a:lnTo>
                  <a:lnTo>
                    <a:pt x="86" y="899"/>
                  </a:lnTo>
                  <a:lnTo>
                    <a:pt x="86" y="899"/>
                  </a:lnTo>
                  <a:lnTo>
                    <a:pt x="86" y="899"/>
                  </a:lnTo>
                  <a:lnTo>
                    <a:pt x="85" y="89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899"/>
                  </a:lnTo>
                  <a:lnTo>
                    <a:pt x="47" y="899"/>
                  </a:lnTo>
                  <a:lnTo>
                    <a:pt x="47" y="1644"/>
                  </a:lnTo>
                  <a:lnTo>
                    <a:pt x="46" y="1644"/>
                  </a:lnTo>
                  <a:lnTo>
                    <a:pt x="46" y="899"/>
                  </a:lnTo>
                  <a:lnTo>
                    <a:pt x="46" y="899"/>
                  </a:lnTo>
                  <a:lnTo>
                    <a:pt x="46" y="1644"/>
                  </a:lnTo>
                  <a:lnTo>
                    <a:pt x="46" y="1644"/>
                  </a:lnTo>
                  <a:lnTo>
                    <a:pt x="46" y="1644"/>
                  </a:lnTo>
                  <a:lnTo>
                    <a:pt x="46" y="1644"/>
                  </a:lnTo>
                  <a:lnTo>
                    <a:pt x="46" y="1646"/>
                  </a:lnTo>
                  <a:lnTo>
                    <a:pt x="46" y="1646"/>
                  </a:lnTo>
                  <a:lnTo>
                    <a:pt x="46"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899"/>
                  </a:lnTo>
                  <a:lnTo>
                    <a:pt x="44" y="899"/>
                  </a:lnTo>
                  <a:lnTo>
                    <a:pt x="44" y="1661"/>
                  </a:lnTo>
                  <a:lnTo>
                    <a:pt x="44" y="1661"/>
                  </a:lnTo>
                  <a:lnTo>
                    <a:pt x="44" y="1661"/>
                  </a:lnTo>
                  <a:lnTo>
                    <a:pt x="44" y="1661"/>
                  </a:lnTo>
                  <a:lnTo>
                    <a:pt x="44" y="899"/>
                  </a:lnTo>
                  <a:lnTo>
                    <a:pt x="44" y="899"/>
                  </a:lnTo>
                  <a:lnTo>
                    <a:pt x="44" y="899"/>
                  </a:lnTo>
                  <a:lnTo>
                    <a:pt x="44" y="899"/>
                  </a:lnTo>
                  <a:lnTo>
                    <a:pt x="44" y="899"/>
                  </a:lnTo>
                  <a:lnTo>
                    <a:pt x="43" y="89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899"/>
                  </a:lnTo>
                  <a:lnTo>
                    <a:pt x="43" y="899"/>
                  </a:lnTo>
                  <a:lnTo>
                    <a:pt x="43" y="899"/>
                  </a:lnTo>
                  <a:lnTo>
                    <a:pt x="42" y="899"/>
                  </a:lnTo>
                  <a:lnTo>
                    <a:pt x="42" y="899"/>
                  </a:lnTo>
                  <a:lnTo>
                    <a:pt x="42" y="899"/>
                  </a:lnTo>
                  <a:lnTo>
                    <a:pt x="42" y="1681"/>
                  </a:lnTo>
                  <a:lnTo>
                    <a:pt x="41" y="1681"/>
                  </a:lnTo>
                  <a:lnTo>
                    <a:pt x="41" y="1681"/>
                  </a:lnTo>
                  <a:lnTo>
                    <a:pt x="41" y="1681"/>
                  </a:lnTo>
                  <a:lnTo>
                    <a:pt x="41" y="1681"/>
                  </a:lnTo>
                  <a:lnTo>
                    <a:pt x="41" y="1681"/>
                  </a:lnTo>
                  <a:lnTo>
                    <a:pt x="41" y="899"/>
                  </a:lnTo>
                  <a:lnTo>
                    <a:pt x="41" y="899"/>
                  </a:lnTo>
                  <a:lnTo>
                    <a:pt x="41" y="899"/>
                  </a:lnTo>
                  <a:lnTo>
                    <a:pt x="41" y="899"/>
                  </a:lnTo>
                  <a:lnTo>
                    <a:pt x="41" y="899"/>
                  </a:lnTo>
                  <a:lnTo>
                    <a:pt x="40" y="899"/>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39" y="899"/>
                  </a:lnTo>
                  <a:lnTo>
                    <a:pt x="39" y="899"/>
                  </a:lnTo>
                  <a:lnTo>
                    <a:pt x="39" y="899"/>
                  </a:lnTo>
                  <a:lnTo>
                    <a:pt x="39" y="899"/>
                  </a:lnTo>
                  <a:lnTo>
                    <a:pt x="39" y="899"/>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899"/>
                  </a:lnTo>
                  <a:lnTo>
                    <a:pt x="38" y="899"/>
                  </a:lnTo>
                  <a:lnTo>
                    <a:pt x="38" y="899"/>
                  </a:lnTo>
                  <a:lnTo>
                    <a:pt x="38" y="899"/>
                  </a:lnTo>
                  <a:lnTo>
                    <a:pt x="38" y="899"/>
                  </a:lnTo>
                  <a:lnTo>
                    <a:pt x="37" y="899"/>
                  </a:lnTo>
                  <a:lnTo>
                    <a:pt x="37" y="899"/>
                  </a:lnTo>
                  <a:lnTo>
                    <a:pt x="37" y="899"/>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899"/>
                  </a:lnTo>
                  <a:lnTo>
                    <a:pt x="35" y="899"/>
                  </a:lnTo>
                  <a:lnTo>
                    <a:pt x="35" y="1714"/>
                  </a:lnTo>
                  <a:lnTo>
                    <a:pt x="34" y="1714"/>
                  </a:lnTo>
                  <a:lnTo>
                    <a:pt x="34" y="1714"/>
                  </a:lnTo>
                  <a:lnTo>
                    <a:pt x="34" y="1714"/>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899"/>
                  </a:lnTo>
                  <a:lnTo>
                    <a:pt x="29" y="899"/>
                  </a:lnTo>
                  <a:lnTo>
                    <a:pt x="29" y="899"/>
                  </a:lnTo>
                  <a:lnTo>
                    <a:pt x="28" y="899"/>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1767"/>
                  </a:lnTo>
                  <a:lnTo>
                    <a:pt x="20" y="1767"/>
                  </a:lnTo>
                  <a:lnTo>
                    <a:pt x="20" y="1767"/>
                  </a:lnTo>
                  <a:lnTo>
                    <a:pt x="20" y="1767"/>
                  </a:lnTo>
                  <a:lnTo>
                    <a:pt x="20" y="899"/>
                  </a:lnTo>
                  <a:lnTo>
                    <a:pt x="20" y="899"/>
                  </a:lnTo>
                  <a:lnTo>
                    <a:pt x="20" y="899"/>
                  </a:lnTo>
                  <a:lnTo>
                    <a:pt x="20" y="899"/>
                  </a:lnTo>
                  <a:lnTo>
                    <a:pt x="20" y="899"/>
                  </a:lnTo>
                  <a:lnTo>
                    <a:pt x="19" y="899"/>
                  </a:lnTo>
                  <a:lnTo>
                    <a:pt x="19"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899"/>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899"/>
                  </a:lnTo>
                  <a:lnTo>
                    <a:pt x="15" y="899"/>
                  </a:lnTo>
                  <a:lnTo>
                    <a:pt x="15" y="899"/>
                  </a:lnTo>
                  <a:lnTo>
                    <a:pt x="15" y="899"/>
                  </a:lnTo>
                  <a:lnTo>
                    <a:pt x="15" y="899"/>
                  </a:lnTo>
                  <a:lnTo>
                    <a:pt x="12" y="899"/>
                  </a:lnTo>
                  <a:lnTo>
                    <a:pt x="12" y="899"/>
                  </a:lnTo>
                  <a:lnTo>
                    <a:pt x="11" y="899"/>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0" y="899"/>
                  </a:lnTo>
                  <a:lnTo>
                    <a:pt x="10" y="899"/>
                  </a:lnTo>
                  <a:lnTo>
                    <a:pt x="10" y="89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899"/>
                  </a:lnTo>
                  <a:lnTo>
                    <a:pt x="4" y="899"/>
                  </a:lnTo>
                  <a:lnTo>
                    <a:pt x="4"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FED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74">
              <a:extLst>
                <a:ext uri="{FF2B5EF4-FFF2-40B4-BE49-F238E27FC236}">
                  <a16:creationId xmlns:a16="http://schemas.microsoft.com/office/drawing/2014/main" id="{DF3439BD-57CA-4010-9459-079A2EF5906D}"/>
                </a:ext>
              </a:extLst>
            </p:cNvPr>
            <p:cNvSpPr>
              <a:spLocks/>
            </p:cNvSpPr>
            <p:nvPr/>
          </p:nvSpPr>
          <p:spPr bwMode="auto">
            <a:xfrm>
              <a:off x="1077913" y="1011238"/>
              <a:ext cx="5370513" cy="2857500"/>
            </a:xfrm>
            <a:custGeom>
              <a:avLst/>
              <a:gdLst>
                <a:gd name="T0" fmla="*/ 20 w 3383"/>
                <a:gd name="T1" fmla="*/ 1769 h 1800"/>
                <a:gd name="T2" fmla="*/ 44 w 3383"/>
                <a:gd name="T3" fmla="*/ 899 h 1800"/>
                <a:gd name="T4" fmla="*/ 116 w 3383"/>
                <a:gd name="T5" fmla="*/ 899 h 1800"/>
                <a:gd name="T6" fmla="*/ 136 w 3383"/>
                <a:gd name="T7" fmla="*/ 899 h 1800"/>
                <a:gd name="T8" fmla="*/ 160 w 3383"/>
                <a:gd name="T9" fmla="*/ 899 h 1800"/>
                <a:gd name="T10" fmla="*/ 309 w 3383"/>
                <a:gd name="T11" fmla="*/ 1380 h 1800"/>
                <a:gd name="T12" fmla="*/ 345 w 3383"/>
                <a:gd name="T13" fmla="*/ 899 h 1800"/>
                <a:gd name="T14" fmla="*/ 456 w 3383"/>
                <a:gd name="T15" fmla="*/ 899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899 h 1800"/>
                <a:gd name="T28" fmla="*/ 1337 w 3383"/>
                <a:gd name="T29" fmla="*/ 1106 h 1800"/>
                <a:gd name="T30" fmla="*/ 1390 w 3383"/>
                <a:gd name="T31" fmla="*/ 1061 h 1800"/>
                <a:gd name="T32" fmla="*/ 1484 w 3383"/>
                <a:gd name="T33" fmla="*/ 1021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20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598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77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960 h 1800"/>
                <a:gd name="T92" fmla="*/ 1482 w 3383"/>
                <a:gd name="T93" fmla="*/ 899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1204 h 1800"/>
                <a:gd name="T104" fmla="*/ 835 w 3383"/>
                <a:gd name="T105" fmla="*/ 899 h 1800"/>
                <a:gd name="T106" fmla="*/ 732 w 3383"/>
                <a:gd name="T107" fmla="*/ 899 h 1800"/>
                <a:gd name="T108" fmla="*/ 548 w 3383"/>
                <a:gd name="T109" fmla="*/ 1294 h 1800"/>
                <a:gd name="T110" fmla="*/ 453 w 3383"/>
                <a:gd name="T111" fmla="*/ 1324 h 1800"/>
                <a:gd name="T112" fmla="*/ 344 w 3383"/>
                <a:gd name="T113" fmla="*/ 899 h 1800"/>
                <a:gd name="T114" fmla="*/ 301 w 3383"/>
                <a:gd name="T115" fmla="*/ 1385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899"/>
                  </a:lnTo>
                  <a:lnTo>
                    <a:pt x="0" y="899"/>
                  </a:lnTo>
                  <a:lnTo>
                    <a:pt x="0" y="1800"/>
                  </a:lnTo>
                  <a:lnTo>
                    <a:pt x="0" y="1800"/>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899"/>
                  </a:lnTo>
                  <a:lnTo>
                    <a:pt x="3" y="899"/>
                  </a:lnTo>
                  <a:lnTo>
                    <a:pt x="3" y="899"/>
                  </a:lnTo>
                  <a:lnTo>
                    <a:pt x="3" y="899"/>
                  </a:lnTo>
                  <a:lnTo>
                    <a:pt x="3"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5" y="1800"/>
                  </a:lnTo>
                  <a:lnTo>
                    <a:pt x="5" y="899"/>
                  </a:lnTo>
                  <a:lnTo>
                    <a:pt x="5" y="899"/>
                  </a:lnTo>
                  <a:lnTo>
                    <a:pt x="5" y="899"/>
                  </a:lnTo>
                  <a:lnTo>
                    <a:pt x="5" y="899"/>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1785"/>
                  </a:lnTo>
                  <a:lnTo>
                    <a:pt x="12" y="1785"/>
                  </a:lnTo>
                  <a:lnTo>
                    <a:pt x="12" y="1785"/>
                  </a:lnTo>
                  <a:lnTo>
                    <a:pt x="15" y="1785"/>
                  </a:lnTo>
                  <a:lnTo>
                    <a:pt x="15" y="899"/>
                  </a:lnTo>
                  <a:lnTo>
                    <a:pt x="15" y="899"/>
                  </a:lnTo>
                  <a:lnTo>
                    <a:pt x="15" y="899"/>
                  </a:lnTo>
                  <a:lnTo>
                    <a:pt x="15" y="899"/>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899"/>
                  </a:lnTo>
                  <a:lnTo>
                    <a:pt x="21" y="899"/>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899"/>
                  </a:lnTo>
                  <a:lnTo>
                    <a:pt x="30" y="899"/>
                  </a:lnTo>
                  <a:lnTo>
                    <a:pt x="30" y="899"/>
                  </a:lnTo>
                  <a:lnTo>
                    <a:pt x="30" y="899"/>
                  </a:lnTo>
                  <a:lnTo>
                    <a:pt x="30" y="899"/>
                  </a:lnTo>
                  <a:lnTo>
                    <a:pt x="30" y="899"/>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899"/>
                  </a:lnTo>
                  <a:lnTo>
                    <a:pt x="43" y="899"/>
                  </a:lnTo>
                  <a:lnTo>
                    <a:pt x="43" y="1669"/>
                  </a:lnTo>
                  <a:lnTo>
                    <a:pt x="43" y="1669"/>
                  </a:lnTo>
                  <a:lnTo>
                    <a:pt x="43" y="899"/>
                  </a:lnTo>
                  <a:lnTo>
                    <a:pt x="43" y="899"/>
                  </a:lnTo>
                  <a:lnTo>
                    <a:pt x="43" y="899"/>
                  </a:lnTo>
                  <a:lnTo>
                    <a:pt x="43" y="899"/>
                  </a:lnTo>
                  <a:lnTo>
                    <a:pt x="43" y="1669"/>
                  </a:lnTo>
                  <a:lnTo>
                    <a:pt x="44" y="1669"/>
                  </a:lnTo>
                  <a:lnTo>
                    <a:pt x="44" y="1669"/>
                  </a:lnTo>
                  <a:lnTo>
                    <a:pt x="44" y="1669"/>
                  </a:lnTo>
                  <a:lnTo>
                    <a:pt x="44" y="899"/>
                  </a:lnTo>
                  <a:lnTo>
                    <a:pt x="44" y="899"/>
                  </a:lnTo>
                  <a:lnTo>
                    <a:pt x="44" y="1661"/>
                  </a:lnTo>
                  <a:lnTo>
                    <a:pt x="44" y="1661"/>
                  </a:lnTo>
                  <a:lnTo>
                    <a:pt x="44" y="1661"/>
                  </a:lnTo>
                  <a:lnTo>
                    <a:pt x="44" y="1661"/>
                  </a:lnTo>
                  <a:lnTo>
                    <a:pt x="44" y="1656"/>
                  </a:lnTo>
                  <a:lnTo>
                    <a:pt x="44" y="1656"/>
                  </a:lnTo>
                  <a:lnTo>
                    <a:pt x="44" y="899"/>
                  </a:lnTo>
                  <a:lnTo>
                    <a:pt x="44" y="899"/>
                  </a:lnTo>
                  <a:lnTo>
                    <a:pt x="44" y="899"/>
                  </a:lnTo>
                  <a:lnTo>
                    <a:pt x="44" y="899"/>
                  </a:lnTo>
                  <a:lnTo>
                    <a:pt x="44"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899"/>
                  </a:lnTo>
                  <a:lnTo>
                    <a:pt x="67" y="899"/>
                  </a:lnTo>
                  <a:lnTo>
                    <a:pt x="67" y="899"/>
                  </a:lnTo>
                  <a:lnTo>
                    <a:pt x="67" y="899"/>
                  </a:lnTo>
                  <a:lnTo>
                    <a:pt x="67" y="899"/>
                  </a:lnTo>
                  <a:lnTo>
                    <a:pt x="67" y="899"/>
                  </a:lnTo>
                  <a:lnTo>
                    <a:pt x="67" y="899"/>
                  </a:lnTo>
                  <a:lnTo>
                    <a:pt x="67" y="899"/>
                  </a:lnTo>
                  <a:lnTo>
                    <a:pt x="67" y="899"/>
                  </a:lnTo>
                  <a:lnTo>
                    <a:pt x="67" y="899"/>
                  </a:lnTo>
                  <a:lnTo>
                    <a:pt x="67" y="899"/>
                  </a:lnTo>
                  <a:lnTo>
                    <a:pt x="68" y="899"/>
                  </a:lnTo>
                  <a:lnTo>
                    <a:pt x="68" y="899"/>
                  </a:lnTo>
                  <a:lnTo>
                    <a:pt x="68" y="899"/>
                  </a:lnTo>
                  <a:lnTo>
                    <a:pt x="68" y="899"/>
                  </a:lnTo>
                  <a:lnTo>
                    <a:pt x="69" y="899"/>
                  </a:lnTo>
                  <a:lnTo>
                    <a:pt x="69" y="899"/>
                  </a:lnTo>
                  <a:lnTo>
                    <a:pt x="70" y="899"/>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899"/>
                  </a:lnTo>
                  <a:lnTo>
                    <a:pt x="81" y="899"/>
                  </a:lnTo>
                  <a:lnTo>
                    <a:pt x="81" y="899"/>
                  </a:lnTo>
                  <a:lnTo>
                    <a:pt x="81" y="899"/>
                  </a:lnTo>
                  <a:lnTo>
                    <a:pt x="81" y="899"/>
                  </a:lnTo>
                  <a:lnTo>
                    <a:pt x="81" y="899"/>
                  </a:lnTo>
                  <a:lnTo>
                    <a:pt x="81" y="899"/>
                  </a:lnTo>
                  <a:lnTo>
                    <a:pt x="83" y="899"/>
                  </a:lnTo>
                  <a:lnTo>
                    <a:pt x="83" y="899"/>
                  </a:lnTo>
                  <a:lnTo>
                    <a:pt x="85" y="899"/>
                  </a:lnTo>
                  <a:lnTo>
                    <a:pt x="85" y="1579"/>
                  </a:lnTo>
                  <a:lnTo>
                    <a:pt x="86" y="1579"/>
                  </a:lnTo>
                  <a:lnTo>
                    <a:pt x="86" y="1579"/>
                  </a:lnTo>
                  <a:lnTo>
                    <a:pt x="86" y="1579"/>
                  </a:lnTo>
                  <a:lnTo>
                    <a:pt x="86" y="899"/>
                  </a:lnTo>
                  <a:lnTo>
                    <a:pt x="86" y="899"/>
                  </a:lnTo>
                  <a:lnTo>
                    <a:pt x="86" y="1571"/>
                  </a:lnTo>
                  <a:lnTo>
                    <a:pt x="86" y="1571"/>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899"/>
                  </a:lnTo>
                  <a:lnTo>
                    <a:pt x="103" y="899"/>
                  </a:lnTo>
                  <a:lnTo>
                    <a:pt x="103" y="899"/>
                  </a:lnTo>
                  <a:lnTo>
                    <a:pt x="103" y="899"/>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1530"/>
                  </a:lnTo>
                  <a:lnTo>
                    <a:pt x="116" y="1530"/>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7" y="899"/>
                  </a:lnTo>
                  <a:lnTo>
                    <a:pt x="117"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3" y="899"/>
                  </a:lnTo>
                  <a:lnTo>
                    <a:pt x="123" y="899"/>
                  </a:lnTo>
                  <a:lnTo>
                    <a:pt x="123" y="899"/>
                  </a:lnTo>
                  <a:lnTo>
                    <a:pt x="123" y="899"/>
                  </a:lnTo>
                  <a:lnTo>
                    <a:pt x="123" y="899"/>
                  </a:lnTo>
                  <a:lnTo>
                    <a:pt x="123" y="899"/>
                  </a:lnTo>
                  <a:lnTo>
                    <a:pt x="123" y="899"/>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899"/>
                  </a:lnTo>
                  <a:lnTo>
                    <a:pt x="136" y="899"/>
                  </a:lnTo>
                  <a:lnTo>
                    <a:pt x="136" y="899"/>
                  </a:lnTo>
                  <a:lnTo>
                    <a:pt x="136" y="899"/>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7" y="899"/>
                  </a:lnTo>
                  <a:lnTo>
                    <a:pt x="137" y="899"/>
                  </a:lnTo>
                  <a:lnTo>
                    <a:pt x="137" y="899"/>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0"/>
                  </a:lnTo>
                  <a:lnTo>
                    <a:pt x="140" y="1460"/>
                  </a:lnTo>
                  <a:lnTo>
                    <a:pt x="140" y="1460"/>
                  </a:lnTo>
                  <a:lnTo>
                    <a:pt x="140" y="1460"/>
                  </a:lnTo>
                  <a:lnTo>
                    <a:pt x="140" y="1460"/>
                  </a:lnTo>
                  <a:lnTo>
                    <a:pt x="140" y="1460"/>
                  </a:lnTo>
                  <a:lnTo>
                    <a:pt x="140" y="1458"/>
                  </a:lnTo>
                  <a:lnTo>
                    <a:pt x="140" y="1458"/>
                  </a:lnTo>
                  <a:lnTo>
                    <a:pt x="140" y="1458"/>
                  </a:lnTo>
                  <a:lnTo>
                    <a:pt x="140" y="1458"/>
                  </a:lnTo>
                  <a:lnTo>
                    <a:pt x="140" y="1458"/>
                  </a:lnTo>
                  <a:lnTo>
                    <a:pt x="141" y="1458"/>
                  </a:lnTo>
                  <a:lnTo>
                    <a:pt x="141" y="1458"/>
                  </a:lnTo>
                  <a:lnTo>
                    <a:pt x="141" y="1458"/>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899"/>
                  </a:lnTo>
                  <a:lnTo>
                    <a:pt x="147" y="899"/>
                  </a:lnTo>
                  <a:lnTo>
                    <a:pt x="147" y="899"/>
                  </a:lnTo>
                  <a:lnTo>
                    <a:pt x="147" y="899"/>
                  </a:lnTo>
                  <a:lnTo>
                    <a:pt x="147" y="1451"/>
                  </a:lnTo>
                  <a:lnTo>
                    <a:pt x="148" y="1451"/>
                  </a:lnTo>
                  <a:lnTo>
                    <a:pt x="148" y="899"/>
                  </a:lnTo>
                  <a:lnTo>
                    <a:pt x="148" y="899"/>
                  </a:lnTo>
                  <a:lnTo>
                    <a:pt x="148" y="899"/>
                  </a:lnTo>
                  <a:lnTo>
                    <a:pt x="148" y="899"/>
                  </a:lnTo>
                  <a:lnTo>
                    <a:pt x="148" y="1449"/>
                  </a:lnTo>
                  <a:lnTo>
                    <a:pt x="148" y="1449"/>
                  </a:lnTo>
                  <a:lnTo>
                    <a:pt x="148" y="1447"/>
                  </a:lnTo>
                  <a:lnTo>
                    <a:pt x="148" y="1447"/>
                  </a:lnTo>
                  <a:lnTo>
                    <a:pt x="148" y="899"/>
                  </a:lnTo>
                  <a:lnTo>
                    <a:pt x="148" y="899"/>
                  </a:lnTo>
                  <a:lnTo>
                    <a:pt x="148"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1444"/>
                  </a:lnTo>
                  <a:lnTo>
                    <a:pt x="150" y="1444"/>
                  </a:lnTo>
                  <a:lnTo>
                    <a:pt x="150" y="1444"/>
                  </a:lnTo>
                  <a:lnTo>
                    <a:pt x="150" y="1444"/>
                  </a:lnTo>
                  <a:lnTo>
                    <a:pt x="150" y="899"/>
                  </a:lnTo>
                  <a:lnTo>
                    <a:pt x="150" y="899"/>
                  </a:lnTo>
                  <a:lnTo>
                    <a:pt x="150" y="899"/>
                  </a:lnTo>
                  <a:lnTo>
                    <a:pt x="150" y="899"/>
                  </a:lnTo>
                  <a:lnTo>
                    <a:pt x="150" y="899"/>
                  </a:lnTo>
                  <a:lnTo>
                    <a:pt x="151" y="899"/>
                  </a:lnTo>
                  <a:lnTo>
                    <a:pt x="151" y="1443"/>
                  </a:lnTo>
                  <a:lnTo>
                    <a:pt x="151" y="1443"/>
                  </a:lnTo>
                  <a:lnTo>
                    <a:pt x="151" y="1443"/>
                  </a:lnTo>
                  <a:lnTo>
                    <a:pt x="151" y="1443"/>
                  </a:lnTo>
                  <a:lnTo>
                    <a:pt x="151" y="1443"/>
                  </a:lnTo>
                  <a:lnTo>
                    <a:pt x="151" y="1443"/>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899"/>
                  </a:lnTo>
                  <a:lnTo>
                    <a:pt x="151" y="899"/>
                  </a:lnTo>
                  <a:lnTo>
                    <a:pt x="151" y="899"/>
                  </a:lnTo>
                  <a:lnTo>
                    <a:pt x="151" y="899"/>
                  </a:lnTo>
                  <a:lnTo>
                    <a:pt x="151" y="1439"/>
                  </a:lnTo>
                  <a:lnTo>
                    <a:pt x="152" y="1439"/>
                  </a:lnTo>
                  <a:lnTo>
                    <a:pt x="152" y="1439"/>
                  </a:lnTo>
                  <a:lnTo>
                    <a:pt x="152" y="1439"/>
                  </a:lnTo>
                  <a:lnTo>
                    <a:pt x="152" y="1439"/>
                  </a:lnTo>
                  <a:lnTo>
                    <a:pt x="152" y="143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1420"/>
                  </a:lnTo>
                  <a:lnTo>
                    <a:pt x="207" y="1420"/>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10" y="1420"/>
                  </a:lnTo>
                  <a:lnTo>
                    <a:pt x="210" y="1420"/>
                  </a:lnTo>
                  <a:lnTo>
                    <a:pt x="211" y="1420"/>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21" y="1414"/>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1406"/>
                  </a:lnTo>
                  <a:lnTo>
                    <a:pt x="243" y="1406"/>
                  </a:lnTo>
                  <a:lnTo>
                    <a:pt x="243" y="1406"/>
                  </a:lnTo>
                  <a:lnTo>
                    <a:pt x="247" y="1406"/>
                  </a:lnTo>
                  <a:lnTo>
                    <a:pt x="247" y="1405"/>
                  </a:lnTo>
                  <a:lnTo>
                    <a:pt x="247" y="1405"/>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1401"/>
                  </a:lnTo>
                  <a:lnTo>
                    <a:pt x="266" y="1401"/>
                  </a:lnTo>
                  <a:lnTo>
                    <a:pt x="266" y="1401"/>
                  </a:lnTo>
                  <a:lnTo>
                    <a:pt x="266" y="1401"/>
                  </a:lnTo>
                  <a:lnTo>
                    <a:pt x="266" y="899"/>
                  </a:lnTo>
                  <a:lnTo>
                    <a:pt x="266" y="899"/>
                  </a:lnTo>
                  <a:lnTo>
                    <a:pt x="266" y="899"/>
                  </a:lnTo>
                  <a:lnTo>
                    <a:pt x="266" y="899"/>
                  </a:lnTo>
                  <a:lnTo>
                    <a:pt x="266" y="899"/>
                  </a:lnTo>
                  <a:lnTo>
                    <a:pt x="268" y="899"/>
                  </a:lnTo>
                  <a:lnTo>
                    <a:pt x="268" y="899"/>
                  </a:lnTo>
                  <a:lnTo>
                    <a:pt x="274" y="899"/>
                  </a:lnTo>
                  <a:lnTo>
                    <a:pt x="274" y="899"/>
                  </a:lnTo>
                  <a:lnTo>
                    <a:pt x="280" y="899"/>
                  </a:lnTo>
                  <a:lnTo>
                    <a:pt x="280" y="899"/>
                  </a:lnTo>
                  <a:lnTo>
                    <a:pt x="286" y="899"/>
                  </a:lnTo>
                  <a:lnTo>
                    <a:pt x="286" y="1396"/>
                  </a:lnTo>
                  <a:lnTo>
                    <a:pt x="288" y="1396"/>
                  </a:lnTo>
                  <a:lnTo>
                    <a:pt x="288" y="899"/>
                  </a:lnTo>
                  <a:lnTo>
                    <a:pt x="288" y="899"/>
                  </a:lnTo>
                  <a:lnTo>
                    <a:pt x="288" y="1389"/>
                  </a:lnTo>
                  <a:lnTo>
                    <a:pt x="288" y="1389"/>
                  </a:lnTo>
                  <a:lnTo>
                    <a:pt x="288" y="1389"/>
                  </a:lnTo>
                  <a:lnTo>
                    <a:pt x="288" y="1389"/>
                  </a:lnTo>
                  <a:lnTo>
                    <a:pt x="288" y="899"/>
                  </a:lnTo>
                  <a:lnTo>
                    <a:pt x="288" y="899"/>
                  </a:lnTo>
                  <a:lnTo>
                    <a:pt x="288" y="899"/>
                  </a:lnTo>
                  <a:lnTo>
                    <a:pt x="289" y="899"/>
                  </a:lnTo>
                  <a:lnTo>
                    <a:pt x="289" y="899"/>
                  </a:lnTo>
                  <a:lnTo>
                    <a:pt x="290" y="899"/>
                  </a:lnTo>
                  <a:lnTo>
                    <a:pt x="290" y="899"/>
                  </a:lnTo>
                  <a:lnTo>
                    <a:pt x="295" y="899"/>
                  </a:lnTo>
                  <a:lnTo>
                    <a:pt x="295" y="899"/>
                  </a:lnTo>
                  <a:lnTo>
                    <a:pt x="295" y="899"/>
                  </a:lnTo>
                  <a:lnTo>
                    <a:pt x="295" y="1386"/>
                  </a:lnTo>
                  <a:lnTo>
                    <a:pt x="295" y="1386"/>
                  </a:lnTo>
                  <a:lnTo>
                    <a:pt x="295" y="1386"/>
                  </a:lnTo>
                  <a:lnTo>
                    <a:pt x="295" y="1386"/>
                  </a:lnTo>
                  <a:lnTo>
                    <a:pt x="295" y="1386"/>
                  </a:lnTo>
                  <a:lnTo>
                    <a:pt x="295" y="1386"/>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6" y="899"/>
                  </a:lnTo>
                  <a:lnTo>
                    <a:pt x="296" y="899"/>
                  </a:lnTo>
                  <a:lnTo>
                    <a:pt x="296" y="899"/>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1374"/>
                  </a:lnTo>
                  <a:lnTo>
                    <a:pt x="310" y="1374"/>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9" y="899"/>
                  </a:lnTo>
                  <a:lnTo>
                    <a:pt x="329" y="899"/>
                  </a:lnTo>
                  <a:lnTo>
                    <a:pt x="330" y="899"/>
                  </a:lnTo>
                  <a:lnTo>
                    <a:pt x="330" y="899"/>
                  </a:lnTo>
                  <a:lnTo>
                    <a:pt x="331" y="899"/>
                  </a:lnTo>
                  <a:lnTo>
                    <a:pt x="331" y="899"/>
                  </a:lnTo>
                  <a:lnTo>
                    <a:pt x="332" y="899"/>
                  </a:lnTo>
                  <a:lnTo>
                    <a:pt x="332" y="899"/>
                  </a:lnTo>
                  <a:lnTo>
                    <a:pt x="333" y="899"/>
                  </a:lnTo>
                  <a:lnTo>
                    <a:pt x="333" y="899"/>
                  </a:lnTo>
                  <a:lnTo>
                    <a:pt x="335" y="899"/>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899"/>
                  </a:lnTo>
                  <a:lnTo>
                    <a:pt x="336" y="899"/>
                  </a:lnTo>
                  <a:lnTo>
                    <a:pt x="336" y="899"/>
                  </a:lnTo>
                  <a:lnTo>
                    <a:pt x="336" y="899"/>
                  </a:lnTo>
                  <a:lnTo>
                    <a:pt x="336" y="899"/>
                  </a:lnTo>
                  <a:lnTo>
                    <a:pt x="336" y="899"/>
                  </a:lnTo>
                  <a:lnTo>
                    <a:pt x="336" y="899"/>
                  </a:lnTo>
                  <a:lnTo>
                    <a:pt x="336" y="899"/>
                  </a:lnTo>
                  <a:lnTo>
                    <a:pt x="336" y="899"/>
                  </a:lnTo>
                  <a:lnTo>
                    <a:pt x="337" y="899"/>
                  </a:lnTo>
                  <a:lnTo>
                    <a:pt x="337" y="899"/>
                  </a:lnTo>
                  <a:lnTo>
                    <a:pt x="337" y="899"/>
                  </a:lnTo>
                  <a:lnTo>
                    <a:pt x="337" y="899"/>
                  </a:lnTo>
                  <a:lnTo>
                    <a:pt x="337" y="899"/>
                  </a:lnTo>
                  <a:lnTo>
                    <a:pt x="337" y="899"/>
                  </a:lnTo>
                  <a:lnTo>
                    <a:pt x="337" y="899"/>
                  </a:lnTo>
                  <a:lnTo>
                    <a:pt x="337"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1363"/>
                  </a:lnTo>
                  <a:lnTo>
                    <a:pt x="338" y="1363"/>
                  </a:lnTo>
                  <a:lnTo>
                    <a:pt x="338" y="1363"/>
                  </a:lnTo>
                  <a:lnTo>
                    <a:pt x="338" y="1363"/>
                  </a:lnTo>
                  <a:lnTo>
                    <a:pt x="338"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40" y="899"/>
                  </a:lnTo>
                  <a:lnTo>
                    <a:pt x="340" y="899"/>
                  </a:lnTo>
                  <a:lnTo>
                    <a:pt x="341" y="899"/>
                  </a:lnTo>
                  <a:lnTo>
                    <a:pt x="341" y="899"/>
                  </a:lnTo>
                  <a:lnTo>
                    <a:pt x="342" y="899"/>
                  </a:lnTo>
                  <a:lnTo>
                    <a:pt x="342" y="899"/>
                  </a:lnTo>
                  <a:lnTo>
                    <a:pt x="342" y="899"/>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1332"/>
                  </a:lnTo>
                  <a:lnTo>
                    <a:pt x="402" y="1332"/>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8" y="899"/>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899"/>
                  </a:lnTo>
                  <a:lnTo>
                    <a:pt x="477" y="899"/>
                  </a:lnTo>
                  <a:lnTo>
                    <a:pt x="477" y="1314"/>
                  </a:lnTo>
                  <a:lnTo>
                    <a:pt x="510" y="1314"/>
                  </a:lnTo>
                  <a:lnTo>
                    <a:pt x="510" y="1314"/>
                  </a:lnTo>
                  <a:lnTo>
                    <a:pt x="510" y="1314"/>
                  </a:lnTo>
                  <a:lnTo>
                    <a:pt x="510" y="1314"/>
                  </a:lnTo>
                  <a:lnTo>
                    <a:pt x="510" y="1314"/>
                  </a:lnTo>
                  <a:lnTo>
                    <a:pt x="510" y="1312"/>
                  </a:lnTo>
                  <a:lnTo>
                    <a:pt x="511" y="1312"/>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899"/>
                  </a:lnTo>
                  <a:lnTo>
                    <a:pt x="519" y="899"/>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1306"/>
                  </a:lnTo>
                  <a:lnTo>
                    <a:pt x="522" y="1306"/>
                  </a:lnTo>
                  <a:lnTo>
                    <a:pt x="522" y="899"/>
                  </a:lnTo>
                  <a:lnTo>
                    <a:pt x="525" y="899"/>
                  </a:lnTo>
                  <a:lnTo>
                    <a:pt x="525" y="899"/>
                  </a:lnTo>
                  <a:lnTo>
                    <a:pt x="525" y="899"/>
                  </a:lnTo>
                  <a:lnTo>
                    <a:pt x="525" y="899"/>
                  </a:lnTo>
                  <a:lnTo>
                    <a:pt x="525" y="899"/>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7" y="899"/>
                  </a:lnTo>
                  <a:lnTo>
                    <a:pt x="527" y="899"/>
                  </a:lnTo>
                  <a:lnTo>
                    <a:pt x="527" y="899"/>
                  </a:lnTo>
                  <a:lnTo>
                    <a:pt x="527" y="1300"/>
                  </a:lnTo>
                  <a:lnTo>
                    <a:pt x="527" y="1300"/>
                  </a:lnTo>
                  <a:lnTo>
                    <a:pt x="527" y="1300"/>
                  </a:lnTo>
                  <a:lnTo>
                    <a:pt x="527" y="1300"/>
                  </a:lnTo>
                  <a:lnTo>
                    <a:pt x="527" y="1300"/>
                  </a:lnTo>
                  <a:lnTo>
                    <a:pt x="527" y="1300"/>
                  </a:lnTo>
                  <a:lnTo>
                    <a:pt x="527" y="899"/>
                  </a:lnTo>
                  <a:lnTo>
                    <a:pt x="527" y="899"/>
                  </a:lnTo>
                  <a:lnTo>
                    <a:pt x="527" y="1300"/>
                  </a:lnTo>
                  <a:lnTo>
                    <a:pt x="527" y="1300"/>
                  </a:lnTo>
                  <a:lnTo>
                    <a:pt x="527" y="1300"/>
                  </a:lnTo>
                  <a:lnTo>
                    <a:pt x="527" y="1300"/>
                  </a:lnTo>
                  <a:lnTo>
                    <a:pt x="527" y="899"/>
                  </a:lnTo>
                  <a:lnTo>
                    <a:pt x="527" y="899"/>
                  </a:lnTo>
                  <a:lnTo>
                    <a:pt x="527" y="899"/>
                  </a:lnTo>
                  <a:lnTo>
                    <a:pt x="527" y="899"/>
                  </a:lnTo>
                  <a:lnTo>
                    <a:pt x="527" y="899"/>
                  </a:lnTo>
                  <a:lnTo>
                    <a:pt x="527" y="899"/>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1300"/>
                  </a:lnTo>
                  <a:lnTo>
                    <a:pt x="528" y="1300"/>
                  </a:lnTo>
                  <a:lnTo>
                    <a:pt x="528" y="1300"/>
                  </a:lnTo>
                  <a:lnTo>
                    <a:pt x="529" y="1300"/>
                  </a:lnTo>
                  <a:lnTo>
                    <a:pt x="529" y="1299"/>
                  </a:lnTo>
                  <a:lnTo>
                    <a:pt x="529" y="1299"/>
                  </a:lnTo>
                  <a:lnTo>
                    <a:pt x="529" y="1299"/>
                  </a:lnTo>
                  <a:lnTo>
                    <a:pt x="530" y="12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1290"/>
                  </a:lnTo>
                  <a:lnTo>
                    <a:pt x="592" y="1290"/>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1280"/>
                  </a:lnTo>
                  <a:lnTo>
                    <a:pt x="649" y="1280"/>
                  </a:lnTo>
                  <a:lnTo>
                    <a:pt x="649" y="1280"/>
                  </a:lnTo>
                  <a:lnTo>
                    <a:pt x="649" y="1280"/>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1265"/>
                  </a:lnTo>
                  <a:lnTo>
                    <a:pt x="732" y="1265"/>
                  </a:lnTo>
                  <a:lnTo>
                    <a:pt x="732" y="1265"/>
                  </a:lnTo>
                  <a:lnTo>
                    <a:pt x="736" y="1265"/>
                  </a:lnTo>
                  <a:lnTo>
                    <a:pt x="736" y="1265"/>
                  </a:lnTo>
                  <a:lnTo>
                    <a:pt x="736" y="1265"/>
                  </a:lnTo>
                  <a:lnTo>
                    <a:pt x="736" y="1265"/>
                  </a:lnTo>
                  <a:lnTo>
                    <a:pt x="736" y="1265"/>
                  </a:lnTo>
                  <a:lnTo>
                    <a:pt x="736" y="1264"/>
                  </a:lnTo>
                  <a:lnTo>
                    <a:pt x="736" y="1264"/>
                  </a:lnTo>
                  <a:lnTo>
                    <a:pt x="736" y="1264"/>
                  </a:lnTo>
                  <a:lnTo>
                    <a:pt x="736" y="1264"/>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899"/>
                  </a:lnTo>
                  <a:lnTo>
                    <a:pt x="766" y="899"/>
                  </a:lnTo>
                  <a:lnTo>
                    <a:pt x="766" y="899"/>
                  </a:lnTo>
                  <a:lnTo>
                    <a:pt x="766" y="899"/>
                  </a:lnTo>
                  <a:lnTo>
                    <a:pt x="766" y="899"/>
                  </a:lnTo>
                  <a:lnTo>
                    <a:pt x="766" y="899"/>
                  </a:lnTo>
                  <a:lnTo>
                    <a:pt x="766" y="1258"/>
                  </a:lnTo>
                  <a:lnTo>
                    <a:pt x="766" y="1258"/>
                  </a:lnTo>
                  <a:lnTo>
                    <a:pt x="766" y="1258"/>
                  </a:lnTo>
                  <a:lnTo>
                    <a:pt x="766" y="1258"/>
                  </a:lnTo>
                  <a:lnTo>
                    <a:pt x="766" y="1258"/>
                  </a:lnTo>
                  <a:lnTo>
                    <a:pt x="766" y="1258"/>
                  </a:lnTo>
                  <a:lnTo>
                    <a:pt x="766" y="1258"/>
                  </a:lnTo>
                  <a:lnTo>
                    <a:pt x="766" y="1258"/>
                  </a:lnTo>
                  <a:lnTo>
                    <a:pt x="766" y="899"/>
                  </a:lnTo>
                  <a:lnTo>
                    <a:pt x="766" y="899"/>
                  </a:lnTo>
                  <a:lnTo>
                    <a:pt x="766" y="899"/>
                  </a:lnTo>
                  <a:lnTo>
                    <a:pt x="766" y="899"/>
                  </a:lnTo>
                  <a:lnTo>
                    <a:pt x="766" y="899"/>
                  </a:lnTo>
                  <a:lnTo>
                    <a:pt x="766" y="899"/>
                  </a:lnTo>
                  <a:lnTo>
                    <a:pt x="766" y="899"/>
                  </a:lnTo>
                  <a:lnTo>
                    <a:pt x="766" y="899"/>
                  </a:lnTo>
                  <a:lnTo>
                    <a:pt x="766" y="1257"/>
                  </a:lnTo>
                  <a:lnTo>
                    <a:pt x="766" y="1257"/>
                  </a:lnTo>
                  <a:lnTo>
                    <a:pt x="766" y="1257"/>
                  </a:lnTo>
                  <a:lnTo>
                    <a:pt x="766" y="1257"/>
                  </a:lnTo>
                  <a:lnTo>
                    <a:pt x="766" y="899"/>
                  </a:lnTo>
                  <a:lnTo>
                    <a:pt x="767" y="899"/>
                  </a:lnTo>
                  <a:lnTo>
                    <a:pt x="767" y="1257"/>
                  </a:lnTo>
                  <a:lnTo>
                    <a:pt x="767" y="1257"/>
                  </a:lnTo>
                  <a:lnTo>
                    <a:pt x="767" y="899"/>
                  </a:lnTo>
                  <a:lnTo>
                    <a:pt x="767" y="899"/>
                  </a:lnTo>
                  <a:lnTo>
                    <a:pt x="767" y="899"/>
                  </a:lnTo>
                  <a:lnTo>
                    <a:pt x="767" y="899"/>
                  </a:lnTo>
                  <a:lnTo>
                    <a:pt x="767" y="1257"/>
                  </a:lnTo>
                  <a:lnTo>
                    <a:pt x="767" y="1257"/>
                  </a:lnTo>
                  <a:lnTo>
                    <a:pt x="767" y="899"/>
                  </a:lnTo>
                  <a:lnTo>
                    <a:pt x="767" y="899"/>
                  </a:lnTo>
                  <a:lnTo>
                    <a:pt x="767" y="899"/>
                  </a:lnTo>
                  <a:lnTo>
                    <a:pt x="768" y="899"/>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1247"/>
                  </a:lnTo>
                  <a:lnTo>
                    <a:pt x="800" y="1247"/>
                  </a:lnTo>
                  <a:lnTo>
                    <a:pt x="800" y="1247"/>
                  </a:lnTo>
                  <a:lnTo>
                    <a:pt x="800" y="1247"/>
                  </a:lnTo>
                  <a:lnTo>
                    <a:pt x="800" y="1246"/>
                  </a:lnTo>
                  <a:lnTo>
                    <a:pt x="800" y="1246"/>
                  </a:lnTo>
                  <a:lnTo>
                    <a:pt x="800" y="899"/>
                  </a:lnTo>
                  <a:lnTo>
                    <a:pt x="800" y="899"/>
                  </a:lnTo>
                  <a:lnTo>
                    <a:pt x="800" y="899"/>
                  </a:lnTo>
                  <a:lnTo>
                    <a:pt x="800" y="899"/>
                  </a:lnTo>
                  <a:lnTo>
                    <a:pt x="800"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2" y="899"/>
                  </a:lnTo>
                  <a:lnTo>
                    <a:pt x="802" y="899"/>
                  </a:lnTo>
                  <a:lnTo>
                    <a:pt x="802" y="899"/>
                  </a:lnTo>
                  <a:lnTo>
                    <a:pt x="802" y="899"/>
                  </a:lnTo>
                  <a:lnTo>
                    <a:pt x="802" y="899"/>
                  </a:lnTo>
                  <a:lnTo>
                    <a:pt x="802" y="899"/>
                  </a:lnTo>
                  <a:lnTo>
                    <a:pt x="802" y="899"/>
                  </a:lnTo>
                  <a:lnTo>
                    <a:pt x="802" y="899"/>
                  </a:lnTo>
                  <a:lnTo>
                    <a:pt x="803" y="899"/>
                  </a:lnTo>
                  <a:lnTo>
                    <a:pt x="803" y="899"/>
                  </a:lnTo>
                  <a:lnTo>
                    <a:pt x="804" y="899"/>
                  </a:lnTo>
                  <a:lnTo>
                    <a:pt x="804" y="899"/>
                  </a:lnTo>
                  <a:lnTo>
                    <a:pt x="805" y="899"/>
                  </a:lnTo>
                  <a:lnTo>
                    <a:pt x="805" y="899"/>
                  </a:lnTo>
                  <a:lnTo>
                    <a:pt x="806" y="899"/>
                  </a:lnTo>
                  <a:lnTo>
                    <a:pt x="806" y="899"/>
                  </a:lnTo>
                  <a:lnTo>
                    <a:pt x="808" y="899"/>
                  </a:lnTo>
                  <a:lnTo>
                    <a:pt x="808" y="899"/>
                  </a:lnTo>
                  <a:lnTo>
                    <a:pt x="810" y="899"/>
                  </a:lnTo>
                  <a:lnTo>
                    <a:pt x="810" y="899"/>
                  </a:lnTo>
                  <a:lnTo>
                    <a:pt x="811" y="899"/>
                  </a:lnTo>
                  <a:lnTo>
                    <a:pt x="811" y="899"/>
                  </a:lnTo>
                  <a:lnTo>
                    <a:pt x="813" y="899"/>
                  </a:lnTo>
                  <a:lnTo>
                    <a:pt x="813" y="899"/>
                  </a:lnTo>
                  <a:lnTo>
                    <a:pt x="819" y="899"/>
                  </a:lnTo>
                  <a:lnTo>
                    <a:pt x="819" y="899"/>
                  </a:lnTo>
                  <a:lnTo>
                    <a:pt x="827" y="899"/>
                  </a:lnTo>
                  <a:lnTo>
                    <a:pt x="827" y="899"/>
                  </a:lnTo>
                  <a:lnTo>
                    <a:pt x="827" y="899"/>
                  </a:lnTo>
                  <a:lnTo>
                    <a:pt x="827" y="899"/>
                  </a:lnTo>
                  <a:lnTo>
                    <a:pt x="827" y="899"/>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899"/>
                  </a:lnTo>
                  <a:lnTo>
                    <a:pt x="828" y="899"/>
                  </a:lnTo>
                  <a:lnTo>
                    <a:pt x="828" y="899"/>
                  </a:lnTo>
                  <a:lnTo>
                    <a:pt x="828" y="899"/>
                  </a:lnTo>
                  <a:lnTo>
                    <a:pt x="828" y="1240"/>
                  </a:lnTo>
                  <a:lnTo>
                    <a:pt x="828" y="1240"/>
                  </a:lnTo>
                  <a:lnTo>
                    <a:pt x="828" y="1240"/>
                  </a:lnTo>
                  <a:lnTo>
                    <a:pt x="828" y="1240"/>
                  </a:lnTo>
                  <a:lnTo>
                    <a:pt x="828" y="899"/>
                  </a:lnTo>
                  <a:lnTo>
                    <a:pt x="828" y="899"/>
                  </a:lnTo>
                  <a:lnTo>
                    <a:pt x="828" y="1240"/>
                  </a:lnTo>
                  <a:lnTo>
                    <a:pt x="829" y="1240"/>
                  </a:lnTo>
                  <a:lnTo>
                    <a:pt x="829" y="1236"/>
                  </a:lnTo>
                  <a:lnTo>
                    <a:pt x="835" y="1236"/>
                  </a:lnTo>
                  <a:lnTo>
                    <a:pt x="835" y="899"/>
                  </a:lnTo>
                  <a:lnTo>
                    <a:pt x="835" y="899"/>
                  </a:lnTo>
                  <a:lnTo>
                    <a:pt x="835" y="899"/>
                  </a:lnTo>
                  <a:lnTo>
                    <a:pt x="835" y="899"/>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6" y="899"/>
                  </a:lnTo>
                  <a:lnTo>
                    <a:pt x="846" y="899"/>
                  </a:lnTo>
                  <a:lnTo>
                    <a:pt x="847" y="899"/>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8" y="1220"/>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1220"/>
                  </a:lnTo>
                  <a:lnTo>
                    <a:pt x="851" y="1220"/>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1211"/>
                  </a:lnTo>
                  <a:lnTo>
                    <a:pt x="887" y="1211"/>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899"/>
                  </a:lnTo>
                  <a:lnTo>
                    <a:pt x="899" y="899"/>
                  </a:lnTo>
                  <a:lnTo>
                    <a:pt x="899" y="899"/>
                  </a:lnTo>
                  <a:lnTo>
                    <a:pt x="899" y="899"/>
                  </a:lnTo>
                  <a:lnTo>
                    <a:pt x="899" y="1207"/>
                  </a:lnTo>
                  <a:lnTo>
                    <a:pt x="899" y="1207"/>
                  </a:lnTo>
                  <a:lnTo>
                    <a:pt x="899" y="899"/>
                  </a:lnTo>
                  <a:lnTo>
                    <a:pt x="900" y="899"/>
                  </a:lnTo>
                  <a:lnTo>
                    <a:pt x="900" y="899"/>
                  </a:lnTo>
                  <a:lnTo>
                    <a:pt x="900" y="899"/>
                  </a:lnTo>
                  <a:lnTo>
                    <a:pt x="900" y="899"/>
                  </a:lnTo>
                  <a:lnTo>
                    <a:pt x="902" y="899"/>
                  </a:lnTo>
                  <a:lnTo>
                    <a:pt x="902" y="899"/>
                  </a:lnTo>
                  <a:lnTo>
                    <a:pt x="907" y="899"/>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9" y="1186"/>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899"/>
                  </a:lnTo>
                  <a:lnTo>
                    <a:pt x="957" y="899"/>
                  </a:lnTo>
                  <a:lnTo>
                    <a:pt x="957" y="899"/>
                  </a:lnTo>
                  <a:lnTo>
                    <a:pt x="958" y="899"/>
                  </a:lnTo>
                  <a:lnTo>
                    <a:pt x="958" y="899"/>
                  </a:lnTo>
                  <a:lnTo>
                    <a:pt x="965" y="899"/>
                  </a:lnTo>
                  <a:lnTo>
                    <a:pt x="965" y="899"/>
                  </a:lnTo>
                  <a:lnTo>
                    <a:pt x="989" y="899"/>
                  </a:lnTo>
                  <a:lnTo>
                    <a:pt x="989"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1167"/>
                  </a:lnTo>
                  <a:lnTo>
                    <a:pt x="1003" y="1167"/>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899"/>
                  </a:lnTo>
                  <a:lnTo>
                    <a:pt x="1006" y="899"/>
                  </a:lnTo>
                  <a:lnTo>
                    <a:pt x="1006" y="899"/>
                  </a:lnTo>
                  <a:lnTo>
                    <a:pt x="1006" y="899"/>
                  </a:lnTo>
                  <a:lnTo>
                    <a:pt x="1006" y="899"/>
                  </a:lnTo>
                  <a:lnTo>
                    <a:pt x="1007" y="899"/>
                  </a:lnTo>
                  <a:lnTo>
                    <a:pt x="1007" y="899"/>
                  </a:lnTo>
                  <a:lnTo>
                    <a:pt x="1008" y="899"/>
                  </a:lnTo>
                  <a:lnTo>
                    <a:pt x="1008" y="899"/>
                  </a:lnTo>
                  <a:lnTo>
                    <a:pt x="1009" y="899"/>
                  </a:lnTo>
                  <a:lnTo>
                    <a:pt x="1009" y="899"/>
                  </a:lnTo>
                  <a:lnTo>
                    <a:pt x="1010" y="899"/>
                  </a:lnTo>
                  <a:lnTo>
                    <a:pt x="1010" y="899"/>
                  </a:lnTo>
                  <a:lnTo>
                    <a:pt x="1011" y="899"/>
                  </a:lnTo>
                  <a:lnTo>
                    <a:pt x="1011" y="899"/>
                  </a:lnTo>
                  <a:lnTo>
                    <a:pt x="1013" y="899"/>
                  </a:lnTo>
                  <a:lnTo>
                    <a:pt x="1013" y="899"/>
                  </a:lnTo>
                  <a:lnTo>
                    <a:pt x="1015" y="899"/>
                  </a:lnTo>
                  <a:lnTo>
                    <a:pt x="1015" y="899"/>
                  </a:lnTo>
                  <a:lnTo>
                    <a:pt x="1017" y="899"/>
                  </a:lnTo>
                  <a:lnTo>
                    <a:pt x="1017" y="899"/>
                  </a:lnTo>
                  <a:lnTo>
                    <a:pt x="1020" y="899"/>
                  </a:lnTo>
                  <a:lnTo>
                    <a:pt x="1020" y="899"/>
                  </a:lnTo>
                  <a:lnTo>
                    <a:pt x="1023" y="899"/>
                  </a:lnTo>
                  <a:lnTo>
                    <a:pt x="1023" y="899"/>
                  </a:lnTo>
                  <a:lnTo>
                    <a:pt x="1028" y="899"/>
                  </a:lnTo>
                  <a:lnTo>
                    <a:pt x="1028" y="899"/>
                  </a:lnTo>
                  <a:lnTo>
                    <a:pt x="1037" y="899"/>
                  </a:lnTo>
                  <a:lnTo>
                    <a:pt x="1037" y="899"/>
                  </a:lnTo>
                  <a:lnTo>
                    <a:pt x="1037" y="899"/>
                  </a:lnTo>
                  <a:lnTo>
                    <a:pt x="1037" y="899"/>
                  </a:lnTo>
                  <a:lnTo>
                    <a:pt x="1037" y="899"/>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1150"/>
                  </a:lnTo>
                  <a:lnTo>
                    <a:pt x="1062" y="1150"/>
                  </a:lnTo>
                  <a:lnTo>
                    <a:pt x="1062" y="1150"/>
                  </a:lnTo>
                  <a:lnTo>
                    <a:pt x="1067" y="1150"/>
                  </a:lnTo>
                  <a:lnTo>
                    <a:pt x="1067" y="1148"/>
                  </a:lnTo>
                  <a:lnTo>
                    <a:pt x="1067" y="1148"/>
                  </a:lnTo>
                  <a:lnTo>
                    <a:pt x="1067" y="1148"/>
                  </a:lnTo>
                  <a:lnTo>
                    <a:pt x="1067" y="1148"/>
                  </a:lnTo>
                  <a:lnTo>
                    <a:pt x="1067" y="1148"/>
                  </a:lnTo>
                  <a:lnTo>
                    <a:pt x="1069" y="1148"/>
                  </a:lnTo>
                  <a:lnTo>
                    <a:pt x="1069" y="1146"/>
                  </a:lnTo>
                  <a:lnTo>
                    <a:pt x="1069" y="1146"/>
                  </a:lnTo>
                  <a:lnTo>
                    <a:pt x="1069" y="1146"/>
                  </a:lnTo>
                  <a:lnTo>
                    <a:pt x="1069" y="1146"/>
                  </a:lnTo>
                  <a:lnTo>
                    <a:pt x="1069" y="1143"/>
                  </a:lnTo>
                  <a:lnTo>
                    <a:pt x="1069" y="1143"/>
                  </a:lnTo>
                  <a:lnTo>
                    <a:pt x="1069" y="899"/>
                  </a:lnTo>
                  <a:lnTo>
                    <a:pt x="1069" y="899"/>
                  </a:lnTo>
                  <a:lnTo>
                    <a:pt x="1069" y="1143"/>
                  </a:lnTo>
                  <a:lnTo>
                    <a:pt x="1069" y="1143"/>
                  </a:lnTo>
                  <a:lnTo>
                    <a:pt x="1069" y="899"/>
                  </a:lnTo>
                  <a:lnTo>
                    <a:pt x="1069" y="899"/>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1134"/>
                  </a:lnTo>
                  <a:lnTo>
                    <a:pt x="1181" y="1134"/>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2" y="899"/>
                  </a:lnTo>
                  <a:lnTo>
                    <a:pt x="1182" y="1133"/>
                  </a:lnTo>
                  <a:lnTo>
                    <a:pt x="1182" y="1133"/>
                  </a:lnTo>
                  <a:lnTo>
                    <a:pt x="1182" y="899"/>
                  </a:lnTo>
                  <a:lnTo>
                    <a:pt x="1182" y="899"/>
                  </a:lnTo>
                  <a:lnTo>
                    <a:pt x="1182" y="1133"/>
                  </a:lnTo>
                  <a:lnTo>
                    <a:pt x="1183" y="1133"/>
                  </a:lnTo>
                  <a:lnTo>
                    <a:pt x="1183" y="1133"/>
                  </a:lnTo>
                  <a:lnTo>
                    <a:pt x="1184" y="1133"/>
                  </a:lnTo>
                  <a:lnTo>
                    <a:pt x="1184" y="899"/>
                  </a:lnTo>
                  <a:lnTo>
                    <a:pt x="1185" y="899"/>
                  </a:lnTo>
                  <a:lnTo>
                    <a:pt x="1185" y="899"/>
                  </a:lnTo>
                  <a:lnTo>
                    <a:pt x="1186" y="899"/>
                  </a:lnTo>
                  <a:lnTo>
                    <a:pt x="1186" y="899"/>
                  </a:lnTo>
                  <a:lnTo>
                    <a:pt x="1190" y="899"/>
                  </a:lnTo>
                  <a:lnTo>
                    <a:pt x="1190" y="1133"/>
                  </a:lnTo>
                  <a:lnTo>
                    <a:pt x="1195" y="1133"/>
                  </a:lnTo>
                  <a:lnTo>
                    <a:pt x="1195" y="899"/>
                  </a:lnTo>
                  <a:lnTo>
                    <a:pt x="1202" y="899"/>
                  </a:lnTo>
                  <a:lnTo>
                    <a:pt x="1202" y="899"/>
                  </a:lnTo>
                  <a:lnTo>
                    <a:pt x="1213" y="899"/>
                  </a:lnTo>
                  <a:lnTo>
                    <a:pt x="1213" y="899"/>
                  </a:lnTo>
                  <a:lnTo>
                    <a:pt x="1223" y="899"/>
                  </a:lnTo>
                  <a:lnTo>
                    <a:pt x="1223"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4" y="899"/>
                  </a:lnTo>
                  <a:lnTo>
                    <a:pt x="1224" y="899"/>
                  </a:lnTo>
                  <a:lnTo>
                    <a:pt x="1224" y="899"/>
                  </a:lnTo>
                  <a:lnTo>
                    <a:pt x="1224" y="899"/>
                  </a:lnTo>
                  <a:lnTo>
                    <a:pt x="1224" y="899"/>
                  </a:lnTo>
                  <a:lnTo>
                    <a:pt x="1224" y="1129"/>
                  </a:lnTo>
                  <a:lnTo>
                    <a:pt x="1225" y="1129"/>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1124"/>
                  </a:lnTo>
                  <a:lnTo>
                    <a:pt x="1249" y="1124"/>
                  </a:lnTo>
                  <a:lnTo>
                    <a:pt x="1249" y="1123"/>
                  </a:lnTo>
                  <a:lnTo>
                    <a:pt x="1249" y="1123"/>
                  </a:lnTo>
                  <a:lnTo>
                    <a:pt x="1249" y="899"/>
                  </a:lnTo>
                  <a:lnTo>
                    <a:pt x="1249" y="899"/>
                  </a:lnTo>
                  <a:lnTo>
                    <a:pt x="1249" y="899"/>
                  </a:lnTo>
                  <a:lnTo>
                    <a:pt x="1249" y="899"/>
                  </a:lnTo>
                  <a:lnTo>
                    <a:pt x="1249" y="899"/>
                  </a:lnTo>
                  <a:lnTo>
                    <a:pt x="1250" y="899"/>
                  </a:lnTo>
                  <a:lnTo>
                    <a:pt x="1250" y="899"/>
                  </a:lnTo>
                  <a:lnTo>
                    <a:pt x="1250" y="899"/>
                  </a:lnTo>
                  <a:lnTo>
                    <a:pt x="1250" y="899"/>
                  </a:lnTo>
                  <a:lnTo>
                    <a:pt x="1250" y="899"/>
                  </a:lnTo>
                  <a:lnTo>
                    <a:pt x="1250" y="899"/>
                  </a:lnTo>
                  <a:lnTo>
                    <a:pt x="1250" y="899"/>
                  </a:lnTo>
                  <a:lnTo>
                    <a:pt x="1250" y="899"/>
                  </a:lnTo>
                  <a:lnTo>
                    <a:pt x="1251" y="899"/>
                  </a:lnTo>
                  <a:lnTo>
                    <a:pt x="1251" y="899"/>
                  </a:lnTo>
                  <a:lnTo>
                    <a:pt x="1251" y="899"/>
                  </a:lnTo>
                  <a:lnTo>
                    <a:pt x="1251" y="899"/>
                  </a:lnTo>
                  <a:lnTo>
                    <a:pt x="1252" y="899"/>
                  </a:lnTo>
                  <a:lnTo>
                    <a:pt x="1252" y="899"/>
                  </a:lnTo>
                  <a:lnTo>
                    <a:pt x="1253" y="899"/>
                  </a:lnTo>
                  <a:lnTo>
                    <a:pt x="1253" y="899"/>
                  </a:lnTo>
                  <a:lnTo>
                    <a:pt x="1255" y="899"/>
                  </a:lnTo>
                  <a:lnTo>
                    <a:pt x="1255" y="899"/>
                  </a:lnTo>
                  <a:lnTo>
                    <a:pt x="1259" y="899"/>
                  </a:lnTo>
                  <a:lnTo>
                    <a:pt x="1259" y="899"/>
                  </a:lnTo>
                  <a:lnTo>
                    <a:pt x="1263" y="899"/>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1114"/>
                  </a:lnTo>
                  <a:lnTo>
                    <a:pt x="1333" y="1114"/>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1110"/>
                  </a:lnTo>
                  <a:lnTo>
                    <a:pt x="1337" y="1110"/>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1"/>
                  </a:lnTo>
                  <a:lnTo>
                    <a:pt x="1354" y="1101"/>
                  </a:lnTo>
                  <a:lnTo>
                    <a:pt x="1354" y="1100"/>
                  </a:lnTo>
                  <a:lnTo>
                    <a:pt x="1354" y="1100"/>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1088"/>
                  </a:lnTo>
                  <a:lnTo>
                    <a:pt x="1366" y="1088"/>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7" y="1083"/>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899"/>
                  </a:lnTo>
                  <a:lnTo>
                    <a:pt x="1369" y="899"/>
                  </a:lnTo>
                  <a:lnTo>
                    <a:pt x="1369" y="899"/>
                  </a:lnTo>
                  <a:lnTo>
                    <a:pt x="1369" y="899"/>
                  </a:lnTo>
                  <a:lnTo>
                    <a:pt x="1369" y="899"/>
                  </a:lnTo>
                  <a:lnTo>
                    <a:pt x="1369" y="899"/>
                  </a:lnTo>
                  <a:lnTo>
                    <a:pt x="1369" y="1076"/>
                  </a:lnTo>
                  <a:lnTo>
                    <a:pt x="1369" y="1076"/>
                  </a:lnTo>
                  <a:lnTo>
                    <a:pt x="1369" y="1074"/>
                  </a:lnTo>
                  <a:lnTo>
                    <a:pt x="1369" y="1074"/>
                  </a:lnTo>
                  <a:lnTo>
                    <a:pt x="1369" y="1074"/>
                  </a:lnTo>
                  <a:lnTo>
                    <a:pt x="1370" y="1074"/>
                  </a:lnTo>
                  <a:lnTo>
                    <a:pt x="1370" y="1074"/>
                  </a:lnTo>
                  <a:lnTo>
                    <a:pt x="1375" y="1074"/>
                  </a:lnTo>
                  <a:lnTo>
                    <a:pt x="1375" y="1074"/>
                  </a:lnTo>
                  <a:lnTo>
                    <a:pt x="1375" y="1074"/>
                  </a:lnTo>
                  <a:lnTo>
                    <a:pt x="1375" y="1073"/>
                  </a:lnTo>
                  <a:lnTo>
                    <a:pt x="1375" y="1073"/>
                  </a:lnTo>
                  <a:lnTo>
                    <a:pt x="1375" y="1072"/>
                  </a:lnTo>
                  <a:lnTo>
                    <a:pt x="1380" y="1072"/>
                  </a:lnTo>
                  <a:lnTo>
                    <a:pt x="1380" y="1069"/>
                  </a:lnTo>
                  <a:lnTo>
                    <a:pt x="1381" y="1069"/>
                  </a:lnTo>
                  <a:lnTo>
                    <a:pt x="1381" y="1069"/>
                  </a:lnTo>
                  <a:lnTo>
                    <a:pt x="1382" y="1069"/>
                  </a:lnTo>
                  <a:lnTo>
                    <a:pt x="1382" y="1069"/>
                  </a:lnTo>
                  <a:lnTo>
                    <a:pt x="1385" y="1069"/>
                  </a:lnTo>
                  <a:lnTo>
                    <a:pt x="1385" y="1068"/>
                  </a:lnTo>
                  <a:lnTo>
                    <a:pt x="1385" y="1068"/>
                  </a:lnTo>
                  <a:lnTo>
                    <a:pt x="1385" y="1064"/>
                  </a:lnTo>
                  <a:lnTo>
                    <a:pt x="1385" y="1064"/>
                  </a:lnTo>
                  <a:lnTo>
                    <a:pt x="1385" y="1064"/>
                  </a:lnTo>
                  <a:lnTo>
                    <a:pt x="1386" y="1064"/>
                  </a:lnTo>
                  <a:lnTo>
                    <a:pt x="1386" y="1064"/>
                  </a:lnTo>
                  <a:lnTo>
                    <a:pt x="1387" y="1064"/>
                  </a:lnTo>
                  <a:lnTo>
                    <a:pt x="1387" y="1064"/>
                  </a:lnTo>
                  <a:lnTo>
                    <a:pt x="1387" y="1064"/>
                  </a:lnTo>
                  <a:lnTo>
                    <a:pt x="1387" y="1064"/>
                  </a:lnTo>
                  <a:lnTo>
                    <a:pt x="1387" y="1064"/>
                  </a:lnTo>
                  <a:lnTo>
                    <a:pt x="1387" y="1064"/>
                  </a:lnTo>
                  <a:lnTo>
                    <a:pt x="1387" y="1064"/>
                  </a:lnTo>
                  <a:lnTo>
                    <a:pt x="1387" y="1064"/>
                  </a:lnTo>
                  <a:lnTo>
                    <a:pt x="1388" y="1064"/>
                  </a:lnTo>
                  <a:lnTo>
                    <a:pt x="1388" y="1064"/>
                  </a:lnTo>
                  <a:lnTo>
                    <a:pt x="1388" y="1064"/>
                  </a:lnTo>
                  <a:lnTo>
                    <a:pt x="1388" y="1063"/>
                  </a:lnTo>
                  <a:lnTo>
                    <a:pt x="1388" y="1063"/>
                  </a:lnTo>
                  <a:lnTo>
                    <a:pt x="1388" y="1063"/>
                  </a:lnTo>
                  <a:lnTo>
                    <a:pt x="1388" y="1063"/>
                  </a:lnTo>
                  <a:lnTo>
                    <a:pt x="1388" y="1062"/>
                  </a:lnTo>
                  <a:lnTo>
                    <a:pt x="1388" y="1062"/>
                  </a:lnTo>
                  <a:lnTo>
                    <a:pt x="1388" y="1061"/>
                  </a:lnTo>
                  <a:lnTo>
                    <a:pt x="1388" y="1061"/>
                  </a:lnTo>
                  <a:lnTo>
                    <a:pt x="1388" y="1061"/>
                  </a:lnTo>
                  <a:lnTo>
                    <a:pt x="1389" y="1061"/>
                  </a:lnTo>
                  <a:lnTo>
                    <a:pt x="1389" y="1061"/>
                  </a:lnTo>
                  <a:lnTo>
                    <a:pt x="1389" y="1061"/>
                  </a:lnTo>
                  <a:lnTo>
                    <a:pt x="1389" y="1061"/>
                  </a:lnTo>
                  <a:lnTo>
                    <a:pt x="1390" y="1061"/>
                  </a:lnTo>
                  <a:lnTo>
                    <a:pt x="1390" y="1060"/>
                  </a:lnTo>
                  <a:lnTo>
                    <a:pt x="1390" y="1060"/>
                  </a:lnTo>
                  <a:lnTo>
                    <a:pt x="1390" y="1060"/>
                  </a:lnTo>
                  <a:lnTo>
                    <a:pt x="1390" y="1060"/>
                  </a:lnTo>
                  <a:lnTo>
                    <a:pt x="1390" y="1060"/>
                  </a:lnTo>
                  <a:lnTo>
                    <a:pt x="1390" y="1060"/>
                  </a:lnTo>
                  <a:lnTo>
                    <a:pt x="1390" y="1060"/>
                  </a:lnTo>
                  <a:lnTo>
                    <a:pt x="1390" y="1060"/>
                  </a:lnTo>
                  <a:lnTo>
                    <a:pt x="1390"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2" y="1060"/>
                  </a:lnTo>
                  <a:lnTo>
                    <a:pt x="1392" y="1060"/>
                  </a:lnTo>
                  <a:lnTo>
                    <a:pt x="1396" y="1060"/>
                  </a:lnTo>
                  <a:lnTo>
                    <a:pt x="1396" y="1059"/>
                  </a:lnTo>
                  <a:lnTo>
                    <a:pt x="1396" y="1059"/>
                  </a:lnTo>
                  <a:lnTo>
                    <a:pt x="1396" y="1059"/>
                  </a:lnTo>
                  <a:lnTo>
                    <a:pt x="1397" y="1059"/>
                  </a:lnTo>
                  <a:lnTo>
                    <a:pt x="1397" y="1059"/>
                  </a:lnTo>
                  <a:lnTo>
                    <a:pt x="1399" y="1059"/>
                  </a:lnTo>
                  <a:lnTo>
                    <a:pt x="1399" y="1059"/>
                  </a:lnTo>
                  <a:lnTo>
                    <a:pt x="1399" y="1059"/>
                  </a:lnTo>
                  <a:lnTo>
                    <a:pt x="1399" y="1057"/>
                  </a:lnTo>
                  <a:lnTo>
                    <a:pt x="1399" y="1057"/>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1049"/>
                  </a:lnTo>
                  <a:lnTo>
                    <a:pt x="1408" y="104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1046"/>
                  </a:lnTo>
                  <a:lnTo>
                    <a:pt x="1410" y="1046"/>
                  </a:lnTo>
                  <a:lnTo>
                    <a:pt x="1410" y="1046"/>
                  </a:lnTo>
                  <a:lnTo>
                    <a:pt x="1410" y="1046"/>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1043"/>
                  </a:lnTo>
                  <a:lnTo>
                    <a:pt x="1413" y="1043"/>
                  </a:lnTo>
                  <a:lnTo>
                    <a:pt x="1413" y="1043"/>
                  </a:lnTo>
                  <a:lnTo>
                    <a:pt x="1413" y="1043"/>
                  </a:lnTo>
                  <a:lnTo>
                    <a:pt x="1413" y="1043"/>
                  </a:lnTo>
                  <a:lnTo>
                    <a:pt x="1414" y="1043"/>
                  </a:lnTo>
                  <a:lnTo>
                    <a:pt x="1414" y="1043"/>
                  </a:lnTo>
                  <a:lnTo>
                    <a:pt x="1421" y="1043"/>
                  </a:lnTo>
                  <a:lnTo>
                    <a:pt x="1421" y="1042"/>
                  </a:lnTo>
                  <a:lnTo>
                    <a:pt x="1422" y="1042"/>
                  </a:lnTo>
                  <a:lnTo>
                    <a:pt x="1422" y="1042"/>
                  </a:lnTo>
                  <a:lnTo>
                    <a:pt x="1423" y="1042"/>
                  </a:lnTo>
                  <a:lnTo>
                    <a:pt x="1423" y="1042"/>
                  </a:lnTo>
                  <a:lnTo>
                    <a:pt x="1425" y="1042"/>
                  </a:lnTo>
                  <a:lnTo>
                    <a:pt x="1425" y="1042"/>
                  </a:lnTo>
                  <a:lnTo>
                    <a:pt x="1432" y="1042"/>
                  </a:lnTo>
                  <a:lnTo>
                    <a:pt x="1432" y="1042"/>
                  </a:lnTo>
                  <a:lnTo>
                    <a:pt x="1432" y="1042"/>
                  </a:lnTo>
                  <a:lnTo>
                    <a:pt x="1432" y="1042"/>
                  </a:lnTo>
                  <a:lnTo>
                    <a:pt x="1432" y="1042"/>
                  </a:lnTo>
                  <a:lnTo>
                    <a:pt x="1432" y="1042"/>
                  </a:lnTo>
                  <a:lnTo>
                    <a:pt x="1434" y="1042"/>
                  </a:lnTo>
                  <a:lnTo>
                    <a:pt x="1434" y="1041"/>
                  </a:lnTo>
                  <a:lnTo>
                    <a:pt x="1434" y="1041"/>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1039"/>
                  </a:lnTo>
                  <a:lnTo>
                    <a:pt x="1438" y="1039"/>
                  </a:lnTo>
                  <a:lnTo>
                    <a:pt x="1438" y="1039"/>
                  </a:lnTo>
                  <a:lnTo>
                    <a:pt x="1438" y="1039"/>
                  </a:lnTo>
                  <a:lnTo>
                    <a:pt x="1438" y="1038"/>
                  </a:lnTo>
                  <a:lnTo>
                    <a:pt x="1438" y="1038"/>
                  </a:lnTo>
                  <a:lnTo>
                    <a:pt x="1438" y="1038"/>
                  </a:lnTo>
                  <a:lnTo>
                    <a:pt x="1439" y="1038"/>
                  </a:lnTo>
                  <a:lnTo>
                    <a:pt x="1439" y="1038"/>
                  </a:lnTo>
                  <a:lnTo>
                    <a:pt x="1441" y="1038"/>
                  </a:lnTo>
                  <a:lnTo>
                    <a:pt x="1441" y="1038"/>
                  </a:lnTo>
                  <a:lnTo>
                    <a:pt x="1453" y="1038"/>
                  </a:lnTo>
                  <a:lnTo>
                    <a:pt x="1453" y="1038"/>
                  </a:lnTo>
                  <a:lnTo>
                    <a:pt x="1453" y="1038"/>
                  </a:lnTo>
                  <a:lnTo>
                    <a:pt x="1453" y="1037"/>
                  </a:lnTo>
                  <a:lnTo>
                    <a:pt x="1453" y="1037"/>
                  </a:lnTo>
                  <a:lnTo>
                    <a:pt x="1453" y="1037"/>
                  </a:lnTo>
                  <a:lnTo>
                    <a:pt x="1454" y="1037"/>
                  </a:lnTo>
                  <a:lnTo>
                    <a:pt x="1454" y="1036"/>
                  </a:lnTo>
                  <a:lnTo>
                    <a:pt x="1455" y="1036"/>
                  </a:lnTo>
                  <a:lnTo>
                    <a:pt x="1455" y="899"/>
                  </a:lnTo>
                  <a:lnTo>
                    <a:pt x="1455" y="899"/>
                  </a:lnTo>
                  <a:lnTo>
                    <a:pt x="1455" y="899"/>
                  </a:lnTo>
                  <a:lnTo>
                    <a:pt x="1455" y="899"/>
                  </a:lnTo>
                  <a:lnTo>
                    <a:pt x="1455" y="899"/>
                  </a:lnTo>
                  <a:lnTo>
                    <a:pt x="1455" y="899"/>
                  </a:lnTo>
                  <a:lnTo>
                    <a:pt x="1455" y="899"/>
                  </a:lnTo>
                  <a:lnTo>
                    <a:pt x="1456" y="899"/>
                  </a:lnTo>
                  <a:lnTo>
                    <a:pt x="1456" y="899"/>
                  </a:lnTo>
                  <a:lnTo>
                    <a:pt x="1457" y="899"/>
                  </a:lnTo>
                  <a:lnTo>
                    <a:pt x="1457" y="1035"/>
                  </a:lnTo>
                  <a:lnTo>
                    <a:pt x="1457" y="1035"/>
                  </a:lnTo>
                  <a:lnTo>
                    <a:pt x="1457" y="1035"/>
                  </a:lnTo>
                  <a:lnTo>
                    <a:pt x="1474" y="1035"/>
                  </a:lnTo>
                  <a:lnTo>
                    <a:pt x="1474" y="1034"/>
                  </a:lnTo>
                  <a:lnTo>
                    <a:pt x="1474" y="1034"/>
                  </a:lnTo>
                  <a:lnTo>
                    <a:pt x="1474" y="1034"/>
                  </a:lnTo>
                  <a:lnTo>
                    <a:pt x="1474" y="1034"/>
                  </a:lnTo>
                  <a:lnTo>
                    <a:pt x="1474" y="1033"/>
                  </a:lnTo>
                  <a:lnTo>
                    <a:pt x="1475" y="1033"/>
                  </a:lnTo>
                  <a:lnTo>
                    <a:pt x="1475" y="1033"/>
                  </a:lnTo>
                  <a:lnTo>
                    <a:pt x="1475" y="1033"/>
                  </a:lnTo>
                  <a:lnTo>
                    <a:pt x="1475" y="1032"/>
                  </a:lnTo>
                  <a:lnTo>
                    <a:pt x="1475" y="1032"/>
                  </a:lnTo>
                  <a:lnTo>
                    <a:pt x="1475" y="1032"/>
                  </a:lnTo>
                  <a:lnTo>
                    <a:pt x="1476" y="1032"/>
                  </a:lnTo>
                  <a:lnTo>
                    <a:pt x="1476" y="1032"/>
                  </a:lnTo>
                  <a:lnTo>
                    <a:pt x="1476" y="1032"/>
                  </a:lnTo>
                  <a:lnTo>
                    <a:pt x="1476" y="1031"/>
                  </a:lnTo>
                  <a:lnTo>
                    <a:pt x="1478" y="1031"/>
                  </a:lnTo>
                  <a:lnTo>
                    <a:pt x="1478" y="1029"/>
                  </a:lnTo>
                  <a:lnTo>
                    <a:pt x="1478" y="1029"/>
                  </a:lnTo>
                  <a:lnTo>
                    <a:pt x="1478" y="1029"/>
                  </a:lnTo>
                  <a:lnTo>
                    <a:pt x="1478" y="1029"/>
                  </a:lnTo>
                  <a:lnTo>
                    <a:pt x="1478" y="1029"/>
                  </a:lnTo>
                  <a:lnTo>
                    <a:pt x="1478" y="1029"/>
                  </a:lnTo>
                  <a:lnTo>
                    <a:pt x="1478" y="1029"/>
                  </a:lnTo>
                  <a:lnTo>
                    <a:pt x="1478" y="1029"/>
                  </a:lnTo>
                  <a:lnTo>
                    <a:pt x="1478" y="1028"/>
                  </a:lnTo>
                  <a:lnTo>
                    <a:pt x="1479" y="1028"/>
                  </a:lnTo>
                  <a:lnTo>
                    <a:pt x="1479" y="1027"/>
                  </a:lnTo>
                  <a:lnTo>
                    <a:pt x="1482" y="1027"/>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3" y="1026"/>
                  </a:lnTo>
                  <a:lnTo>
                    <a:pt x="1483" y="1026"/>
                  </a:lnTo>
                  <a:lnTo>
                    <a:pt x="1483" y="1026"/>
                  </a:lnTo>
                  <a:lnTo>
                    <a:pt x="1483" y="1026"/>
                  </a:lnTo>
                  <a:lnTo>
                    <a:pt x="1483" y="1026"/>
                  </a:lnTo>
                  <a:lnTo>
                    <a:pt x="1483" y="1025"/>
                  </a:lnTo>
                  <a:lnTo>
                    <a:pt x="1483" y="1025"/>
                  </a:lnTo>
                  <a:lnTo>
                    <a:pt x="1483" y="1024"/>
                  </a:lnTo>
                  <a:lnTo>
                    <a:pt x="1483" y="1024"/>
                  </a:lnTo>
                  <a:lnTo>
                    <a:pt x="1483" y="1024"/>
                  </a:lnTo>
                  <a:lnTo>
                    <a:pt x="1484" y="1024"/>
                  </a:lnTo>
                  <a:lnTo>
                    <a:pt x="1484" y="1021"/>
                  </a:lnTo>
                  <a:lnTo>
                    <a:pt x="1484" y="1021"/>
                  </a:lnTo>
                  <a:lnTo>
                    <a:pt x="1484" y="1020"/>
                  </a:lnTo>
                  <a:lnTo>
                    <a:pt x="1484" y="1020"/>
                  </a:lnTo>
                  <a:lnTo>
                    <a:pt x="1484" y="1020"/>
                  </a:lnTo>
                  <a:lnTo>
                    <a:pt x="1484" y="1020"/>
                  </a:lnTo>
                  <a:lnTo>
                    <a:pt x="1484" y="1020"/>
                  </a:lnTo>
                  <a:lnTo>
                    <a:pt x="1484" y="1020"/>
                  </a:lnTo>
                  <a:lnTo>
                    <a:pt x="1484" y="1019"/>
                  </a:lnTo>
                  <a:lnTo>
                    <a:pt x="1484" y="1019"/>
                  </a:lnTo>
                  <a:lnTo>
                    <a:pt x="1484" y="1017"/>
                  </a:lnTo>
                  <a:lnTo>
                    <a:pt x="1484" y="1017"/>
                  </a:lnTo>
                  <a:lnTo>
                    <a:pt x="1484" y="1017"/>
                  </a:lnTo>
                  <a:lnTo>
                    <a:pt x="1484" y="1017"/>
                  </a:lnTo>
                  <a:lnTo>
                    <a:pt x="1484" y="1017"/>
                  </a:lnTo>
                  <a:lnTo>
                    <a:pt x="1485" y="1017"/>
                  </a:lnTo>
                  <a:lnTo>
                    <a:pt x="1485" y="1016"/>
                  </a:lnTo>
                  <a:lnTo>
                    <a:pt x="1485" y="1016"/>
                  </a:lnTo>
                  <a:lnTo>
                    <a:pt x="1485" y="1016"/>
                  </a:lnTo>
                  <a:lnTo>
                    <a:pt x="1485" y="1016"/>
                  </a:lnTo>
                  <a:lnTo>
                    <a:pt x="1485" y="1014"/>
                  </a:lnTo>
                  <a:lnTo>
                    <a:pt x="1486" y="1014"/>
                  </a:lnTo>
                  <a:lnTo>
                    <a:pt x="1486" y="1014"/>
                  </a:lnTo>
                  <a:lnTo>
                    <a:pt x="1487" y="1014"/>
                  </a:lnTo>
                  <a:lnTo>
                    <a:pt x="1487" y="1014"/>
                  </a:lnTo>
                  <a:lnTo>
                    <a:pt x="1489" y="1014"/>
                  </a:lnTo>
                  <a:lnTo>
                    <a:pt x="1489" y="1014"/>
                  </a:lnTo>
                  <a:lnTo>
                    <a:pt x="1495" y="1014"/>
                  </a:lnTo>
                  <a:lnTo>
                    <a:pt x="1495" y="1012"/>
                  </a:lnTo>
                  <a:lnTo>
                    <a:pt x="1507" y="1012"/>
                  </a:lnTo>
                  <a:lnTo>
                    <a:pt x="1507" y="1012"/>
                  </a:lnTo>
                  <a:lnTo>
                    <a:pt x="1535" y="1012"/>
                  </a:lnTo>
                  <a:lnTo>
                    <a:pt x="1535" y="899"/>
                  </a:lnTo>
                  <a:lnTo>
                    <a:pt x="1535" y="899"/>
                  </a:lnTo>
                  <a:lnTo>
                    <a:pt x="1535" y="899"/>
                  </a:lnTo>
                  <a:lnTo>
                    <a:pt x="1535" y="899"/>
                  </a:lnTo>
                  <a:lnTo>
                    <a:pt x="1535" y="1011"/>
                  </a:lnTo>
                  <a:lnTo>
                    <a:pt x="1536" y="1011"/>
                  </a:lnTo>
                  <a:lnTo>
                    <a:pt x="1536" y="899"/>
                  </a:lnTo>
                  <a:lnTo>
                    <a:pt x="1536" y="899"/>
                  </a:lnTo>
                  <a:lnTo>
                    <a:pt x="1536" y="899"/>
                  </a:lnTo>
                  <a:lnTo>
                    <a:pt x="1537" y="899"/>
                  </a:lnTo>
                  <a:lnTo>
                    <a:pt x="1537" y="1011"/>
                  </a:lnTo>
                  <a:lnTo>
                    <a:pt x="1538" y="1011"/>
                  </a:lnTo>
                  <a:lnTo>
                    <a:pt x="1538" y="899"/>
                  </a:lnTo>
                  <a:lnTo>
                    <a:pt x="1539" y="899"/>
                  </a:lnTo>
                  <a:lnTo>
                    <a:pt x="1539" y="899"/>
                  </a:lnTo>
                  <a:lnTo>
                    <a:pt x="1541" y="899"/>
                  </a:lnTo>
                  <a:lnTo>
                    <a:pt x="1541" y="899"/>
                  </a:lnTo>
                  <a:lnTo>
                    <a:pt x="1544" y="899"/>
                  </a:lnTo>
                  <a:lnTo>
                    <a:pt x="1544" y="899"/>
                  </a:lnTo>
                  <a:lnTo>
                    <a:pt x="1549" y="899"/>
                  </a:lnTo>
                  <a:lnTo>
                    <a:pt x="1549" y="1011"/>
                  </a:lnTo>
                  <a:lnTo>
                    <a:pt x="1558" y="1011"/>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1006"/>
                  </a:lnTo>
                  <a:lnTo>
                    <a:pt x="1695" y="1006"/>
                  </a:lnTo>
                  <a:lnTo>
                    <a:pt x="1695" y="1006"/>
                  </a:lnTo>
                  <a:lnTo>
                    <a:pt x="1698" y="1006"/>
                  </a:lnTo>
                  <a:lnTo>
                    <a:pt x="1698" y="1005"/>
                  </a:lnTo>
                  <a:lnTo>
                    <a:pt x="1698" y="1005"/>
                  </a:lnTo>
                  <a:lnTo>
                    <a:pt x="1698" y="1005"/>
                  </a:lnTo>
                  <a:lnTo>
                    <a:pt x="1699" y="1005"/>
                  </a:lnTo>
                  <a:lnTo>
                    <a:pt x="1699" y="1004"/>
                  </a:lnTo>
                  <a:lnTo>
                    <a:pt x="1699" y="1004"/>
                  </a:lnTo>
                  <a:lnTo>
                    <a:pt x="1699" y="1004"/>
                  </a:lnTo>
                  <a:lnTo>
                    <a:pt x="1699" y="1004"/>
                  </a:lnTo>
                  <a:lnTo>
                    <a:pt x="1699" y="1003"/>
                  </a:lnTo>
                  <a:lnTo>
                    <a:pt x="1699" y="1003"/>
                  </a:lnTo>
                  <a:lnTo>
                    <a:pt x="1699" y="999"/>
                  </a:lnTo>
                  <a:lnTo>
                    <a:pt x="1699" y="999"/>
                  </a:lnTo>
                  <a:lnTo>
                    <a:pt x="1699" y="999"/>
                  </a:lnTo>
                  <a:lnTo>
                    <a:pt x="1699" y="999"/>
                  </a:lnTo>
                  <a:lnTo>
                    <a:pt x="1699" y="999"/>
                  </a:lnTo>
                  <a:lnTo>
                    <a:pt x="1699" y="999"/>
                  </a:lnTo>
                  <a:lnTo>
                    <a:pt x="1699" y="998"/>
                  </a:lnTo>
                  <a:lnTo>
                    <a:pt x="1699" y="998"/>
                  </a:lnTo>
                  <a:lnTo>
                    <a:pt x="1699" y="997"/>
                  </a:lnTo>
                  <a:lnTo>
                    <a:pt x="1700" y="997"/>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993"/>
                  </a:lnTo>
                  <a:lnTo>
                    <a:pt x="1702" y="993"/>
                  </a:lnTo>
                  <a:lnTo>
                    <a:pt x="1702" y="993"/>
                  </a:lnTo>
                  <a:lnTo>
                    <a:pt x="1703" y="993"/>
                  </a:lnTo>
                  <a:lnTo>
                    <a:pt x="1703" y="993"/>
                  </a:lnTo>
                  <a:lnTo>
                    <a:pt x="1703" y="993"/>
                  </a:lnTo>
                  <a:lnTo>
                    <a:pt x="1703" y="993"/>
                  </a:lnTo>
                  <a:lnTo>
                    <a:pt x="1706" y="993"/>
                  </a:lnTo>
                  <a:lnTo>
                    <a:pt x="1706" y="899"/>
                  </a:lnTo>
                  <a:lnTo>
                    <a:pt x="1706" y="899"/>
                  </a:lnTo>
                  <a:lnTo>
                    <a:pt x="1706" y="899"/>
                  </a:lnTo>
                  <a:lnTo>
                    <a:pt x="1737" y="899"/>
                  </a:lnTo>
                  <a:lnTo>
                    <a:pt x="1737" y="899"/>
                  </a:lnTo>
                  <a:lnTo>
                    <a:pt x="1799" y="899"/>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974"/>
                  </a:lnTo>
                  <a:lnTo>
                    <a:pt x="1814" y="974"/>
                  </a:lnTo>
                  <a:lnTo>
                    <a:pt x="1814" y="970"/>
                  </a:lnTo>
                  <a:lnTo>
                    <a:pt x="1814" y="970"/>
                  </a:lnTo>
                  <a:lnTo>
                    <a:pt x="1814" y="970"/>
                  </a:lnTo>
                  <a:lnTo>
                    <a:pt x="1814" y="970"/>
                  </a:lnTo>
                  <a:lnTo>
                    <a:pt x="1814" y="970"/>
                  </a:lnTo>
                  <a:lnTo>
                    <a:pt x="1815" y="970"/>
                  </a:lnTo>
                  <a:lnTo>
                    <a:pt x="1815" y="968"/>
                  </a:lnTo>
                  <a:lnTo>
                    <a:pt x="1817" y="968"/>
                  </a:lnTo>
                  <a:lnTo>
                    <a:pt x="1817" y="966"/>
                  </a:lnTo>
                  <a:lnTo>
                    <a:pt x="1817" y="966"/>
                  </a:lnTo>
                  <a:lnTo>
                    <a:pt x="1817" y="966"/>
                  </a:lnTo>
                  <a:lnTo>
                    <a:pt x="1820" y="966"/>
                  </a:lnTo>
                  <a:lnTo>
                    <a:pt x="1820" y="966"/>
                  </a:lnTo>
                  <a:lnTo>
                    <a:pt x="1844" y="966"/>
                  </a:lnTo>
                  <a:lnTo>
                    <a:pt x="1844" y="964"/>
                  </a:lnTo>
                  <a:lnTo>
                    <a:pt x="1845" y="964"/>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899"/>
                  </a:lnTo>
                  <a:lnTo>
                    <a:pt x="1852" y="899"/>
                  </a:lnTo>
                  <a:lnTo>
                    <a:pt x="1852" y="899"/>
                  </a:lnTo>
                  <a:lnTo>
                    <a:pt x="1852" y="899"/>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938"/>
                  </a:lnTo>
                  <a:lnTo>
                    <a:pt x="1901" y="938"/>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936"/>
                  </a:lnTo>
                  <a:lnTo>
                    <a:pt x="1903" y="936"/>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899"/>
                  </a:lnTo>
                  <a:lnTo>
                    <a:pt x="1927" y="899"/>
                  </a:lnTo>
                  <a:lnTo>
                    <a:pt x="1927" y="899"/>
                  </a:lnTo>
                  <a:lnTo>
                    <a:pt x="1929" y="899"/>
                  </a:lnTo>
                  <a:lnTo>
                    <a:pt x="1929" y="899"/>
                  </a:lnTo>
                  <a:lnTo>
                    <a:pt x="1936" y="899"/>
                  </a:lnTo>
                  <a:lnTo>
                    <a:pt x="1936" y="899"/>
                  </a:lnTo>
                  <a:lnTo>
                    <a:pt x="1943" y="89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899"/>
                  </a:lnTo>
                  <a:lnTo>
                    <a:pt x="1945" y="899"/>
                  </a:lnTo>
                  <a:lnTo>
                    <a:pt x="1945" y="899"/>
                  </a:lnTo>
                  <a:lnTo>
                    <a:pt x="1945" y="899"/>
                  </a:lnTo>
                  <a:lnTo>
                    <a:pt x="1945" y="899"/>
                  </a:lnTo>
                  <a:lnTo>
                    <a:pt x="1945" y="89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899"/>
                  </a:lnTo>
                  <a:lnTo>
                    <a:pt x="1963" y="899"/>
                  </a:lnTo>
                  <a:lnTo>
                    <a:pt x="1963" y="910"/>
                  </a:lnTo>
                  <a:lnTo>
                    <a:pt x="1968" y="910"/>
                  </a:lnTo>
                  <a:lnTo>
                    <a:pt x="1968" y="899"/>
                  </a:lnTo>
                  <a:lnTo>
                    <a:pt x="2021" y="899"/>
                  </a:lnTo>
                  <a:lnTo>
                    <a:pt x="2021" y="899"/>
                  </a:lnTo>
                  <a:lnTo>
                    <a:pt x="2032" y="899"/>
                  </a:lnTo>
                  <a:lnTo>
                    <a:pt x="2032" y="899"/>
                  </a:lnTo>
                  <a:lnTo>
                    <a:pt x="2055" y="899"/>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6"/>
                  </a:lnTo>
                  <a:lnTo>
                    <a:pt x="2059" y="896"/>
                  </a:lnTo>
                  <a:lnTo>
                    <a:pt x="2059" y="894"/>
                  </a:lnTo>
                  <a:lnTo>
                    <a:pt x="2059" y="894"/>
                  </a:lnTo>
                  <a:lnTo>
                    <a:pt x="2059" y="894"/>
                  </a:lnTo>
                  <a:lnTo>
                    <a:pt x="2059" y="894"/>
                  </a:lnTo>
                  <a:lnTo>
                    <a:pt x="2059" y="893"/>
                  </a:lnTo>
                  <a:lnTo>
                    <a:pt x="2059" y="893"/>
                  </a:lnTo>
                  <a:lnTo>
                    <a:pt x="2059" y="893"/>
                  </a:lnTo>
                  <a:lnTo>
                    <a:pt x="2059" y="893"/>
                  </a:lnTo>
                  <a:lnTo>
                    <a:pt x="2059" y="892"/>
                  </a:lnTo>
                  <a:lnTo>
                    <a:pt x="2059" y="892"/>
                  </a:lnTo>
                  <a:lnTo>
                    <a:pt x="2059" y="892"/>
                  </a:lnTo>
                  <a:lnTo>
                    <a:pt x="2059" y="892"/>
                  </a:lnTo>
                  <a:lnTo>
                    <a:pt x="2059" y="892"/>
                  </a:lnTo>
                  <a:lnTo>
                    <a:pt x="2060" y="892"/>
                  </a:lnTo>
                  <a:lnTo>
                    <a:pt x="2060" y="892"/>
                  </a:lnTo>
                  <a:lnTo>
                    <a:pt x="2060" y="892"/>
                  </a:lnTo>
                  <a:lnTo>
                    <a:pt x="2060" y="892"/>
                  </a:lnTo>
                  <a:lnTo>
                    <a:pt x="2061" y="892"/>
                  </a:lnTo>
                  <a:lnTo>
                    <a:pt x="2061" y="892"/>
                  </a:lnTo>
                  <a:lnTo>
                    <a:pt x="2064" y="892"/>
                  </a:lnTo>
                  <a:lnTo>
                    <a:pt x="2064" y="892"/>
                  </a:lnTo>
                  <a:lnTo>
                    <a:pt x="2077" y="892"/>
                  </a:lnTo>
                  <a:lnTo>
                    <a:pt x="2077" y="899"/>
                  </a:lnTo>
                  <a:lnTo>
                    <a:pt x="2077" y="899"/>
                  </a:lnTo>
                  <a:lnTo>
                    <a:pt x="2077" y="899"/>
                  </a:lnTo>
                  <a:lnTo>
                    <a:pt x="2077" y="899"/>
                  </a:lnTo>
                  <a:lnTo>
                    <a:pt x="2077" y="899"/>
                  </a:lnTo>
                  <a:lnTo>
                    <a:pt x="2077" y="899"/>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87"/>
                  </a:lnTo>
                  <a:lnTo>
                    <a:pt x="2079" y="887"/>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70"/>
                  </a:lnTo>
                  <a:lnTo>
                    <a:pt x="2152" y="870"/>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44"/>
                  </a:lnTo>
                  <a:lnTo>
                    <a:pt x="2185" y="844"/>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4"/>
                  </a:lnTo>
                  <a:lnTo>
                    <a:pt x="2215" y="834"/>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29"/>
                  </a:lnTo>
                  <a:lnTo>
                    <a:pt x="2217" y="829"/>
                  </a:lnTo>
                  <a:lnTo>
                    <a:pt x="2217" y="829"/>
                  </a:lnTo>
                  <a:lnTo>
                    <a:pt x="2217" y="82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20"/>
                  </a:lnTo>
                  <a:lnTo>
                    <a:pt x="2231" y="820"/>
                  </a:lnTo>
                  <a:lnTo>
                    <a:pt x="2231" y="818"/>
                  </a:lnTo>
                  <a:lnTo>
                    <a:pt x="2231" y="818"/>
                  </a:lnTo>
                  <a:lnTo>
                    <a:pt x="2231" y="818"/>
                  </a:lnTo>
                  <a:lnTo>
                    <a:pt x="2231" y="818"/>
                  </a:lnTo>
                  <a:lnTo>
                    <a:pt x="2231" y="818"/>
                  </a:lnTo>
                  <a:lnTo>
                    <a:pt x="2231" y="818"/>
                  </a:lnTo>
                  <a:lnTo>
                    <a:pt x="2231" y="818"/>
                  </a:lnTo>
                  <a:lnTo>
                    <a:pt x="2231" y="818"/>
                  </a:lnTo>
                  <a:lnTo>
                    <a:pt x="2231" y="818"/>
                  </a:lnTo>
                  <a:lnTo>
                    <a:pt x="2233" y="818"/>
                  </a:lnTo>
                  <a:lnTo>
                    <a:pt x="2233" y="818"/>
                  </a:lnTo>
                  <a:lnTo>
                    <a:pt x="2239" y="818"/>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07"/>
                  </a:lnTo>
                  <a:lnTo>
                    <a:pt x="2293" y="807"/>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799"/>
                  </a:lnTo>
                  <a:lnTo>
                    <a:pt x="2311" y="799"/>
                  </a:lnTo>
                  <a:lnTo>
                    <a:pt x="2311" y="799"/>
                  </a:lnTo>
                  <a:lnTo>
                    <a:pt x="2350" y="799"/>
                  </a:lnTo>
                  <a:lnTo>
                    <a:pt x="2350" y="798"/>
                  </a:lnTo>
                  <a:lnTo>
                    <a:pt x="2350" y="798"/>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782"/>
                  </a:lnTo>
                  <a:lnTo>
                    <a:pt x="2526" y="782"/>
                  </a:lnTo>
                  <a:lnTo>
                    <a:pt x="2526" y="780"/>
                  </a:lnTo>
                  <a:lnTo>
                    <a:pt x="2526" y="780"/>
                  </a:lnTo>
                  <a:lnTo>
                    <a:pt x="2526" y="780"/>
                  </a:lnTo>
                  <a:lnTo>
                    <a:pt x="2526" y="780"/>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760"/>
                  </a:lnTo>
                  <a:lnTo>
                    <a:pt x="2630" y="760"/>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743"/>
                  </a:lnTo>
                  <a:lnTo>
                    <a:pt x="2649" y="743"/>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723"/>
                  </a:lnTo>
                  <a:lnTo>
                    <a:pt x="2662" y="723"/>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678"/>
                  </a:lnTo>
                  <a:lnTo>
                    <a:pt x="2690" y="678"/>
                  </a:lnTo>
                  <a:lnTo>
                    <a:pt x="2690" y="678"/>
                  </a:lnTo>
                  <a:lnTo>
                    <a:pt x="2690" y="678"/>
                  </a:lnTo>
                  <a:lnTo>
                    <a:pt x="2690" y="678"/>
                  </a:lnTo>
                  <a:lnTo>
                    <a:pt x="2690" y="678"/>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899"/>
                  </a:lnTo>
                  <a:lnTo>
                    <a:pt x="2707" y="899"/>
                  </a:lnTo>
                  <a:lnTo>
                    <a:pt x="2707" y="899"/>
                  </a:lnTo>
                  <a:lnTo>
                    <a:pt x="2712" y="899"/>
                  </a:lnTo>
                  <a:lnTo>
                    <a:pt x="2712" y="660"/>
                  </a:lnTo>
                  <a:lnTo>
                    <a:pt x="2712" y="660"/>
                  </a:lnTo>
                  <a:lnTo>
                    <a:pt x="2712" y="660"/>
                  </a:lnTo>
                  <a:lnTo>
                    <a:pt x="2713" y="660"/>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658"/>
                  </a:lnTo>
                  <a:lnTo>
                    <a:pt x="2735" y="658"/>
                  </a:lnTo>
                  <a:lnTo>
                    <a:pt x="2735" y="658"/>
                  </a:lnTo>
                  <a:lnTo>
                    <a:pt x="2735" y="658"/>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654"/>
                  </a:lnTo>
                  <a:lnTo>
                    <a:pt x="2735" y="654"/>
                  </a:lnTo>
                  <a:lnTo>
                    <a:pt x="2735" y="654"/>
                  </a:lnTo>
                  <a:lnTo>
                    <a:pt x="2736" y="654"/>
                  </a:lnTo>
                  <a:lnTo>
                    <a:pt x="2736" y="654"/>
                  </a:lnTo>
                  <a:lnTo>
                    <a:pt x="2748" y="654"/>
                  </a:lnTo>
                  <a:lnTo>
                    <a:pt x="2748" y="653"/>
                  </a:lnTo>
                  <a:lnTo>
                    <a:pt x="2752" y="653"/>
                  </a:lnTo>
                  <a:lnTo>
                    <a:pt x="2752" y="653"/>
                  </a:lnTo>
                  <a:lnTo>
                    <a:pt x="2775" y="653"/>
                  </a:lnTo>
                  <a:lnTo>
                    <a:pt x="2775" y="652"/>
                  </a:lnTo>
                  <a:lnTo>
                    <a:pt x="2775" y="652"/>
                  </a:lnTo>
                  <a:lnTo>
                    <a:pt x="2775" y="652"/>
                  </a:lnTo>
                  <a:lnTo>
                    <a:pt x="2775" y="652"/>
                  </a:lnTo>
                  <a:lnTo>
                    <a:pt x="2775" y="652"/>
                  </a:lnTo>
                  <a:lnTo>
                    <a:pt x="2775" y="652"/>
                  </a:lnTo>
                  <a:lnTo>
                    <a:pt x="2775" y="651"/>
                  </a:lnTo>
                  <a:lnTo>
                    <a:pt x="2782" y="651"/>
                  </a:lnTo>
                  <a:lnTo>
                    <a:pt x="2782" y="649"/>
                  </a:lnTo>
                  <a:lnTo>
                    <a:pt x="2782" y="64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647"/>
                  </a:lnTo>
                  <a:lnTo>
                    <a:pt x="2783" y="647"/>
                  </a:lnTo>
                  <a:lnTo>
                    <a:pt x="2783" y="647"/>
                  </a:lnTo>
                  <a:lnTo>
                    <a:pt x="2783" y="647"/>
                  </a:lnTo>
                  <a:lnTo>
                    <a:pt x="2783" y="643"/>
                  </a:lnTo>
                  <a:lnTo>
                    <a:pt x="2791" y="643"/>
                  </a:lnTo>
                  <a:lnTo>
                    <a:pt x="2791" y="642"/>
                  </a:lnTo>
                  <a:lnTo>
                    <a:pt x="2792" y="642"/>
                  </a:lnTo>
                  <a:lnTo>
                    <a:pt x="2792" y="638"/>
                  </a:lnTo>
                  <a:lnTo>
                    <a:pt x="2794" y="638"/>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631"/>
                  </a:lnTo>
                  <a:lnTo>
                    <a:pt x="2794" y="631"/>
                  </a:lnTo>
                  <a:lnTo>
                    <a:pt x="2794" y="631"/>
                  </a:lnTo>
                  <a:lnTo>
                    <a:pt x="2795" y="631"/>
                  </a:lnTo>
                  <a:lnTo>
                    <a:pt x="2795" y="628"/>
                  </a:lnTo>
                  <a:lnTo>
                    <a:pt x="2798" y="628"/>
                  </a:lnTo>
                  <a:lnTo>
                    <a:pt x="2798" y="626"/>
                  </a:lnTo>
                  <a:lnTo>
                    <a:pt x="2799" y="626"/>
                  </a:lnTo>
                  <a:lnTo>
                    <a:pt x="2799" y="626"/>
                  </a:lnTo>
                  <a:lnTo>
                    <a:pt x="2837" y="626"/>
                  </a:lnTo>
                  <a:lnTo>
                    <a:pt x="2837" y="625"/>
                  </a:lnTo>
                  <a:lnTo>
                    <a:pt x="2837" y="625"/>
                  </a:lnTo>
                  <a:lnTo>
                    <a:pt x="2837" y="623"/>
                  </a:lnTo>
                  <a:lnTo>
                    <a:pt x="2837" y="623"/>
                  </a:lnTo>
                  <a:lnTo>
                    <a:pt x="2837" y="623"/>
                  </a:lnTo>
                  <a:lnTo>
                    <a:pt x="2840" y="623"/>
                  </a:lnTo>
                  <a:lnTo>
                    <a:pt x="2840" y="619"/>
                  </a:lnTo>
                  <a:lnTo>
                    <a:pt x="2842" y="619"/>
                  </a:lnTo>
                  <a:lnTo>
                    <a:pt x="2842" y="619"/>
                  </a:lnTo>
                  <a:lnTo>
                    <a:pt x="2842" y="619"/>
                  </a:lnTo>
                  <a:lnTo>
                    <a:pt x="2842" y="619"/>
                  </a:lnTo>
                  <a:lnTo>
                    <a:pt x="2842" y="619"/>
                  </a:lnTo>
                  <a:lnTo>
                    <a:pt x="2842" y="899"/>
                  </a:lnTo>
                  <a:lnTo>
                    <a:pt x="2843" y="899"/>
                  </a:lnTo>
                  <a:lnTo>
                    <a:pt x="2843" y="899"/>
                  </a:lnTo>
                  <a:lnTo>
                    <a:pt x="2844" y="899"/>
                  </a:lnTo>
                  <a:lnTo>
                    <a:pt x="2844" y="899"/>
                  </a:lnTo>
                  <a:lnTo>
                    <a:pt x="2848" y="899"/>
                  </a:lnTo>
                  <a:lnTo>
                    <a:pt x="2848" y="899"/>
                  </a:lnTo>
                  <a:lnTo>
                    <a:pt x="2853" y="899"/>
                  </a:lnTo>
                  <a:lnTo>
                    <a:pt x="2853" y="612"/>
                  </a:lnTo>
                  <a:lnTo>
                    <a:pt x="2855" y="612"/>
                  </a:lnTo>
                  <a:lnTo>
                    <a:pt x="2855" y="611"/>
                  </a:lnTo>
                  <a:lnTo>
                    <a:pt x="2856" y="611"/>
                  </a:lnTo>
                  <a:lnTo>
                    <a:pt x="2856" y="611"/>
                  </a:lnTo>
                  <a:lnTo>
                    <a:pt x="2866" y="611"/>
                  </a:lnTo>
                  <a:lnTo>
                    <a:pt x="2866" y="611"/>
                  </a:lnTo>
                  <a:lnTo>
                    <a:pt x="2891" y="611"/>
                  </a:lnTo>
                  <a:lnTo>
                    <a:pt x="2891" y="610"/>
                  </a:lnTo>
                  <a:lnTo>
                    <a:pt x="2895" y="610"/>
                  </a:lnTo>
                  <a:lnTo>
                    <a:pt x="2895" y="599"/>
                  </a:lnTo>
                  <a:lnTo>
                    <a:pt x="2896" y="5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590"/>
                  </a:lnTo>
                  <a:lnTo>
                    <a:pt x="2903" y="590"/>
                  </a:lnTo>
                  <a:lnTo>
                    <a:pt x="2903" y="582"/>
                  </a:lnTo>
                  <a:lnTo>
                    <a:pt x="2904" y="582"/>
                  </a:lnTo>
                  <a:lnTo>
                    <a:pt x="2904" y="579"/>
                  </a:lnTo>
                  <a:lnTo>
                    <a:pt x="2904" y="57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568"/>
                  </a:lnTo>
                  <a:lnTo>
                    <a:pt x="2938" y="568"/>
                  </a:lnTo>
                  <a:lnTo>
                    <a:pt x="2938" y="567"/>
                  </a:lnTo>
                  <a:lnTo>
                    <a:pt x="2938" y="567"/>
                  </a:lnTo>
                  <a:lnTo>
                    <a:pt x="2938" y="567"/>
                  </a:lnTo>
                  <a:lnTo>
                    <a:pt x="2939" y="567"/>
                  </a:lnTo>
                  <a:lnTo>
                    <a:pt x="2939" y="567"/>
                  </a:lnTo>
                  <a:lnTo>
                    <a:pt x="2943" y="567"/>
                  </a:lnTo>
                  <a:lnTo>
                    <a:pt x="2943" y="567"/>
                  </a:lnTo>
                  <a:lnTo>
                    <a:pt x="2943" y="567"/>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561"/>
                  </a:lnTo>
                  <a:lnTo>
                    <a:pt x="2947" y="561"/>
                  </a:lnTo>
                  <a:lnTo>
                    <a:pt x="2947" y="561"/>
                  </a:lnTo>
                  <a:lnTo>
                    <a:pt x="2950" y="561"/>
                  </a:lnTo>
                  <a:lnTo>
                    <a:pt x="2950" y="552"/>
                  </a:lnTo>
                  <a:lnTo>
                    <a:pt x="2950" y="552"/>
                  </a:lnTo>
                  <a:lnTo>
                    <a:pt x="2950" y="552"/>
                  </a:lnTo>
                  <a:lnTo>
                    <a:pt x="2950" y="552"/>
                  </a:lnTo>
                  <a:lnTo>
                    <a:pt x="2950" y="551"/>
                  </a:lnTo>
                  <a:lnTo>
                    <a:pt x="2950" y="551"/>
                  </a:lnTo>
                  <a:lnTo>
                    <a:pt x="2950" y="551"/>
                  </a:lnTo>
                  <a:lnTo>
                    <a:pt x="2950" y="551"/>
                  </a:lnTo>
                  <a:lnTo>
                    <a:pt x="2950" y="551"/>
                  </a:lnTo>
                  <a:lnTo>
                    <a:pt x="2951" y="551"/>
                  </a:lnTo>
                  <a:lnTo>
                    <a:pt x="2951" y="547"/>
                  </a:lnTo>
                  <a:lnTo>
                    <a:pt x="2951" y="547"/>
                  </a:lnTo>
                  <a:lnTo>
                    <a:pt x="2951" y="547"/>
                  </a:lnTo>
                  <a:lnTo>
                    <a:pt x="2951" y="547"/>
                  </a:lnTo>
                  <a:lnTo>
                    <a:pt x="2951" y="545"/>
                  </a:lnTo>
                  <a:lnTo>
                    <a:pt x="2952" y="545"/>
                  </a:lnTo>
                  <a:lnTo>
                    <a:pt x="2952" y="543"/>
                  </a:lnTo>
                  <a:lnTo>
                    <a:pt x="2953" y="543"/>
                  </a:lnTo>
                  <a:lnTo>
                    <a:pt x="2953" y="540"/>
                  </a:lnTo>
                  <a:lnTo>
                    <a:pt x="2962" y="540"/>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528"/>
                  </a:lnTo>
                  <a:lnTo>
                    <a:pt x="2972" y="528"/>
                  </a:lnTo>
                  <a:lnTo>
                    <a:pt x="2972" y="527"/>
                  </a:lnTo>
                  <a:lnTo>
                    <a:pt x="3045" y="527"/>
                  </a:lnTo>
                  <a:lnTo>
                    <a:pt x="3045" y="899"/>
                  </a:lnTo>
                  <a:lnTo>
                    <a:pt x="3045" y="899"/>
                  </a:lnTo>
                  <a:lnTo>
                    <a:pt x="3045" y="899"/>
                  </a:lnTo>
                  <a:lnTo>
                    <a:pt x="3046" y="899"/>
                  </a:lnTo>
                  <a:lnTo>
                    <a:pt x="3046" y="523"/>
                  </a:lnTo>
                  <a:lnTo>
                    <a:pt x="3046" y="523"/>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511"/>
                  </a:lnTo>
                  <a:lnTo>
                    <a:pt x="3058" y="511"/>
                  </a:lnTo>
                  <a:lnTo>
                    <a:pt x="3058" y="510"/>
                  </a:lnTo>
                  <a:lnTo>
                    <a:pt x="3060" y="510"/>
                  </a:lnTo>
                  <a:lnTo>
                    <a:pt x="3060" y="510"/>
                  </a:lnTo>
                  <a:lnTo>
                    <a:pt x="3075" y="510"/>
                  </a:lnTo>
                  <a:lnTo>
                    <a:pt x="3075" y="500"/>
                  </a:lnTo>
                  <a:lnTo>
                    <a:pt x="3075" y="500"/>
                  </a:lnTo>
                  <a:lnTo>
                    <a:pt x="3075" y="492"/>
                  </a:lnTo>
                  <a:lnTo>
                    <a:pt x="3075" y="492"/>
                  </a:lnTo>
                  <a:lnTo>
                    <a:pt x="3075" y="492"/>
                  </a:lnTo>
                  <a:lnTo>
                    <a:pt x="3075" y="492"/>
                  </a:lnTo>
                  <a:lnTo>
                    <a:pt x="3075" y="492"/>
                  </a:lnTo>
                  <a:lnTo>
                    <a:pt x="3075" y="492"/>
                  </a:lnTo>
                  <a:lnTo>
                    <a:pt x="3075" y="492"/>
                  </a:lnTo>
                  <a:lnTo>
                    <a:pt x="3076" y="492"/>
                  </a:lnTo>
                  <a:lnTo>
                    <a:pt x="3076" y="490"/>
                  </a:lnTo>
                  <a:lnTo>
                    <a:pt x="3101" y="490"/>
                  </a:lnTo>
                  <a:lnTo>
                    <a:pt x="3101" y="490"/>
                  </a:lnTo>
                  <a:lnTo>
                    <a:pt x="3156" y="490"/>
                  </a:lnTo>
                  <a:lnTo>
                    <a:pt x="3156" y="488"/>
                  </a:lnTo>
                  <a:lnTo>
                    <a:pt x="3156" y="488"/>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377"/>
                  </a:lnTo>
                  <a:lnTo>
                    <a:pt x="3216" y="377"/>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899"/>
                  </a:lnTo>
                  <a:lnTo>
                    <a:pt x="3203" y="899"/>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899"/>
                  </a:lnTo>
                  <a:lnTo>
                    <a:pt x="3156" y="899"/>
                  </a:lnTo>
                  <a:lnTo>
                    <a:pt x="3156" y="899"/>
                  </a:lnTo>
                  <a:lnTo>
                    <a:pt x="3101" y="899"/>
                  </a:lnTo>
                  <a:lnTo>
                    <a:pt x="3101" y="899"/>
                  </a:lnTo>
                  <a:lnTo>
                    <a:pt x="3076" y="899"/>
                  </a:lnTo>
                  <a:lnTo>
                    <a:pt x="3076" y="492"/>
                  </a:lnTo>
                  <a:lnTo>
                    <a:pt x="3075" y="492"/>
                  </a:lnTo>
                  <a:lnTo>
                    <a:pt x="3075" y="492"/>
                  </a:lnTo>
                  <a:lnTo>
                    <a:pt x="3075" y="492"/>
                  </a:lnTo>
                  <a:lnTo>
                    <a:pt x="3075" y="492"/>
                  </a:lnTo>
                  <a:lnTo>
                    <a:pt x="3075" y="492"/>
                  </a:lnTo>
                  <a:lnTo>
                    <a:pt x="3075" y="492"/>
                  </a:lnTo>
                  <a:lnTo>
                    <a:pt x="3075" y="492"/>
                  </a:lnTo>
                  <a:lnTo>
                    <a:pt x="3075" y="899"/>
                  </a:lnTo>
                  <a:lnTo>
                    <a:pt x="3075" y="899"/>
                  </a:lnTo>
                  <a:lnTo>
                    <a:pt x="3075" y="899"/>
                  </a:lnTo>
                  <a:lnTo>
                    <a:pt x="3060" y="899"/>
                  </a:lnTo>
                  <a:lnTo>
                    <a:pt x="3060" y="899"/>
                  </a:lnTo>
                  <a:lnTo>
                    <a:pt x="3058" y="899"/>
                  </a:lnTo>
                  <a:lnTo>
                    <a:pt x="3058" y="899"/>
                  </a:lnTo>
                  <a:lnTo>
                    <a:pt x="3058" y="899"/>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899"/>
                  </a:lnTo>
                  <a:lnTo>
                    <a:pt x="3046" y="899"/>
                  </a:lnTo>
                  <a:lnTo>
                    <a:pt x="3046" y="899"/>
                  </a:lnTo>
                  <a:lnTo>
                    <a:pt x="3045" y="899"/>
                  </a:lnTo>
                  <a:lnTo>
                    <a:pt x="3045" y="899"/>
                  </a:lnTo>
                  <a:lnTo>
                    <a:pt x="3045" y="899"/>
                  </a:lnTo>
                  <a:lnTo>
                    <a:pt x="3045" y="899"/>
                  </a:lnTo>
                  <a:lnTo>
                    <a:pt x="2972" y="899"/>
                  </a:lnTo>
                  <a:lnTo>
                    <a:pt x="2972" y="899"/>
                  </a:lnTo>
                  <a:lnTo>
                    <a:pt x="2972" y="899"/>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899"/>
                  </a:lnTo>
                  <a:lnTo>
                    <a:pt x="2953" y="899"/>
                  </a:lnTo>
                  <a:lnTo>
                    <a:pt x="2953" y="899"/>
                  </a:lnTo>
                  <a:lnTo>
                    <a:pt x="2952" y="899"/>
                  </a:lnTo>
                  <a:lnTo>
                    <a:pt x="2952" y="899"/>
                  </a:lnTo>
                  <a:lnTo>
                    <a:pt x="2951" y="899"/>
                  </a:lnTo>
                  <a:lnTo>
                    <a:pt x="2951" y="547"/>
                  </a:lnTo>
                  <a:lnTo>
                    <a:pt x="2951" y="547"/>
                  </a:lnTo>
                  <a:lnTo>
                    <a:pt x="2951" y="547"/>
                  </a:lnTo>
                  <a:lnTo>
                    <a:pt x="2951" y="547"/>
                  </a:lnTo>
                  <a:lnTo>
                    <a:pt x="2951" y="899"/>
                  </a:lnTo>
                  <a:lnTo>
                    <a:pt x="2950" y="899"/>
                  </a:lnTo>
                  <a:lnTo>
                    <a:pt x="2950" y="899"/>
                  </a:lnTo>
                  <a:lnTo>
                    <a:pt x="2950" y="899"/>
                  </a:lnTo>
                  <a:lnTo>
                    <a:pt x="2950" y="899"/>
                  </a:lnTo>
                  <a:lnTo>
                    <a:pt x="2950" y="899"/>
                  </a:lnTo>
                  <a:lnTo>
                    <a:pt x="2950" y="899"/>
                  </a:lnTo>
                  <a:lnTo>
                    <a:pt x="2950" y="899"/>
                  </a:lnTo>
                  <a:lnTo>
                    <a:pt x="2950" y="899"/>
                  </a:lnTo>
                  <a:lnTo>
                    <a:pt x="2950" y="899"/>
                  </a:lnTo>
                  <a:lnTo>
                    <a:pt x="2950" y="899"/>
                  </a:lnTo>
                  <a:lnTo>
                    <a:pt x="2947" y="899"/>
                  </a:lnTo>
                  <a:lnTo>
                    <a:pt x="2947" y="899"/>
                  </a:lnTo>
                  <a:lnTo>
                    <a:pt x="2945" y="899"/>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899"/>
                  </a:lnTo>
                  <a:lnTo>
                    <a:pt x="2943" y="899"/>
                  </a:lnTo>
                  <a:lnTo>
                    <a:pt x="2943" y="899"/>
                  </a:lnTo>
                  <a:lnTo>
                    <a:pt x="2939" y="899"/>
                  </a:lnTo>
                  <a:lnTo>
                    <a:pt x="2939" y="567"/>
                  </a:lnTo>
                  <a:lnTo>
                    <a:pt x="2938" y="567"/>
                  </a:lnTo>
                  <a:lnTo>
                    <a:pt x="2938" y="567"/>
                  </a:lnTo>
                  <a:lnTo>
                    <a:pt x="2938" y="567"/>
                  </a:lnTo>
                  <a:lnTo>
                    <a:pt x="2938" y="899"/>
                  </a:lnTo>
                  <a:lnTo>
                    <a:pt x="2918" y="899"/>
                  </a:lnTo>
                  <a:lnTo>
                    <a:pt x="2918" y="568"/>
                  </a:lnTo>
                  <a:lnTo>
                    <a:pt x="2917" y="568"/>
                  </a:lnTo>
                  <a:lnTo>
                    <a:pt x="2917" y="568"/>
                  </a:lnTo>
                  <a:lnTo>
                    <a:pt x="2917" y="568"/>
                  </a:lnTo>
                  <a:lnTo>
                    <a:pt x="2917" y="577"/>
                  </a:lnTo>
                  <a:lnTo>
                    <a:pt x="2913" y="577"/>
                  </a:lnTo>
                  <a:lnTo>
                    <a:pt x="2913" y="577"/>
                  </a:lnTo>
                  <a:lnTo>
                    <a:pt x="2909" y="577"/>
                  </a:lnTo>
                  <a:lnTo>
                    <a:pt x="2909" y="577"/>
                  </a:lnTo>
                  <a:lnTo>
                    <a:pt x="2906" y="577"/>
                  </a:lnTo>
                  <a:lnTo>
                    <a:pt x="2906" y="577"/>
                  </a:lnTo>
                  <a:lnTo>
                    <a:pt x="2904" y="577"/>
                  </a:lnTo>
                  <a:lnTo>
                    <a:pt x="2904" y="577"/>
                  </a:lnTo>
                  <a:lnTo>
                    <a:pt x="2904" y="577"/>
                  </a:lnTo>
                  <a:lnTo>
                    <a:pt x="2904" y="577"/>
                  </a:lnTo>
                  <a:lnTo>
                    <a:pt x="2904" y="577"/>
                  </a:lnTo>
                  <a:lnTo>
                    <a:pt x="2904" y="577"/>
                  </a:lnTo>
                  <a:lnTo>
                    <a:pt x="2904" y="577"/>
                  </a:lnTo>
                  <a:lnTo>
                    <a:pt x="2904" y="899"/>
                  </a:lnTo>
                  <a:lnTo>
                    <a:pt x="2904" y="899"/>
                  </a:lnTo>
                  <a:lnTo>
                    <a:pt x="2904" y="899"/>
                  </a:lnTo>
                  <a:lnTo>
                    <a:pt x="2903" y="899"/>
                  </a:lnTo>
                  <a:lnTo>
                    <a:pt x="2903" y="899"/>
                  </a:lnTo>
                  <a:lnTo>
                    <a:pt x="2902" y="899"/>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899"/>
                  </a:lnTo>
                  <a:lnTo>
                    <a:pt x="2895" y="899"/>
                  </a:lnTo>
                  <a:lnTo>
                    <a:pt x="2895" y="899"/>
                  </a:lnTo>
                  <a:lnTo>
                    <a:pt x="2891" y="899"/>
                  </a:lnTo>
                  <a:lnTo>
                    <a:pt x="2891" y="899"/>
                  </a:lnTo>
                  <a:lnTo>
                    <a:pt x="2866" y="899"/>
                  </a:lnTo>
                  <a:lnTo>
                    <a:pt x="2866" y="899"/>
                  </a:lnTo>
                  <a:lnTo>
                    <a:pt x="2856" y="899"/>
                  </a:lnTo>
                  <a:lnTo>
                    <a:pt x="2856" y="899"/>
                  </a:lnTo>
                  <a:lnTo>
                    <a:pt x="2855" y="899"/>
                  </a:lnTo>
                  <a:lnTo>
                    <a:pt x="2855" y="899"/>
                  </a:lnTo>
                  <a:lnTo>
                    <a:pt x="2853" y="899"/>
                  </a:lnTo>
                  <a:lnTo>
                    <a:pt x="2853" y="899"/>
                  </a:lnTo>
                  <a:lnTo>
                    <a:pt x="2848" y="899"/>
                  </a:lnTo>
                  <a:lnTo>
                    <a:pt x="2848" y="899"/>
                  </a:lnTo>
                  <a:lnTo>
                    <a:pt x="2844" y="899"/>
                  </a:lnTo>
                  <a:lnTo>
                    <a:pt x="2844" y="899"/>
                  </a:lnTo>
                  <a:lnTo>
                    <a:pt x="2843" y="899"/>
                  </a:lnTo>
                  <a:lnTo>
                    <a:pt x="2843" y="899"/>
                  </a:lnTo>
                  <a:lnTo>
                    <a:pt x="2842" y="899"/>
                  </a:lnTo>
                  <a:lnTo>
                    <a:pt x="2842" y="899"/>
                  </a:lnTo>
                  <a:lnTo>
                    <a:pt x="2842" y="899"/>
                  </a:lnTo>
                  <a:lnTo>
                    <a:pt x="2842" y="899"/>
                  </a:lnTo>
                  <a:lnTo>
                    <a:pt x="2842" y="899"/>
                  </a:lnTo>
                  <a:lnTo>
                    <a:pt x="2842" y="899"/>
                  </a:lnTo>
                  <a:lnTo>
                    <a:pt x="2840" y="899"/>
                  </a:lnTo>
                  <a:lnTo>
                    <a:pt x="2840" y="899"/>
                  </a:lnTo>
                  <a:lnTo>
                    <a:pt x="2837" y="899"/>
                  </a:lnTo>
                  <a:lnTo>
                    <a:pt x="2837" y="623"/>
                  </a:lnTo>
                  <a:lnTo>
                    <a:pt x="2837" y="623"/>
                  </a:lnTo>
                  <a:lnTo>
                    <a:pt x="2837" y="899"/>
                  </a:lnTo>
                  <a:lnTo>
                    <a:pt x="2837" y="899"/>
                  </a:lnTo>
                  <a:lnTo>
                    <a:pt x="2837" y="626"/>
                  </a:lnTo>
                  <a:lnTo>
                    <a:pt x="2799" y="626"/>
                  </a:lnTo>
                  <a:lnTo>
                    <a:pt x="2799" y="626"/>
                  </a:lnTo>
                  <a:lnTo>
                    <a:pt x="2798" y="626"/>
                  </a:lnTo>
                  <a:lnTo>
                    <a:pt x="2798" y="899"/>
                  </a:lnTo>
                  <a:lnTo>
                    <a:pt x="2795" y="899"/>
                  </a:lnTo>
                  <a:lnTo>
                    <a:pt x="2795" y="899"/>
                  </a:lnTo>
                  <a:lnTo>
                    <a:pt x="2794" y="899"/>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899"/>
                  </a:lnTo>
                  <a:lnTo>
                    <a:pt x="2792" y="899"/>
                  </a:lnTo>
                  <a:lnTo>
                    <a:pt x="2792" y="899"/>
                  </a:lnTo>
                  <a:lnTo>
                    <a:pt x="2791" y="899"/>
                  </a:lnTo>
                  <a:lnTo>
                    <a:pt x="2791" y="899"/>
                  </a:lnTo>
                  <a:lnTo>
                    <a:pt x="2783" y="899"/>
                  </a:lnTo>
                  <a:lnTo>
                    <a:pt x="2783" y="899"/>
                  </a:lnTo>
                  <a:lnTo>
                    <a:pt x="2783" y="899"/>
                  </a:lnTo>
                  <a:lnTo>
                    <a:pt x="2783" y="899"/>
                  </a:lnTo>
                  <a:lnTo>
                    <a:pt x="2783" y="899"/>
                  </a:lnTo>
                  <a:lnTo>
                    <a:pt x="2783" y="647"/>
                  </a:lnTo>
                  <a:lnTo>
                    <a:pt x="2783" y="647"/>
                  </a:lnTo>
                  <a:lnTo>
                    <a:pt x="2783" y="647"/>
                  </a:lnTo>
                  <a:lnTo>
                    <a:pt x="2783" y="647"/>
                  </a:lnTo>
                  <a:lnTo>
                    <a:pt x="2783"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899"/>
                  </a:lnTo>
                  <a:lnTo>
                    <a:pt x="2782" y="899"/>
                  </a:lnTo>
                  <a:lnTo>
                    <a:pt x="2782" y="899"/>
                  </a:lnTo>
                  <a:lnTo>
                    <a:pt x="2775" y="899"/>
                  </a:lnTo>
                  <a:lnTo>
                    <a:pt x="2775" y="652"/>
                  </a:lnTo>
                  <a:lnTo>
                    <a:pt x="2775" y="652"/>
                  </a:lnTo>
                  <a:lnTo>
                    <a:pt x="2775" y="652"/>
                  </a:lnTo>
                  <a:lnTo>
                    <a:pt x="2775" y="652"/>
                  </a:lnTo>
                  <a:lnTo>
                    <a:pt x="2775" y="652"/>
                  </a:lnTo>
                  <a:lnTo>
                    <a:pt x="2775" y="652"/>
                  </a:lnTo>
                  <a:lnTo>
                    <a:pt x="2775" y="899"/>
                  </a:lnTo>
                  <a:lnTo>
                    <a:pt x="2752" y="899"/>
                  </a:lnTo>
                  <a:lnTo>
                    <a:pt x="2752" y="899"/>
                  </a:lnTo>
                  <a:lnTo>
                    <a:pt x="2748" y="899"/>
                  </a:lnTo>
                  <a:lnTo>
                    <a:pt x="2748" y="654"/>
                  </a:lnTo>
                  <a:lnTo>
                    <a:pt x="2736" y="654"/>
                  </a:lnTo>
                  <a:lnTo>
                    <a:pt x="2736" y="654"/>
                  </a:lnTo>
                  <a:lnTo>
                    <a:pt x="2735" y="654"/>
                  </a:lnTo>
                  <a:lnTo>
                    <a:pt x="2735" y="899"/>
                  </a:lnTo>
                  <a:lnTo>
                    <a:pt x="2735" y="899"/>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899"/>
                  </a:lnTo>
                  <a:lnTo>
                    <a:pt x="2735" y="899"/>
                  </a:lnTo>
                  <a:lnTo>
                    <a:pt x="2735" y="899"/>
                  </a:lnTo>
                  <a:lnTo>
                    <a:pt x="2716" y="899"/>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899"/>
                  </a:lnTo>
                  <a:lnTo>
                    <a:pt x="2712" y="899"/>
                  </a:lnTo>
                  <a:lnTo>
                    <a:pt x="2712" y="899"/>
                  </a:lnTo>
                  <a:lnTo>
                    <a:pt x="2712" y="899"/>
                  </a:lnTo>
                  <a:lnTo>
                    <a:pt x="2712" y="899"/>
                  </a:lnTo>
                  <a:lnTo>
                    <a:pt x="2707" y="899"/>
                  </a:lnTo>
                  <a:lnTo>
                    <a:pt x="2707" y="899"/>
                  </a:lnTo>
                  <a:lnTo>
                    <a:pt x="2702" y="899"/>
                  </a:lnTo>
                  <a:lnTo>
                    <a:pt x="2702" y="671"/>
                  </a:lnTo>
                  <a:lnTo>
                    <a:pt x="2702" y="671"/>
                  </a:lnTo>
                  <a:lnTo>
                    <a:pt x="2702" y="671"/>
                  </a:lnTo>
                  <a:lnTo>
                    <a:pt x="2697" y="671"/>
                  </a:lnTo>
                  <a:lnTo>
                    <a:pt x="2697" y="671"/>
                  </a:lnTo>
                  <a:lnTo>
                    <a:pt x="2694" y="671"/>
                  </a:lnTo>
                  <a:lnTo>
                    <a:pt x="2694"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2" y="899"/>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899"/>
                  </a:lnTo>
                  <a:lnTo>
                    <a:pt x="2690" y="899"/>
                  </a:lnTo>
                  <a:lnTo>
                    <a:pt x="2690" y="899"/>
                  </a:lnTo>
                  <a:lnTo>
                    <a:pt x="2690" y="899"/>
                  </a:lnTo>
                  <a:lnTo>
                    <a:pt x="2690" y="899"/>
                  </a:lnTo>
                  <a:lnTo>
                    <a:pt x="2689" y="899"/>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717"/>
                  </a:lnTo>
                  <a:lnTo>
                    <a:pt x="2683" y="717"/>
                  </a:lnTo>
                  <a:lnTo>
                    <a:pt x="2683" y="717"/>
                  </a:lnTo>
                  <a:lnTo>
                    <a:pt x="2683" y="717"/>
                  </a:lnTo>
                  <a:lnTo>
                    <a:pt x="2683" y="717"/>
                  </a:lnTo>
                  <a:lnTo>
                    <a:pt x="2683" y="717"/>
                  </a:lnTo>
                  <a:lnTo>
                    <a:pt x="2683" y="717"/>
                  </a:lnTo>
                  <a:lnTo>
                    <a:pt x="2683" y="717"/>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899"/>
                  </a:lnTo>
                  <a:lnTo>
                    <a:pt x="2661" y="899"/>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899"/>
                  </a:lnTo>
                  <a:lnTo>
                    <a:pt x="2648" y="899"/>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899"/>
                  </a:lnTo>
                  <a:lnTo>
                    <a:pt x="2613" y="899"/>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768"/>
                  </a:lnTo>
                  <a:lnTo>
                    <a:pt x="2531" y="768"/>
                  </a:lnTo>
                  <a:lnTo>
                    <a:pt x="2531" y="768"/>
                  </a:lnTo>
                  <a:lnTo>
                    <a:pt x="2531" y="768"/>
                  </a:lnTo>
                  <a:lnTo>
                    <a:pt x="2531" y="769"/>
                  </a:lnTo>
                  <a:lnTo>
                    <a:pt x="2531" y="769"/>
                  </a:lnTo>
                  <a:lnTo>
                    <a:pt x="2531" y="769"/>
                  </a:lnTo>
                  <a:lnTo>
                    <a:pt x="2531" y="769"/>
                  </a:lnTo>
                  <a:lnTo>
                    <a:pt x="2531" y="769"/>
                  </a:lnTo>
                  <a:lnTo>
                    <a:pt x="2531" y="769"/>
                  </a:lnTo>
                  <a:lnTo>
                    <a:pt x="2531" y="769"/>
                  </a:lnTo>
                  <a:lnTo>
                    <a:pt x="2531" y="76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772"/>
                  </a:lnTo>
                  <a:lnTo>
                    <a:pt x="2526" y="772"/>
                  </a:lnTo>
                  <a:lnTo>
                    <a:pt x="2526" y="772"/>
                  </a:lnTo>
                  <a:lnTo>
                    <a:pt x="2526" y="772"/>
                  </a:lnTo>
                  <a:lnTo>
                    <a:pt x="2526" y="772"/>
                  </a:lnTo>
                  <a:lnTo>
                    <a:pt x="2526" y="772"/>
                  </a:lnTo>
                  <a:lnTo>
                    <a:pt x="2526" y="772"/>
                  </a:lnTo>
                  <a:lnTo>
                    <a:pt x="2526" y="772"/>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899"/>
                  </a:lnTo>
                  <a:lnTo>
                    <a:pt x="2526" y="899"/>
                  </a:lnTo>
                  <a:lnTo>
                    <a:pt x="2526" y="899"/>
                  </a:lnTo>
                  <a:lnTo>
                    <a:pt x="2526" y="899"/>
                  </a:lnTo>
                  <a:lnTo>
                    <a:pt x="2526" y="899"/>
                  </a:lnTo>
                  <a:lnTo>
                    <a:pt x="2524" y="899"/>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899"/>
                  </a:lnTo>
                  <a:lnTo>
                    <a:pt x="2350" y="899"/>
                  </a:lnTo>
                  <a:lnTo>
                    <a:pt x="2350" y="899"/>
                  </a:lnTo>
                  <a:lnTo>
                    <a:pt x="2311" y="899"/>
                  </a:lnTo>
                  <a:lnTo>
                    <a:pt x="2311" y="899"/>
                  </a:lnTo>
                  <a:lnTo>
                    <a:pt x="2308" y="8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6"/>
                  </a:lnTo>
                  <a:lnTo>
                    <a:pt x="2298" y="806"/>
                  </a:lnTo>
                  <a:lnTo>
                    <a:pt x="2298" y="806"/>
                  </a:lnTo>
                  <a:lnTo>
                    <a:pt x="2298" y="806"/>
                  </a:lnTo>
                  <a:lnTo>
                    <a:pt x="2298" y="806"/>
                  </a:lnTo>
                  <a:lnTo>
                    <a:pt x="2294" y="806"/>
                  </a:lnTo>
                  <a:lnTo>
                    <a:pt x="2294" y="806"/>
                  </a:lnTo>
                  <a:lnTo>
                    <a:pt x="2293" y="806"/>
                  </a:lnTo>
                  <a:lnTo>
                    <a:pt x="2293" y="899"/>
                  </a:lnTo>
                  <a:lnTo>
                    <a:pt x="2292" y="899"/>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10"/>
                  </a:lnTo>
                  <a:lnTo>
                    <a:pt x="2273" y="810"/>
                  </a:lnTo>
                  <a:lnTo>
                    <a:pt x="2273" y="810"/>
                  </a:lnTo>
                  <a:lnTo>
                    <a:pt x="2273" y="810"/>
                  </a:lnTo>
                  <a:lnTo>
                    <a:pt x="2273" y="810"/>
                  </a:lnTo>
                  <a:lnTo>
                    <a:pt x="2273" y="810"/>
                  </a:lnTo>
                  <a:lnTo>
                    <a:pt x="2273" y="810"/>
                  </a:lnTo>
                  <a:lnTo>
                    <a:pt x="2273" y="810"/>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14"/>
                  </a:lnTo>
                  <a:lnTo>
                    <a:pt x="2249" y="814"/>
                  </a:lnTo>
                  <a:lnTo>
                    <a:pt x="2249" y="814"/>
                  </a:lnTo>
                  <a:lnTo>
                    <a:pt x="2243" y="814"/>
                  </a:lnTo>
                  <a:lnTo>
                    <a:pt x="2243" y="814"/>
                  </a:lnTo>
                  <a:lnTo>
                    <a:pt x="2241" y="814"/>
                  </a:lnTo>
                  <a:lnTo>
                    <a:pt x="2241" y="814"/>
                  </a:lnTo>
                  <a:lnTo>
                    <a:pt x="2241" y="814"/>
                  </a:lnTo>
                  <a:lnTo>
                    <a:pt x="2241" y="814"/>
                  </a:lnTo>
                  <a:lnTo>
                    <a:pt x="2240" y="814"/>
                  </a:lnTo>
                  <a:lnTo>
                    <a:pt x="2240" y="814"/>
                  </a:lnTo>
                  <a:lnTo>
                    <a:pt x="2240" y="814"/>
                  </a:lnTo>
                  <a:lnTo>
                    <a:pt x="2240" y="814"/>
                  </a:lnTo>
                  <a:lnTo>
                    <a:pt x="2240" y="814"/>
                  </a:lnTo>
                  <a:lnTo>
                    <a:pt x="2240"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99"/>
                  </a:lnTo>
                  <a:lnTo>
                    <a:pt x="2233" y="899"/>
                  </a:lnTo>
                  <a:lnTo>
                    <a:pt x="2233" y="899"/>
                  </a:lnTo>
                  <a:lnTo>
                    <a:pt x="2231" y="899"/>
                  </a:lnTo>
                  <a:lnTo>
                    <a:pt x="2231" y="818"/>
                  </a:lnTo>
                  <a:lnTo>
                    <a:pt x="2231" y="818"/>
                  </a:lnTo>
                  <a:lnTo>
                    <a:pt x="2231" y="818"/>
                  </a:lnTo>
                  <a:lnTo>
                    <a:pt x="2231" y="818"/>
                  </a:lnTo>
                  <a:lnTo>
                    <a:pt x="2231" y="818"/>
                  </a:lnTo>
                  <a:lnTo>
                    <a:pt x="2231" y="818"/>
                  </a:lnTo>
                  <a:lnTo>
                    <a:pt x="2231" y="818"/>
                  </a:lnTo>
                  <a:lnTo>
                    <a:pt x="2231" y="818"/>
                  </a:lnTo>
                  <a:lnTo>
                    <a:pt x="2231" y="899"/>
                  </a:lnTo>
                  <a:lnTo>
                    <a:pt x="2221" y="899"/>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28"/>
                  </a:lnTo>
                  <a:lnTo>
                    <a:pt x="2217" y="828"/>
                  </a:lnTo>
                  <a:lnTo>
                    <a:pt x="2217" y="828"/>
                  </a:lnTo>
                  <a:lnTo>
                    <a:pt x="2217" y="828"/>
                  </a:lnTo>
                  <a:lnTo>
                    <a:pt x="2217" y="828"/>
                  </a:lnTo>
                  <a:lnTo>
                    <a:pt x="2217" y="828"/>
                  </a:lnTo>
                  <a:lnTo>
                    <a:pt x="2217" y="899"/>
                  </a:lnTo>
                  <a:lnTo>
                    <a:pt x="2217" y="899"/>
                  </a:lnTo>
                  <a:lnTo>
                    <a:pt x="2217" y="899"/>
                  </a:lnTo>
                  <a:lnTo>
                    <a:pt x="2217" y="899"/>
                  </a:lnTo>
                  <a:lnTo>
                    <a:pt x="2217" y="831"/>
                  </a:lnTo>
                  <a:lnTo>
                    <a:pt x="2217" y="831"/>
                  </a:lnTo>
                  <a:lnTo>
                    <a:pt x="2217" y="833"/>
                  </a:lnTo>
                  <a:lnTo>
                    <a:pt x="2217" y="833"/>
                  </a:lnTo>
                  <a:lnTo>
                    <a:pt x="2217" y="833"/>
                  </a:lnTo>
                  <a:lnTo>
                    <a:pt x="2216" y="833"/>
                  </a:lnTo>
                  <a:lnTo>
                    <a:pt x="2216" y="833"/>
                  </a:lnTo>
                  <a:lnTo>
                    <a:pt x="2215" y="833"/>
                  </a:lnTo>
                  <a:lnTo>
                    <a:pt x="2215" y="833"/>
                  </a:lnTo>
                  <a:lnTo>
                    <a:pt x="2215" y="833"/>
                  </a:lnTo>
                  <a:lnTo>
                    <a:pt x="2215" y="833"/>
                  </a:lnTo>
                  <a:lnTo>
                    <a:pt x="2215" y="833"/>
                  </a:lnTo>
                  <a:lnTo>
                    <a:pt x="2215" y="899"/>
                  </a:lnTo>
                  <a:lnTo>
                    <a:pt x="2214" y="899"/>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40"/>
                  </a:lnTo>
                  <a:lnTo>
                    <a:pt x="2187" y="840"/>
                  </a:lnTo>
                  <a:lnTo>
                    <a:pt x="2187" y="840"/>
                  </a:lnTo>
                  <a:lnTo>
                    <a:pt x="2187" y="840"/>
                  </a:lnTo>
                  <a:lnTo>
                    <a:pt x="2187" y="840"/>
                  </a:lnTo>
                  <a:lnTo>
                    <a:pt x="2187" y="840"/>
                  </a:lnTo>
                  <a:lnTo>
                    <a:pt x="2187" y="840"/>
                  </a:lnTo>
                  <a:lnTo>
                    <a:pt x="2186" y="840"/>
                  </a:lnTo>
                  <a:lnTo>
                    <a:pt x="2186" y="840"/>
                  </a:lnTo>
                  <a:lnTo>
                    <a:pt x="2186" y="840"/>
                  </a:lnTo>
                  <a:lnTo>
                    <a:pt x="2186" y="840"/>
                  </a:lnTo>
                  <a:lnTo>
                    <a:pt x="2186" y="840"/>
                  </a:lnTo>
                  <a:lnTo>
                    <a:pt x="2186" y="840"/>
                  </a:lnTo>
                  <a:lnTo>
                    <a:pt x="2186" y="840"/>
                  </a:lnTo>
                  <a:lnTo>
                    <a:pt x="2186" y="840"/>
                  </a:lnTo>
                  <a:lnTo>
                    <a:pt x="2186" y="840"/>
                  </a:lnTo>
                  <a:lnTo>
                    <a:pt x="2186" y="844"/>
                  </a:lnTo>
                  <a:lnTo>
                    <a:pt x="2185" y="844"/>
                  </a:lnTo>
                  <a:lnTo>
                    <a:pt x="2185" y="899"/>
                  </a:lnTo>
                  <a:lnTo>
                    <a:pt x="2185" y="899"/>
                  </a:lnTo>
                  <a:lnTo>
                    <a:pt x="2185" y="848"/>
                  </a:lnTo>
                  <a:lnTo>
                    <a:pt x="2185" y="848"/>
                  </a:lnTo>
                  <a:lnTo>
                    <a:pt x="2185" y="848"/>
                  </a:lnTo>
                  <a:lnTo>
                    <a:pt x="2185" y="848"/>
                  </a:lnTo>
                  <a:lnTo>
                    <a:pt x="2185" y="848"/>
                  </a:lnTo>
                  <a:lnTo>
                    <a:pt x="2185" y="848"/>
                  </a:lnTo>
                  <a:lnTo>
                    <a:pt x="2185" y="848"/>
                  </a:lnTo>
                  <a:lnTo>
                    <a:pt x="2185" y="848"/>
                  </a:lnTo>
                  <a:lnTo>
                    <a:pt x="2185" y="849"/>
                  </a:lnTo>
                  <a:lnTo>
                    <a:pt x="2185" y="849"/>
                  </a:lnTo>
                  <a:lnTo>
                    <a:pt x="2185"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51"/>
                  </a:lnTo>
                  <a:lnTo>
                    <a:pt x="2183" y="851"/>
                  </a:lnTo>
                  <a:lnTo>
                    <a:pt x="2183" y="851"/>
                  </a:lnTo>
                  <a:lnTo>
                    <a:pt x="2183" y="851"/>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6"/>
                  </a:lnTo>
                  <a:lnTo>
                    <a:pt x="2182" y="856"/>
                  </a:lnTo>
                  <a:lnTo>
                    <a:pt x="2182" y="856"/>
                  </a:lnTo>
                  <a:lnTo>
                    <a:pt x="2182" y="856"/>
                  </a:lnTo>
                  <a:lnTo>
                    <a:pt x="2182" y="856"/>
                  </a:lnTo>
                  <a:lnTo>
                    <a:pt x="2182" y="856"/>
                  </a:lnTo>
                  <a:lnTo>
                    <a:pt x="2182" y="856"/>
                  </a:lnTo>
                  <a:lnTo>
                    <a:pt x="2182" y="856"/>
                  </a:lnTo>
                  <a:lnTo>
                    <a:pt x="2182" y="861"/>
                  </a:lnTo>
                  <a:lnTo>
                    <a:pt x="2178" y="861"/>
                  </a:lnTo>
                  <a:lnTo>
                    <a:pt x="2178" y="862"/>
                  </a:lnTo>
                  <a:lnTo>
                    <a:pt x="2176" y="862"/>
                  </a:lnTo>
                  <a:lnTo>
                    <a:pt x="2176" y="862"/>
                  </a:lnTo>
                  <a:lnTo>
                    <a:pt x="2175" y="862"/>
                  </a:lnTo>
                  <a:lnTo>
                    <a:pt x="2175" y="862"/>
                  </a:lnTo>
                  <a:lnTo>
                    <a:pt x="2175" y="862"/>
                  </a:lnTo>
                  <a:lnTo>
                    <a:pt x="2175" y="862"/>
                  </a:lnTo>
                  <a:lnTo>
                    <a:pt x="2175" y="862"/>
                  </a:lnTo>
                  <a:lnTo>
                    <a:pt x="2175" y="862"/>
                  </a:lnTo>
                  <a:lnTo>
                    <a:pt x="2175" y="862"/>
                  </a:lnTo>
                  <a:lnTo>
                    <a:pt x="2175" y="862"/>
                  </a:lnTo>
                  <a:lnTo>
                    <a:pt x="2175" y="862"/>
                  </a:lnTo>
                  <a:lnTo>
                    <a:pt x="2175" y="863"/>
                  </a:lnTo>
                  <a:lnTo>
                    <a:pt x="2158" y="863"/>
                  </a:lnTo>
                  <a:lnTo>
                    <a:pt x="2158" y="863"/>
                  </a:lnTo>
                  <a:lnTo>
                    <a:pt x="2155" y="863"/>
                  </a:lnTo>
                  <a:lnTo>
                    <a:pt x="2155" y="863"/>
                  </a:lnTo>
                  <a:lnTo>
                    <a:pt x="2155" y="863"/>
                  </a:lnTo>
                  <a:lnTo>
                    <a:pt x="2155" y="867"/>
                  </a:lnTo>
                  <a:lnTo>
                    <a:pt x="2154" y="867"/>
                  </a:lnTo>
                  <a:lnTo>
                    <a:pt x="2154" y="867"/>
                  </a:lnTo>
                  <a:lnTo>
                    <a:pt x="2154" y="867"/>
                  </a:lnTo>
                  <a:lnTo>
                    <a:pt x="2154" y="867"/>
                  </a:lnTo>
                  <a:lnTo>
                    <a:pt x="2154" y="867"/>
                  </a:lnTo>
                  <a:lnTo>
                    <a:pt x="2154" y="867"/>
                  </a:lnTo>
                  <a:lnTo>
                    <a:pt x="2154" y="867"/>
                  </a:lnTo>
                  <a:lnTo>
                    <a:pt x="2154" y="867"/>
                  </a:lnTo>
                  <a:lnTo>
                    <a:pt x="2154" y="867"/>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69"/>
                  </a:lnTo>
                  <a:lnTo>
                    <a:pt x="2153" y="869"/>
                  </a:lnTo>
                  <a:lnTo>
                    <a:pt x="2153" y="869"/>
                  </a:lnTo>
                  <a:lnTo>
                    <a:pt x="2152" y="869"/>
                  </a:lnTo>
                  <a:lnTo>
                    <a:pt x="2152" y="869"/>
                  </a:lnTo>
                  <a:lnTo>
                    <a:pt x="2152" y="869"/>
                  </a:lnTo>
                  <a:lnTo>
                    <a:pt x="2152" y="869"/>
                  </a:lnTo>
                  <a:lnTo>
                    <a:pt x="2152" y="869"/>
                  </a:lnTo>
                  <a:lnTo>
                    <a:pt x="2152" y="869"/>
                  </a:lnTo>
                  <a:lnTo>
                    <a:pt x="2152" y="869"/>
                  </a:lnTo>
                  <a:lnTo>
                    <a:pt x="2152" y="869"/>
                  </a:lnTo>
                  <a:lnTo>
                    <a:pt x="2152" y="869"/>
                  </a:lnTo>
                  <a:lnTo>
                    <a:pt x="2152" y="899"/>
                  </a:lnTo>
                  <a:lnTo>
                    <a:pt x="2151" y="899"/>
                  </a:lnTo>
                  <a:lnTo>
                    <a:pt x="2151" y="870"/>
                  </a:lnTo>
                  <a:lnTo>
                    <a:pt x="2151" y="870"/>
                  </a:lnTo>
                  <a:lnTo>
                    <a:pt x="2151" y="870"/>
                  </a:lnTo>
                  <a:lnTo>
                    <a:pt x="2151" y="870"/>
                  </a:lnTo>
                  <a:lnTo>
                    <a:pt x="2151" y="870"/>
                  </a:lnTo>
                  <a:lnTo>
                    <a:pt x="2151" y="870"/>
                  </a:lnTo>
                  <a:lnTo>
                    <a:pt x="2151" y="870"/>
                  </a:lnTo>
                  <a:lnTo>
                    <a:pt x="2151" y="870"/>
                  </a:lnTo>
                  <a:lnTo>
                    <a:pt x="2151" y="871"/>
                  </a:lnTo>
                  <a:lnTo>
                    <a:pt x="2151" y="871"/>
                  </a:lnTo>
                  <a:lnTo>
                    <a:pt x="2151" y="871"/>
                  </a:lnTo>
                  <a:lnTo>
                    <a:pt x="2151" y="871"/>
                  </a:lnTo>
                  <a:lnTo>
                    <a:pt x="2151" y="871"/>
                  </a:lnTo>
                  <a:lnTo>
                    <a:pt x="2151" y="871"/>
                  </a:lnTo>
                  <a:lnTo>
                    <a:pt x="2151" y="871"/>
                  </a:lnTo>
                  <a:lnTo>
                    <a:pt x="2151" y="871"/>
                  </a:lnTo>
                  <a:lnTo>
                    <a:pt x="2151"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99"/>
                  </a:lnTo>
                  <a:lnTo>
                    <a:pt x="2090" y="899"/>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99"/>
                  </a:lnTo>
                  <a:lnTo>
                    <a:pt x="2089" y="899"/>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99"/>
                  </a:lnTo>
                  <a:lnTo>
                    <a:pt x="2078" y="899"/>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9"/>
                  </a:lnTo>
                  <a:lnTo>
                    <a:pt x="2077" y="889"/>
                  </a:lnTo>
                  <a:lnTo>
                    <a:pt x="2077" y="889"/>
                  </a:lnTo>
                  <a:lnTo>
                    <a:pt x="2077" y="889"/>
                  </a:lnTo>
                  <a:lnTo>
                    <a:pt x="2077" y="899"/>
                  </a:lnTo>
                  <a:lnTo>
                    <a:pt x="2077" y="899"/>
                  </a:lnTo>
                  <a:lnTo>
                    <a:pt x="2077" y="899"/>
                  </a:lnTo>
                  <a:lnTo>
                    <a:pt x="2077" y="899"/>
                  </a:lnTo>
                  <a:lnTo>
                    <a:pt x="2077" y="899"/>
                  </a:lnTo>
                  <a:lnTo>
                    <a:pt x="2077" y="899"/>
                  </a:lnTo>
                  <a:lnTo>
                    <a:pt x="2077" y="899"/>
                  </a:lnTo>
                  <a:lnTo>
                    <a:pt x="2064" y="899"/>
                  </a:lnTo>
                  <a:lnTo>
                    <a:pt x="2064" y="892"/>
                  </a:lnTo>
                  <a:lnTo>
                    <a:pt x="2061" y="892"/>
                  </a:lnTo>
                  <a:lnTo>
                    <a:pt x="2061" y="892"/>
                  </a:lnTo>
                  <a:lnTo>
                    <a:pt x="2060" y="892"/>
                  </a:lnTo>
                  <a:lnTo>
                    <a:pt x="2060" y="892"/>
                  </a:lnTo>
                  <a:lnTo>
                    <a:pt x="2060" y="892"/>
                  </a:lnTo>
                  <a:lnTo>
                    <a:pt x="2060" y="899"/>
                  </a:lnTo>
                  <a:lnTo>
                    <a:pt x="2059" y="899"/>
                  </a:lnTo>
                  <a:lnTo>
                    <a:pt x="2059" y="892"/>
                  </a:lnTo>
                  <a:lnTo>
                    <a:pt x="2059" y="892"/>
                  </a:lnTo>
                  <a:lnTo>
                    <a:pt x="2059" y="899"/>
                  </a:lnTo>
                  <a:lnTo>
                    <a:pt x="2059" y="899"/>
                  </a:lnTo>
                  <a:lnTo>
                    <a:pt x="2059" y="893"/>
                  </a:lnTo>
                  <a:lnTo>
                    <a:pt x="2059" y="893"/>
                  </a:lnTo>
                  <a:lnTo>
                    <a:pt x="2059" y="893"/>
                  </a:lnTo>
                  <a:lnTo>
                    <a:pt x="2059" y="893"/>
                  </a:lnTo>
                  <a:lnTo>
                    <a:pt x="2059" y="894"/>
                  </a:lnTo>
                  <a:lnTo>
                    <a:pt x="2059" y="894"/>
                  </a:lnTo>
                  <a:lnTo>
                    <a:pt x="2059" y="894"/>
                  </a:lnTo>
                  <a:lnTo>
                    <a:pt x="2059" y="894"/>
                  </a:lnTo>
                  <a:lnTo>
                    <a:pt x="2059" y="899"/>
                  </a:lnTo>
                  <a:lnTo>
                    <a:pt x="2058" y="899"/>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908"/>
                  </a:lnTo>
                  <a:lnTo>
                    <a:pt x="2055" y="908"/>
                  </a:lnTo>
                  <a:lnTo>
                    <a:pt x="2055" y="908"/>
                  </a:lnTo>
                  <a:lnTo>
                    <a:pt x="2055" y="908"/>
                  </a:lnTo>
                  <a:lnTo>
                    <a:pt x="2055" y="908"/>
                  </a:lnTo>
                  <a:lnTo>
                    <a:pt x="2055" y="908"/>
                  </a:lnTo>
                  <a:lnTo>
                    <a:pt x="2055" y="908"/>
                  </a:lnTo>
                  <a:lnTo>
                    <a:pt x="2055" y="908"/>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6"/>
                  </a:lnTo>
                  <a:lnTo>
                    <a:pt x="1948" y="916"/>
                  </a:lnTo>
                  <a:lnTo>
                    <a:pt x="1948" y="916"/>
                  </a:lnTo>
                  <a:lnTo>
                    <a:pt x="1948" y="916"/>
                  </a:lnTo>
                  <a:lnTo>
                    <a:pt x="1948" y="916"/>
                  </a:lnTo>
                  <a:lnTo>
                    <a:pt x="1948" y="916"/>
                  </a:lnTo>
                  <a:lnTo>
                    <a:pt x="1948" y="916"/>
                  </a:lnTo>
                  <a:lnTo>
                    <a:pt x="1945" y="916"/>
                  </a:lnTo>
                  <a:lnTo>
                    <a:pt x="1945" y="916"/>
                  </a:lnTo>
                  <a:lnTo>
                    <a:pt x="1945" y="916"/>
                  </a:lnTo>
                  <a:lnTo>
                    <a:pt x="1945" y="916"/>
                  </a:lnTo>
                  <a:lnTo>
                    <a:pt x="1945" y="916"/>
                  </a:lnTo>
                  <a:lnTo>
                    <a:pt x="1945" y="916"/>
                  </a:lnTo>
                  <a:lnTo>
                    <a:pt x="1945" y="916"/>
                  </a:lnTo>
                  <a:lnTo>
                    <a:pt x="1945" y="899"/>
                  </a:lnTo>
                  <a:lnTo>
                    <a:pt x="1945" y="899"/>
                  </a:lnTo>
                  <a:lnTo>
                    <a:pt x="1945" y="899"/>
                  </a:lnTo>
                  <a:lnTo>
                    <a:pt x="1945" y="899"/>
                  </a:lnTo>
                  <a:lnTo>
                    <a:pt x="1945" y="899"/>
                  </a:lnTo>
                  <a:lnTo>
                    <a:pt x="1945" y="899"/>
                  </a:lnTo>
                  <a:lnTo>
                    <a:pt x="1945" y="920"/>
                  </a:lnTo>
                  <a:lnTo>
                    <a:pt x="1945" y="920"/>
                  </a:lnTo>
                  <a:lnTo>
                    <a:pt x="1945" y="920"/>
                  </a:lnTo>
                  <a:lnTo>
                    <a:pt x="1945" y="920"/>
                  </a:lnTo>
                  <a:lnTo>
                    <a:pt x="1945" y="920"/>
                  </a:lnTo>
                  <a:lnTo>
                    <a:pt x="1945" y="920"/>
                  </a:lnTo>
                  <a:lnTo>
                    <a:pt x="1945" y="920"/>
                  </a:lnTo>
                  <a:lnTo>
                    <a:pt x="1945" y="920"/>
                  </a:lnTo>
                  <a:lnTo>
                    <a:pt x="1945" y="920"/>
                  </a:lnTo>
                  <a:lnTo>
                    <a:pt x="1944" y="920"/>
                  </a:lnTo>
                  <a:lnTo>
                    <a:pt x="1944" y="920"/>
                  </a:lnTo>
                  <a:lnTo>
                    <a:pt x="1944" y="920"/>
                  </a:lnTo>
                  <a:lnTo>
                    <a:pt x="1944" y="921"/>
                  </a:lnTo>
                  <a:lnTo>
                    <a:pt x="1944" y="921"/>
                  </a:lnTo>
                  <a:lnTo>
                    <a:pt x="1944" y="921"/>
                  </a:lnTo>
                  <a:lnTo>
                    <a:pt x="1944" y="921"/>
                  </a:lnTo>
                  <a:lnTo>
                    <a:pt x="1944" y="921"/>
                  </a:lnTo>
                  <a:lnTo>
                    <a:pt x="1944" y="921"/>
                  </a:lnTo>
                  <a:lnTo>
                    <a:pt x="1944" y="921"/>
                  </a:lnTo>
                  <a:lnTo>
                    <a:pt x="1944" y="921"/>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899"/>
                  </a:lnTo>
                  <a:lnTo>
                    <a:pt x="1902" y="899"/>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899"/>
                  </a:lnTo>
                  <a:lnTo>
                    <a:pt x="1901" y="899"/>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952"/>
                  </a:lnTo>
                  <a:lnTo>
                    <a:pt x="1854" y="952"/>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958"/>
                  </a:lnTo>
                  <a:lnTo>
                    <a:pt x="1852" y="958"/>
                  </a:lnTo>
                  <a:lnTo>
                    <a:pt x="1852" y="958"/>
                  </a:lnTo>
                  <a:lnTo>
                    <a:pt x="1852" y="958"/>
                  </a:lnTo>
                  <a:lnTo>
                    <a:pt x="1852" y="958"/>
                  </a:lnTo>
                  <a:lnTo>
                    <a:pt x="1852" y="958"/>
                  </a:lnTo>
                  <a:lnTo>
                    <a:pt x="1852" y="958"/>
                  </a:lnTo>
                  <a:lnTo>
                    <a:pt x="1852" y="958"/>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899"/>
                  </a:lnTo>
                  <a:lnTo>
                    <a:pt x="1852" y="899"/>
                  </a:lnTo>
                  <a:lnTo>
                    <a:pt x="1852" y="899"/>
                  </a:lnTo>
                  <a:lnTo>
                    <a:pt x="1852" y="899"/>
                  </a:lnTo>
                  <a:lnTo>
                    <a:pt x="1852" y="960"/>
                  </a:lnTo>
                  <a:lnTo>
                    <a:pt x="1852" y="960"/>
                  </a:lnTo>
                  <a:lnTo>
                    <a:pt x="1852" y="963"/>
                  </a:lnTo>
                  <a:lnTo>
                    <a:pt x="1847" y="963"/>
                  </a:lnTo>
                  <a:lnTo>
                    <a:pt x="1847" y="963"/>
                  </a:lnTo>
                  <a:lnTo>
                    <a:pt x="1846" y="963"/>
                  </a:lnTo>
                  <a:lnTo>
                    <a:pt x="1846" y="963"/>
                  </a:lnTo>
                  <a:lnTo>
                    <a:pt x="1845" y="963"/>
                  </a:lnTo>
                  <a:lnTo>
                    <a:pt x="1845" y="963"/>
                  </a:lnTo>
                  <a:lnTo>
                    <a:pt x="1845" y="963"/>
                  </a:lnTo>
                  <a:lnTo>
                    <a:pt x="1845" y="899"/>
                  </a:lnTo>
                  <a:lnTo>
                    <a:pt x="1844" y="899"/>
                  </a:lnTo>
                  <a:lnTo>
                    <a:pt x="1844" y="966"/>
                  </a:lnTo>
                  <a:lnTo>
                    <a:pt x="1820" y="966"/>
                  </a:lnTo>
                  <a:lnTo>
                    <a:pt x="1820" y="966"/>
                  </a:lnTo>
                  <a:lnTo>
                    <a:pt x="1817" y="966"/>
                  </a:lnTo>
                  <a:lnTo>
                    <a:pt x="1817" y="966"/>
                  </a:lnTo>
                  <a:lnTo>
                    <a:pt x="1817" y="966"/>
                  </a:lnTo>
                  <a:lnTo>
                    <a:pt x="1817" y="899"/>
                  </a:lnTo>
                  <a:lnTo>
                    <a:pt x="1815" y="899"/>
                  </a:lnTo>
                  <a:lnTo>
                    <a:pt x="1815" y="970"/>
                  </a:lnTo>
                  <a:lnTo>
                    <a:pt x="1814" y="970"/>
                  </a:lnTo>
                  <a:lnTo>
                    <a:pt x="1814" y="970"/>
                  </a:lnTo>
                  <a:lnTo>
                    <a:pt x="1814" y="970"/>
                  </a:lnTo>
                  <a:lnTo>
                    <a:pt x="1814" y="970"/>
                  </a:lnTo>
                  <a:lnTo>
                    <a:pt x="1814" y="970"/>
                  </a:lnTo>
                  <a:lnTo>
                    <a:pt x="1814" y="974"/>
                  </a:lnTo>
                  <a:lnTo>
                    <a:pt x="1814" y="974"/>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899"/>
                  </a:lnTo>
                  <a:lnTo>
                    <a:pt x="1702" y="899"/>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899"/>
                  </a:lnTo>
                  <a:lnTo>
                    <a:pt x="1699" y="899"/>
                  </a:lnTo>
                  <a:lnTo>
                    <a:pt x="1699" y="899"/>
                  </a:lnTo>
                  <a:lnTo>
                    <a:pt x="1699" y="899"/>
                  </a:lnTo>
                  <a:lnTo>
                    <a:pt x="1699" y="999"/>
                  </a:lnTo>
                  <a:lnTo>
                    <a:pt x="1699" y="999"/>
                  </a:lnTo>
                  <a:lnTo>
                    <a:pt x="1699" y="999"/>
                  </a:lnTo>
                  <a:lnTo>
                    <a:pt x="1699" y="999"/>
                  </a:lnTo>
                  <a:lnTo>
                    <a:pt x="1699" y="999"/>
                  </a:lnTo>
                  <a:lnTo>
                    <a:pt x="1699" y="999"/>
                  </a:lnTo>
                  <a:lnTo>
                    <a:pt x="1699" y="899"/>
                  </a:lnTo>
                  <a:lnTo>
                    <a:pt x="1699" y="899"/>
                  </a:lnTo>
                  <a:lnTo>
                    <a:pt x="1699" y="1004"/>
                  </a:lnTo>
                  <a:lnTo>
                    <a:pt x="1699" y="1004"/>
                  </a:lnTo>
                  <a:lnTo>
                    <a:pt x="1699" y="1004"/>
                  </a:lnTo>
                  <a:lnTo>
                    <a:pt x="1699" y="1004"/>
                  </a:lnTo>
                  <a:lnTo>
                    <a:pt x="1699" y="1005"/>
                  </a:lnTo>
                  <a:lnTo>
                    <a:pt x="1698" y="1005"/>
                  </a:lnTo>
                  <a:lnTo>
                    <a:pt x="1698" y="1005"/>
                  </a:lnTo>
                  <a:lnTo>
                    <a:pt x="1698" y="1005"/>
                  </a:lnTo>
                  <a:lnTo>
                    <a:pt x="1698" y="899"/>
                  </a:lnTo>
                  <a:lnTo>
                    <a:pt x="1695" y="899"/>
                  </a:lnTo>
                  <a:lnTo>
                    <a:pt x="1695" y="899"/>
                  </a:lnTo>
                  <a:lnTo>
                    <a:pt x="1695" y="899"/>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899"/>
                  </a:lnTo>
                  <a:lnTo>
                    <a:pt x="1549" y="899"/>
                  </a:lnTo>
                  <a:lnTo>
                    <a:pt x="1549" y="899"/>
                  </a:lnTo>
                  <a:lnTo>
                    <a:pt x="1544" y="899"/>
                  </a:lnTo>
                  <a:lnTo>
                    <a:pt x="1544" y="899"/>
                  </a:lnTo>
                  <a:lnTo>
                    <a:pt x="1541" y="899"/>
                  </a:lnTo>
                  <a:lnTo>
                    <a:pt x="1541" y="899"/>
                  </a:lnTo>
                  <a:lnTo>
                    <a:pt x="1539" y="899"/>
                  </a:lnTo>
                  <a:lnTo>
                    <a:pt x="1539" y="899"/>
                  </a:lnTo>
                  <a:lnTo>
                    <a:pt x="1538" y="899"/>
                  </a:lnTo>
                  <a:lnTo>
                    <a:pt x="1538" y="899"/>
                  </a:lnTo>
                  <a:lnTo>
                    <a:pt x="1537" y="899"/>
                  </a:lnTo>
                  <a:lnTo>
                    <a:pt x="1537" y="899"/>
                  </a:lnTo>
                  <a:lnTo>
                    <a:pt x="1536" y="899"/>
                  </a:lnTo>
                  <a:lnTo>
                    <a:pt x="1536" y="899"/>
                  </a:lnTo>
                  <a:lnTo>
                    <a:pt x="1536" y="899"/>
                  </a:lnTo>
                  <a:lnTo>
                    <a:pt x="1536" y="899"/>
                  </a:lnTo>
                  <a:lnTo>
                    <a:pt x="1535" y="899"/>
                  </a:lnTo>
                  <a:lnTo>
                    <a:pt x="1535" y="899"/>
                  </a:lnTo>
                  <a:lnTo>
                    <a:pt x="1535" y="899"/>
                  </a:lnTo>
                  <a:lnTo>
                    <a:pt x="1535" y="899"/>
                  </a:lnTo>
                  <a:lnTo>
                    <a:pt x="1535" y="899"/>
                  </a:lnTo>
                  <a:lnTo>
                    <a:pt x="1535" y="899"/>
                  </a:lnTo>
                  <a:lnTo>
                    <a:pt x="1507" y="899"/>
                  </a:lnTo>
                  <a:lnTo>
                    <a:pt x="1507" y="899"/>
                  </a:lnTo>
                  <a:lnTo>
                    <a:pt x="1495" y="899"/>
                  </a:lnTo>
                  <a:lnTo>
                    <a:pt x="1495" y="899"/>
                  </a:lnTo>
                  <a:lnTo>
                    <a:pt x="1489" y="899"/>
                  </a:lnTo>
                  <a:lnTo>
                    <a:pt x="1489" y="899"/>
                  </a:lnTo>
                  <a:lnTo>
                    <a:pt x="1487" y="899"/>
                  </a:lnTo>
                  <a:lnTo>
                    <a:pt x="1487" y="899"/>
                  </a:lnTo>
                  <a:lnTo>
                    <a:pt x="1486" y="899"/>
                  </a:lnTo>
                  <a:lnTo>
                    <a:pt x="1486" y="899"/>
                  </a:lnTo>
                  <a:lnTo>
                    <a:pt x="1485" y="899"/>
                  </a:lnTo>
                  <a:lnTo>
                    <a:pt x="1485" y="899"/>
                  </a:lnTo>
                  <a:lnTo>
                    <a:pt x="1485" y="899"/>
                  </a:lnTo>
                  <a:lnTo>
                    <a:pt x="1485" y="899"/>
                  </a:lnTo>
                  <a:lnTo>
                    <a:pt x="1485" y="899"/>
                  </a:lnTo>
                  <a:lnTo>
                    <a:pt x="1485" y="899"/>
                  </a:lnTo>
                  <a:lnTo>
                    <a:pt x="1484" y="899"/>
                  </a:lnTo>
                  <a:lnTo>
                    <a:pt x="1484" y="1017"/>
                  </a:lnTo>
                  <a:lnTo>
                    <a:pt x="1484" y="1017"/>
                  </a:lnTo>
                  <a:lnTo>
                    <a:pt x="1484" y="1017"/>
                  </a:lnTo>
                  <a:lnTo>
                    <a:pt x="1484" y="1017"/>
                  </a:lnTo>
                  <a:lnTo>
                    <a:pt x="1484" y="1019"/>
                  </a:lnTo>
                  <a:lnTo>
                    <a:pt x="1484" y="1019"/>
                  </a:lnTo>
                  <a:lnTo>
                    <a:pt x="1484" y="899"/>
                  </a:lnTo>
                  <a:lnTo>
                    <a:pt x="1484" y="899"/>
                  </a:lnTo>
                  <a:lnTo>
                    <a:pt x="1484" y="899"/>
                  </a:lnTo>
                  <a:lnTo>
                    <a:pt x="1484" y="899"/>
                  </a:lnTo>
                  <a:lnTo>
                    <a:pt x="1484" y="899"/>
                  </a:lnTo>
                  <a:lnTo>
                    <a:pt x="1484" y="899"/>
                  </a:lnTo>
                  <a:lnTo>
                    <a:pt x="1484" y="899"/>
                  </a:lnTo>
                  <a:lnTo>
                    <a:pt x="1484" y="899"/>
                  </a:lnTo>
                  <a:lnTo>
                    <a:pt x="1484" y="899"/>
                  </a:lnTo>
                  <a:lnTo>
                    <a:pt x="1483" y="899"/>
                  </a:lnTo>
                  <a:lnTo>
                    <a:pt x="1483" y="899"/>
                  </a:lnTo>
                  <a:lnTo>
                    <a:pt x="1483" y="899"/>
                  </a:lnTo>
                  <a:lnTo>
                    <a:pt x="1483" y="899"/>
                  </a:lnTo>
                  <a:lnTo>
                    <a:pt x="1483" y="899"/>
                  </a:lnTo>
                  <a:lnTo>
                    <a:pt x="1483" y="899"/>
                  </a:lnTo>
                  <a:lnTo>
                    <a:pt x="1483" y="899"/>
                  </a:lnTo>
                  <a:lnTo>
                    <a:pt x="1483" y="899"/>
                  </a:lnTo>
                  <a:lnTo>
                    <a:pt x="1483" y="899"/>
                  </a:lnTo>
                  <a:lnTo>
                    <a:pt x="1483" y="899"/>
                  </a:lnTo>
                  <a:lnTo>
                    <a:pt x="1482" y="899"/>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899"/>
                  </a:lnTo>
                  <a:lnTo>
                    <a:pt x="1479" y="899"/>
                  </a:lnTo>
                  <a:lnTo>
                    <a:pt x="1479" y="899"/>
                  </a:lnTo>
                  <a:lnTo>
                    <a:pt x="1478" y="899"/>
                  </a:lnTo>
                  <a:lnTo>
                    <a:pt x="1478" y="1029"/>
                  </a:lnTo>
                  <a:lnTo>
                    <a:pt x="1478" y="1029"/>
                  </a:lnTo>
                  <a:lnTo>
                    <a:pt x="1478" y="1029"/>
                  </a:lnTo>
                  <a:lnTo>
                    <a:pt x="1478" y="1029"/>
                  </a:lnTo>
                  <a:lnTo>
                    <a:pt x="1478" y="899"/>
                  </a:lnTo>
                  <a:lnTo>
                    <a:pt x="1478" y="899"/>
                  </a:lnTo>
                  <a:lnTo>
                    <a:pt x="1478" y="1029"/>
                  </a:lnTo>
                  <a:lnTo>
                    <a:pt x="1478" y="1029"/>
                  </a:lnTo>
                  <a:lnTo>
                    <a:pt x="1478" y="899"/>
                  </a:lnTo>
                  <a:lnTo>
                    <a:pt x="1476" y="899"/>
                  </a:lnTo>
                  <a:lnTo>
                    <a:pt x="1476" y="899"/>
                  </a:lnTo>
                  <a:lnTo>
                    <a:pt x="1476" y="899"/>
                  </a:lnTo>
                  <a:lnTo>
                    <a:pt x="1476" y="899"/>
                  </a:lnTo>
                  <a:lnTo>
                    <a:pt x="1475" y="899"/>
                  </a:lnTo>
                  <a:lnTo>
                    <a:pt x="1475" y="899"/>
                  </a:lnTo>
                  <a:lnTo>
                    <a:pt x="1475" y="899"/>
                  </a:lnTo>
                  <a:lnTo>
                    <a:pt x="1475" y="899"/>
                  </a:lnTo>
                  <a:lnTo>
                    <a:pt x="1475" y="899"/>
                  </a:lnTo>
                  <a:lnTo>
                    <a:pt x="1475" y="1033"/>
                  </a:lnTo>
                  <a:lnTo>
                    <a:pt x="1474" y="1033"/>
                  </a:lnTo>
                  <a:lnTo>
                    <a:pt x="1474" y="899"/>
                  </a:lnTo>
                  <a:lnTo>
                    <a:pt x="1474" y="899"/>
                  </a:lnTo>
                  <a:lnTo>
                    <a:pt x="1474" y="899"/>
                  </a:lnTo>
                  <a:lnTo>
                    <a:pt x="1474" y="899"/>
                  </a:lnTo>
                  <a:lnTo>
                    <a:pt x="1474" y="899"/>
                  </a:lnTo>
                  <a:lnTo>
                    <a:pt x="1457" y="899"/>
                  </a:lnTo>
                  <a:lnTo>
                    <a:pt x="1457" y="899"/>
                  </a:lnTo>
                  <a:lnTo>
                    <a:pt x="1457" y="899"/>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899"/>
                  </a:lnTo>
                  <a:lnTo>
                    <a:pt x="1454" y="899"/>
                  </a:lnTo>
                  <a:lnTo>
                    <a:pt x="1454" y="899"/>
                  </a:lnTo>
                  <a:lnTo>
                    <a:pt x="1453" y="899"/>
                  </a:lnTo>
                  <a:lnTo>
                    <a:pt x="1453" y="899"/>
                  </a:lnTo>
                  <a:lnTo>
                    <a:pt x="1453" y="899"/>
                  </a:lnTo>
                  <a:lnTo>
                    <a:pt x="1453" y="1038"/>
                  </a:lnTo>
                  <a:lnTo>
                    <a:pt x="1453" y="1038"/>
                  </a:lnTo>
                  <a:lnTo>
                    <a:pt x="1453" y="1038"/>
                  </a:lnTo>
                  <a:lnTo>
                    <a:pt x="1441" y="1038"/>
                  </a:lnTo>
                  <a:lnTo>
                    <a:pt x="1441" y="1038"/>
                  </a:lnTo>
                  <a:lnTo>
                    <a:pt x="1439" y="1038"/>
                  </a:lnTo>
                  <a:lnTo>
                    <a:pt x="1439" y="1038"/>
                  </a:lnTo>
                  <a:lnTo>
                    <a:pt x="1438" y="1038"/>
                  </a:lnTo>
                  <a:lnTo>
                    <a:pt x="1438" y="899"/>
                  </a:lnTo>
                  <a:lnTo>
                    <a:pt x="1438" y="899"/>
                  </a:lnTo>
                  <a:lnTo>
                    <a:pt x="1438" y="899"/>
                  </a:lnTo>
                  <a:lnTo>
                    <a:pt x="1438" y="899"/>
                  </a:lnTo>
                  <a:lnTo>
                    <a:pt x="1438" y="899"/>
                  </a:lnTo>
                  <a:lnTo>
                    <a:pt x="1438" y="89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899"/>
                  </a:lnTo>
                  <a:lnTo>
                    <a:pt x="1434" y="899"/>
                  </a:lnTo>
                  <a:lnTo>
                    <a:pt x="1434" y="899"/>
                  </a:lnTo>
                  <a:lnTo>
                    <a:pt x="1432" y="899"/>
                  </a:lnTo>
                  <a:lnTo>
                    <a:pt x="1432" y="899"/>
                  </a:lnTo>
                  <a:lnTo>
                    <a:pt x="1432" y="899"/>
                  </a:lnTo>
                  <a:lnTo>
                    <a:pt x="1432" y="899"/>
                  </a:lnTo>
                  <a:lnTo>
                    <a:pt x="1432" y="899"/>
                  </a:lnTo>
                  <a:lnTo>
                    <a:pt x="1432" y="1042"/>
                  </a:lnTo>
                  <a:lnTo>
                    <a:pt x="1425" y="1042"/>
                  </a:lnTo>
                  <a:lnTo>
                    <a:pt x="1425" y="1042"/>
                  </a:lnTo>
                  <a:lnTo>
                    <a:pt x="1423" y="1042"/>
                  </a:lnTo>
                  <a:lnTo>
                    <a:pt x="1423" y="1042"/>
                  </a:lnTo>
                  <a:lnTo>
                    <a:pt x="1422" y="1042"/>
                  </a:lnTo>
                  <a:lnTo>
                    <a:pt x="1422" y="1042"/>
                  </a:lnTo>
                  <a:lnTo>
                    <a:pt x="1421" y="1042"/>
                  </a:lnTo>
                  <a:lnTo>
                    <a:pt x="1421" y="899"/>
                  </a:lnTo>
                  <a:lnTo>
                    <a:pt x="1414" y="899"/>
                  </a:lnTo>
                  <a:lnTo>
                    <a:pt x="1414" y="899"/>
                  </a:lnTo>
                  <a:lnTo>
                    <a:pt x="1413" y="899"/>
                  </a:lnTo>
                  <a:lnTo>
                    <a:pt x="1413" y="899"/>
                  </a:lnTo>
                  <a:lnTo>
                    <a:pt x="1413" y="899"/>
                  </a:lnTo>
                  <a:lnTo>
                    <a:pt x="1413" y="899"/>
                  </a:lnTo>
                  <a:lnTo>
                    <a:pt x="1413" y="899"/>
                  </a:lnTo>
                  <a:lnTo>
                    <a:pt x="1413"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899"/>
                  </a:lnTo>
                  <a:lnTo>
                    <a:pt x="1410" y="899"/>
                  </a:lnTo>
                  <a:lnTo>
                    <a:pt x="1410" y="899"/>
                  </a:lnTo>
                  <a:lnTo>
                    <a:pt x="1410" y="899"/>
                  </a:lnTo>
                  <a:lnTo>
                    <a:pt x="1410" y="1047"/>
                  </a:lnTo>
                  <a:lnTo>
                    <a:pt x="1408" y="1047"/>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899"/>
                  </a:lnTo>
                  <a:lnTo>
                    <a:pt x="1408" y="89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1054"/>
                  </a:lnTo>
                  <a:lnTo>
                    <a:pt x="1404" y="1054"/>
                  </a:lnTo>
                  <a:lnTo>
                    <a:pt x="1404" y="1054"/>
                  </a:lnTo>
                  <a:lnTo>
                    <a:pt x="1404" y="1054"/>
                  </a:lnTo>
                  <a:lnTo>
                    <a:pt x="1404" y="1054"/>
                  </a:lnTo>
                  <a:lnTo>
                    <a:pt x="1404" y="1054"/>
                  </a:lnTo>
                  <a:lnTo>
                    <a:pt x="1404" y="1054"/>
                  </a:lnTo>
                  <a:lnTo>
                    <a:pt x="1404" y="1054"/>
                  </a:lnTo>
                  <a:lnTo>
                    <a:pt x="1404" y="1054"/>
                  </a:lnTo>
                  <a:lnTo>
                    <a:pt x="1403" y="1054"/>
                  </a:lnTo>
                  <a:lnTo>
                    <a:pt x="1403" y="1056"/>
                  </a:lnTo>
                  <a:lnTo>
                    <a:pt x="1403" y="1056"/>
                  </a:lnTo>
                  <a:lnTo>
                    <a:pt x="1403" y="1056"/>
                  </a:lnTo>
                  <a:lnTo>
                    <a:pt x="1399" y="1056"/>
                  </a:lnTo>
                  <a:lnTo>
                    <a:pt x="1399" y="1056"/>
                  </a:lnTo>
                  <a:lnTo>
                    <a:pt x="1399" y="1056"/>
                  </a:lnTo>
                  <a:lnTo>
                    <a:pt x="1399" y="899"/>
                  </a:lnTo>
                  <a:lnTo>
                    <a:pt x="1399" y="899"/>
                  </a:lnTo>
                  <a:lnTo>
                    <a:pt x="1399" y="899"/>
                  </a:lnTo>
                  <a:lnTo>
                    <a:pt x="1399" y="899"/>
                  </a:lnTo>
                  <a:lnTo>
                    <a:pt x="1399" y="899"/>
                  </a:lnTo>
                  <a:lnTo>
                    <a:pt x="1397" y="899"/>
                  </a:lnTo>
                  <a:lnTo>
                    <a:pt x="1397" y="899"/>
                  </a:lnTo>
                  <a:lnTo>
                    <a:pt x="1396" y="899"/>
                  </a:lnTo>
                  <a:lnTo>
                    <a:pt x="1396" y="899"/>
                  </a:lnTo>
                  <a:lnTo>
                    <a:pt x="1396" y="899"/>
                  </a:lnTo>
                  <a:lnTo>
                    <a:pt x="1396" y="899"/>
                  </a:lnTo>
                  <a:lnTo>
                    <a:pt x="1392" y="899"/>
                  </a:lnTo>
                  <a:lnTo>
                    <a:pt x="1392" y="899"/>
                  </a:lnTo>
                  <a:lnTo>
                    <a:pt x="1391" y="899"/>
                  </a:lnTo>
                  <a:lnTo>
                    <a:pt x="1391" y="1060"/>
                  </a:lnTo>
                  <a:lnTo>
                    <a:pt x="1391" y="1060"/>
                  </a:lnTo>
                  <a:lnTo>
                    <a:pt x="1391" y="1060"/>
                  </a:lnTo>
                  <a:lnTo>
                    <a:pt x="1391" y="1060"/>
                  </a:lnTo>
                  <a:lnTo>
                    <a:pt x="1391" y="899"/>
                  </a:lnTo>
                  <a:lnTo>
                    <a:pt x="1391" y="899"/>
                  </a:lnTo>
                  <a:lnTo>
                    <a:pt x="1391" y="1060"/>
                  </a:lnTo>
                  <a:lnTo>
                    <a:pt x="1391" y="1060"/>
                  </a:lnTo>
                  <a:lnTo>
                    <a:pt x="1391" y="899"/>
                  </a:lnTo>
                  <a:lnTo>
                    <a:pt x="1391" y="899"/>
                  </a:lnTo>
                  <a:lnTo>
                    <a:pt x="1391" y="1060"/>
                  </a:lnTo>
                  <a:lnTo>
                    <a:pt x="1391" y="1060"/>
                  </a:lnTo>
                  <a:lnTo>
                    <a:pt x="1391" y="899"/>
                  </a:lnTo>
                  <a:lnTo>
                    <a:pt x="1391" y="899"/>
                  </a:lnTo>
                  <a:lnTo>
                    <a:pt x="1391" y="1060"/>
                  </a:lnTo>
                  <a:lnTo>
                    <a:pt x="1391" y="1060"/>
                  </a:lnTo>
                  <a:lnTo>
                    <a:pt x="1391" y="1060"/>
                  </a:lnTo>
                  <a:lnTo>
                    <a:pt x="1391" y="1060"/>
                  </a:lnTo>
                  <a:lnTo>
                    <a:pt x="1391" y="1060"/>
                  </a:lnTo>
                  <a:lnTo>
                    <a:pt x="1390" y="1060"/>
                  </a:lnTo>
                  <a:lnTo>
                    <a:pt x="1390" y="899"/>
                  </a:lnTo>
                  <a:lnTo>
                    <a:pt x="1390" y="899"/>
                  </a:lnTo>
                  <a:lnTo>
                    <a:pt x="1390" y="1060"/>
                  </a:lnTo>
                  <a:lnTo>
                    <a:pt x="1390" y="1060"/>
                  </a:lnTo>
                  <a:lnTo>
                    <a:pt x="1390" y="899"/>
                  </a:lnTo>
                  <a:lnTo>
                    <a:pt x="1390" y="899"/>
                  </a:lnTo>
                  <a:lnTo>
                    <a:pt x="1390" y="899"/>
                  </a:lnTo>
                  <a:lnTo>
                    <a:pt x="1390" y="899"/>
                  </a:lnTo>
                  <a:lnTo>
                    <a:pt x="1390" y="899"/>
                  </a:lnTo>
                  <a:lnTo>
                    <a:pt x="1389" y="899"/>
                  </a:lnTo>
                  <a:lnTo>
                    <a:pt x="1389" y="1061"/>
                  </a:lnTo>
                  <a:lnTo>
                    <a:pt x="1389" y="1061"/>
                  </a:lnTo>
                  <a:lnTo>
                    <a:pt x="1389" y="899"/>
                  </a:lnTo>
                  <a:lnTo>
                    <a:pt x="1388" y="899"/>
                  </a:lnTo>
                  <a:lnTo>
                    <a:pt x="1388" y="1061"/>
                  </a:lnTo>
                  <a:lnTo>
                    <a:pt x="1388" y="1061"/>
                  </a:lnTo>
                  <a:lnTo>
                    <a:pt x="1388" y="899"/>
                  </a:lnTo>
                  <a:lnTo>
                    <a:pt x="1388" y="899"/>
                  </a:lnTo>
                  <a:lnTo>
                    <a:pt x="1388" y="899"/>
                  </a:lnTo>
                  <a:lnTo>
                    <a:pt x="1388" y="899"/>
                  </a:lnTo>
                  <a:lnTo>
                    <a:pt x="1388" y="1063"/>
                  </a:lnTo>
                  <a:lnTo>
                    <a:pt x="1388" y="1063"/>
                  </a:lnTo>
                  <a:lnTo>
                    <a:pt x="1388" y="899"/>
                  </a:lnTo>
                  <a:lnTo>
                    <a:pt x="1388" y="899"/>
                  </a:lnTo>
                  <a:lnTo>
                    <a:pt x="1388" y="899"/>
                  </a:lnTo>
                  <a:lnTo>
                    <a:pt x="1387" y="899"/>
                  </a:lnTo>
                  <a:lnTo>
                    <a:pt x="1387" y="899"/>
                  </a:lnTo>
                  <a:lnTo>
                    <a:pt x="1387" y="899"/>
                  </a:lnTo>
                  <a:lnTo>
                    <a:pt x="1387" y="899"/>
                  </a:lnTo>
                  <a:lnTo>
                    <a:pt x="1387" y="899"/>
                  </a:lnTo>
                  <a:lnTo>
                    <a:pt x="1387" y="1064"/>
                  </a:lnTo>
                  <a:lnTo>
                    <a:pt x="1387" y="1064"/>
                  </a:lnTo>
                  <a:lnTo>
                    <a:pt x="1387" y="899"/>
                  </a:lnTo>
                  <a:lnTo>
                    <a:pt x="1386" y="899"/>
                  </a:lnTo>
                  <a:lnTo>
                    <a:pt x="1386" y="899"/>
                  </a:lnTo>
                  <a:lnTo>
                    <a:pt x="1385" y="899"/>
                  </a:lnTo>
                  <a:lnTo>
                    <a:pt x="1385" y="899"/>
                  </a:lnTo>
                  <a:lnTo>
                    <a:pt x="1385" y="899"/>
                  </a:lnTo>
                  <a:lnTo>
                    <a:pt x="1385" y="899"/>
                  </a:lnTo>
                  <a:lnTo>
                    <a:pt x="1385" y="899"/>
                  </a:lnTo>
                  <a:lnTo>
                    <a:pt x="1385" y="899"/>
                  </a:lnTo>
                  <a:lnTo>
                    <a:pt x="1382" y="899"/>
                  </a:lnTo>
                  <a:lnTo>
                    <a:pt x="1382" y="899"/>
                  </a:lnTo>
                  <a:lnTo>
                    <a:pt x="1381" y="899"/>
                  </a:lnTo>
                  <a:lnTo>
                    <a:pt x="1381" y="899"/>
                  </a:lnTo>
                  <a:lnTo>
                    <a:pt x="1380" y="899"/>
                  </a:lnTo>
                  <a:lnTo>
                    <a:pt x="1380" y="899"/>
                  </a:lnTo>
                  <a:lnTo>
                    <a:pt x="1375" y="899"/>
                  </a:lnTo>
                  <a:lnTo>
                    <a:pt x="1375" y="899"/>
                  </a:lnTo>
                  <a:lnTo>
                    <a:pt x="1375" y="899"/>
                  </a:lnTo>
                  <a:lnTo>
                    <a:pt x="1375" y="899"/>
                  </a:lnTo>
                  <a:lnTo>
                    <a:pt x="1375" y="899"/>
                  </a:lnTo>
                  <a:lnTo>
                    <a:pt x="1375" y="899"/>
                  </a:lnTo>
                  <a:lnTo>
                    <a:pt x="1370" y="899"/>
                  </a:lnTo>
                  <a:lnTo>
                    <a:pt x="1370" y="1074"/>
                  </a:lnTo>
                  <a:lnTo>
                    <a:pt x="1369" y="1074"/>
                  </a:lnTo>
                  <a:lnTo>
                    <a:pt x="1369" y="1074"/>
                  </a:lnTo>
                  <a:lnTo>
                    <a:pt x="1369" y="1074"/>
                  </a:lnTo>
                  <a:lnTo>
                    <a:pt x="1369" y="899"/>
                  </a:lnTo>
                  <a:lnTo>
                    <a:pt x="1369" y="899"/>
                  </a:lnTo>
                  <a:lnTo>
                    <a:pt x="1369" y="899"/>
                  </a:lnTo>
                  <a:lnTo>
                    <a:pt x="1369" y="899"/>
                  </a:lnTo>
                  <a:lnTo>
                    <a:pt x="1369" y="899"/>
                  </a:lnTo>
                  <a:lnTo>
                    <a:pt x="1369" y="899"/>
                  </a:lnTo>
                  <a:lnTo>
                    <a:pt x="1369" y="899"/>
                  </a:lnTo>
                  <a:lnTo>
                    <a:pt x="1369" y="899"/>
                  </a:lnTo>
                  <a:lnTo>
                    <a:pt x="1369" y="1077"/>
                  </a:lnTo>
                  <a:lnTo>
                    <a:pt x="1369" y="1077"/>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899"/>
                  </a:lnTo>
                  <a:lnTo>
                    <a:pt x="1366" y="899"/>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899"/>
                  </a:lnTo>
                  <a:lnTo>
                    <a:pt x="1366" y="899"/>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899"/>
                  </a:lnTo>
                  <a:lnTo>
                    <a:pt x="1364" y="899"/>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899"/>
                  </a:lnTo>
                  <a:lnTo>
                    <a:pt x="1354" y="899"/>
                  </a:lnTo>
                  <a:lnTo>
                    <a:pt x="1354" y="1101"/>
                  </a:lnTo>
                  <a:lnTo>
                    <a:pt x="1354" y="1101"/>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899"/>
                  </a:lnTo>
                  <a:lnTo>
                    <a:pt x="1337" y="899"/>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899"/>
                  </a:lnTo>
                  <a:lnTo>
                    <a:pt x="1332" y="899"/>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1116"/>
                  </a:lnTo>
                  <a:lnTo>
                    <a:pt x="1326" y="1116"/>
                  </a:lnTo>
                  <a:lnTo>
                    <a:pt x="1326" y="1116"/>
                  </a:lnTo>
                  <a:lnTo>
                    <a:pt x="1326" y="1116"/>
                  </a:lnTo>
                  <a:lnTo>
                    <a:pt x="1326" y="1116"/>
                  </a:lnTo>
                  <a:lnTo>
                    <a:pt x="1326" y="1116"/>
                  </a:lnTo>
                  <a:lnTo>
                    <a:pt x="1326" y="1116"/>
                  </a:lnTo>
                  <a:lnTo>
                    <a:pt x="1326" y="1116"/>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1"/>
                  </a:lnTo>
                  <a:lnTo>
                    <a:pt x="1319" y="1121"/>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899"/>
                  </a:lnTo>
                  <a:lnTo>
                    <a:pt x="1249" y="899"/>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899"/>
                  </a:lnTo>
                  <a:lnTo>
                    <a:pt x="1225" y="899"/>
                  </a:lnTo>
                  <a:lnTo>
                    <a:pt x="1225" y="1126"/>
                  </a:lnTo>
                  <a:lnTo>
                    <a:pt x="1225" y="1126"/>
                  </a:lnTo>
                  <a:lnTo>
                    <a:pt x="1225" y="1126"/>
                  </a:lnTo>
                  <a:lnTo>
                    <a:pt x="1225" y="1126"/>
                  </a:lnTo>
                  <a:lnTo>
                    <a:pt x="1225" y="1126"/>
                  </a:lnTo>
                  <a:lnTo>
                    <a:pt x="1225" y="1126"/>
                  </a:lnTo>
                  <a:lnTo>
                    <a:pt x="1225" y="899"/>
                  </a:lnTo>
                  <a:lnTo>
                    <a:pt x="1224" y="899"/>
                  </a:lnTo>
                  <a:lnTo>
                    <a:pt x="1224" y="899"/>
                  </a:lnTo>
                  <a:lnTo>
                    <a:pt x="1224" y="899"/>
                  </a:lnTo>
                  <a:lnTo>
                    <a:pt x="1224" y="899"/>
                  </a:lnTo>
                  <a:lnTo>
                    <a:pt x="1224" y="899"/>
                  </a:lnTo>
                  <a:lnTo>
                    <a:pt x="1224"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899"/>
                  </a:lnTo>
                  <a:lnTo>
                    <a:pt x="1181" y="899"/>
                  </a:lnTo>
                  <a:lnTo>
                    <a:pt x="1181" y="1135"/>
                  </a:lnTo>
                  <a:lnTo>
                    <a:pt x="1180" y="1135"/>
                  </a:lnTo>
                  <a:lnTo>
                    <a:pt x="1180" y="1135"/>
                  </a:lnTo>
                  <a:lnTo>
                    <a:pt x="1179" y="1135"/>
                  </a:lnTo>
                  <a:lnTo>
                    <a:pt x="1179" y="1135"/>
                  </a:lnTo>
                  <a:lnTo>
                    <a:pt x="1179" y="1135"/>
                  </a:lnTo>
                  <a:lnTo>
                    <a:pt x="1179" y="1135"/>
                  </a:lnTo>
                  <a:lnTo>
                    <a:pt x="1179" y="1135"/>
                  </a:lnTo>
                  <a:lnTo>
                    <a:pt x="1179" y="1135"/>
                  </a:lnTo>
                  <a:lnTo>
                    <a:pt x="1179" y="1135"/>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04" y="1136"/>
                  </a:lnTo>
                  <a:lnTo>
                    <a:pt x="1104" y="1136"/>
                  </a:lnTo>
                  <a:lnTo>
                    <a:pt x="1102" y="1136"/>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899"/>
                  </a:lnTo>
                  <a:lnTo>
                    <a:pt x="1069" y="899"/>
                  </a:lnTo>
                  <a:lnTo>
                    <a:pt x="1069" y="899"/>
                  </a:lnTo>
                  <a:lnTo>
                    <a:pt x="1069" y="899"/>
                  </a:lnTo>
                  <a:lnTo>
                    <a:pt x="1069" y="899"/>
                  </a:lnTo>
                  <a:lnTo>
                    <a:pt x="1069" y="899"/>
                  </a:lnTo>
                  <a:lnTo>
                    <a:pt x="1069" y="899"/>
                  </a:lnTo>
                  <a:lnTo>
                    <a:pt x="1069" y="899"/>
                  </a:lnTo>
                  <a:lnTo>
                    <a:pt x="1069" y="1146"/>
                  </a:lnTo>
                  <a:lnTo>
                    <a:pt x="1069" y="1146"/>
                  </a:lnTo>
                  <a:lnTo>
                    <a:pt x="1069" y="1146"/>
                  </a:lnTo>
                  <a:lnTo>
                    <a:pt x="1069" y="1146"/>
                  </a:lnTo>
                  <a:lnTo>
                    <a:pt x="1069" y="1148"/>
                  </a:lnTo>
                  <a:lnTo>
                    <a:pt x="1067" y="1148"/>
                  </a:lnTo>
                  <a:lnTo>
                    <a:pt x="1067" y="899"/>
                  </a:lnTo>
                  <a:lnTo>
                    <a:pt x="1067" y="899"/>
                  </a:lnTo>
                  <a:lnTo>
                    <a:pt x="1067" y="899"/>
                  </a:lnTo>
                  <a:lnTo>
                    <a:pt x="1067" y="899"/>
                  </a:lnTo>
                  <a:lnTo>
                    <a:pt x="1067" y="1150"/>
                  </a:lnTo>
                  <a:lnTo>
                    <a:pt x="1062" y="1150"/>
                  </a:lnTo>
                  <a:lnTo>
                    <a:pt x="1062" y="1150"/>
                  </a:lnTo>
                  <a:lnTo>
                    <a:pt x="1061" y="1150"/>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1157"/>
                  </a:lnTo>
                  <a:lnTo>
                    <a:pt x="1004" y="1157"/>
                  </a:lnTo>
                  <a:lnTo>
                    <a:pt x="1004" y="1158"/>
                  </a:lnTo>
                  <a:lnTo>
                    <a:pt x="1004" y="1158"/>
                  </a:lnTo>
                  <a:lnTo>
                    <a:pt x="1004" y="1164"/>
                  </a:lnTo>
                  <a:lnTo>
                    <a:pt x="1004" y="1164"/>
                  </a:lnTo>
                  <a:lnTo>
                    <a:pt x="1004" y="1164"/>
                  </a:lnTo>
                  <a:lnTo>
                    <a:pt x="1004" y="1164"/>
                  </a:lnTo>
                  <a:lnTo>
                    <a:pt x="1004" y="1167"/>
                  </a:lnTo>
                  <a:lnTo>
                    <a:pt x="1003" y="1167"/>
                  </a:lnTo>
                  <a:lnTo>
                    <a:pt x="1003" y="899"/>
                  </a:lnTo>
                  <a:lnTo>
                    <a:pt x="1002" y="899"/>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1177"/>
                  </a:lnTo>
                  <a:lnTo>
                    <a:pt x="955" y="1177"/>
                  </a:lnTo>
                  <a:lnTo>
                    <a:pt x="955" y="1177"/>
                  </a:lnTo>
                  <a:lnTo>
                    <a:pt x="955" y="1177"/>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3"/>
                  </a:lnTo>
                  <a:lnTo>
                    <a:pt x="955" y="1183"/>
                  </a:lnTo>
                  <a:lnTo>
                    <a:pt x="955" y="1183"/>
                  </a:lnTo>
                  <a:lnTo>
                    <a:pt x="955" y="1183"/>
                  </a:lnTo>
                  <a:lnTo>
                    <a:pt x="955" y="1183"/>
                  </a:lnTo>
                  <a:lnTo>
                    <a:pt x="952" y="1183"/>
                  </a:lnTo>
                  <a:lnTo>
                    <a:pt x="952" y="1183"/>
                  </a:lnTo>
                  <a:lnTo>
                    <a:pt x="952" y="1183"/>
                  </a:lnTo>
                  <a:lnTo>
                    <a:pt x="952" y="1183"/>
                  </a:lnTo>
                  <a:lnTo>
                    <a:pt x="951" y="1183"/>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899"/>
                  </a:lnTo>
                  <a:lnTo>
                    <a:pt x="948" y="899"/>
                  </a:lnTo>
                  <a:lnTo>
                    <a:pt x="948" y="1186"/>
                  </a:lnTo>
                  <a:lnTo>
                    <a:pt x="948" y="1186"/>
                  </a:lnTo>
                  <a:lnTo>
                    <a:pt x="948" y="899"/>
                  </a:lnTo>
                  <a:lnTo>
                    <a:pt x="948" y="899"/>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1192"/>
                  </a:lnTo>
                  <a:lnTo>
                    <a:pt x="938" y="1192"/>
                  </a:lnTo>
                  <a:lnTo>
                    <a:pt x="938" y="1192"/>
                  </a:lnTo>
                  <a:lnTo>
                    <a:pt x="936" y="1192"/>
                  </a:lnTo>
                  <a:lnTo>
                    <a:pt x="936" y="1192"/>
                  </a:lnTo>
                  <a:lnTo>
                    <a:pt x="936" y="1192"/>
                  </a:lnTo>
                  <a:lnTo>
                    <a:pt x="936" y="1192"/>
                  </a:lnTo>
                  <a:lnTo>
                    <a:pt x="935" y="1192"/>
                  </a:lnTo>
                  <a:lnTo>
                    <a:pt x="935" y="1192"/>
                  </a:lnTo>
                  <a:lnTo>
                    <a:pt x="935" y="1192"/>
                  </a:lnTo>
                  <a:lnTo>
                    <a:pt x="935" y="1192"/>
                  </a:lnTo>
                  <a:lnTo>
                    <a:pt x="935" y="1192"/>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7"/>
                  </a:lnTo>
                  <a:lnTo>
                    <a:pt x="932" y="1197"/>
                  </a:lnTo>
                  <a:lnTo>
                    <a:pt x="932" y="1198"/>
                  </a:lnTo>
                  <a:lnTo>
                    <a:pt x="931" y="1198"/>
                  </a:lnTo>
                  <a:lnTo>
                    <a:pt x="931" y="1199"/>
                  </a:lnTo>
                  <a:lnTo>
                    <a:pt x="929" y="1199"/>
                  </a:lnTo>
                  <a:lnTo>
                    <a:pt x="929" y="1199"/>
                  </a:lnTo>
                  <a:lnTo>
                    <a:pt x="928" y="11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2"/>
                  </a:lnTo>
                  <a:lnTo>
                    <a:pt x="913" y="1202"/>
                  </a:lnTo>
                  <a:lnTo>
                    <a:pt x="913" y="1202"/>
                  </a:lnTo>
                  <a:lnTo>
                    <a:pt x="912" y="1202"/>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0" y="1204"/>
                  </a:lnTo>
                  <a:lnTo>
                    <a:pt x="910" y="1204"/>
                  </a:lnTo>
                  <a:lnTo>
                    <a:pt x="910" y="1204"/>
                  </a:lnTo>
                  <a:lnTo>
                    <a:pt x="910" y="1204"/>
                  </a:lnTo>
                  <a:lnTo>
                    <a:pt x="909" y="1204"/>
                  </a:lnTo>
                  <a:lnTo>
                    <a:pt x="909" y="1205"/>
                  </a:lnTo>
                  <a:lnTo>
                    <a:pt x="907" y="1205"/>
                  </a:lnTo>
                  <a:lnTo>
                    <a:pt x="907" y="899"/>
                  </a:lnTo>
                  <a:lnTo>
                    <a:pt x="902" y="899"/>
                  </a:lnTo>
                  <a:lnTo>
                    <a:pt x="902" y="899"/>
                  </a:lnTo>
                  <a:lnTo>
                    <a:pt x="900" y="899"/>
                  </a:lnTo>
                  <a:lnTo>
                    <a:pt x="900" y="899"/>
                  </a:lnTo>
                  <a:lnTo>
                    <a:pt x="900" y="899"/>
                  </a:lnTo>
                  <a:lnTo>
                    <a:pt x="900" y="899"/>
                  </a:lnTo>
                  <a:lnTo>
                    <a:pt x="899" y="899"/>
                  </a:lnTo>
                  <a:lnTo>
                    <a:pt x="899" y="1207"/>
                  </a:lnTo>
                  <a:lnTo>
                    <a:pt x="899" y="1207"/>
                  </a:lnTo>
                  <a:lnTo>
                    <a:pt x="899" y="899"/>
                  </a:lnTo>
                  <a:lnTo>
                    <a:pt x="899" y="899"/>
                  </a:lnTo>
                  <a:lnTo>
                    <a:pt x="899" y="899"/>
                  </a:lnTo>
                  <a:lnTo>
                    <a:pt x="899" y="899"/>
                  </a:lnTo>
                  <a:lnTo>
                    <a:pt x="899" y="1208"/>
                  </a:lnTo>
                  <a:lnTo>
                    <a:pt x="899" y="1208"/>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1"/>
                  </a:lnTo>
                  <a:lnTo>
                    <a:pt x="887" y="1211"/>
                  </a:lnTo>
                  <a:lnTo>
                    <a:pt x="887" y="899"/>
                  </a:lnTo>
                  <a:lnTo>
                    <a:pt x="887" y="899"/>
                  </a:lnTo>
                  <a:lnTo>
                    <a:pt x="887" y="1211"/>
                  </a:lnTo>
                  <a:lnTo>
                    <a:pt x="887" y="1211"/>
                  </a:lnTo>
                  <a:lnTo>
                    <a:pt x="887" y="1212"/>
                  </a:lnTo>
                  <a:lnTo>
                    <a:pt x="887" y="1212"/>
                  </a:lnTo>
                  <a:lnTo>
                    <a:pt x="887"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1216"/>
                  </a:lnTo>
                  <a:lnTo>
                    <a:pt x="882" y="1216"/>
                  </a:lnTo>
                  <a:lnTo>
                    <a:pt x="882" y="1216"/>
                  </a:lnTo>
                  <a:lnTo>
                    <a:pt x="881" y="1216"/>
                  </a:lnTo>
                  <a:lnTo>
                    <a:pt x="881" y="1216"/>
                  </a:lnTo>
                  <a:lnTo>
                    <a:pt x="881" y="1216"/>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899"/>
                  </a:lnTo>
                  <a:lnTo>
                    <a:pt x="850" y="899"/>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899"/>
                  </a:lnTo>
                  <a:lnTo>
                    <a:pt x="847" y="899"/>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4"/>
                  </a:lnTo>
                  <a:lnTo>
                    <a:pt x="847" y="1224"/>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29"/>
                  </a:lnTo>
                  <a:lnTo>
                    <a:pt x="845" y="122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3"/>
                  </a:lnTo>
                  <a:lnTo>
                    <a:pt x="836" y="1233"/>
                  </a:lnTo>
                  <a:lnTo>
                    <a:pt x="836" y="1233"/>
                  </a:lnTo>
                  <a:lnTo>
                    <a:pt x="836" y="1233"/>
                  </a:lnTo>
                  <a:lnTo>
                    <a:pt x="836" y="1236"/>
                  </a:lnTo>
                  <a:lnTo>
                    <a:pt x="835" y="1236"/>
                  </a:lnTo>
                  <a:lnTo>
                    <a:pt x="835" y="899"/>
                  </a:lnTo>
                  <a:lnTo>
                    <a:pt x="835" y="899"/>
                  </a:lnTo>
                  <a:lnTo>
                    <a:pt x="835" y="899"/>
                  </a:lnTo>
                  <a:lnTo>
                    <a:pt x="835" y="899"/>
                  </a:lnTo>
                  <a:lnTo>
                    <a:pt x="835" y="899"/>
                  </a:lnTo>
                  <a:lnTo>
                    <a:pt x="829" y="899"/>
                  </a:lnTo>
                  <a:lnTo>
                    <a:pt x="829" y="1240"/>
                  </a:lnTo>
                  <a:lnTo>
                    <a:pt x="828" y="1240"/>
                  </a:lnTo>
                  <a:lnTo>
                    <a:pt x="828" y="899"/>
                  </a:lnTo>
                  <a:lnTo>
                    <a:pt x="828" y="899"/>
                  </a:lnTo>
                  <a:lnTo>
                    <a:pt x="828" y="1240"/>
                  </a:lnTo>
                  <a:lnTo>
                    <a:pt x="828" y="1240"/>
                  </a:lnTo>
                  <a:lnTo>
                    <a:pt x="828" y="1240"/>
                  </a:lnTo>
                  <a:lnTo>
                    <a:pt x="828" y="1240"/>
                  </a:lnTo>
                  <a:lnTo>
                    <a:pt x="828" y="899"/>
                  </a:lnTo>
                  <a:lnTo>
                    <a:pt x="828" y="899"/>
                  </a:lnTo>
                  <a:lnTo>
                    <a:pt x="828" y="899"/>
                  </a:lnTo>
                  <a:lnTo>
                    <a:pt x="828" y="899"/>
                  </a:lnTo>
                  <a:lnTo>
                    <a:pt x="828" y="1240"/>
                  </a:lnTo>
                  <a:lnTo>
                    <a:pt x="828" y="1240"/>
                  </a:lnTo>
                  <a:lnTo>
                    <a:pt x="828" y="1241"/>
                  </a:lnTo>
                  <a:lnTo>
                    <a:pt x="828" y="1241"/>
                  </a:lnTo>
                  <a:lnTo>
                    <a:pt x="828" y="1242"/>
                  </a:lnTo>
                  <a:lnTo>
                    <a:pt x="828" y="1242"/>
                  </a:lnTo>
                  <a:lnTo>
                    <a:pt x="828" y="1242"/>
                  </a:lnTo>
                  <a:lnTo>
                    <a:pt x="828" y="1242"/>
                  </a:lnTo>
                  <a:lnTo>
                    <a:pt x="828" y="1242"/>
                  </a:lnTo>
                  <a:lnTo>
                    <a:pt x="828" y="1242"/>
                  </a:lnTo>
                  <a:lnTo>
                    <a:pt x="828" y="1242"/>
                  </a:lnTo>
                  <a:lnTo>
                    <a:pt x="827" y="1242"/>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899"/>
                  </a:lnTo>
                  <a:lnTo>
                    <a:pt x="800" y="899"/>
                  </a:lnTo>
                  <a:lnTo>
                    <a:pt x="800" y="899"/>
                  </a:lnTo>
                  <a:lnTo>
                    <a:pt x="800" y="899"/>
                  </a:lnTo>
                  <a:lnTo>
                    <a:pt x="800" y="1248"/>
                  </a:lnTo>
                  <a:lnTo>
                    <a:pt x="795" y="1248"/>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2" y="1248"/>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1252"/>
                  </a:lnTo>
                  <a:lnTo>
                    <a:pt x="777" y="1252"/>
                  </a:lnTo>
                  <a:lnTo>
                    <a:pt x="777" y="1252"/>
                  </a:lnTo>
                  <a:lnTo>
                    <a:pt x="777" y="1252"/>
                  </a:lnTo>
                  <a:lnTo>
                    <a:pt x="777" y="1252"/>
                  </a:lnTo>
                  <a:lnTo>
                    <a:pt x="777" y="1252"/>
                  </a:lnTo>
                  <a:lnTo>
                    <a:pt x="777" y="1253"/>
                  </a:lnTo>
                  <a:lnTo>
                    <a:pt x="768" y="1253"/>
                  </a:lnTo>
                  <a:lnTo>
                    <a:pt x="768" y="1253"/>
                  </a:lnTo>
                  <a:lnTo>
                    <a:pt x="768" y="1253"/>
                  </a:lnTo>
                  <a:lnTo>
                    <a:pt x="768" y="1256"/>
                  </a:lnTo>
                  <a:lnTo>
                    <a:pt x="768" y="1256"/>
                  </a:lnTo>
                  <a:lnTo>
                    <a:pt x="768" y="899"/>
                  </a:lnTo>
                  <a:lnTo>
                    <a:pt x="767" y="899"/>
                  </a:lnTo>
                  <a:lnTo>
                    <a:pt x="767" y="899"/>
                  </a:lnTo>
                  <a:lnTo>
                    <a:pt x="767" y="899"/>
                  </a:lnTo>
                  <a:lnTo>
                    <a:pt x="767" y="1257"/>
                  </a:lnTo>
                  <a:lnTo>
                    <a:pt x="767" y="1257"/>
                  </a:lnTo>
                  <a:lnTo>
                    <a:pt x="767" y="899"/>
                  </a:lnTo>
                  <a:lnTo>
                    <a:pt x="767" y="899"/>
                  </a:lnTo>
                  <a:lnTo>
                    <a:pt x="767" y="899"/>
                  </a:lnTo>
                  <a:lnTo>
                    <a:pt x="767" y="899"/>
                  </a:lnTo>
                  <a:lnTo>
                    <a:pt x="767" y="1257"/>
                  </a:lnTo>
                  <a:lnTo>
                    <a:pt x="767" y="1257"/>
                  </a:lnTo>
                  <a:lnTo>
                    <a:pt x="767" y="899"/>
                  </a:lnTo>
                  <a:lnTo>
                    <a:pt x="766" y="899"/>
                  </a:lnTo>
                  <a:lnTo>
                    <a:pt x="766" y="1257"/>
                  </a:lnTo>
                  <a:lnTo>
                    <a:pt x="766" y="1257"/>
                  </a:lnTo>
                  <a:lnTo>
                    <a:pt x="766" y="1257"/>
                  </a:lnTo>
                  <a:lnTo>
                    <a:pt x="766" y="1257"/>
                  </a:lnTo>
                  <a:lnTo>
                    <a:pt x="766" y="899"/>
                  </a:lnTo>
                  <a:lnTo>
                    <a:pt x="766" y="899"/>
                  </a:lnTo>
                  <a:lnTo>
                    <a:pt x="766" y="899"/>
                  </a:lnTo>
                  <a:lnTo>
                    <a:pt x="766" y="899"/>
                  </a:lnTo>
                  <a:lnTo>
                    <a:pt x="766" y="899"/>
                  </a:lnTo>
                  <a:lnTo>
                    <a:pt x="766" y="899"/>
                  </a:lnTo>
                  <a:lnTo>
                    <a:pt x="766" y="899"/>
                  </a:lnTo>
                  <a:lnTo>
                    <a:pt x="766" y="899"/>
                  </a:lnTo>
                  <a:lnTo>
                    <a:pt x="766" y="1258"/>
                  </a:lnTo>
                  <a:lnTo>
                    <a:pt x="766" y="1258"/>
                  </a:lnTo>
                  <a:lnTo>
                    <a:pt x="766" y="1258"/>
                  </a:lnTo>
                  <a:lnTo>
                    <a:pt x="766" y="1258"/>
                  </a:lnTo>
                  <a:lnTo>
                    <a:pt x="766" y="1258"/>
                  </a:lnTo>
                  <a:lnTo>
                    <a:pt x="766" y="1258"/>
                  </a:lnTo>
                  <a:lnTo>
                    <a:pt x="766" y="1258"/>
                  </a:lnTo>
                  <a:lnTo>
                    <a:pt x="766" y="1258"/>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1261"/>
                  </a:lnTo>
                  <a:lnTo>
                    <a:pt x="743" y="1261"/>
                  </a:lnTo>
                  <a:lnTo>
                    <a:pt x="743" y="1261"/>
                  </a:lnTo>
                  <a:lnTo>
                    <a:pt x="737" y="1261"/>
                  </a:lnTo>
                  <a:lnTo>
                    <a:pt x="737" y="1261"/>
                  </a:lnTo>
                  <a:lnTo>
                    <a:pt x="737" y="1261"/>
                  </a:lnTo>
                  <a:lnTo>
                    <a:pt x="737" y="1261"/>
                  </a:lnTo>
                  <a:lnTo>
                    <a:pt x="737" y="1261"/>
                  </a:lnTo>
                  <a:lnTo>
                    <a:pt x="737" y="1262"/>
                  </a:lnTo>
                  <a:lnTo>
                    <a:pt x="737" y="1262"/>
                  </a:lnTo>
                  <a:lnTo>
                    <a:pt x="737" y="1262"/>
                  </a:lnTo>
                  <a:lnTo>
                    <a:pt x="736" y="1262"/>
                  </a:lnTo>
                  <a:lnTo>
                    <a:pt x="736" y="1262"/>
                  </a:lnTo>
                  <a:lnTo>
                    <a:pt x="736" y="1262"/>
                  </a:lnTo>
                  <a:lnTo>
                    <a:pt x="736" y="899"/>
                  </a:lnTo>
                  <a:lnTo>
                    <a:pt x="736" y="899"/>
                  </a:lnTo>
                  <a:lnTo>
                    <a:pt x="736" y="1264"/>
                  </a:lnTo>
                  <a:lnTo>
                    <a:pt x="736" y="1264"/>
                  </a:lnTo>
                  <a:lnTo>
                    <a:pt x="736" y="899"/>
                  </a:lnTo>
                  <a:lnTo>
                    <a:pt x="736" y="899"/>
                  </a:lnTo>
                  <a:lnTo>
                    <a:pt x="736" y="899"/>
                  </a:lnTo>
                  <a:lnTo>
                    <a:pt x="736" y="899"/>
                  </a:lnTo>
                  <a:lnTo>
                    <a:pt x="736" y="899"/>
                  </a:lnTo>
                  <a:lnTo>
                    <a:pt x="732" y="899"/>
                  </a:lnTo>
                  <a:lnTo>
                    <a:pt x="732" y="899"/>
                  </a:lnTo>
                  <a:lnTo>
                    <a:pt x="728" y="899"/>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1270"/>
                  </a:lnTo>
                  <a:lnTo>
                    <a:pt x="680" y="1270"/>
                  </a:lnTo>
                  <a:lnTo>
                    <a:pt x="680" y="1270"/>
                  </a:lnTo>
                  <a:lnTo>
                    <a:pt x="680" y="1270"/>
                  </a:lnTo>
                  <a:lnTo>
                    <a:pt x="680" y="1270"/>
                  </a:lnTo>
                  <a:lnTo>
                    <a:pt x="680" y="1270"/>
                  </a:lnTo>
                  <a:lnTo>
                    <a:pt x="680" y="1271"/>
                  </a:lnTo>
                  <a:lnTo>
                    <a:pt x="680" y="1271"/>
                  </a:lnTo>
                  <a:lnTo>
                    <a:pt x="680" y="1271"/>
                  </a:lnTo>
                  <a:lnTo>
                    <a:pt x="680" y="1271"/>
                  </a:lnTo>
                  <a:lnTo>
                    <a:pt x="680" y="1271"/>
                  </a:lnTo>
                  <a:lnTo>
                    <a:pt x="679" y="1271"/>
                  </a:lnTo>
                  <a:lnTo>
                    <a:pt x="679" y="1273"/>
                  </a:lnTo>
                  <a:lnTo>
                    <a:pt x="677" y="1273"/>
                  </a:lnTo>
                  <a:lnTo>
                    <a:pt x="677" y="1273"/>
                  </a:lnTo>
                  <a:lnTo>
                    <a:pt x="677" y="1273"/>
                  </a:lnTo>
                  <a:lnTo>
                    <a:pt x="677" y="1274"/>
                  </a:lnTo>
                  <a:lnTo>
                    <a:pt x="677" y="1274"/>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1276"/>
                  </a:lnTo>
                  <a:lnTo>
                    <a:pt x="674" y="1276"/>
                  </a:lnTo>
                  <a:lnTo>
                    <a:pt x="674" y="1276"/>
                  </a:lnTo>
                  <a:lnTo>
                    <a:pt x="673" y="1276"/>
                  </a:lnTo>
                  <a:lnTo>
                    <a:pt x="673" y="1276"/>
                  </a:lnTo>
                  <a:lnTo>
                    <a:pt x="673" y="1276"/>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899"/>
                  </a:lnTo>
                  <a:lnTo>
                    <a:pt x="649" y="899"/>
                  </a:lnTo>
                  <a:lnTo>
                    <a:pt x="649" y="899"/>
                  </a:lnTo>
                  <a:lnTo>
                    <a:pt x="649" y="899"/>
                  </a:lnTo>
                  <a:lnTo>
                    <a:pt x="649" y="1281"/>
                  </a:lnTo>
                  <a:lnTo>
                    <a:pt x="629" y="1281"/>
                  </a:lnTo>
                  <a:lnTo>
                    <a:pt x="629" y="1281"/>
                  </a:lnTo>
                  <a:lnTo>
                    <a:pt x="616" y="1281"/>
                  </a:lnTo>
                  <a:lnTo>
                    <a:pt x="616" y="1281"/>
                  </a:lnTo>
                  <a:lnTo>
                    <a:pt x="612" y="1281"/>
                  </a:lnTo>
                  <a:lnTo>
                    <a:pt x="612" y="1281"/>
                  </a:lnTo>
                  <a:lnTo>
                    <a:pt x="610" y="1281"/>
                  </a:lnTo>
                  <a:lnTo>
                    <a:pt x="610" y="1281"/>
                  </a:lnTo>
                  <a:lnTo>
                    <a:pt x="608" y="1281"/>
                  </a:lnTo>
                  <a:lnTo>
                    <a:pt x="608" y="1281"/>
                  </a:lnTo>
                  <a:lnTo>
                    <a:pt x="607" y="1281"/>
                  </a:lnTo>
                  <a:lnTo>
                    <a:pt x="607" y="1281"/>
                  </a:lnTo>
                  <a:lnTo>
                    <a:pt x="607" y="1281"/>
                  </a:lnTo>
                  <a:lnTo>
                    <a:pt x="607" y="1281"/>
                  </a:lnTo>
                  <a:lnTo>
                    <a:pt x="607" y="1281"/>
                  </a:lnTo>
                  <a:lnTo>
                    <a:pt x="607" y="1281"/>
                  </a:lnTo>
                  <a:lnTo>
                    <a:pt x="607" y="1281"/>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3"/>
                  </a:lnTo>
                  <a:lnTo>
                    <a:pt x="605" y="1283"/>
                  </a:lnTo>
                  <a:lnTo>
                    <a:pt x="605" y="1284"/>
                  </a:lnTo>
                  <a:lnTo>
                    <a:pt x="605" y="1284"/>
                  </a:lnTo>
                  <a:lnTo>
                    <a:pt x="605" y="1284"/>
                  </a:lnTo>
                  <a:lnTo>
                    <a:pt x="605" y="1284"/>
                  </a:lnTo>
                  <a:lnTo>
                    <a:pt x="605" y="1285"/>
                  </a:lnTo>
                  <a:lnTo>
                    <a:pt x="602" y="1285"/>
                  </a:lnTo>
                  <a:lnTo>
                    <a:pt x="602" y="1285"/>
                  </a:lnTo>
                  <a:lnTo>
                    <a:pt x="600" y="1285"/>
                  </a:lnTo>
                  <a:lnTo>
                    <a:pt x="600"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7"/>
                  </a:lnTo>
                  <a:lnTo>
                    <a:pt x="598" y="1287"/>
                  </a:lnTo>
                  <a:lnTo>
                    <a:pt x="598" y="1287"/>
                  </a:lnTo>
                  <a:lnTo>
                    <a:pt x="597" y="1287"/>
                  </a:lnTo>
                  <a:lnTo>
                    <a:pt x="597" y="1288"/>
                  </a:lnTo>
                  <a:lnTo>
                    <a:pt x="596" y="1288"/>
                  </a:lnTo>
                  <a:lnTo>
                    <a:pt x="596" y="1288"/>
                  </a:lnTo>
                  <a:lnTo>
                    <a:pt x="595" y="1288"/>
                  </a:lnTo>
                  <a:lnTo>
                    <a:pt x="595" y="1289"/>
                  </a:lnTo>
                  <a:lnTo>
                    <a:pt x="595" y="1289"/>
                  </a:lnTo>
                  <a:lnTo>
                    <a:pt x="595" y="1289"/>
                  </a:lnTo>
                  <a:lnTo>
                    <a:pt x="594" y="1289"/>
                  </a:lnTo>
                  <a:lnTo>
                    <a:pt x="594" y="1290"/>
                  </a:lnTo>
                  <a:lnTo>
                    <a:pt x="592" y="1290"/>
                  </a:lnTo>
                  <a:lnTo>
                    <a:pt x="592" y="899"/>
                  </a:lnTo>
                  <a:lnTo>
                    <a:pt x="591" y="899"/>
                  </a:lnTo>
                  <a:lnTo>
                    <a:pt x="591" y="1290"/>
                  </a:lnTo>
                  <a:lnTo>
                    <a:pt x="590" y="1290"/>
                  </a:lnTo>
                  <a:lnTo>
                    <a:pt x="590" y="1290"/>
                  </a:lnTo>
                  <a:lnTo>
                    <a:pt x="589" y="1290"/>
                  </a:lnTo>
                  <a:lnTo>
                    <a:pt x="589" y="1290"/>
                  </a:lnTo>
                  <a:lnTo>
                    <a:pt x="588" y="1290"/>
                  </a:lnTo>
                  <a:lnTo>
                    <a:pt x="588" y="1290"/>
                  </a:lnTo>
                  <a:lnTo>
                    <a:pt x="588" y="1290"/>
                  </a:lnTo>
                  <a:lnTo>
                    <a:pt x="588" y="1290"/>
                  </a:lnTo>
                  <a:lnTo>
                    <a:pt x="587" y="1290"/>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1"/>
                  </a:lnTo>
                  <a:lnTo>
                    <a:pt x="582" y="1291"/>
                  </a:lnTo>
                  <a:lnTo>
                    <a:pt x="582" y="1291"/>
                  </a:lnTo>
                  <a:lnTo>
                    <a:pt x="582" y="1291"/>
                  </a:lnTo>
                  <a:lnTo>
                    <a:pt x="582" y="1292"/>
                  </a:lnTo>
                  <a:lnTo>
                    <a:pt x="582" y="1292"/>
                  </a:lnTo>
                  <a:lnTo>
                    <a:pt x="582" y="1292"/>
                  </a:lnTo>
                  <a:lnTo>
                    <a:pt x="582" y="1292"/>
                  </a:lnTo>
                  <a:lnTo>
                    <a:pt x="582" y="1292"/>
                  </a:lnTo>
                  <a:lnTo>
                    <a:pt x="581" y="1292"/>
                  </a:lnTo>
                  <a:lnTo>
                    <a:pt x="581" y="1292"/>
                  </a:lnTo>
                  <a:lnTo>
                    <a:pt x="580" y="1292"/>
                  </a:lnTo>
                  <a:lnTo>
                    <a:pt x="580" y="1292"/>
                  </a:lnTo>
                  <a:lnTo>
                    <a:pt x="579" y="1292"/>
                  </a:lnTo>
                  <a:lnTo>
                    <a:pt x="579" y="1292"/>
                  </a:lnTo>
                  <a:lnTo>
                    <a:pt x="576" y="1292"/>
                  </a:lnTo>
                  <a:lnTo>
                    <a:pt x="576" y="1292"/>
                  </a:lnTo>
                  <a:lnTo>
                    <a:pt x="574" y="1292"/>
                  </a:lnTo>
                  <a:lnTo>
                    <a:pt x="574"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3"/>
                  </a:lnTo>
                  <a:lnTo>
                    <a:pt x="554" y="1293"/>
                  </a:lnTo>
                  <a:lnTo>
                    <a:pt x="554" y="1293"/>
                  </a:lnTo>
                  <a:lnTo>
                    <a:pt x="554" y="1293"/>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1297"/>
                  </a:lnTo>
                  <a:lnTo>
                    <a:pt x="548" y="1297"/>
                  </a:lnTo>
                  <a:lnTo>
                    <a:pt x="548" y="1297"/>
                  </a:lnTo>
                  <a:lnTo>
                    <a:pt x="548" y="1297"/>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899"/>
                  </a:lnTo>
                  <a:lnTo>
                    <a:pt x="529" y="899"/>
                  </a:lnTo>
                  <a:lnTo>
                    <a:pt x="529" y="899"/>
                  </a:lnTo>
                  <a:lnTo>
                    <a:pt x="529" y="899"/>
                  </a:lnTo>
                  <a:lnTo>
                    <a:pt x="529" y="1300"/>
                  </a:lnTo>
                  <a:lnTo>
                    <a:pt x="528" y="1300"/>
                  </a:lnTo>
                  <a:lnTo>
                    <a:pt x="528" y="1300"/>
                  </a:lnTo>
                  <a:lnTo>
                    <a:pt x="527" y="1300"/>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899"/>
                  </a:lnTo>
                  <a:lnTo>
                    <a:pt x="527" y="899"/>
                  </a:lnTo>
                  <a:lnTo>
                    <a:pt x="527" y="899"/>
                  </a:lnTo>
                  <a:lnTo>
                    <a:pt x="527" y="899"/>
                  </a:lnTo>
                  <a:lnTo>
                    <a:pt x="527" y="899"/>
                  </a:lnTo>
                  <a:lnTo>
                    <a:pt x="527" y="899"/>
                  </a:lnTo>
                  <a:lnTo>
                    <a:pt x="527" y="1300"/>
                  </a:lnTo>
                  <a:lnTo>
                    <a:pt x="527" y="1300"/>
                  </a:lnTo>
                  <a:lnTo>
                    <a:pt x="527" y="1300"/>
                  </a:lnTo>
                  <a:lnTo>
                    <a:pt x="527" y="1300"/>
                  </a:lnTo>
                  <a:lnTo>
                    <a:pt x="527" y="899"/>
                  </a:lnTo>
                  <a:lnTo>
                    <a:pt x="527" y="899"/>
                  </a:lnTo>
                  <a:lnTo>
                    <a:pt x="527" y="1300"/>
                  </a:lnTo>
                  <a:lnTo>
                    <a:pt x="527" y="1300"/>
                  </a:lnTo>
                  <a:lnTo>
                    <a:pt x="527" y="1300"/>
                  </a:lnTo>
                  <a:lnTo>
                    <a:pt x="527" y="1300"/>
                  </a:lnTo>
                  <a:lnTo>
                    <a:pt x="527" y="1300"/>
                  </a:lnTo>
                  <a:lnTo>
                    <a:pt x="527" y="1300"/>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899"/>
                  </a:lnTo>
                  <a:lnTo>
                    <a:pt x="525" y="899"/>
                  </a:lnTo>
                  <a:lnTo>
                    <a:pt x="525" y="899"/>
                  </a:lnTo>
                  <a:lnTo>
                    <a:pt x="525" y="899"/>
                  </a:lnTo>
                  <a:lnTo>
                    <a:pt x="525" y="899"/>
                  </a:lnTo>
                  <a:lnTo>
                    <a:pt x="522" y="899"/>
                  </a:lnTo>
                  <a:lnTo>
                    <a:pt x="522" y="899"/>
                  </a:lnTo>
                  <a:lnTo>
                    <a:pt x="521" y="899"/>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899"/>
                  </a:lnTo>
                  <a:lnTo>
                    <a:pt x="519" y="899"/>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899"/>
                  </a:lnTo>
                  <a:lnTo>
                    <a:pt x="510" y="899"/>
                  </a:lnTo>
                  <a:lnTo>
                    <a:pt x="510" y="1314"/>
                  </a:lnTo>
                  <a:lnTo>
                    <a:pt x="510" y="1314"/>
                  </a:lnTo>
                  <a:lnTo>
                    <a:pt x="510" y="1314"/>
                  </a:lnTo>
                  <a:lnTo>
                    <a:pt x="510" y="1314"/>
                  </a:lnTo>
                  <a:lnTo>
                    <a:pt x="510" y="1314"/>
                  </a:lnTo>
                  <a:lnTo>
                    <a:pt x="477" y="1314"/>
                  </a:lnTo>
                  <a:lnTo>
                    <a:pt x="477" y="899"/>
                  </a:lnTo>
                  <a:lnTo>
                    <a:pt x="477" y="899"/>
                  </a:lnTo>
                  <a:lnTo>
                    <a:pt x="477" y="1315"/>
                  </a:lnTo>
                  <a:lnTo>
                    <a:pt x="477" y="1315"/>
                  </a:lnTo>
                  <a:lnTo>
                    <a:pt x="477" y="1315"/>
                  </a:lnTo>
                  <a:lnTo>
                    <a:pt x="475" y="1315"/>
                  </a:lnTo>
                  <a:lnTo>
                    <a:pt x="475" y="1316"/>
                  </a:lnTo>
                  <a:lnTo>
                    <a:pt x="474" y="1316"/>
                  </a:lnTo>
                  <a:lnTo>
                    <a:pt x="474" y="1317"/>
                  </a:lnTo>
                  <a:lnTo>
                    <a:pt x="472" y="1317"/>
                  </a:lnTo>
                  <a:lnTo>
                    <a:pt x="472" y="1317"/>
                  </a:lnTo>
                  <a:lnTo>
                    <a:pt x="472" y="1317"/>
                  </a:lnTo>
                  <a:lnTo>
                    <a:pt x="472" y="1317"/>
                  </a:lnTo>
                  <a:lnTo>
                    <a:pt x="471" y="1317"/>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1317"/>
                  </a:lnTo>
                  <a:lnTo>
                    <a:pt x="470" y="1317"/>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9"/>
                  </a:lnTo>
                  <a:lnTo>
                    <a:pt x="430" y="1329"/>
                  </a:lnTo>
                  <a:lnTo>
                    <a:pt x="430" y="1330"/>
                  </a:lnTo>
                  <a:lnTo>
                    <a:pt x="430" y="1330"/>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899"/>
                  </a:lnTo>
                  <a:lnTo>
                    <a:pt x="400" y="899"/>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1335"/>
                  </a:lnTo>
                  <a:lnTo>
                    <a:pt x="398" y="1335"/>
                  </a:lnTo>
                  <a:lnTo>
                    <a:pt x="398" y="1335"/>
                  </a:lnTo>
                  <a:lnTo>
                    <a:pt x="398" y="1335"/>
                  </a:lnTo>
                  <a:lnTo>
                    <a:pt x="398" y="1336"/>
                  </a:lnTo>
                  <a:lnTo>
                    <a:pt x="398" y="1336"/>
                  </a:lnTo>
                  <a:lnTo>
                    <a:pt x="398" y="1336"/>
                  </a:lnTo>
                  <a:lnTo>
                    <a:pt x="398" y="1336"/>
                  </a:lnTo>
                  <a:lnTo>
                    <a:pt x="398" y="1336"/>
                  </a:lnTo>
                  <a:lnTo>
                    <a:pt x="398" y="1336"/>
                  </a:lnTo>
                  <a:lnTo>
                    <a:pt x="398" y="1336"/>
                  </a:lnTo>
                  <a:lnTo>
                    <a:pt x="398" y="1336"/>
                  </a:lnTo>
                  <a:lnTo>
                    <a:pt x="398" y="1336"/>
                  </a:lnTo>
                  <a:lnTo>
                    <a:pt x="387" y="1336"/>
                  </a:lnTo>
                  <a:lnTo>
                    <a:pt x="387" y="1336"/>
                  </a:lnTo>
                  <a:lnTo>
                    <a:pt x="384" y="1336"/>
                  </a:lnTo>
                  <a:lnTo>
                    <a:pt x="384" y="1336"/>
                  </a:lnTo>
                  <a:lnTo>
                    <a:pt x="383" y="1336"/>
                  </a:lnTo>
                  <a:lnTo>
                    <a:pt x="383" y="1336"/>
                  </a:lnTo>
                  <a:lnTo>
                    <a:pt x="383" y="1336"/>
                  </a:lnTo>
                  <a:lnTo>
                    <a:pt x="383" y="1337"/>
                  </a:lnTo>
                  <a:lnTo>
                    <a:pt x="383" y="1337"/>
                  </a:lnTo>
                  <a:lnTo>
                    <a:pt x="383" y="1341"/>
                  </a:lnTo>
                  <a:lnTo>
                    <a:pt x="383" y="1341"/>
                  </a:lnTo>
                  <a:lnTo>
                    <a:pt x="383" y="1341"/>
                  </a:lnTo>
                  <a:lnTo>
                    <a:pt x="383" y="1341"/>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1348"/>
                  </a:lnTo>
                  <a:lnTo>
                    <a:pt x="382" y="1348"/>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60"/>
                  </a:lnTo>
                  <a:lnTo>
                    <a:pt x="342" y="1360"/>
                  </a:lnTo>
                  <a:lnTo>
                    <a:pt x="342" y="1360"/>
                  </a:lnTo>
                  <a:lnTo>
                    <a:pt x="342" y="1360"/>
                  </a:lnTo>
                  <a:lnTo>
                    <a:pt x="342" y="1360"/>
                  </a:lnTo>
                  <a:lnTo>
                    <a:pt x="342" y="1360"/>
                  </a:lnTo>
                  <a:lnTo>
                    <a:pt x="342" y="1362"/>
                  </a:lnTo>
                  <a:lnTo>
                    <a:pt x="342" y="1362"/>
                  </a:lnTo>
                  <a:lnTo>
                    <a:pt x="342" y="1362"/>
                  </a:lnTo>
                  <a:lnTo>
                    <a:pt x="342" y="1362"/>
                  </a:lnTo>
                  <a:lnTo>
                    <a:pt x="342" y="1362"/>
                  </a:lnTo>
                  <a:lnTo>
                    <a:pt x="342" y="1362"/>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5"/>
                  </a:lnTo>
                  <a:lnTo>
                    <a:pt x="335" y="1365"/>
                  </a:lnTo>
                  <a:lnTo>
                    <a:pt x="335" y="1365"/>
                  </a:lnTo>
                  <a:lnTo>
                    <a:pt x="335" y="1365"/>
                  </a:lnTo>
                  <a:lnTo>
                    <a:pt x="335" y="1365"/>
                  </a:lnTo>
                  <a:lnTo>
                    <a:pt x="335" y="1365"/>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68"/>
                  </a:lnTo>
                  <a:lnTo>
                    <a:pt x="328" y="1368"/>
                  </a:lnTo>
                  <a:lnTo>
                    <a:pt x="328"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899"/>
                  </a:lnTo>
                  <a:lnTo>
                    <a:pt x="309" y="899"/>
                  </a:lnTo>
                  <a:lnTo>
                    <a:pt x="309" y="1378"/>
                  </a:lnTo>
                  <a:lnTo>
                    <a:pt x="309" y="1378"/>
                  </a:lnTo>
                  <a:lnTo>
                    <a:pt x="309" y="1380"/>
                  </a:lnTo>
                  <a:lnTo>
                    <a:pt x="309" y="1380"/>
                  </a:lnTo>
                  <a:lnTo>
                    <a:pt x="309" y="1380"/>
                  </a:lnTo>
                  <a:lnTo>
                    <a:pt x="309" y="1380"/>
                  </a:lnTo>
                  <a:lnTo>
                    <a:pt x="309" y="1380"/>
                  </a:lnTo>
                  <a:lnTo>
                    <a:pt x="309" y="1380"/>
                  </a:lnTo>
                  <a:lnTo>
                    <a:pt x="309" y="1383"/>
                  </a:lnTo>
                  <a:lnTo>
                    <a:pt x="308" y="1383"/>
                  </a:lnTo>
                  <a:lnTo>
                    <a:pt x="308" y="1383"/>
                  </a:lnTo>
                  <a:lnTo>
                    <a:pt x="307" y="1383"/>
                  </a:lnTo>
                  <a:lnTo>
                    <a:pt x="307" y="1383"/>
                  </a:lnTo>
                  <a:lnTo>
                    <a:pt x="307" y="1383"/>
                  </a:lnTo>
                  <a:lnTo>
                    <a:pt x="307" y="1385"/>
                  </a:lnTo>
                  <a:lnTo>
                    <a:pt x="301" y="1385"/>
                  </a:lnTo>
                  <a:lnTo>
                    <a:pt x="301" y="1385"/>
                  </a:lnTo>
                  <a:lnTo>
                    <a:pt x="299" y="1385"/>
                  </a:lnTo>
                  <a:lnTo>
                    <a:pt x="299" y="1385"/>
                  </a:lnTo>
                  <a:lnTo>
                    <a:pt x="297" y="1385"/>
                  </a:lnTo>
                  <a:lnTo>
                    <a:pt x="297" y="1385"/>
                  </a:lnTo>
                  <a:lnTo>
                    <a:pt x="296" y="1385"/>
                  </a:lnTo>
                  <a:lnTo>
                    <a:pt x="296" y="1386"/>
                  </a:lnTo>
                  <a:lnTo>
                    <a:pt x="296" y="1386"/>
                  </a:lnTo>
                  <a:lnTo>
                    <a:pt x="296" y="1386"/>
                  </a:lnTo>
                  <a:lnTo>
                    <a:pt x="296" y="1386"/>
                  </a:lnTo>
                  <a:lnTo>
                    <a:pt x="296" y="1386"/>
                  </a:lnTo>
                  <a:lnTo>
                    <a:pt x="296" y="1386"/>
                  </a:lnTo>
                  <a:lnTo>
                    <a:pt x="296" y="1386"/>
                  </a:lnTo>
                  <a:lnTo>
                    <a:pt x="296" y="1386"/>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1386"/>
                  </a:lnTo>
                  <a:lnTo>
                    <a:pt x="295" y="1386"/>
                  </a:lnTo>
                  <a:lnTo>
                    <a:pt x="295" y="1386"/>
                  </a:lnTo>
                  <a:lnTo>
                    <a:pt x="295" y="1386"/>
                  </a:lnTo>
                  <a:lnTo>
                    <a:pt x="295" y="1386"/>
                  </a:lnTo>
                  <a:lnTo>
                    <a:pt x="295" y="1386"/>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1389"/>
                  </a:lnTo>
                  <a:lnTo>
                    <a:pt x="288" y="1389"/>
                  </a:lnTo>
                  <a:lnTo>
                    <a:pt x="288" y="1389"/>
                  </a:lnTo>
                  <a:lnTo>
                    <a:pt x="288" y="1389"/>
                  </a:lnTo>
                  <a:lnTo>
                    <a:pt x="288" y="899"/>
                  </a:lnTo>
                  <a:lnTo>
                    <a:pt x="288" y="899"/>
                  </a:lnTo>
                  <a:lnTo>
                    <a:pt x="288" y="1396"/>
                  </a:lnTo>
                  <a:lnTo>
                    <a:pt x="286" y="1396"/>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1401"/>
                  </a:lnTo>
                  <a:lnTo>
                    <a:pt x="266" y="1401"/>
                  </a:lnTo>
                  <a:lnTo>
                    <a:pt x="266" y="1401"/>
                  </a:lnTo>
                  <a:lnTo>
                    <a:pt x="266" y="1401"/>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899"/>
                  </a:lnTo>
                  <a:lnTo>
                    <a:pt x="247" y="899"/>
                  </a:lnTo>
                  <a:lnTo>
                    <a:pt x="247" y="1406"/>
                  </a:lnTo>
                  <a:lnTo>
                    <a:pt x="243" y="1406"/>
                  </a:lnTo>
                  <a:lnTo>
                    <a:pt x="243" y="899"/>
                  </a:lnTo>
                  <a:lnTo>
                    <a:pt x="241" y="899"/>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899"/>
                  </a:lnTo>
                  <a:lnTo>
                    <a:pt x="237" y="899"/>
                  </a:lnTo>
                  <a:lnTo>
                    <a:pt x="237" y="1409"/>
                  </a:lnTo>
                  <a:lnTo>
                    <a:pt x="237" y="1409"/>
                  </a:lnTo>
                  <a:lnTo>
                    <a:pt x="237" y="1409"/>
                  </a:lnTo>
                  <a:lnTo>
                    <a:pt x="237" y="1409"/>
                  </a:lnTo>
                  <a:lnTo>
                    <a:pt x="237" y="1409"/>
                  </a:lnTo>
                  <a:lnTo>
                    <a:pt x="237" y="1409"/>
                  </a:lnTo>
                  <a:lnTo>
                    <a:pt x="237" y="899"/>
                  </a:lnTo>
                  <a:lnTo>
                    <a:pt x="237" y="89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899"/>
                  </a:lnTo>
                  <a:lnTo>
                    <a:pt x="220" y="899"/>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1420"/>
                  </a:lnTo>
                  <a:lnTo>
                    <a:pt x="210" y="1420"/>
                  </a:lnTo>
                  <a:lnTo>
                    <a:pt x="210" y="899"/>
                  </a:lnTo>
                  <a:lnTo>
                    <a:pt x="209" y="899"/>
                  </a:lnTo>
                  <a:lnTo>
                    <a:pt x="209" y="1420"/>
                  </a:lnTo>
                  <a:lnTo>
                    <a:pt x="209" y="1420"/>
                  </a:lnTo>
                  <a:lnTo>
                    <a:pt x="209" y="1420"/>
                  </a:lnTo>
                  <a:lnTo>
                    <a:pt x="209" y="1420"/>
                  </a:lnTo>
                  <a:lnTo>
                    <a:pt x="209" y="1420"/>
                  </a:lnTo>
                  <a:lnTo>
                    <a:pt x="209" y="1420"/>
                  </a:lnTo>
                  <a:lnTo>
                    <a:pt x="209" y="1420"/>
                  </a:lnTo>
                  <a:lnTo>
                    <a:pt x="209" y="1420"/>
                  </a:lnTo>
                  <a:lnTo>
                    <a:pt x="209" y="1420"/>
                  </a:lnTo>
                  <a:lnTo>
                    <a:pt x="207" y="1420"/>
                  </a:lnTo>
                  <a:lnTo>
                    <a:pt x="207" y="1420"/>
                  </a:lnTo>
                  <a:lnTo>
                    <a:pt x="207" y="1420"/>
                  </a:lnTo>
                  <a:lnTo>
                    <a:pt x="207" y="899"/>
                  </a:lnTo>
                  <a:lnTo>
                    <a:pt x="207" y="899"/>
                  </a:lnTo>
                  <a:lnTo>
                    <a:pt x="207" y="1425"/>
                  </a:lnTo>
                  <a:lnTo>
                    <a:pt x="206" y="1425"/>
                  </a:lnTo>
                  <a:lnTo>
                    <a:pt x="206" y="1425"/>
                  </a:lnTo>
                  <a:lnTo>
                    <a:pt x="205" y="1425"/>
                  </a:lnTo>
                  <a:lnTo>
                    <a:pt x="205" y="1425"/>
                  </a:lnTo>
                  <a:lnTo>
                    <a:pt x="204" y="1425"/>
                  </a:lnTo>
                  <a:lnTo>
                    <a:pt x="204" y="1426"/>
                  </a:lnTo>
                  <a:lnTo>
                    <a:pt x="204" y="1426"/>
                  </a:lnTo>
                  <a:lnTo>
                    <a:pt x="204" y="1426"/>
                  </a:lnTo>
                  <a:lnTo>
                    <a:pt x="204" y="1426"/>
                  </a:lnTo>
                  <a:lnTo>
                    <a:pt x="204" y="1426"/>
                  </a:lnTo>
                  <a:lnTo>
                    <a:pt x="204" y="1426"/>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899"/>
                  </a:lnTo>
                  <a:lnTo>
                    <a:pt x="152" y="899"/>
                  </a:lnTo>
                  <a:lnTo>
                    <a:pt x="152" y="899"/>
                  </a:lnTo>
                  <a:lnTo>
                    <a:pt x="152" y="899"/>
                  </a:lnTo>
                  <a:lnTo>
                    <a:pt x="152"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899"/>
                  </a:lnTo>
                  <a:lnTo>
                    <a:pt x="151" y="1443"/>
                  </a:lnTo>
                  <a:lnTo>
                    <a:pt x="151" y="1443"/>
                  </a:lnTo>
                  <a:lnTo>
                    <a:pt x="151" y="899"/>
                  </a:lnTo>
                  <a:lnTo>
                    <a:pt x="150" y="899"/>
                  </a:lnTo>
                  <a:lnTo>
                    <a:pt x="150" y="899"/>
                  </a:lnTo>
                  <a:lnTo>
                    <a:pt x="150" y="899"/>
                  </a:lnTo>
                  <a:lnTo>
                    <a:pt x="150" y="899"/>
                  </a:lnTo>
                  <a:lnTo>
                    <a:pt x="150" y="899"/>
                  </a:lnTo>
                  <a:lnTo>
                    <a:pt x="150" y="899"/>
                  </a:lnTo>
                  <a:lnTo>
                    <a:pt x="150" y="899"/>
                  </a:lnTo>
                  <a:lnTo>
                    <a:pt x="150" y="899"/>
                  </a:lnTo>
                  <a:lnTo>
                    <a:pt x="150" y="899"/>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1449"/>
                  </a:lnTo>
                  <a:lnTo>
                    <a:pt x="148" y="1449"/>
                  </a:lnTo>
                  <a:lnTo>
                    <a:pt x="148" y="899"/>
                  </a:lnTo>
                  <a:lnTo>
                    <a:pt x="148" y="899"/>
                  </a:lnTo>
                  <a:lnTo>
                    <a:pt x="148" y="899"/>
                  </a:lnTo>
                  <a:lnTo>
                    <a:pt x="148" y="899"/>
                  </a:lnTo>
                  <a:lnTo>
                    <a:pt x="148" y="1451"/>
                  </a:lnTo>
                  <a:lnTo>
                    <a:pt x="147" y="1451"/>
                  </a:lnTo>
                  <a:lnTo>
                    <a:pt x="147" y="899"/>
                  </a:lnTo>
                  <a:lnTo>
                    <a:pt x="147" y="899"/>
                  </a:lnTo>
                  <a:lnTo>
                    <a:pt x="147" y="899"/>
                  </a:lnTo>
                  <a:lnTo>
                    <a:pt x="147" y="899"/>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899"/>
                  </a:lnTo>
                  <a:lnTo>
                    <a:pt x="141" y="899"/>
                  </a:lnTo>
                  <a:lnTo>
                    <a:pt x="141" y="899"/>
                  </a:lnTo>
                  <a:lnTo>
                    <a:pt x="141" y="899"/>
                  </a:lnTo>
                  <a:lnTo>
                    <a:pt x="141" y="1458"/>
                  </a:lnTo>
                  <a:lnTo>
                    <a:pt x="141" y="1458"/>
                  </a:lnTo>
                  <a:lnTo>
                    <a:pt x="141" y="1458"/>
                  </a:lnTo>
                  <a:lnTo>
                    <a:pt x="140" y="1458"/>
                  </a:lnTo>
                  <a:lnTo>
                    <a:pt x="140" y="1458"/>
                  </a:lnTo>
                  <a:lnTo>
                    <a:pt x="140" y="1458"/>
                  </a:lnTo>
                  <a:lnTo>
                    <a:pt x="140" y="899"/>
                  </a:lnTo>
                  <a:lnTo>
                    <a:pt x="140" y="899"/>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3"/>
                  </a:lnTo>
                  <a:lnTo>
                    <a:pt x="137" y="1483"/>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899"/>
                  </a:lnTo>
                  <a:lnTo>
                    <a:pt x="136" y="899"/>
                  </a:lnTo>
                  <a:lnTo>
                    <a:pt x="136" y="899"/>
                  </a:lnTo>
                  <a:lnTo>
                    <a:pt x="136" y="899"/>
                  </a:lnTo>
                  <a:lnTo>
                    <a:pt x="136" y="1492"/>
                  </a:lnTo>
                  <a:lnTo>
                    <a:pt x="136" y="1492"/>
                  </a:lnTo>
                  <a:lnTo>
                    <a:pt x="136" y="1492"/>
                  </a:lnTo>
                  <a:lnTo>
                    <a:pt x="135" y="1492"/>
                  </a:lnTo>
                  <a:lnTo>
                    <a:pt x="135" y="1492"/>
                  </a:lnTo>
                  <a:lnTo>
                    <a:pt x="135" y="1492"/>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899"/>
                  </a:lnTo>
                  <a:lnTo>
                    <a:pt x="115" y="899"/>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1535"/>
                  </a:lnTo>
                  <a:lnTo>
                    <a:pt x="106" y="1535"/>
                  </a:lnTo>
                  <a:lnTo>
                    <a:pt x="106" y="1536"/>
                  </a:lnTo>
                  <a:lnTo>
                    <a:pt x="104" y="1536"/>
                  </a:lnTo>
                  <a:lnTo>
                    <a:pt x="104" y="1536"/>
                  </a:lnTo>
                  <a:lnTo>
                    <a:pt x="103" y="1536"/>
                  </a:lnTo>
                  <a:lnTo>
                    <a:pt x="103" y="1536"/>
                  </a:lnTo>
                  <a:lnTo>
                    <a:pt x="103" y="1536"/>
                  </a:lnTo>
                  <a:lnTo>
                    <a:pt x="103" y="899"/>
                  </a:lnTo>
                  <a:lnTo>
                    <a:pt x="103" y="899"/>
                  </a:lnTo>
                  <a:lnTo>
                    <a:pt x="103" y="899"/>
                  </a:lnTo>
                  <a:lnTo>
                    <a:pt x="103" y="899"/>
                  </a:lnTo>
                  <a:lnTo>
                    <a:pt x="103" y="1543"/>
                  </a:lnTo>
                  <a:lnTo>
                    <a:pt x="102" y="1543"/>
                  </a:lnTo>
                  <a:lnTo>
                    <a:pt x="102" y="1543"/>
                  </a:lnTo>
                  <a:lnTo>
                    <a:pt x="101" y="1543"/>
                  </a:lnTo>
                  <a:lnTo>
                    <a:pt x="101" y="1544"/>
                  </a:lnTo>
                  <a:lnTo>
                    <a:pt x="94" y="1544"/>
                  </a:lnTo>
                  <a:lnTo>
                    <a:pt x="94" y="1544"/>
                  </a:lnTo>
                  <a:lnTo>
                    <a:pt x="93" y="1544"/>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899"/>
                  </a:lnTo>
                  <a:lnTo>
                    <a:pt x="86" y="899"/>
                  </a:lnTo>
                  <a:lnTo>
                    <a:pt x="86" y="899"/>
                  </a:lnTo>
                  <a:lnTo>
                    <a:pt x="86" y="899"/>
                  </a:lnTo>
                  <a:lnTo>
                    <a:pt x="86" y="1579"/>
                  </a:lnTo>
                  <a:lnTo>
                    <a:pt x="86" y="1579"/>
                  </a:lnTo>
                  <a:lnTo>
                    <a:pt x="86" y="1579"/>
                  </a:lnTo>
                  <a:lnTo>
                    <a:pt x="85" y="157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1644"/>
                  </a:lnTo>
                  <a:lnTo>
                    <a:pt x="47" y="1644"/>
                  </a:lnTo>
                  <a:lnTo>
                    <a:pt x="47" y="1644"/>
                  </a:lnTo>
                  <a:lnTo>
                    <a:pt x="46" y="1644"/>
                  </a:lnTo>
                  <a:lnTo>
                    <a:pt x="46" y="1644"/>
                  </a:lnTo>
                  <a:lnTo>
                    <a:pt x="46" y="1644"/>
                  </a:lnTo>
                  <a:lnTo>
                    <a:pt x="46" y="1644"/>
                  </a:lnTo>
                  <a:lnTo>
                    <a:pt x="46" y="1644"/>
                  </a:lnTo>
                  <a:lnTo>
                    <a:pt x="46" y="1644"/>
                  </a:lnTo>
                  <a:lnTo>
                    <a:pt x="46" y="1644"/>
                  </a:lnTo>
                  <a:lnTo>
                    <a:pt x="46" y="1646"/>
                  </a:lnTo>
                  <a:lnTo>
                    <a:pt x="46" y="1646"/>
                  </a:lnTo>
                  <a:lnTo>
                    <a:pt x="46" y="1647"/>
                  </a:lnTo>
                  <a:lnTo>
                    <a:pt x="45" y="1647"/>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1656"/>
                  </a:lnTo>
                  <a:lnTo>
                    <a:pt x="44" y="1656"/>
                  </a:lnTo>
                  <a:lnTo>
                    <a:pt x="44" y="1661"/>
                  </a:lnTo>
                  <a:lnTo>
                    <a:pt x="44" y="1661"/>
                  </a:lnTo>
                  <a:lnTo>
                    <a:pt x="44" y="1661"/>
                  </a:lnTo>
                  <a:lnTo>
                    <a:pt x="44" y="1661"/>
                  </a:lnTo>
                  <a:lnTo>
                    <a:pt x="44" y="899"/>
                  </a:lnTo>
                  <a:lnTo>
                    <a:pt x="44" y="899"/>
                  </a:lnTo>
                  <a:lnTo>
                    <a:pt x="44" y="1669"/>
                  </a:lnTo>
                  <a:lnTo>
                    <a:pt x="44" y="1669"/>
                  </a:lnTo>
                  <a:lnTo>
                    <a:pt x="44" y="1669"/>
                  </a:lnTo>
                  <a:lnTo>
                    <a:pt x="43" y="166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1677"/>
                  </a:lnTo>
                  <a:lnTo>
                    <a:pt x="43" y="1677"/>
                  </a:lnTo>
                  <a:lnTo>
                    <a:pt x="43" y="1677"/>
                  </a:lnTo>
                  <a:lnTo>
                    <a:pt x="43" y="1677"/>
                  </a:lnTo>
                  <a:lnTo>
                    <a:pt x="43" y="1678"/>
                  </a:lnTo>
                  <a:lnTo>
                    <a:pt x="42" y="1678"/>
                  </a:lnTo>
                  <a:lnTo>
                    <a:pt x="42" y="1678"/>
                  </a:lnTo>
                  <a:lnTo>
                    <a:pt x="42" y="1678"/>
                  </a:lnTo>
                  <a:lnTo>
                    <a:pt x="42" y="1681"/>
                  </a:lnTo>
                  <a:lnTo>
                    <a:pt x="41" y="1681"/>
                  </a:lnTo>
                  <a:lnTo>
                    <a:pt x="41" y="1681"/>
                  </a:lnTo>
                  <a:lnTo>
                    <a:pt x="41" y="1681"/>
                  </a:lnTo>
                  <a:lnTo>
                    <a:pt x="41" y="1681"/>
                  </a:lnTo>
                  <a:lnTo>
                    <a:pt x="41" y="1681"/>
                  </a:lnTo>
                  <a:lnTo>
                    <a:pt x="41" y="1683"/>
                  </a:lnTo>
                  <a:lnTo>
                    <a:pt x="41" y="1683"/>
                  </a:lnTo>
                  <a:lnTo>
                    <a:pt x="41" y="1684"/>
                  </a:lnTo>
                  <a:lnTo>
                    <a:pt x="41" y="1684"/>
                  </a:lnTo>
                  <a:lnTo>
                    <a:pt x="41" y="1685"/>
                  </a:lnTo>
                  <a:lnTo>
                    <a:pt x="40" y="1685"/>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90"/>
                  </a:lnTo>
                  <a:lnTo>
                    <a:pt x="39" y="1690"/>
                  </a:lnTo>
                  <a:lnTo>
                    <a:pt x="39" y="1691"/>
                  </a:lnTo>
                  <a:lnTo>
                    <a:pt x="39" y="1691"/>
                  </a:lnTo>
                  <a:lnTo>
                    <a:pt x="39" y="1693"/>
                  </a:lnTo>
                  <a:lnTo>
                    <a:pt x="39" y="1693"/>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1701"/>
                  </a:lnTo>
                  <a:lnTo>
                    <a:pt x="38" y="1701"/>
                  </a:lnTo>
                  <a:lnTo>
                    <a:pt x="38" y="1705"/>
                  </a:lnTo>
                  <a:lnTo>
                    <a:pt x="38" y="1705"/>
                  </a:lnTo>
                  <a:lnTo>
                    <a:pt x="38" y="1707"/>
                  </a:lnTo>
                  <a:lnTo>
                    <a:pt x="37" y="1707"/>
                  </a:lnTo>
                  <a:lnTo>
                    <a:pt x="37" y="1708"/>
                  </a:lnTo>
                  <a:lnTo>
                    <a:pt x="37" y="1708"/>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13"/>
                  </a:lnTo>
                  <a:lnTo>
                    <a:pt x="35" y="1713"/>
                  </a:lnTo>
                  <a:lnTo>
                    <a:pt x="35" y="1714"/>
                  </a:lnTo>
                  <a:lnTo>
                    <a:pt x="34" y="1714"/>
                  </a:lnTo>
                  <a:lnTo>
                    <a:pt x="34" y="1714"/>
                  </a:lnTo>
                  <a:lnTo>
                    <a:pt x="34" y="1714"/>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1750"/>
                  </a:lnTo>
                  <a:lnTo>
                    <a:pt x="29" y="1750"/>
                  </a:lnTo>
                  <a:lnTo>
                    <a:pt x="29" y="1750"/>
                  </a:lnTo>
                  <a:lnTo>
                    <a:pt x="28" y="1750"/>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1767"/>
                  </a:lnTo>
                  <a:lnTo>
                    <a:pt x="20" y="1767"/>
                  </a:lnTo>
                  <a:lnTo>
                    <a:pt x="20" y="1767"/>
                  </a:lnTo>
                  <a:lnTo>
                    <a:pt x="20" y="1767"/>
                  </a:lnTo>
                  <a:lnTo>
                    <a:pt x="20" y="1769"/>
                  </a:lnTo>
                  <a:lnTo>
                    <a:pt x="20" y="1769"/>
                  </a:lnTo>
                  <a:lnTo>
                    <a:pt x="20" y="1769"/>
                  </a:lnTo>
                  <a:lnTo>
                    <a:pt x="20" y="1769"/>
                  </a:lnTo>
                  <a:lnTo>
                    <a:pt x="20" y="1769"/>
                  </a:lnTo>
                  <a:lnTo>
                    <a:pt x="19" y="1769"/>
                  </a:lnTo>
                  <a:lnTo>
                    <a:pt x="19" y="1769"/>
                  </a:lnTo>
                  <a:lnTo>
                    <a:pt x="18" y="1769"/>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7"/>
                  </a:lnTo>
                  <a:lnTo>
                    <a:pt x="18" y="1777"/>
                  </a:lnTo>
                  <a:lnTo>
                    <a:pt x="18" y="1777"/>
                  </a:lnTo>
                  <a:lnTo>
                    <a:pt x="18" y="1777"/>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899"/>
                  </a:lnTo>
                  <a:lnTo>
                    <a:pt x="15" y="899"/>
                  </a:lnTo>
                  <a:lnTo>
                    <a:pt x="15" y="899"/>
                  </a:lnTo>
                  <a:lnTo>
                    <a:pt x="15" y="899"/>
                  </a:lnTo>
                  <a:lnTo>
                    <a:pt x="15" y="1785"/>
                  </a:lnTo>
                  <a:lnTo>
                    <a:pt x="12" y="1785"/>
                  </a:lnTo>
                  <a:lnTo>
                    <a:pt x="12" y="1785"/>
                  </a:lnTo>
                  <a:lnTo>
                    <a:pt x="11" y="1785"/>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9"/>
                  </a:lnTo>
                  <a:lnTo>
                    <a:pt x="10" y="1789"/>
                  </a:lnTo>
                  <a:lnTo>
                    <a:pt x="10" y="1789"/>
                  </a:lnTo>
                  <a:lnTo>
                    <a:pt x="10" y="178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B187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75">
              <a:extLst>
                <a:ext uri="{FF2B5EF4-FFF2-40B4-BE49-F238E27FC236}">
                  <a16:creationId xmlns:a16="http://schemas.microsoft.com/office/drawing/2014/main" id="{8B4AACF2-509A-4607-9DCB-3BC3C0398FC7}"/>
                </a:ext>
              </a:extLst>
            </p:cNvPr>
            <p:cNvSpPr>
              <a:spLocks/>
            </p:cNvSpPr>
            <p:nvPr/>
          </p:nvSpPr>
          <p:spPr bwMode="auto">
            <a:xfrm>
              <a:off x="1077913" y="1011238"/>
              <a:ext cx="5370513" cy="2857500"/>
            </a:xfrm>
            <a:custGeom>
              <a:avLst/>
              <a:gdLst>
                <a:gd name="T0" fmla="*/ 20 w 3383"/>
                <a:gd name="T1" fmla="*/ 1769 h 1800"/>
                <a:gd name="T2" fmla="*/ 44 w 3383"/>
                <a:gd name="T3" fmla="*/ 899 h 1800"/>
                <a:gd name="T4" fmla="*/ 116 w 3383"/>
                <a:gd name="T5" fmla="*/ 899 h 1800"/>
                <a:gd name="T6" fmla="*/ 136 w 3383"/>
                <a:gd name="T7" fmla="*/ 1486 h 1800"/>
                <a:gd name="T8" fmla="*/ 160 w 3383"/>
                <a:gd name="T9" fmla="*/ 899 h 1800"/>
                <a:gd name="T10" fmla="*/ 309 w 3383"/>
                <a:gd name="T11" fmla="*/ 1380 h 1800"/>
                <a:gd name="T12" fmla="*/ 345 w 3383"/>
                <a:gd name="T13" fmla="*/ 899 h 1800"/>
                <a:gd name="T14" fmla="*/ 456 w 3383"/>
                <a:gd name="T15" fmla="*/ 1322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1131 h 1800"/>
                <a:gd name="T28" fmla="*/ 1337 w 3383"/>
                <a:gd name="T29" fmla="*/ 1106 h 1800"/>
                <a:gd name="T30" fmla="*/ 1390 w 3383"/>
                <a:gd name="T31" fmla="*/ 1061 h 1800"/>
                <a:gd name="T32" fmla="*/ 1484 w 3383"/>
                <a:gd name="T33" fmla="*/ 1021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20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598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77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960 h 1800"/>
                <a:gd name="T92" fmla="*/ 1482 w 3383"/>
                <a:gd name="T93" fmla="*/ 1026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1204 h 1800"/>
                <a:gd name="T104" fmla="*/ 835 w 3383"/>
                <a:gd name="T105" fmla="*/ 899 h 1800"/>
                <a:gd name="T106" fmla="*/ 732 w 3383"/>
                <a:gd name="T107" fmla="*/ 1265 h 1800"/>
                <a:gd name="T108" fmla="*/ 548 w 3383"/>
                <a:gd name="T109" fmla="*/ 1294 h 1800"/>
                <a:gd name="T110" fmla="*/ 453 w 3383"/>
                <a:gd name="T111" fmla="*/ 1324 h 1800"/>
                <a:gd name="T112" fmla="*/ 344 w 3383"/>
                <a:gd name="T113" fmla="*/ 899 h 1800"/>
                <a:gd name="T114" fmla="*/ 301 w 3383"/>
                <a:gd name="T115" fmla="*/ 1385 h 1800"/>
                <a:gd name="T116" fmla="*/ 151 w 3383"/>
                <a:gd name="T117" fmla="*/ 899 h 1800"/>
                <a:gd name="T118" fmla="*/ 136 w 3383"/>
                <a:gd name="T119" fmla="*/ 899 h 1800"/>
                <a:gd name="T120" fmla="*/ 107 w 3383"/>
                <a:gd name="T121" fmla="*/ 1532 h 1800"/>
                <a:gd name="T122" fmla="*/ 43 w 3383"/>
                <a:gd name="T123" fmla="*/ 89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899"/>
                  </a:lnTo>
                  <a:lnTo>
                    <a:pt x="11" y="899"/>
                  </a:lnTo>
                  <a:lnTo>
                    <a:pt x="11" y="1785"/>
                  </a:lnTo>
                  <a:lnTo>
                    <a:pt x="12" y="1785"/>
                  </a:lnTo>
                  <a:lnTo>
                    <a:pt x="12" y="1785"/>
                  </a:lnTo>
                  <a:lnTo>
                    <a:pt x="15" y="1785"/>
                  </a:lnTo>
                  <a:lnTo>
                    <a:pt x="15" y="899"/>
                  </a:lnTo>
                  <a:lnTo>
                    <a:pt x="15" y="899"/>
                  </a:lnTo>
                  <a:lnTo>
                    <a:pt x="15" y="899"/>
                  </a:lnTo>
                  <a:lnTo>
                    <a:pt x="15" y="899"/>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1763"/>
                  </a:lnTo>
                  <a:lnTo>
                    <a:pt x="20" y="1763"/>
                  </a:lnTo>
                  <a:lnTo>
                    <a:pt x="20" y="1763"/>
                  </a:lnTo>
                  <a:lnTo>
                    <a:pt x="21" y="1763"/>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1748"/>
                  </a:lnTo>
                  <a:lnTo>
                    <a:pt x="30" y="1748"/>
                  </a:lnTo>
                  <a:lnTo>
                    <a:pt x="30" y="1748"/>
                  </a:lnTo>
                  <a:lnTo>
                    <a:pt x="30" y="1748"/>
                  </a:lnTo>
                  <a:lnTo>
                    <a:pt x="30" y="1748"/>
                  </a:lnTo>
                  <a:lnTo>
                    <a:pt x="30" y="1748"/>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899"/>
                  </a:lnTo>
                  <a:lnTo>
                    <a:pt x="40" y="899"/>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1669"/>
                  </a:lnTo>
                  <a:lnTo>
                    <a:pt x="43" y="1669"/>
                  </a:lnTo>
                  <a:lnTo>
                    <a:pt x="43" y="1669"/>
                  </a:lnTo>
                  <a:lnTo>
                    <a:pt x="43" y="1669"/>
                  </a:lnTo>
                  <a:lnTo>
                    <a:pt x="43" y="1669"/>
                  </a:lnTo>
                  <a:lnTo>
                    <a:pt x="43" y="1669"/>
                  </a:lnTo>
                  <a:lnTo>
                    <a:pt x="43" y="1669"/>
                  </a:lnTo>
                  <a:lnTo>
                    <a:pt x="43" y="1669"/>
                  </a:lnTo>
                  <a:lnTo>
                    <a:pt x="43" y="1669"/>
                  </a:lnTo>
                  <a:lnTo>
                    <a:pt x="44" y="1669"/>
                  </a:lnTo>
                  <a:lnTo>
                    <a:pt x="44" y="1669"/>
                  </a:lnTo>
                  <a:lnTo>
                    <a:pt x="44" y="1669"/>
                  </a:lnTo>
                  <a:lnTo>
                    <a:pt x="44" y="899"/>
                  </a:lnTo>
                  <a:lnTo>
                    <a:pt x="44" y="899"/>
                  </a:lnTo>
                  <a:lnTo>
                    <a:pt x="44" y="1661"/>
                  </a:lnTo>
                  <a:lnTo>
                    <a:pt x="44" y="1661"/>
                  </a:lnTo>
                  <a:lnTo>
                    <a:pt x="44" y="1661"/>
                  </a:lnTo>
                  <a:lnTo>
                    <a:pt x="44" y="1661"/>
                  </a:lnTo>
                  <a:lnTo>
                    <a:pt x="44" y="1656"/>
                  </a:lnTo>
                  <a:lnTo>
                    <a:pt x="44" y="1656"/>
                  </a:lnTo>
                  <a:lnTo>
                    <a:pt x="44" y="1650"/>
                  </a:lnTo>
                  <a:lnTo>
                    <a:pt x="44" y="1650"/>
                  </a:lnTo>
                  <a:lnTo>
                    <a:pt x="44" y="1650"/>
                  </a:lnTo>
                  <a:lnTo>
                    <a:pt x="44" y="1650"/>
                  </a:lnTo>
                  <a:lnTo>
                    <a:pt x="44" y="1650"/>
                  </a:lnTo>
                  <a:lnTo>
                    <a:pt x="45" y="1650"/>
                  </a:lnTo>
                  <a:lnTo>
                    <a:pt x="45" y="1649"/>
                  </a:lnTo>
                  <a:lnTo>
                    <a:pt x="45" y="1649"/>
                  </a:lnTo>
                  <a:lnTo>
                    <a:pt x="45" y="1649"/>
                  </a:lnTo>
                  <a:lnTo>
                    <a:pt x="45" y="1649"/>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1640"/>
                  </a:lnTo>
                  <a:lnTo>
                    <a:pt x="55" y="1640"/>
                  </a:lnTo>
                  <a:lnTo>
                    <a:pt x="55" y="1640"/>
                  </a:lnTo>
                  <a:lnTo>
                    <a:pt x="55" y="1640"/>
                  </a:lnTo>
                  <a:lnTo>
                    <a:pt x="55" y="1640"/>
                  </a:lnTo>
                  <a:lnTo>
                    <a:pt x="55" y="1640"/>
                  </a:lnTo>
                  <a:lnTo>
                    <a:pt x="55" y="1640"/>
                  </a:lnTo>
                  <a:lnTo>
                    <a:pt x="55" y="1640"/>
                  </a:lnTo>
                  <a:lnTo>
                    <a:pt x="55" y="899"/>
                  </a:lnTo>
                  <a:lnTo>
                    <a:pt x="55" y="899"/>
                  </a:lnTo>
                  <a:lnTo>
                    <a:pt x="55" y="899"/>
                  </a:lnTo>
                  <a:lnTo>
                    <a:pt x="55" y="89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1605"/>
                  </a:lnTo>
                  <a:lnTo>
                    <a:pt x="67" y="1605"/>
                  </a:lnTo>
                  <a:lnTo>
                    <a:pt x="67" y="1605"/>
                  </a:lnTo>
                  <a:lnTo>
                    <a:pt x="67" y="1605"/>
                  </a:lnTo>
                  <a:lnTo>
                    <a:pt x="67" y="1605"/>
                  </a:lnTo>
                  <a:lnTo>
                    <a:pt x="67" y="1605"/>
                  </a:lnTo>
                  <a:lnTo>
                    <a:pt x="67" y="1605"/>
                  </a:lnTo>
                  <a:lnTo>
                    <a:pt x="67" y="1605"/>
                  </a:lnTo>
                  <a:lnTo>
                    <a:pt x="67" y="1598"/>
                  </a:lnTo>
                  <a:lnTo>
                    <a:pt x="67" y="1598"/>
                  </a:lnTo>
                  <a:lnTo>
                    <a:pt x="67" y="1598"/>
                  </a:lnTo>
                  <a:lnTo>
                    <a:pt x="68" y="1598"/>
                  </a:lnTo>
                  <a:lnTo>
                    <a:pt x="68" y="1598"/>
                  </a:lnTo>
                  <a:lnTo>
                    <a:pt x="68" y="1598"/>
                  </a:lnTo>
                  <a:lnTo>
                    <a:pt x="68" y="899"/>
                  </a:lnTo>
                  <a:lnTo>
                    <a:pt x="69" y="899"/>
                  </a:lnTo>
                  <a:lnTo>
                    <a:pt x="69" y="899"/>
                  </a:lnTo>
                  <a:lnTo>
                    <a:pt x="70" y="899"/>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1580"/>
                  </a:lnTo>
                  <a:lnTo>
                    <a:pt x="81" y="1580"/>
                  </a:lnTo>
                  <a:lnTo>
                    <a:pt x="81" y="1580"/>
                  </a:lnTo>
                  <a:lnTo>
                    <a:pt x="81" y="1580"/>
                  </a:lnTo>
                  <a:lnTo>
                    <a:pt x="81" y="1580"/>
                  </a:lnTo>
                  <a:lnTo>
                    <a:pt x="81" y="1580"/>
                  </a:lnTo>
                  <a:lnTo>
                    <a:pt x="81" y="1580"/>
                  </a:lnTo>
                  <a:lnTo>
                    <a:pt x="83" y="1580"/>
                  </a:lnTo>
                  <a:lnTo>
                    <a:pt x="83" y="1580"/>
                  </a:lnTo>
                  <a:lnTo>
                    <a:pt x="85" y="1580"/>
                  </a:lnTo>
                  <a:lnTo>
                    <a:pt x="85" y="1579"/>
                  </a:lnTo>
                  <a:lnTo>
                    <a:pt x="86" y="1579"/>
                  </a:lnTo>
                  <a:lnTo>
                    <a:pt x="86" y="1579"/>
                  </a:lnTo>
                  <a:lnTo>
                    <a:pt x="86" y="1579"/>
                  </a:lnTo>
                  <a:lnTo>
                    <a:pt x="86" y="899"/>
                  </a:lnTo>
                  <a:lnTo>
                    <a:pt x="86" y="899"/>
                  </a:lnTo>
                  <a:lnTo>
                    <a:pt x="86" y="1571"/>
                  </a:lnTo>
                  <a:lnTo>
                    <a:pt x="86" y="1571"/>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899"/>
                  </a:lnTo>
                  <a:lnTo>
                    <a:pt x="103" y="899"/>
                  </a:lnTo>
                  <a:lnTo>
                    <a:pt x="103" y="899"/>
                  </a:lnTo>
                  <a:lnTo>
                    <a:pt x="103" y="899"/>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1530"/>
                  </a:lnTo>
                  <a:lnTo>
                    <a:pt x="116" y="1530"/>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17"/>
                  </a:lnTo>
                  <a:lnTo>
                    <a:pt x="116" y="1517"/>
                  </a:lnTo>
                  <a:lnTo>
                    <a:pt x="116" y="899"/>
                  </a:lnTo>
                  <a:lnTo>
                    <a:pt x="116" y="899"/>
                  </a:lnTo>
                  <a:lnTo>
                    <a:pt x="116" y="899"/>
                  </a:lnTo>
                  <a:lnTo>
                    <a:pt x="116" y="899"/>
                  </a:lnTo>
                  <a:lnTo>
                    <a:pt x="116" y="1517"/>
                  </a:lnTo>
                  <a:lnTo>
                    <a:pt x="117" y="1517"/>
                  </a:lnTo>
                  <a:lnTo>
                    <a:pt x="117"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899"/>
                  </a:lnTo>
                  <a:lnTo>
                    <a:pt x="121" y="899"/>
                  </a:lnTo>
                  <a:lnTo>
                    <a:pt x="121" y="899"/>
                  </a:lnTo>
                  <a:lnTo>
                    <a:pt x="121" y="899"/>
                  </a:lnTo>
                  <a:lnTo>
                    <a:pt x="121" y="1514"/>
                  </a:lnTo>
                  <a:lnTo>
                    <a:pt x="121" y="1514"/>
                  </a:lnTo>
                  <a:lnTo>
                    <a:pt x="121" y="1514"/>
                  </a:lnTo>
                  <a:lnTo>
                    <a:pt x="121" y="1514"/>
                  </a:lnTo>
                  <a:lnTo>
                    <a:pt x="121" y="1514"/>
                  </a:lnTo>
                  <a:lnTo>
                    <a:pt x="123" y="1514"/>
                  </a:lnTo>
                  <a:lnTo>
                    <a:pt x="123" y="1513"/>
                  </a:lnTo>
                  <a:lnTo>
                    <a:pt x="123" y="1513"/>
                  </a:lnTo>
                  <a:lnTo>
                    <a:pt x="123" y="1513"/>
                  </a:lnTo>
                  <a:lnTo>
                    <a:pt x="123" y="1513"/>
                  </a:lnTo>
                  <a:lnTo>
                    <a:pt x="123" y="1513"/>
                  </a:lnTo>
                  <a:lnTo>
                    <a:pt x="123" y="1513"/>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1488"/>
                  </a:lnTo>
                  <a:lnTo>
                    <a:pt x="136" y="1488"/>
                  </a:lnTo>
                  <a:lnTo>
                    <a:pt x="136" y="1488"/>
                  </a:lnTo>
                  <a:lnTo>
                    <a:pt x="136" y="1488"/>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7" y="1486"/>
                  </a:lnTo>
                  <a:lnTo>
                    <a:pt x="137" y="1486"/>
                  </a:lnTo>
                  <a:lnTo>
                    <a:pt x="137" y="1486"/>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1463"/>
                  </a:lnTo>
                  <a:lnTo>
                    <a:pt x="140" y="1463"/>
                  </a:lnTo>
                  <a:lnTo>
                    <a:pt x="140" y="1463"/>
                  </a:lnTo>
                  <a:lnTo>
                    <a:pt x="140" y="1463"/>
                  </a:lnTo>
                  <a:lnTo>
                    <a:pt x="140" y="1463"/>
                  </a:lnTo>
                  <a:lnTo>
                    <a:pt x="140" y="1463"/>
                  </a:lnTo>
                  <a:lnTo>
                    <a:pt x="140" y="1463"/>
                  </a:lnTo>
                  <a:lnTo>
                    <a:pt x="140" y="1463"/>
                  </a:lnTo>
                  <a:lnTo>
                    <a:pt x="140" y="1461"/>
                  </a:lnTo>
                  <a:lnTo>
                    <a:pt x="140" y="1461"/>
                  </a:lnTo>
                  <a:lnTo>
                    <a:pt x="140" y="1461"/>
                  </a:lnTo>
                  <a:lnTo>
                    <a:pt x="140" y="1461"/>
                  </a:lnTo>
                  <a:lnTo>
                    <a:pt x="140" y="1461"/>
                  </a:lnTo>
                  <a:lnTo>
                    <a:pt x="140" y="1461"/>
                  </a:lnTo>
                  <a:lnTo>
                    <a:pt x="140" y="1461"/>
                  </a:lnTo>
                  <a:lnTo>
                    <a:pt x="140" y="1461"/>
                  </a:lnTo>
                  <a:lnTo>
                    <a:pt x="140" y="1460"/>
                  </a:lnTo>
                  <a:lnTo>
                    <a:pt x="140" y="1460"/>
                  </a:lnTo>
                  <a:lnTo>
                    <a:pt x="140" y="1460"/>
                  </a:lnTo>
                  <a:lnTo>
                    <a:pt x="140" y="1460"/>
                  </a:lnTo>
                  <a:lnTo>
                    <a:pt x="140" y="1460"/>
                  </a:lnTo>
                  <a:lnTo>
                    <a:pt x="140" y="1460"/>
                  </a:lnTo>
                  <a:lnTo>
                    <a:pt x="140" y="1458"/>
                  </a:lnTo>
                  <a:lnTo>
                    <a:pt x="140" y="1458"/>
                  </a:lnTo>
                  <a:lnTo>
                    <a:pt x="140" y="1458"/>
                  </a:lnTo>
                  <a:lnTo>
                    <a:pt x="140" y="1458"/>
                  </a:lnTo>
                  <a:lnTo>
                    <a:pt x="140" y="1458"/>
                  </a:lnTo>
                  <a:lnTo>
                    <a:pt x="141" y="1458"/>
                  </a:lnTo>
                  <a:lnTo>
                    <a:pt x="141" y="1458"/>
                  </a:lnTo>
                  <a:lnTo>
                    <a:pt x="141" y="1458"/>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1452"/>
                  </a:lnTo>
                  <a:lnTo>
                    <a:pt x="147" y="1452"/>
                  </a:lnTo>
                  <a:lnTo>
                    <a:pt x="147" y="1452"/>
                  </a:lnTo>
                  <a:lnTo>
                    <a:pt x="147" y="1452"/>
                  </a:lnTo>
                  <a:lnTo>
                    <a:pt x="147" y="1451"/>
                  </a:lnTo>
                  <a:lnTo>
                    <a:pt x="148" y="1451"/>
                  </a:lnTo>
                  <a:lnTo>
                    <a:pt x="148" y="899"/>
                  </a:lnTo>
                  <a:lnTo>
                    <a:pt x="148" y="899"/>
                  </a:lnTo>
                  <a:lnTo>
                    <a:pt x="148" y="899"/>
                  </a:lnTo>
                  <a:lnTo>
                    <a:pt x="148" y="899"/>
                  </a:lnTo>
                  <a:lnTo>
                    <a:pt x="148" y="1449"/>
                  </a:lnTo>
                  <a:lnTo>
                    <a:pt x="148" y="1449"/>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899"/>
                  </a:lnTo>
                  <a:lnTo>
                    <a:pt x="151" y="899"/>
                  </a:lnTo>
                  <a:lnTo>
                    <a:pt x="151" y="1443"/>
                  </a:lnTo>
                  <a:lnTo>
                    <a:pt x="151" y="1443"/>
                  </a:lnTo>
                  <a:lnTo>
                    <a:pt x="151" y="1443"/>
                  </a:lnTo>
                  <a:lnTo>
                    <a:pt x="151" y="1443"/>
                  </a:lnTo>
                  <a:lnTo>
                    <a:pt x="151" y="1443"/>
                  </a:lnTo>
                  <a:lnTo>
                    <a:pt x="151" y="1443"/>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899"/>
                  </a:lnTo>
                  <a:lnTo>
                    <a:pt x="151" y="899"/>
                  </a:lnTo>
                  <a:lnTo>
                    <a:pt x="151" y="899"/>
                  </a:lnTo>
                  <a:lnTo>
                    <a:pt x="151" y="899"/>
                  </a:lnTo>
                  <a:lnTo>
                    <a:pt x="151" y="1439"/>
                  </a:lnTo>
                  <a:lnTo>
                    <a:pt x="152" y="1439"/>
                  </a:lnTo>
                  <a:lnTo>
                    <a:pt x="152" y="1439"/>
                  </a:lnTo>
                  <a:lnTo>
                    <a:pt x="152" y="1439"/>
                  </a:lnTo>
                  <a:lnTo>
                    <a:pt x="152" y="1439"/>
                  </a:lnTo>
                  <a:lnTo>
                    <a:pt x="152" y="1439"/>
                  </a:lnTo>
                  <a:lnTo>
                    <a:pt x="152" y="1434"/>
                  </a:lnTo>
                  <a:lnTo>
                    <a:pt x="160" y="1434"/>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0"/>
                  </a:lnTo>
                  <a:lnTo>
                    <a:pt x="167" y="1430"/>
                  </a:lnTo>
                  <a:lnTo>
                    <a:pt x="167" y="1430"/>
                  </a:lnTo>
                  <a:lnTo>
                    <a:pt x="204" y="1430"/>
                  </a:lnTo>
                  <a:lnTo>
                    <a:pt x="204" y="1430"/>
                  </a:lnTo>
                  <a:lnTo>
                    <a:pt x="204" y="1430"/>
                  </a:lnTo>
                  <a:lnTo>
                    <a:pt x="204" y="899"/>
                  </a:lnTo>
                  <a:lnTo>
                    <a:pt x="204" y="89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1420"/>
                  </a:lnTo>
                  <a:lnTo>
                    <a:pt x="207" y="1420"/>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10" y="1420"/>
                  </a:lnTo>
                  <a:lnTo>
                    <a:pt x="210" y="1420"/>
                  </a:lnTo>
                  <a:lnTo>
                    <a:pt x="211" y="1420"/>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21" y="1414"/>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1406"/>
                  </a:lnTo>
                  <a:lnTo>
                    <a:pt x="243" y="1406"/>
                  </a:lnTo>
                  <a:lnTo>
                    <a:pt x="243" y="1406"/>
                  </a:lnTo>
                  <a:lnTo>
                    <a:pt x="247" y="1406"/>
                  </a:lnTo>
                  <a:lnTo>
                    <a:pt x="247" y="1405"/>
                  </a:lnTo>
                  <a:lnTo>
                    <a:pt x="247" y="1405"/>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1401"/>
                  </a:lnTo>
                  <a:lnTo>
                    <a:pt x="266" y="1401"/>
                  </a:lnTo>
                  <a:lnTo>
                    <a:pt x="266" y="1401"/>
                  </a:lnTo>
                  <a:lnTo>
                    <a:pt x="266" y="1401"/>
                  </a:lnTo>
                  <a:lnTo>
                    <a:pt x="266" y="1400"/>
                  </a:lnTo>
                  <a:lnTo>
                    <a:pt x="266" y="1400"/>
                  </a:lnTo>
                  <a:lnTo>
                    <a:pt x="266" y="1400"/>
                  </a:lnTo>
                  <a:lnTo>
                    <a:pt x="266" y="1400"/>
                  </a:lnTo>
                  <a:lnTo>
                    <a:pt x="266" y="1400"/>
                  </a:lnTo>
                  <a:lnTo>
                    <a:pt x="268" y="1400"/>
                  </a:lnTo>
                  <a:lnTo>
                    <a:pt x="268" y="1397"/>
                  </a:lnTo>
                  <a:lnTo>
                    <a:pt x="274" y="1397"/>
                  </a:lnTo>
                  <a:lnTo>
                    <a:pt x="274" y="1397"/>
                  </a:lnTo>
                  <a:lnTo>
                    <a:pt x="280" y="1397"/>
                  </a:lnTo>
                  <a:lnTo>
                    <a:pt x="280" y="1397"/>
                  </a:lnTo>
                  <a:lnTo>
                    <a:pt x="286" y="1397"/>
                  </a:lnTo>
                  <a:lnTo>
                    <a:pt x="286" y="1396"/>
                  </a:lnTo>
                  <a:lnTo>
                    <a:pt x="288" y="1396"/>
                  </a:lnTo>
                  <a:lnTo>
                    <a:pt x="288" y="899"/>
                  </a:lnTo>
                  <a:lnTo>
                    <a:pt x="288" y="899"/>
                  </a:lnTo>
                  <a:lnTo>
                    <a:pt x="288" y="1389"/>
                  </a:lnTo>
                  <a:lnTo>
                    <a:pt x="288" y="1389"/>
                  </a:lnTo>
                  <a:lnTo>
                    <a:pt x="288" y="1389"/>
                  </a:lnTo>
                  <a:lnTo>
                    <a:pt x="288" y="1389"/>
                  </a:lnTo>
                  <a:lnTo>
                    <a:pt x="288" y="899"/>
                  </a:lnTo>
                  <a:lnTo>
                    <a:pt x="288" y="899"/>
                  </a:lnTo>
                  <a:lnTo>
                    <a:pt x="288" y="899"/>
                  </a:lnTo>
                  <a:lnTo>
                    <a:pt x="289" y="899"/>
                  </a:lnTo>
                  <a:lnTo>
                    <a:pt x="289" y="899"/>
                  </a:lnTo>
                  <a:lnTo>
                    <a:pt x="290" y="899"/>
                  </a:lnTo>
                  <a:lnTo>
                    <a:pt x="290" y="899"/>
                  </a:lnTo>
                  <a:lnTo>
                    <a:pt x="295" y="899"/>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1374"/>
                  </a:lnTo>
                  <a:lnTo>
                    <a:pt x="310" y="1374"/>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9" y="1367"/>
                  </a:lnTo>
                  <a:lnTo>
                    <a:pt x="329" y="1367"/>
                  </a:lnTo>
                  <a:lnTo>
                    <a:pt x="330" y="1367"/>
                  </a:lnTo>
                  <a:lnTo>
                    <a:pt x="330" y="1367"/>
                  </a:lnTo>
                  <a:lnTo>
                    <a:pt x="331" y="1367"/>
                  </a:lnTo>
                  <a:lnTo>
                    <a:pt x="331" y="1367"/>
                  </a:lnTo>
                  <a:lnTo>
                    <a:pt x="332" y="1367"/>
                  </a:lnTo>
                  <a:lnTo>
                    <a:pt x="332" y="1367"/>
                  </a:lnTo>
                  <a:lnTo>
                    <a:pt x="333" y="1367"/>
                  </a:lnTo>
                  <a:lnTo>
                    <a:pt x="333" y="1367"/>
                  </a:lnTo>
                  <a:lnTo>
                    <a:pt x="335" y="1367"/>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7" y="1364"/>
                  </a:lnTo>
                  <a:lnTo>
                    <a:pt x="337" y="1364"/>
                  </a:lnTo>
                  <a:lnTo>
                    <a:pt x="337" y="1364"/>
                  </a:lnTo>
                  <a:lnTo>
                    <a:pt x="337" y="1364"/>
                  </a:lnTo>
                  <a:lnTo>
                    <a:pt x="337" y="1364"/>
                  </a:lnTo>
                  <a:lnTo>
                    <a:pt x="337" y="1364"/>
                  </a:lnTo>
                  <a:lnTo>
                    <a:pt x="337" y="1364"/>
                  </a:lnTo>
                  <a:lnTo>
                    <a:pt x="337" y="1364"/>
                  </a:lnTo>
                  <a:lnTo>
                    <a:pt x="338" y="1364"/>
                  </a:lnTo>
                  <a:lnTo>
                    <a:pt x="338" y="1364"/>
                  </a:lnTo>
                  <a:lnTo>
                    <a:pt x="338" y="1364"/>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40" y="1363"/>
                  </a:lnTo>
                  <a:lnTo>
                    <a:pt x="340" y="1363"/>
                  </a:lnTo>
                  <a:lnTo>
                    <a:pt x="341" y="1363"/>
                  </a:lnTo>
                  <a:lnTo>
                    <a:pt x="341" y="1363"/>
                  </a:lnTo>
                  <a:lnTo>
                    <a:pt x="342" y="1363"/>
                  </a:lnTo>
                  <a:lnTo>
                    <a:pt x="342" y="1363"/>
                  </a:lnTo>
                  <a:lnTo>
                    <a:pt x="342" y="1363"/>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899"/>
                  </a:lnTo>
                  <a:lnTo>
                    <a:pt x="399" y="899"/>
                  </a:lnTo>
                  <a:lnTo>
                    <a:pt x="399" y="899"/>
                  </a:lnTo>
                  <a:lnTo>
                    <a:pt x="399" y="899"/>
                  </a:lnTo>
                  <a:lnTo>
                    <a:pt x="399" y="1333"/>
                  </a:lnTo>
                  <a:lnTo>
                    <a:pt x="400" y="1333"/>
                  </a:lnTo>
                  <a:lnTo>
                    <a:pt x="400" y="899"/>
                  </a:lnTo>
                  <a:lnTo>
                    <a:pt x="400" y="899"/>
                  </a:lnTo>
                  <a:lnTo>
                    <a:pt x="400" y="899"/>
                  </a:lnTo>
                  <a:lnTo>
                    <a:pt x="400" y="899"/>
                  </a:lnTo>
                  <a:lnTo>
                    <a:pt x="400" y="1332"/>
                  </a:lnTo>
                  <a:lnTo>
                    <a:pt x="402" y="1332"/>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8" y="1322"/>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899"/>
                  </a:lnTo>
                  <a:lnTo>
                    <a:pt x="477" y="899"/>
                  </a:lnTo>
                  <a:lnTo>
                    <a:pt x="477" y="1314"/>
                  </a:lnTo>
                  <a:lnTo>
                    <a:pt x="510" y="1314"/>
                  </a:lnTo>
                  <a:lnTo>
                    <a:pt x="510" y="1314"/>
                  </a:lnTo>
                  <a:lnTo>
                    <a:pt x="510" y="1314"/>
                  </a:lnTo>
                  <a:lnTo>
                    <a:pt x="510" y="1314"/>
                  </a:lnTo>
                  <a:lnTo>
                    <a:pt x="510" y="1314"/>
                  </a:lnTo>
                  <a:lnTo>
                    <a:pt x="510" y="1312"/>
                  </a:lnTo>
                  <a:lnTo>
                    <a:pt x="511" y="1312"/>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899"/>
                  </a:lnTo>
                  <a:lnTo>
                    <a:pt x="519" y="899"/>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1306"/>
                  </a:lnTo>
                  <a:lnTo>
                    <a:pt x="522" y="1306"/>
                  </a:lnTo>
                  <a:lnTo>
                    <a:pt x="522" y="899"/>
                  </a:lnTo>
                  <a:lnTo>
                    <a:pt x="525" y="899"/>
                  </a:lnTo>
                  <a:lnTo>
                    <a:pt x="525" y="899"/>
                  </a:lnTo>
                  <a:lnTo>
                    <a:pt x="525" y="899"/>
                  </a:lnTo>
                  <a:lnTo>
                    <a:pt x="525" y="899"/>
                  </a:lnTo>
                  <a:lnTo>
                    <a:pt x="525" y="899"/>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1302"/>
                  </a:lnTo>
                  <a:lnTo>
                    <a:pt x="526" y="1302"/>
                  </a:lnTo>
                  <a:lnTo>
                    <a:pt x="526" y="1302"/>
                  </a:lnTo>
                  <a:lnTo>
                    <a:pt x="527" y="1302"/>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1300"/>
                  </a:lnTo>
                  <a:lnTo>
                    <a:pt x="528" y="1300"/>
                  </a:lnTo>
                  <a:lnTo>
                    <a:pt x="528" y="1300"/>
                  </a:lnTo>
                  <a:lnTo>
                    <a:pt x="529" y="1300"/>
                  </a:lnTo>
                  <a:lnTo>
                    <a:pt x="529" y="1299"/>
                  </a:lnTo>
                  <a:lnTo>
                    <a:pt x="529" y="1299"/>
                  </a:lnTo>
                  <a:lnTo>
                    <a:pt x="529" y="1299"/>
                  </a:lnTo>
                  <a:lnTo>
                    <a:pt x="530" y="12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899"/>
                  </a:lnTo>
                  <a:lnTo>
                    <a:pt x="548" y="899"/>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899"/>
                  </a:lnTo>
                  <a:lnTo>
                    <a:pt x="548" y="899"/>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1290"/>
                  </a:lnTo>
                  <a:lnTo>
                    <a:pt x="592" y="1290"/>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1280"/>
                  </a:lnTo>
                  <a:lnTo>
                    <a:pt x="649" y="1280"/>
                  </a:lnTo>
                  <a:lnTo>
                    <a:pt x="649" y="1280"/>
                  </a:lnTo>
                  <a:lnTo>
                    <a:pt x="649" y="1280"/>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899"/>
                  </a:lnTo>
                  <a:lnTo>
                    <a:pt x="677" y="899"/>
                  </a:lnTo>
                  <a:lnTo>
                    <a:pt x="677" y="899"/>
                  </a:lnTo>
                  <a:lnTo>
                    <a:pt x="677" y="899"/>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1265"/>
                  </a:lnTo>
                  <a:lnTo>
                    <a:pt x="732" y="1265"/>
                  </a:lnTo>
                  <a:lnTo>
                    <a:pt x="732" y="1265"/>
                  </a:lnTo>
                  <a:lnTo>
                    <a:pt x="736" y="1265"/>
                  </a:lnTo>
                  <a:lnTo>
                    <a:pt x="736" y="1265"/>
                  </a:lnTo>
                  <a:lnTo>
                    <a:pt x="736" y="1265"/>
                  </a:lnTo>
                  <a:lnTo>
                    <a:pt x="736" y="1265"/>
                  </a:lnTo>
                  <a:lnTo>
                    <a:pt x="736" y="1265"/>
                  </a:lnTo>
                  <a:lnTo>
                    <a:pt x="736" y="1264"/>
                  </a:lnTo>
                  <a:lnTo>
                    <a:pt x="736" y="1264"/>
                  </a:lnTo>
                  <a:lnTo>
                    <a:pt x="736" y="1264"/>
                  </a:lnTo>
                  <a:lnTo>
                    <a:pt x="736" y="1264"/>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899"/>
                  </a:lnTo>
                  <a:lnTo>
                    <a:pt x="752" y="89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8" y="1257"/>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1247"/>
                  </a:lnTo>
                  <a:lnTo>
                    <a:pt x="800" y="1247"/>
                  </a:lnTo>
                  <a:lnTo>
                    <a:pt x="800" y="1247"/>
                  </a:lnTo>
                  <a:lnTo>
                    <a:pt x="800" y="1247"/>
                  </a:lnTo>
                  <a:lnTo>
                    <a:pt x="800" y="1246"/>
                  </a:lnTo>
                  <a:lnTo>
                    <a:pt x="800" y="1246"/>
                  </a:lnTo>
                  <a:lnTo>
                    <a:pt x="800" y="1246"/>
                  </a:lnTo>
                  <a:lnTo>
                    <a:pt x="800" y="1246"/>
                  </a:lnTo>
                  <a:lnTo>
                    <a:pt x="800" y="1246"/>
                  </a:lnTo>
                  <a:lnTo>
                    <a:pt x="800" y="1246"/>
                  </a:lnTo>
                  <a:lnTo>
                    <a:pt x="800" y="1246"/>
                  </a:lnTo>
                  <a:lnTo>
                    <a:pt x="801" y="1246"/>
                  </a:lnTo>
                  <a:lnTo>
                    <a:pt x="801" y="1246"/>
                  </a:lnTo>
                  <a:lnTo>
                    <a:pt x="801" y="1246"/>
                  </a:lnTo>
                  <a:lnTo>
                    <a:pt x="801" y="1245"/>
                  </a:lnTo>
                  <a:lnTo>
                    <a:pt x="801" y="1245"/>
                  </a:lnTo>
                  <a:lnTo>
                    <a:pt x="801" y="1245"/>
                  </a:lnTo>
                  <a:lnTo>
                    <a:pt x="801" y="1245"/>
                  </a:lnTo>
                  <a:lnTo>
                    <a:pt x="801" y="1245"/>
                  </a:lnTo>
                  <a:lnTo>
                    <a:pt x="801" y="1245"/>
                  </a:lnTo>
                  <a:lnTo>
                    <a:pt x="801" y="1245"/>
                  </a:lnTo>
                  <a:lnTo>
                    <a:pt x="801" y="1245"/>
                  </a:lnTo>
                  <a:lnTo>
                    <a:pt x="801" y="1245"/>
                  </a:lnTo>
                  <a:lnTo>
                    <a:pt x="802" y="1245"/>
                  </a:lnTo>
                  <a:lnTo>
                    <a:pt x="802" y="1245"/>
                  </a:lnTo>
                  <a:lnTo>
                    <a:pt x="802" y="1245"/>
                  </a:lnTo>
                  <a:lnTo>
                    <a:pt x="802" y="1245"/>
                  </a:lnTo>
                  <a:lnTo>
                    <a:pt x="802" y="1245"/>
                  </a:lnTo>
                  <a:lnTo>
                    <a:pt x="802" y="1245"/>
                  </a:lnTo>
                  <a:lnTo>
                    <a:pt x="802" y="1245"/>
                  </a:lnTo>
                  <a:lnTo>
                    <a:pt x="802" y="1245"/>
                  </a:lnTo>
                  <a:lnTo>
                    <a:pt x="803" y="1245"/>
                  </a:lnTo>
                  <a:lnTo>
                    <a:pt x="803" y="1245"/>
                  </a:lnTo>
                  <a:lnTo>
                    <a:pt x="804" y="1245"/>
                  </a:lnTo>
                  <a:lnTo>
                    <a:pt x="804" y="1245"/>
                  </a:lnTo>
                  <a:lnTo>
                    <a:pt x="805" y="1245"/>
                  </a:lnTo>
                  <a:lnTo>
                    <a:pt x="805" y="1245"/>
                  </a:lnTo>
                  <a:lnTo>
                    <a:pt x="806" y="1245"/>
                  </a:lnTo>
                  <a:lnTo>
                    <a:pt x="806" y="1245"/>
                  </a:lnTo>
                  <a:lnTo>
                    <a:pt x="808" y="1245"/>
                  </a:lnTo>
                  <a:lnTo>
                    <a:pt x="808" y="1245"/>
                  </a:lnTo>
                  <a:lnTo>
                    <a:pt x="810" y="1245"/>
                  </a:lnTo>
                  <a:lnTo>
                    <a:pt x="810" y="1245"/>
                  </a:lnTo>
                  <a:lnTo>
                    <a:pt x="811" y="1245"/>
                  </a:lnTo>
                  <a:lnTo>
                    <a:pt x="811" y="1245"/>
                  </a:lnTo>
                  <a:lnTo>
                    <a:pt x="813" y="1245"/>
                  </a:lnTo>
                  <a:lnTo>
                    <a:pt x="813" y="1245"/>
                  </a:lnTo>
                  <a:lnTo>
                    <a:pt x="819" y="1245"/>
                  </a:lnTo>
                  <a:lnTo>
                    <a:pt x="819" y="1245"/>
                  </a:lnTo>
                  <a:lnTo>
                    <a:pt x="827" y="1245"/>
                  </a:lnTo>
                  <a:lnTo>
                    <a:pt x="827" y="1243"/>
                  </a:lnTo>
                  <a:lnTo>
                    <a:pt x="827" y="1243"/>
                  </a:lnTo>
                  <a:lnTo>
                    <a:pt x="827" y="1243"/>
                  </a:lnTo>
                  <a:lnTo>
                    <a:pt x="827" y="1243"/>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9" y="1240"/>
                  </a:lnTo>
                  <a:lnTo>
                    <a:pt x="829" y="1236"/>
                  </a:lnTo>
                  <a:lnTo>
                    <a:pt x="835" y="1236"/>
                  </a:lnTo>
                  <a:lnTo>
                    <a:pt x="835" y="899"/>
                  </a:lnTo>
                  <a:lnTo>
                    <a:pt x="835" y="899"/>
                  </a:lnTo>
                  <a:lnTo>
                    <a:pt x="835" y="899"/>
                  </a:lnTo>
                  <a:lnTo>
                    <a:pt x="835" y="899"/>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6"/>
                  </a:lnTo>
                  <a:lnTo>
                    <a:pt x="846" y="1226"/>
                  </a:lnTo>
                  <a:lnTo>
                    <a:pt x="846" y="1226"/>
                  </a:lnTo>
                  <a:lnTo>
                    <a:pt x="847" y="1226"/>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8" y="1220"/>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1220"/>
                  </a:lnTo>
                  <a:lnTo>
                    <a:pt x="851" y="1220"/>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899"/>
                  </a:lnTo>
                  <a:lnTo>
                    <a:pt x="882" y="899"/>
                  </a:lnTo>
                  <a:lnTo>
                    <a:pt x="882" y="899"/>
                  </a:lnTo>
                  <a:lnTo>
                    <a:pt x="882" y="899"/>
                  </a:lnTo>
                  <a:lnTo>
                    <a:pt x="882" y="899"/>
                  </a:lnTo>
                  <a:lnTo>
                    <a:pt x="882" y="899"/>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1211"/>
                  </a:lnTo>
                  <a:lnTo>
                    <a:pt x="887" y="1211"/>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899"/>
                  </a:lnTo>
                  <a:lnTo>
                    <a:pt x="899" y="899"/>
                  </a:lnTo>
                  <a:lnTo>
                    <a:pt x="899" y="899"/>
                  </a:lnTo>
                  <a:lnTo>
                    <a:pt x="899" y="899"/>
                  </a:lnTo>
                  <a:lnTo>
                    <a:pt x="899" y="1207"/>
                  </a:lnTo>
                  <a:lnTo>
                    <a:pt x="899" y="1207"/>
                  </a:lnTo>
                  <a:lnTo>
                    <a:pt x="899" y="899"/>
                  </a:lnTo>
                  <a:lnTo>
                    <a:pt x="900" y="899"/>
                  </a:lnTo>
                  <a:lnTo>
                    <a:pt x="900" y="899"/>
                  </a:lnTo>
                  <a:lnTo>
                    <a:pt x="900" y="899"/>
                  </a:lnTo>
                  <a:lnTo>
                    <a:pt x="900" y="899"/>
                  </a:lnTo>
                  <a:lnTo>
                    <a:pt x="902" y="899"/>
                  </a:lnTo>
                  <a:lnTo>
                    <a:pt x="902" y="899"/>
                  </a:lnTo>
                  <a:lnTo>
                    <a:pt x="907" y="899"/>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9" y="1186"/>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1175"/>
                  </a:lnTo>
                  <a:lnTo>
                    <a:pt x="957" y="1175"/>
                  </a:lnTo>
                  <a:lnTo>
                    <a:pt x="957" y="1175"/>
                  </a:lnTo>
                  <a:lnTo>
                    <a:pt x="958" y="1175"/>
                  </a:lnTo>
                  <a:lnTo>
                    <a:pt x="958" y="1175"/>
                  </a:lnTo>
                  <a:lnTo>
                    <a:pt x="965" y="1175"/>
                  </a:lnTo>
                  <a:lnTo>
                    <a:pt x="965" y="1175"/>
                  </a:lnTo>
                  <a:lnTo>
                    <a:pt x="989" y="1175"/>
                  </a:lnTo>
                  <a:lnTo>
                    <a:pt x="989" y="1175"/>
                  </a:lnTo>
                  <a:lnTo>
                    <a:pt x="989" y="1175"/>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1167"/>
                  </a:lnTo>
                  <a:lnTo>
                    <a:pt x="1003" y="1167"/>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899"/>
                  </a:lnTo>
                  <a:lnTo>
                    <a:pt x="1004" y="899"/>
                  </a:lnTo>
                  <a:lnTo>
                    <a:pt x="1004" y="899"/>
                  </a:lnTo>
                  <a:lnTo>
                    <a:pt x="1004" y="899"/>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6" y="1155"/>
                  </a:lnTo>
                  <a:lnTo>
                    <a:pt x="1006" y="1155"/>
                  </a:lnTo>
                  <a:lnTo>
                    <a:pt x="1006" y="1155"/>
                  </a:lnTo>
                  <a:lnTo>
                    <a:pt x="1006" y="1155"/>
                  </a:lnTo>
                  <a:lnTo>
                    <a:pt x="1007" y="1155"/>
                  </a:lnTo>
                  <a:lnTo>
                    <a:pt x="1007" y="1155"/>
                  </a:lnTo>
                  <a:lnTo>
                    <a:pt x="1008" y="1155"/>
                  </a:lnTo>
                  <a:lnTo>
                    <a:pt x="1008" y="1155"/>
                  </a:lnTo>
                  <a:lnTo>
                    <a:pt x="1009" y="1155"/>
                  </a:lnTo>
                  <a:lnTo>
                    <a:pt x="1009" y="1155"/>
                  </a:lnTo>
                  <a:lnTo>
                    <a:pt x="1010" y="1155"/>
                  </a:lnTo>
                  <a:lnTo>
                    <a:pt x="1010" y="1155"/>
                  </a:lnTo>
                  <a:lnTo>
                    <a:pt x="1011" y="1155"/>
                  </a:lnTo>
                  <a:lnTo>
                    <a:pt x="1011" y="1155"/>
                  </a:lnTo>
                  <a:lnTo>
                    <a:pt x="1013" y="1155"/>
                  </a:lnTo>
                  <a:lnTo>
                    <a:pt x="1013" y="1155"/>
                  </a:lnTo>
                  <a:lnTo>
                    <a:pt x="1015" y="1155"/>
                  </a:lnTo>
                  <a:lnTo>
                    <a:pt x="1015" y="1155"/>
                  </a:lnTo>
                  <a:lnTo>
                    <a:pt x="1017" y="1155"/>
                  </a:lnTo>
                  <a:lnTo>
                    <a:pt x="1017" y="1155"/>
                  </a:lnTo>
                  <a:lnTo>
                    <a:pt x="1020" y="1155"/>
                  </a:lnTo>
                  <a:lnTo>
                    <a:pt x="1020" y="1155"/>
                  </a:lnTo>
                  <a:lnTo>
                    <a:pt x="1023" y="1155"/>
                  </a:lnTo>
                  <a:lnTo>
                    <a:pt x="1023" y="1155"/>
                  </a:lnTo>
                  <a:lnTo>
                    <a:pt x="1028" y="1155"/>
                  </a:lnTo>
                  <a:lnTo>
                    <a:pt x="1028" y="1155"/>
                  </a:lnTo>
                  <a:lnTo>
                    <a:pt x="1037" y="1155"/>
                  </a:lnTo>
                  <a:lnTo>
                    <a:pt x="1037" y="1155"/>
                  </a:lnTo>
                  <a:lnTo>
                    <a:pt x="1037" y="1155"/>
                  </a:lnTo>
                  <a:lnTo>
                    <a:pt x="1037" y="1155"/>
                  </a:lnTo>
                  <a:lnTo>
                    <a:pt x="1037" y="1155"/>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1150"/>
                  </a:lnTo>
                  <a:lnTo>
                    <a:pt x="1062" y="1150"/>
                  </a:lnTo>
                  <a:lnTo>
                    <a:pt x="1062" y="1150"/>
                  </a:lnTo>
                  <a:lnTo>
                    <a:pt x="1067" y="1150"/>
                  </a:lnTo>
                  <a:lnTo>
                    <a:pt x="1067" y="1148"/>
                  </a:lnTo>
                  <a:lnTo>
                    <a:pt x="1067" y="1148"/>
                  </a:lnTo>
                  <a:lnTo>
                    <a:pt x="1067" y="1148"/>
                  </a:lnTo>
                  <a:lnTo>
                    <a:pt x="1067" y="1148"/>
                  </a:lnTo>
                  <a:lnTo>
                    <a:pt x="1067" y="1148"/>
                  </a:lnTo>
                  <a:lnTo>
                    <a:pt x="1069" y="1148"/>
                  </a:lnTo>
                  <a:lnTo>
                    <a:pt x="1069" y="1146"/>
                  </a:lnTo>
                  <a:lnTo>
                    <a:pt x="1069" y="1146"/>
                  </a:lnTo>
                  <a:lnTo>
                    <a:pt x="1069" y="1146"/>
                  </a:lnTo>
                  <a:lnTo>
                    <a:pt x="1069" y="1146"/>
                  </a:lnTo>
                  <a:lnTo>
                    <a:pt x="1069" y="1143"/>
                  </a:lnTo>
                  <a:lnTo>
                    <a:pt x="1069" y="1143"/>
                  </a:lnTo>
                  <a:lnTo>
                    <a:pt x="1069" y="1143"/>
                  </a:lnTo>
                  <a:lnTo>
                    <a:pt x="1069" y="1143"/>
                  </a:lnTo>
                  <a:lnTo>
                    <a:pt x="1069" y="1143"/>
                  </a:lnTo>
                  <a:lnTo>
                    <a:pt x="1069" y="1143"/>
                  </a:lnTo>
                  <a:lnTo>
                    <a:pt x="1069" y="1143"/>
                  </a:lnTo>
                  <a:lnTo>
                    <a:pt x="1069" y="1143"/>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1134"/>
                  </a:lnTo>
                  <a:lnTo>
                    <a:pt x="1181" y="1134"/>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2" y="1133"/>
                  </a:lnTo>
                  <a:lnTo>
                    <a:pt x="1182" y="1133"/>
                  </a:lnTo>
                  <a:lnTo>
                    <a:pt x="1182" y="1133"/>
                  </a:lnTo>
                  <a:lnTo>
                    <a:pt x="1182" y="1133"/>
                  </a:lnTo>
                  <a:lnTo>
                    <a:pt x="1182" y="1133"/>
                  </a:lnTo>
                  <a:lnTo>
                    <a:pt x="1182" y="1133"/>
                  </a:lnTo>
                  <a:lnTo>
                    <a:pt x="1183" y="1133"/>
                  </a:lnTo>
                  <a:lnTo>
                    <a:pt x="1183" y="1133"/>
                  </a:lnTo>
                  <a:lnTo>
                    <a:pt x="1184" y="1133"/>
                  </a:lnTo>
                  <a:lnTo>
                    <a:pt x="1184" y="1133"/>
                  </a:lnTo>
                  <a:lnTo>
                    <a:pt x="1185" y="1133"/>
                  </a:lnTo>
                  <a:lnTo>
                    <a:pt x="1185" y="1133"/>
                  </a:lnTo>
                  <a:lnTo>
                    <a:pt x="1186" y="1133"/>
                  </a:lnTo>
                  <a:lnTo>
                    <a:pt x="1186" y="1133"/>
                  </a:lnTo>
                  <a:lnTo>
                    <a:pt x="1190" y="1133"/>
                  </a:lnTo>
                  <a:lnTo>
                    <a:pt x="1190" y="1133"/>
                  </a:lnTo>
                  <a:lnTo>
                    <a:pt x="1195" y="1133"/>
                  </a:lnTo>
                  <a:lnTo>
                    <a:pt x="1195" y="1133"/>
                  </a:lnTo>
                  <a:lnTo>
                    <a:pt x="1202" y="1133"/>
                  </a:lnTo>
                  <a:lnTo>
                    <a:pt x="1202" y="1133"/>
                  </a:lnTo>
                  <a:lnTo>
                    <a:pt x="1213" y="1133"/>
                  </a:lnTo>
                  <a:lnTo>
                    <a:pt x="1213" y="1133"/>
                  </a:lnTo>
                  <a:lnTo>
                    <a:pt x="1223" y="1133"/>
                  </a:lnTo>
                  <a:lnTo>
                    <a:pt x="1223" y="899"/>
                  </a:lnTo>
                  <a:lnTo>
                    <a:pt x="1223" y="899"/>
                  </a:lnTo>
                  <a:lnTo>
                    <a:pt x="1223" y="899"/>
                  </a:lnTo>
                  <a:lnTo>
                    <a:pt x="1223" y="899"/>
                  </a:lnTo>
                  <a:lnTo>
                    <a:pt x="1223" y="1132"/>
                  </a:lnTo>
                  <a:lnTo>
                    <a:pt x="1223" y="1132"/>
                  </a:lnTo>
                  <a:lnTo>
                    <a:pt x="1223" y="1132"/>
                  </a:lnTo>
                  <a:lnTo>
                    <a:pt x="1223" y="1132"/>
                  </a:lnTo>
                  <a:lnTo>
                    <a:pt x="1223" y="1131"/>
                  </a:lnTo>
                  <a:lnTo>
                    <a:pt x="1223" y="1131"/>
                  </a:lnTo>
                  <a:lnTo>
                    <a:pt x="1223" y="1131"/>
                  </a:lnTo>
                  <a:lnTo>
                    <a:pt x="1224" y="1131"/>
                  </a:lnTo>
                  <a:lnTo>
                    <a:pt x="1224" y="1131"/>
                  </a:lnTo>
                  <a:lnTo>
                    <a:pt x="1224" y="1131"/>
                  </a:lnTo>
                  <a:lnTo>
                    <a:pt x="1224" y="1131"/>
                  </a:lnTo>
                  <a:lnTo>
                    <a:pt x="1224" y="1131"/>
                  </a:lnTo>
                  <a:lnTo>
                    <a:pt x="1224" y="1129"/>
                  </a:lnTo>
                  <a:lnTo>
                    <a:pt x="1225" y="1129"/>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1124"/>
                  </a:lnTo>
                  <a:lnTo>
                    <a:pt x="1249" y="1124"/>
                  </a:lnTo>
                  <a:lnTo>
                    <a:pt x="1249" y="1123"/>
                  </a:lnTo>
                  <a:lnTo>
                    <a:pt x="1249" y="1123"/>
                  </a:lnTo>
                  <a:lnTo>
                    <a:pt x="1249" y="1123"/>
                  </a:lnTo>
                  <a:lnTo>
                    <a:pt x="1249" y="1123"/>
                  </a:lnTo>
                  <a:lnTo>
                    <a:pt x="1249" y="1123"/>
                  </a:lnTo>
                  <a:lnTo>
                    <a:pt x="1249" y="1123"/>
                  </a:lnTo>
                  <a:lnTo>
                    <a:pt x="1249" y="1123"/>
                  </a:lnTo>
                  <a:lnTo>
                    <a:pt x="1250" y="1123"/>
                  </a:lnTo>
                  <a:lnTo>
                    <a:pt x="1250" y="1123"/>
                  </a:lnTo>
                  <a:lnTo>
                    <a:pt x="1250" y="1123"/>
                  </a:lnTo>
                  <a:lnTo>
                    <a:pt x="1250" y="1123"/>
                  </a:lnTo>
                  <a:lnTo>
                    <a:pt x="1250" y="1123"/>
                  </a:lnTo>
                  <a:lnTo>
                    <a:pt x="1250" y="1123"/>
                  </a:lnTo>
                  <a:lnTo>
                    <a:pt x="1250" y="1123"/>
                  </a:lnTo>
                  <a:lnTo>
                    <a:pt x="1250" y="1123"/>
                  </a:lnTo>
                  <a:lnTo>
                    <a:pt x="1251" y="1123"/>
                  </a:lnTo>
                  <a:lnTo>
                    <a:pt x="1251" y="1123"/>
                  </a:lnTo>
                  <a:lnTo>
                    <a:pt x="1251" y="1123"/>
                  </a:lnTo>
                  <a:lnTo>
                    <a:pt x="1251" y="1123"/>
                  </a:lnTo>
                  <a:lnTo>
                    <a:pt x="1252" y="1123"/>
                  </a:lnTo>
                  <a:lnTo>
                    <a:pt x="1252" y="1123"/>
                  </a:lnTo>
                  <a:lnTo>
                    <a:pt x="1253" y="1123"/>
                  </a:lnTo>
                  <a:lnTo>
                    <a:pt x="1253" y="1123"/>
                  </a:lnTo>
                  <a:lnTo>
                    <a:pt x="1255" y="1123"/>
                  </a:lnTo>
                  <a:lnTo>
                    <a:pt x="1255" y="1123"/>
                  </a:lnTo>
                  <a:lnTo>
                    <a:pt x="1259" y="1123"/>
                  </a:lnTo>
                  <a:lnTo>
                    <a:pt x="1259" y="1123"/>
                  </a:lnTo>
                  <a:lnTo>
                    <a:pt x="1263" y="1123"/>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1114"/>
                  </a:lnTo>
                  <a:lnTo>
                    <a:pt x="1333" y="1114"/>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1110"/>
                  </a:lnTo>
                  <a:lnTo>
                    <a:pt x="1337" y="1110"/>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1"/>
                  </a:lnTo>
                  <a:lnTo>
                    <a:pt x="1354" y="1101"/>
                  </a:lnTo>
                  <a:lnTo>
                    <a:pt x="1354" y="1100"/>
                  </a:lnTo>
                  <a:lnTo>
                    <a:pt x="1354" y="1100"/>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1088"/>
                  </a:lnTo>
                  <a:lnTo>
                    <a:pt x="1366" y="1088"/>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7" y="1083"/>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899"/>
                  </a:lnTo>
                  <a:lnTo>
                    <a:pt x="1369" y="899"/>
                  </a:lnTo>
                  <a:lnTo>
                    <a:pt x="1369" y="899"/>
                  </a:lnTo>
                  <a:lnTo>
                    <a:pt x="1369" y="899"/>
                  </a:lnTo>
                  <a:lnTo>
                    <a:pt x="1369" y="899"/>
                  </a:lnTo>
                  <a:lnTo>
                    <a:pt x="1369" y="899"/>
                  </a:lnTo>
                  <a:lnTo>
                    <a:pt x="1369" y="1076"/>
                  </a:lnTo>
                  <a:lnTo>
                    <a:pt x="1369" y="1076"/>
                  </a:lnTo>
                  <a:lnTo>
                    <a:pt x="1369" y="1074"/>
                  </a:lnTo>
                  <a:lnTo>
                    <a:pt x="1369" y="1074"/>
                  </a:lnTo>
                  <a:lnTo>
                    <a:pt x="1369" y="1074"/>
                  </a:lnTo>
                  <a:lnTo>
                    <a:pt x="1370" y="1074"/>
                  </a:lnTo>
                  <a:lnTo>
                    <a:pt x="1370" y="1074"/>
                  </a:lnTo>
                  <a:lnTo>
                    <a:pt x="1375" y="1074"/>
                  </a:lnTo>
                  <a:lnTo>
                    <a:pt x="1375" y="1074"/>
                  </a:lnTo>
                  <a:lnTo>
                    <a:pt x="1375" y="1074"/>
                  </a:lnTo>
                  <a:lnTo>
                    <a:pt x="1375" y="1073"/>
                  </a:lnTo>
                  <a:lnTo>
                    <a:pt x="1375" y="1073"/>
                  </a:lnTo>
                  <a:lnTo>
                    <a:pt x="1375" y="1072"/>
                  </a:lnTo>
                  <a:lnTo>
                    <a:pt x="1380" y="1072"/>
                  </a:lnTo>
                  <a:lnTo>
                    <a:pt x="1380" y="1069"/>
                  </a:lnTo>
                  <a:lnTo>
                    <a:pt x="1381" y="1069"/>
                  </a:lnTo>
                  <a:lnTo>
                    <a:pt x="1381" y="1069"/>
                  </a:lnTo>
                  <a:lnTo>
                    <a:pt x="1382" y="1069"/>
                  </a:lnTo>
                  <a:lnTo>
                    <a:pt x="1382" y="1069"/>
                  </a:lnTo>
                  <a:lnTo>
                    <a:pt x="1385" y="1069"/>
                  </a:lnTo>
                  <a:lnTo>
                    <a:pt x="1385" y="1068"/>
                  </a:lnTo>
                  <a:lnTo>
                    <a:pt x="1385" y="1068"/>
                  </a:lnTo>
                  <a:lnTo>
                    <a:pt x="1385" y="1064"/>
                  </a:lnTo>
                  <a:lnTo>
                    <a:pt x="1385" y="1064"/>
                  </a:lnTo>
                  <a:lnTo>
                    <a:pt x="1385" y="1064"/>
                  </a:lnTo>
                  <a:lnTo>
                    <a:pt x="1386" y="1064"/>
                  </a:lnTo>
                  <a:lnTo>
                    <a:pt x="1386" y="1064"/>
                  </a:lnTo>
                  <a:lnTo>
                    <a:pt x="1387" y="1064"/>
                  </a:lnTo>
                  <a:lnTo>
                    <a:pt x="1387" y="1064"/>
                  </a:lnTo>
                  <a:lnTo>
                    <a:pt x="1387" y="1064"/>
                  </a:lnTo>
                  <a:lnTo>
                    <a:pt x="1387" y="1064"/>
                  </a:lnTo>
                  <a:lnTo>
                    <a:pt x="1387" y="1064"/>
                  </a:lnTo>
                  <a:lnTo>
                    <a:pt x="1387" y="1064"/>
                  </a:lnTo>
                  <a:lnTo>
                    <a:pt x="1387" y="1064"/>
                  </a:lnTo>
                  <a:lnTo>
                    <a:pt x="1387" y="1064"/>
                  </a:lnTo>
                  <a:lnTo>
                    <a:pt x="1388" y="1064"/>
                  </a:lnTo>
                  <a:lnTo>
                    <a:pt x="1388" y="1064"/>
                  </a:lnTo>
                  <a:lnTo>
                    <a:pt x="1388" y="1064"/>
                  </a:lnTo>
                  <a:lnTo>
                    <a:pt x="1388" y="1063"/>
                  </a:lnTo>
                  <a:lnTo>
                    <a:pt x="1388" y="1063"/>
                  </a:lnTo>
                  <a:lnTo>
                    <a:pt x="1388" y="1063"/>
                  </a:lnTo>
                  <a:lnTo>
                    <a:pt x="1388" y="1063"/>
                  </a:lnTo>
                  <a:lnTo>
                    <a:pt x="1388" y="1062"/>
                  </a:lnTo>
                  <a:lnTo>
                    <a:pt x="1388" y="1062"/>
                  </a:lnTo>
                  <a:lnTo>
                    <a:pt x="1388" y="1061"/>
                  </a:lnTo>
                  <a:lnTo>
                    <a:pt x="1388" y="1061"/>
                  </a:lnTo>
                  <a:lnTo>
                    <a:pt x="1388" y="1061"/>
                  </a:lnTo>
                  <a:lnTo>
                    <a:pt x="1389" y="1061"/>
                  </a:lnTo>
                  <a:lnTo>
                    <a:pt x="1389" y="1061"/>
                  </a:lnTo>
                  <a:lnTo>
                    <a:pt x="1389" y="1061"/>
                  </a:lnTo>
                  <a:lnTo>
                    <a:pt x="1389" y="1061"/>
                  </a:lnTo>
                  <a:lnTo>
                    <a:pt x="1390" y="1061"/>
                  </a:lnTo>
                  <a:lnTo>
                    <a:pt x="1390" y="1060"/>
                  </a:lnTo>
                  <a:lnTo>
                    <a:pt x="1390" y="1060"/>
                  </a:lnTo>
                  <a:lnTo>
                    <a:pt x="1390" y="1060"/>
                  </a:lnTo>
                  <a:lnTo>
                    <a:pt x="1390" y="1060"/>
                  </a:lnTo>
                  <a:lnTo>
                    <a:pt x="1390" y="1060"/>
                  </a:lnTo>
                  <a:lnTo>
                    <a:pt x="1390" y="1060"/>
                  </a:lnTo>
                  <a:lnTo>
                    <a:pt x="1390" y="1060"/>
                  </a:lnTo>
                  <a:lnTo>
                    <a:pt x="1390" y="1060"/>
                  </a:lnTo>
                  <a:lnTo>
                    <a:pt x="1390"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2" y="1060"/>
                  </a:lnTo>
                  <a:lnTo>
                    <a:pt x="1392" y="1060"/>
                  </a:lnTo>
                  <a:lnTo>
                    <a:pt x="1396" y="1060"/>
                  </a:lnTo>
                  <a:lnTo>
                    <a:pt x="1396" y="1059"/>
                  </a:lnTo>
                  <a:lnTo>
                    <a:pt x="1396" y="1059"/>
                  </a:lnTo>
                  <a:lnTo>
                    <a:pt x="1396" y="1059"/>
                  </a:lnTo>
                  <a:lnTo>
                    <a:pt x="1397" y="1059"/>
                  </a:lnTo>
                  <a:lnTo>
                    <a:pt x="1397" y="1059"/>
                  </a:lnTo>
                  <a:lnTo>
                    <a:pt x="1399" y="1059"/>
                  </a:lnTo>
                  <a:lnTo>
                    <a:pt x="1399" y="1059"/>
                  </a:lnTo>
                  <a:lnTo>
                    <a:pt x="1399" y="1059"/>
                  </a:lnTo>
                  <a:lnTo>
                    <a:pt x="1399" y="1057"/>
                  </a:lnTo>
                  <a:lnTo>
                    <a:pt x="1399" y="1057"/>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1049"/>
                  </a:lnTo>
                  <a:lnTo>
                    <a:pt x="1408" y="104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1046"/>
                  </a:lnTo>
                  <a:lnTo>
                    <a:pt x="1410" y="1046"/>
                  </a:lnTo>
                  <a:lnTo>
                    <a:pt x="1410" y="1046"/>
                  </a:lnTo>
                  <a:lnTo>
                    <a:pt x="1410" y="1046"/>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1043"/>
                  </a:lnTo>
                  <a:lnTo>
                    <a:pt x="1413" y="1043"/>
                  </a:lnTo>
                  <a:lnTo>
                    <a:pt x="1413" y="1043"/>
                  </a:lnTo>
                  <a:lnTo>
                    <a:pt x="1413" y="1043"/>
                  </a:lnTo>
                  <a:lnTo>
                    <a:pt x="1413" y="1043"/>
                  </a:lnTo>
                  <a:lnTo>
                    <a:pt x="1414" y="1043"/>
                  </a:lnTo>
                  <a:lnTo>
                    <a:pt x="1414" y="1043"/>
                  </a:lnTo>
                  <a:lnTo>
                    <a:pt x="1421" y="1043"/>
                  </a:lnTo>
                  <a:lnTo>
                    <a:pt x="1421" y="1042"/>
                  </a:lnTo>
                  <a:lnTo>
                    <a:pt x="1422" y="1042"/>
                  </a:lnTo>
                  <a:lnTo>
                    <a:pt x="1422" y="1042"/>
                  </a:lnTo>
                  <a:lnTo>
                    <a:pt x="1423" y="1042"/>
                  </a:lnTo>
                  <a:lnTo>
                    <a:pt x="1423" y="1042"/>
                  </a:lnTo>
                  <a:lnTo>
                    <a:pt x="1425" y="1042"/>
                  </a:lnTo>
                  <a:lnTo>
                    <a:pt x="1425" y="1042"/>
                  </a:lnTo>
                  <a:lnTo>
                    <a:pt x="1432" y="1042"/>
                  </a:lnTo>
                  <a:lnTo>
                    <a:pt x="1432" y="1042"/>
                  </a:lnTo>
                  <a:lnTo>
                    <a:pt x="1432" y="1042"/>
                  </a:lnTo>
                  <a:lnTo>
                    <a:pt x="1432" y="1042"/>
                  </a:lnTo>
                  <a:lnTo>
                    <a:pt x="1432" y="1042"/>
                  </a:lnTo>
                  <a:lnTo>
                    <a:pt x="1432" y="1042"/>
                  </a:lnTo>
                  <a:lnTo>
                    <a:pt x="1434" y="1042"/>
                  </a:lnTo>
                  <a:lnTo>
                    <a:pt x="1434" y="1041"/>
                  </a:lnTo>
                  <a:lnTo>
                    <a:pt x="1434" y="1041"/>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1039"/>
                  </a:lnTo>
                  <a:lnTo>
                    <a:pt x="1438" y="1039"/>
                  </a:lnTo>
                  <a:lnTo>
                    <a:pt x="1438" y="1039"/>
                  </a:lnTo>
                  <a:lnTo>
                    <a:pt x="1438" y="1039"/>
                  </a:lnTo>
                  <a:lnTo>
                    <a:pt x="1438" y="1038"/>
                  </a:lnTo>
                  <a:lnTo>
                    <a:pt x="1438" y="1038"/>
                  </a:lnTo>
                  <a:lnTo>
                    <a:pt x="1438" y="1038"/>
                  </a:lnTo>
                  <a:lnTo>
                    <a:pt x="1439" y="1038"/>
                  </a:lnTo>
                  <a:lnTo>
                    <a:pt x="1439" y="1038"/>
                  </a:lnTo>
                  <a:lnTo>
                    <a:pt x="1441" y="1038"/>
                  </a:lnTo>
                  <a:lnTo>
                    <a:pt x="1441" y="1038"/>
                  </a:lnTo>
                  <a:lnTo>
                    <a:pt x="1453" y="1038"/>
                  </a:lnTo>
                  <a:lnTo>
                    <a:pt x="1453" y="1038"/>
                  </a:lnTo>
                  <a:lnTo>
                    <a:pt x="1453" y="1038"/>
                  </a:lnTo>
                  <a:lnTo>
                    <a:pt x="1453" y="1037"/>
                  </a:lnTo>
                  <a:lnTo>
                    <a:pt x="1453" y="1037"/>
                  </a:lnTo>
                  <a:lnTo>
                    <a:pt x="1453" y="1037"/>
                  </a:lnTo>
                  <a:lnTo>
                    <a:pt x="1454" y="1037"/>
                  </a:lnTo>
                  <a:lnTo>
                    <a:pt x="1454" y="1036"/>
                  </a:lnTo>
                  <a:lnTo>
                    <a:pt x="1455" y="1036"/>
                  </a:lnTo>
                  <a:lnTo>
                    <a:pt x="1455" y="899"/>
                  </a:lnTo>
                  <a:lnTo>
                    <a:pt x="1455" y="899"/>
                  </a:lnTo>
                  <a:lnTo>
                    <a:pt x="1455" y="899"/>
                  </a:lnTo>
                  <a:lnTo>
                    <a:pt x="1455" y="899"/>
                  </a:lnTo>
                  <a:lnTo>
                    <a:pt x="1455" y="1036"/>
                  </a:lnTo>
                  <a:lnTo>
                    <a:pt x="1455" y="1036"/>
                  </a:lnTo>
                  <a:lnTo>
                    <a:pt x="1455" y="1036"/>
                  </a:lnTo>
                  <a:lnTo>
                    <a:pt x="1456" y="1036"/>
                  </a:lnTo>
                  <a:lnTo>
                    <a:pt x="1456" y="1036"/>
                  </a:lnTo>
                  <a:lnTo>
                    <a:pt x="1457" y="1036"/>
                  </a:lnTo>
                  <a:lnTo>
                    <a:pt x="1457" y="1035"/>
                  </a:lnTo>
                  <a:lnTo>
                    <a:pt x="1457" y="1035"/>
                  </a:lnTo>
                  <a:lnTo>
                    <a:pt x="1457" y="1035"/>
                  </a:lnTo>
                  <a:lnTo>
                    <a:pt x="1474" y="1035"/>
                  </a:lnTo>
                  <a:lnTo>
                    <a:pt x="1474" y="1034"/>
                  </a:lnTo>
                  <a:lnTo>
                    <a:pt x="1474" y="1034"/>
                  </a:lnTo>
                  <a:lnTo>
                    <a:pt x="1474" y="1034"/>
                  </a:lnTo>
                  <a:lnTo>
                    <a:pt x="1474" y="1034"/>
                  </a:lnTo>
                  <a:lnTo>
                    <a:pt x="1474" y="1033"/>
                  </a:lnTo>
                  <a:lnTo>
                    <a:pt x="1475" y="1033"/>
                  </a:lnTo>
                  <a:lnTo>
                    <a:pt x="1475" y="1033"/>
                  </a:lnTo>
                  <a:lnTo>
                    <a:pt x="1475" y="1033"/>
                  </a:lnTo>
                  <a:lnTo>
                    <a:pt x="1475" y="1032"/>
                  </a:lnTo>
                  <a:lnTo>
                    <a:pt x="1475" y="1032"/>
                  </a:lnTo>
                  <a:lnTo>
                    <a:pt x="1475" y="1032"/>
                  </a:lnTo>
                  <a:lnTo>
                    <a:pt x="1476" y="1032"/>
                  </a:lnTo>
                  <a:lnTo>
                    <a:pt x="1476" y="1032"/>
                  </a:lnTo>
                  <a:lnTo>
                    <a:pt x="1476" y="1032"/>
                  </a:lnTo>
                  <a:lnTo>
                    <a:pt x="1476" y="1031"/>
                  </a:lnTo>
                  <a:lnTo>
                    <a:pt x="1478" y="1031"/>
                  </a:lnTo>
                  <a:lnTo>
                    <a:pt x="1478" y="1029"/>
                  </a:lnTo>
                  <a:lnTo>
                    <a:pt x="1478" y="1029"/>
                  </a:lnTo>
                  <a:lnTo>
                    <a:pt x="1478" y="1029"/>
                  </a:lnTo>
                  <a:lnTo>
                    <a:pt x="1478" y="1029"/>
                  </a:lnTo>
                  <a:lnTo>
                    <a:pt x="1478" y="1029"/>
                  </a:lnTo>
                  <a:lnTo>
                    <a:pt x="1478" y="1029"/>
                  </a:lnTo>
                  <a:lnTo>
                    <a:pt x="1478" y="1029"/>
                  </a:lnTo>
                  <a:lnTo>
                    <a:pt x="1478" y="1029"/>
                  </a:lnTo>
                  <a:lnTo>
                    <a:pt x="1478" y="1028"/>
                  </a:lnTo>
                  <a:lnTo>
                    <a:pt x="1479" y="1028"/>
                  </a:lnTo>
                  <a:lnTo>
                    <a:pt x="1479" y="1027"/>
                  </a:lnTo>
                  <a:lnTo>
                    <a:pt x="1482" y="1027"/>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3" y="1026"/>
                  </a:lnTo>
                  <a:lnTo>
                    <a:pt x="1483" y="1026"/>
                  </a:lnTo>
                  <a:lnTo>
                    <a:pt x="1483" y="1026"/>
                  </a:lnTo>
                  <a:lnTo>
                    <a:pt x="1483" y="1026"/>
                  </a:lnTo>
                  <a:lnTo>
                    <a:pt x="1483" y="1026"/>
                  </a:lnTo>
                  <a:lnTo>
                    <a:pt x="1483" y="1025"/>
                  </a:lnTo>
                  <a:lnTo>
                    <a:pt x="1483" y="1025"/>
                  </a:lnTo>
                  <a:lnTo>
                    <a:pt x="1483" y="1024"/>
                  </a:lnTo>
                  <a:lnTo>
                    <a:pt x="1483" y="1024"/>
                  </a:lnTo>
                  <a:lnTo>
                    <a:pt x="1483" y="1024"/>
                  </a:lnTo>
                  <a:lnTo>
                    <a:pt x="1484" y="1024"/>
                  </a:lnTo>
                  <a:lnTo>
                    <a:pt x="1484" y="1021"/>
                  </a:lnTo>
                  <a:lnTo>
                    <a:pt x="1484" y="1021"/>
                  </a:lnTo>
                  <a:lnTo>
                    <a:pt x="1484" y="1020"/>
                  </a:lnTo>
                  <a:lnTo>
                    <a:pt x="1484" y="1020"/>
                  </a:lnTo>
                  <a:lnTo>
                    <a:pt x="1484" y="1020"/>
                  </a:lnTo>
                  <a:lnTo>
                    <a:pt x="1484" y="1020"/>
                  </a:lnTo>
                  <a:lnTo>
                    <a:pt x="1484" y="1020"/>
                  </a:lnTo>
                  <a:lnTo>
                    <a:pt x="1484" y="1020"/>
                  </a:lnTo>
                  <a:lnTo>
                    <a:pt x="1484" y="1019"/>
                  </a:lnTo>
                  <a:lnTo>
                    <a:pt x="1484" y="1019"/>
                  </a:lnTo>
                  <a:lnTo>
                    <a:pt x="1484" y="1017"/>
                  </a:lnTo>
                  <a:lnTo>
                    <a:pt x="1484" y="1017"/>
                  </a:lnTo>
                  <a:lnTo>
                    <a:pt x="1484" y="1017"/>
                  </a:lnTo>
                  <a:lnTo>
                    <a:pt x="1484" y="1017"/>
                  </a:lnTo>
                  <a:lnTo>
                    <a:pt x="1484" y="1017"/>
                  </a:lnTo>
                  <a:lnTo>
                    <a:pt x="1485" y="1017"/>
                  </a:lnTo>
                  <a:lnTo>
                    <a:pt x="1485" y="1016"/>
                  </a:lnTo>
                  <a:lnTo>
                    <a:pt x="1485" y="1016"/>
                  </a:lnTo>
                  <a:lnTo>
                    <a:pt x="1485" y="1016"/>
                  </a:lnTo>
                  <a:lnTo>
                    <a:pt x="1485" y="1016"/>
                  </a:lnTo>
                  <a:lnTo>
                    <a:pt x="1485" y="1014"/>
                  </a:lnTo>
                  <a:lnTo>
                    <a:pt x="1486" y="1014"/>
                  </a:lnTo>
                  <a:lnTo>
                    <a:pt x="1486" y="1014"/>
                  </a:lnTo>
                  <a:lnTo>
                    <a:pt x="1487" y="1014"/>
                  </a:lnTo>
                  <a:lnTo>
                    <a:pt x="1487" y="1014"/>
                  </a:lnTo>
                  <a:lnTo>
                    <a:pt x="1489" y="1014"/>
                  </a:lnTo>
                  <a:lnTo>
                    <a:pt x="1489" y="1014"/>
                  </a:lnTo>
                  <a:lnTo>
                    <a:pt x="1495" y="1014"/>
                  </a:lnTo>
                  <a:lnTo>
                    <a:pt x="1495" y="1012"/>
                  </a:lnTo>
                  <a:lnTo>
                    <a:pt x="1507" y="1012"/>
                  </a:lnTo>
                  <a:lnTo>
                    <a:pt x="1507" y="1012"/>
                  </a:lnTo>
                  <a:lnTo>
                    <a:pt x="1535" y="1012"/>
                  </a:lnTo>
                  <a:lnTo>
                    <a:pt x="1535" y="899"/>
                  </a:lnTo>
                  <a:lnTo>
                    <a:pt x="1535" y="899"/>
                  </a:lnTo>
                  <a:lnTo>
                    <a:pt x="1535" y="899"/>
                  </a:lnTo>
                  <a:lnTo>
                    <a:pt x="1535" y="899"/>
                  </a:lnTo>
                  <a:lnTo>
                    <a:pt x="1535" y="1011"/>
                  </a:lnTo>
                  <a:lnTo>
                    <a:pt x="1536" y="1011"/>
                  </a:lnTo>
                  <a:lnTo>
                    <a:pt x="1536" y="899"/>
                  </a:lnTo>
                  <a:lnTo>
                    <a:pt x="1536" y="899"/>
                  </a:lnTo>
                  <a:lnTo>
                    <a:pt x="1536" y="899"/>
                  </a:lnTo>
                  <a:lnTo>
                    <a:pt x="1537" y="899"/>
                  </a:lnTo>
                  <a:lnTo>
                    <a:pt x="1537" y="1011"/>
                  </a:lnTo>
                  <a:lnTo>
                    <a:pt x="1538" y="1011"/>
                  </a:lnTo>
                  <a:lnTo>
                    <a:pt x="1538" y="899"/>
                  </a:lnTo>
                  <a:lnTo>
                    <a:pt x="1539" y="899"/>
                  </a:lnTo>
                  <a:lnTo>
                    <a:pt x="1539" y="899"/>
                  </a:lnTo>
                  <a:lnTo>
                    <a:pt x="1541" y="899"/>
                  </a:lnTo>
                  <a:lnTo>
                    <a:pt x="1541" y="899"/>
                  </a:lnTo>
                  <a:lnTo>
                    <a:pt x="1544" y="899"/>
                  </a:lnTo>
                  <a:lnTo>
                    <a:pt x="1544" y="899"/>
                  </a:lnTo>
                  <a:lnTo>
                    <a:pt x="1549" y="899"/>
                  </a:lnTo>
                  <a:lnTo>
                    <a:pt x="1549" y="1011"/>
                  </a:lnTo>
                  <a:lnTo>
                    <a:pt x="1558" y="1011"/>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1006"/>
                  </a:lnTo>
                  <a:lnTo>
                    <a:pt x="1695" y="1006"/>
                  </a:lnTo>
                  <a:lnTo>
                    <a:pt x="1695" y="1006"/>
                  </a:lnTo>
                  <a:lnTo>
                    <a:pt x="1698" y="1006"/>
                  </a:lnTo>
                  <a:lnTo>
                    <a:pt x="1698" y="1005"/>
                  </a:lnTo>
                  <a:lnTo>
                    <a:pt x="1698" y="1005"/>
                  </a:lnTo>
                  <a:lnTo>
                    <a:pt x="1698" y="1005"/>
                  </a:lnTo>
                  <a:lnTo>
                    <a:pt x="1699" y="1005"/>
                  </a:lnTo>
                  <a:lnTo>
                    <a:pt x="1699" y="1004"/>
                  </a:lnTo>
                  <a:lnTo>
                    <a:pt x="1699" y="1004"/>
                  </a:lnTo>
                  <a:lnTo>
                    <a:pt x="1699" y="1004"/>
                  </a:lnTo>
                  <a:lnTo>
                    <a:pt x="1699" y="1004"/>
                  </a:lnTo>
                  <a:lnTo>
                    <a:pt x="1699" y="1003"/>
                  </a:lnTo>
                  <a:lnTo>
                    <a:pt x="1699" y="1003"/>
                  </a:lnTo>
                  <a:lnTo>
                    <a:pt x="1699" y="999"/>
                  </a:lnTo>
                  <a:lnTo>
                    <a:pt x="1699" y="999"/>
                  </a:lnTo>
                  <a:lnTo>
                    <a:pt x="1699" y="999"/>
                  </a:lnTo>
                  <a:lnTo>
                    <a:pt x="1699" y="999"/>
                  </a:lnTo>
                  <a:lnTo>
                    <a:pt x="1699" y="999"/>
                  </a:lnTo>
                  <a:lnTo>
                    <a:pt x="1699" y="999"/>
                  </a:lnTo>
                  <a:lnTo>
                    <a:pt x="1699" y="998"/>
                  </a:lnTo>
                  <a:lnTo>
                    <a:pt x="1699" y="998"/>
                  </a:lnTo>
                  <a:lnTo>
                    <a:pt x="1699" y="997"/>
                  </a:lnTo>
                  <a:lnTo>
                    <a:pt x="1700" y="997"/>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993"/>
                  </a:lnTo>
                  <a:lnTo>
                    <a:pt x="1702" y="993"/>
                  </a:lnTo>
                  <a:lnTo>
                    <a:pt x="1702" y="993"/>
                  </a:lnTo>
                  <a:lnTo>
                    <a:pt x="1703" y="993"/>
                  </a:lnTo>
                  <a:lnTo>
                    <a:pt x="1703" y="993"/>
                  </a:lnTo>
                  <a:lnTo>
                    <a:pt x="1703" y="993"/>
                  </a:lnTo>
                  <a:lnTo>
                    <a:pt x="1703" y="993"/>
                  </a:lnTo>
                  <a:lnTo>
                    <a:pt x="1706" y="993"/>
                  </a:lnTo>
                  <a:lnTo>
                    <a:pt x="1706" y="992"/>
                  </a:lnTo>
                  <a:lnTo>
                    <a:pt x="1706" y="992"/>
                  </a:lnTo>
                  <a:lnTo>
                    <a:pt x="1706" y="992"/>
                  </a:lnTo>
                  <a:lnTo>
                    <a:pt x="1737" y="992"/>
                  </a:lnTo>
                  <a:lnTo>
                    <a:pt x="1737" y="992"/>
                  </a:lnTo>
                  <a:lnTo>
                    <a:pt x="1799" y="992"/>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974"/>
                  </a:lnTo>
                  <a:lnTo>
                    <a:pt x="1814" y="974"/>
                  </a:lnTo>
                  <a:lnTo>
                    <a:pt x="1814" y="970"/>
                  </a:lnTo>
                  <a:lnTo>
                    <a:pt x="1814" y="970"/>
                  </a:lnTo>
                  <a:lnTo>
                    <a:pt x="1814" y="970"/>
                  </a:lnTo>
                  <a:lnTo>
                    <a:pt x="1814" y="970"/>
                  </a:lnTo>
                  <a:lnTo>
                    <a:pt x="1814" y="970"/>
                  </a:lnTo>
                  <a:lnTo>
                    <a:pt x="1815" y="970"/>
                  </a:lnTo>
                  <a:lnTo>
                    <a:pt x="1815" y="968"/>
                  </a:lnTo>
                  <a:lnTo>
                    <a:pt x="1817" y="968"/>
                  </a:lnTo>
                  <a:lnTo>
                    <a:pt x="1817" y="966"/>
                  </a:lnTo>
                  <a:lnTo>
                    <a:pt x="1817" y="966"/>
                  </a:lnTo>
                  <a:lnTo>
                    <a:pt x="1817" y="966"/>
                  </a:lnTo>
                  <a:lnTo>
                    <a:pt x="1820" y="966"/>
                  </a:lnTo>
                  <a:lnTo>
                    <a:pt x="1820" y="966"/>
                  </a:lnTo>
                  <a:lnTo>
                    <a:pt x="1844" y="966"/>
                  </a:lnTo>
                  <a:lnTo>
                    <a:pt x="1844" y="964"/>
                  </a:lnTo>
                  <a:lnTo>
                    <a:pt x="1845" y="964"/>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899"/>
                  </a:lnTo>
                  <a:lnTo>
                    <a:pt x="1852" y="899"/>
                  </a:lnTo>
                  <a:lnTo>
                    <a:pt x="1852" y="899"/>
                  </a:lnTo>
                  <a:lnTo>
                    <a:pt x="1852" y="899"/>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938"/>
                  </a:lnTo>
                  <a:lnTo>
                    <a:pt x="1901" y="938"/>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936"/>
                  </a:lnTo>
                  <a:lnTo>
                    <a:pt x="1903" y="936"/>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929"/>
                  </a:lnTo>
                  <a:lnTo>
                    <a:pt x="1927" y="929"/>
                  </a:lnTo>
                  <a:lnTo>
                    <a:pt x="1927" y="929"/>
                  </a:lnTo>
                  <a:lnTo>
                    <a:pt x="1929" y="929"/>
                  </a:lnTo>
                  <a:lnTo>
                    <a:pt x="1929" y="929"/>
                  </a:lnTo>
                  <a:lnTo>
                    <a:pt x="1936" y="929"/>
                  </a:lnTo>
                  <a:lnTo>
                    <a:pt x="1936" y="929"/>
                  </a:lnTo>
                  <a:lnTo>
                    <a:pt x="1943" y="92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899"/>
                  </a:lnTo>
                  <a:lnTo>
                    <a:pt x="1945" y="899"/>
                  </a:lnTo>
                  <a:lnTo>
                    <a:pt x="1945" y="899"/>
                  </a:lnTo>
                  <a:lnTo>
                    <a:pt x="1945" y="899"/>
                  </a:lnTo>
                  <a:lnTo>
                    <a:pt x="1945" y="899"/>
                  </a:lnTo>
                  <a:lnTo>
                    <a:pt x="1945" y="89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910"/>
                  </a:lnTo>
                  <a:lnTo>
                    <a:pt x="1963" y="910"/>
                  </a:lnTo>
                  <a:lnTo>
                    <a:pt x="1963" y="910"/>
                  </a:lnTo>
                  <a:lnTo>
                    <a:pt x="1968" y="910"/>
                  </a:lnTo>
                  <a:lnTo>
                    <a:pt x="1968" y="910"/>
                  </a:lnTo>
                  <a:lnTo>
                    <a:pt x="2021" y="910"/>
                  </a:lnTo>
                  <a:lnTo>
                    <a:pt x="2021" y="910"/>
                  </a:lnTo>
                  <a:lnTo>
                    <a:pt x="2032" y="910"/>
                  </a:lnTo>
                  <a:lnTo>
                    <a:pt x="2032" y="910"/>
                  </a:lnTo>
                  <a:lnTo>
                    <a:pt x="2055" y="910"/>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6"/>
                  </a:lnTo>
                  <a:lnTo>
                    <a:pt x="2059" y="896"/>
                  </a:lnTo>
                  <a:lnTo>
                    <a:pt x="2059" y="894"/>
                  </a:lnTo>
                  <a:lnTo>
                    <a:pt x="2059" y="894"/>
                  </a:lnTo>
                  <a:lnTo>
                    <a:pt x="2059" y="894"/>
                  </a:lnTo>
                  <a:lnTo>
                    <a:pt x="2059" y="894"/>
                  </a:lnTo>
                  <a:lnTo>
                    <a:pt x="2059" y="893"/>
                  </a:lnTo>
                  <a:lnTo>
                    <a:pt x="2059" y="893"/>
                  </a:lnTo>
                  <a:lnTo>
                    <a:pt x="2059" y="893"/>
                  </a:lnTo>
                  <a:lnTo>
                    <a:pt x="2059" y="893"/>
                  </a:lnTo>
                  <a:lnTo>
                    <a:pt x="2059" y="892"/>
                  </a:lnTo>
                  <a:lnTo>
                    <a:pt x="2059" y="892"/>
                  </a:lnTo>
                  <a:lnTo>
                    <a:pt x="2059" y="892"/>
                  </a:lnTo>
                  <a:lnTo>
                    <a:pt x="2059" y="892"/>
                  </a:lnTo>
                  <a:lnTo>
                    <a:pt x="2059" y="892"/>
                  </a:lnTo>
                  <a:lnTo>
                    <a:pt x="2060" y="892"/>
                  </a:lnTo>
                  <a:lnTo>
                    <a:pt x="2060" y="892"/>
                  </a:lnTo>
                  <a:lnTo>
                    <a:pt x="2060" y="892"/>
                  </a:lnTo>
                  <a:lnTo>
                    <a:pt x="2060" y="892"/>
                  </a:lnTo>
                  <a:lnTo>
                    <a:pt x="2061" y="892"/>
                  </a:lnTo>
                  <a:lnTo>
                    <a:pt x="2061" y="892"/>
                  </a:lnTo>
                  <a:lnTo>
                    <a:pt x="2064" y="892"/>
                  </a:lnTo>
                  <a:lnTo>
                    <a:pt x="2064" y="892"/>
                  </a:lnTo>
                  <a:lnTo>
                    <a:pt x="2077" y="892"/>
                  </a:lnTo>
                  <a:lnTo>
                    <a:pt x="2077" y="899"/>
                  </a:lnTo>
                  <a:lnTo>
                    <a:pt x="2077" y="899"/>
                  </a:lnTo>
                  <a:lnTo>
                    <a:pt x="2077" y="899"/>
                  </a:lnTo>
                  <a:lnTo>
                    <a:pt x="2077" y="899"/>
                  </a:lnTo>
                  <a:lnTo>
                    <a:pt x="2077" y="899"/>
                  </a:lnTo>
                  <a:lnTo>
                    <a:pt x="2077" y="899"/>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87"/>
                  </a:lnTo>
                  <a:lnTo>
                    <a:pt x="2079" y="887"/>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70"/>
                  </a:lnTo>
                  <a:lnTo>
                    <a:pt x="2152" y="870"/>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44"/>
                  </a:lnTo>
                  <a:lnTo>
                    <a:pt x="2185" y="844"/>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4"/>
                  </a:lnTo>
                  <a:lnTo>
                    <a:pt x="2215" y="834"/>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29"/>
                  </a:lnTo>
                  <a:lnTo>
                    <a:pt x="2217" y="829"/>
                  </a:lnTo>
                  <a:lnTo>
                    <a:pt x="2217" y="829"/>
                  </a:lnTo>
                  <a:lnTo>
                    <a:pt x="2217" y="82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20"/>
                  </a:lnTo>
                  <a:lnTo>
                    <a:pt x="2231" y="820"/>
                  </a:lnTo>
                  <a:lnTo>
                    <a:pt x="2231" y="818"/>
                  </a:lnTo>
                  <a:lnTo>
                    <a:pt x="2231" y="818"/>
                  </a:lnTo>
                  <a:lnTo>
                    <a:pt x="2231" y="818"/>
                  </a:lnTo>
                  <a:lnTo>
                    <a:pt x="2231" y="818"/>
                  </a:lnTo>
                  <a:lnTo>
                    <a:pt x="2231" y="818"/>
                  </a:lnTo>
                  <a:lnTo>
                    <a:pt x="2231" y="818"/>
                  </a:lnTo>
                  <a:lnTo>
                    <a:pt x="2231" y="818"/>
                  </a:lnTo>
                  <a:lnTo>
                    <a:pt x="2231" y="818"/>
                  </a:lnTo>
                  <a:lnTo>
                    <a:pt x="2231" y="818"/>
                  </a:lnTo>
                  <a:lnTo>
                    <a:pt x="2233" y="818"/>
                  </a:lnTo>
                  <a:lnTo>
                    <a:pt x="2233" y="818"/>
                  </a:lnTo>
                  <a:lnTo>
                    <a:pt x="2239" y="818"/>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07"/>
                  </a:lnTo>
                  <a:lnTo>
                    <a:pt x="2293" y="807"/>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799"/>
                  </a:lnTo>
                  <a:lnTo>
                    <a:pt x="2311" y="799"/>
                  </a:lnTo>
                  <a:lnTo>
                    <a:pt x="2311" y="799"/>
                  </a:lnTo>
                  <a:lnTo>
                    <a:pt x="2350" y="799"/>
                  </a:lnTo>
                  <a:lnTo>
                    <a:pt x="2350" y="798"/>
                  </a:lnTo>
                  <a:lnTo>
                    <a:pt x="2350" y="798"/>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782"/>
                  </a:lnTo>
                  <a:lnTo>
                    <a:pt x="2526" y="782"/>
                  </a:lnTo>
                  <a:lnTo>
                    <a:pt x="2526" y="780"/>
                  </a:lnTo>
                  <a:lnTo>
                    <a:pt x="2526" y="780"/>
                  </a:lnTo>
                  <a:lnTo>
                    <a:pt x="2526" y="780"/>
                  </a:lnTo>
                  <a:lnTo>
                    <a:pt x="2526" y="780"/>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760"/>
                  </a:lnTo>
                  <a:lnTo>
                    <a:pt x="2630" y="760"/>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743"/>
                  </a:lnTo>
                  <a:lnTo>
                    <a:pt x="2649" y="743"/>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723"/>
                  </a:lnTo>
                  <a:lnTo>
                    <a:pt x="2662" y="723"/>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678"/>
                  </a:lnTo>
                  <a:lnTo>
                    <a:pt x="2690" y="678"/>
                  </a:lnTo>
                  <a:lnTo>
                    <a:pt x="2690" y="678"/>
                  </a:lnTo>
                  <a:lnTo>
                    <a:pt x="2690" y="678"/>
                  </a:lnTo>
                  <a:lnTo>
                    <a:pt x="2690" y="678"/>
                  </a:lnTo>
                  <a:lnTo>
                    <a:pt x="2690" y="678"/>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899"/>
                  </a:lnTo>
                  <a:lnTo>
                    <a:pt x="2707" y="899"/>
                  </a:lnTo>
                  <a:lnTo>
                    <a:pt x="2707" y="899"/>
                  </a:lnTo>
                  <a:lnTo>
                    <a:pt x="2712" y="899"/>
                  </a:lnTo>
                  <a:lnTo>
                    <a:pt x="2712" y="660"/>
                  </a:lnTo>
                  <a:lnTo>
                    <a:pt x="2712" y="660"/>
                  </a:lnTo>
                  <a:lnTo>
                    <a:pt x="2712" y="660"/>
                  </a:lnTo>
                  <a:lnTo>
                    <a:pt x="2713" y="660"/>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658"/>
                  </a:lnTo>
                  <a:lnTo>
                    <a:pt x="2735" y="658"/>
                  </a:lnTo>
                  <a:lnTo>
                    <a:pt x="2735" y="658"/>
                  </a:lnTo>
                  <a:lnTo>
                    <a:pt x="2735" y="658"/>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654"/>
                  </a:lnTo>
                  <a:lnTo>
                    <a:pt x="2735" y="654"/>
                  </a:lnTo>
                  <a:lnTo>
                    <a:pt x="2735" y="654"/>
                  </a:lnTo>
                  <a:lnTo>
                    <a:pt x="2736" y="654"/>
                  </a:lnTo>
                  <a:lnTo>
                    <a:pt x="2736" y="654"/>
                  </a:lnTo>
                  <a:lnTo>
                    <a:pt x="2748" y="654"/>
                  </a:lnTo>
                  <a:lnTo>
                    <a:pt x="2748" y="653"/>
                  </a:lnTo>
                  <a:lnTo>
                    <a:pt x="2752" y="653"/>
                  </a:lnTo>
                  <a:lnTo>
                    <a:pt x="2752" y="653"/>
                  </a:lnTo>
                  <a:lnTo>
                    <a:pt x="2775" y="653"/>
                  </a:lnTo>
                  <a:lnTo>
                    <a:pt x="2775" y="652"/>
                  </a:lnTo>
                  <a:lnTo>
                    <a:pt x="2775" y="652"/>
                  </a:lnTo>
                  <a:lnTo>
                    <a:pt x="2775" y="652"/>
                  </a:lnTo>
                  <a:lnTo>
                    <a:pt x="2775" y="652"/>
                  </a:lnTo>
                  <a:lnTo>
                    <a:pt x="2775" y="652"/>
                  </a:lnTo>
                  <a:lnTo>
                    <a:pt x="2775" y="652"/>
                  </a:lnTo>
                  <a:lnTo>
                    <a:pt x="2775" y="651"/>
                  </a:lnTo>
                  <a:lnTo>
                    <a:pt x="2782" y="651"/>
                  </a:lnTo>
                  <a:lnTo>
                    <a:pt x="2782" y="649"/>
                  </a:lnTo>
                  <a:lnTo>
                    <a:pt x="2782" y="64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647"/>
                  </a:lnTo>
                  <a:lnTo>
                    <a:pt x="2783" y="647"/>
                  </a:lnTo>
                  <a:lnTo>
                    <a:pt x="2783" y="647"/>
                  </a:lnTo>
                  <a:lnTo>
                    <a:pt x="2783" y="647"/>
                  </a:lnTo>
                  <a:lnTo>
                    <a:pt x="2783" y="643"/>
                  </a:lnTo>
                  <a:lnTo>
                    <a:pt x="2791" y="643"/>
                  </a:lnTo>
                  <a:lnTo>
                    <a:pt x="2791" y="642"/>
                  </a:lnTo>
                  <a:lnTo>
                    <a:pt x="2792" y="642"/>
                  </a:lnTo>
                  <a:lnTo>
                    <a:pt x="2792" y="638"/>
                  </a:lnTo>
                  <a:lnTo>
                    <a:pt x="2794" y="638"/>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631"/>
                  </a:lnTo>
                  <a:lnTo>
                    <a:pt x="2794" y="631"/>
                  </a:lnTo>
                  <a:lnTo>
                    <a:pt x="2794" y="631"/>
                  </a:lnTo>
                  <a:lnTo>
                    <a:pt x="2795" y="631"/>
                  </a:lnTo>
                  <a:lnTo>
                    <a:pt x="2795" y="628"/>
                  </a:lnTo>
                  <a:lnTo>
                    <a:pt x="2798" y="628"/>
                  </a:lnTo>
                  <a:lnTo>
                    <a:pt x="2798" y="626"/>
                  </a:lnTo>
                  <a:lnTo>
                    <a:pt x="2799" y="626"/>
                  </a:lnTo>
                  <a:lnTo>
                    <a:pt x="2799" y="626"/>
                  </a:lnTo>
                  <a:lnTo>
                    <a:pt x="2837" y="626"/>
                  </a:lnTo>
                  <a:lnTo>
                    <a:pt x="2837" y="625"/>
                  </a:lnTo>
                  <a:lnTo>
                    <a:pt x="2837" y="625"/>
                  </a:lnTo>
                  <a:lnTo>
                    <a:pt x="2837" y="623"/>
                  </a:lnTo>
                  <a:lnTo>
                    <a:pt x="2837" y="623"/>
                  </a:lnTo>
                  <a:lnTo>
                    <a:pt x="2837" y="623"/>
                  </a:lnTo>
                  <a:lnTo>
                    <a:pt x="2840" y="623"/>
                  </a:lnTo>
                  <a:lnTo>
                    <a:pt x="2840" y="619"/>
                  </a:lnTo>
                  <a:lnTo>
                    <a:pt x="2842" y="619"/>
                  </a:lnTo>
                  <a:lnTo>
                    <a:pt x="2842" y="619"/>
                  </a:lnTo>
                  <a:lnTo>
                    <a:pt x="2842" y="619"/>
                  </a:lnTo>
                  <a:lnTo>
                    <a:pt x="2842" y="619"/>
                  </a:lnTo>
                  <a:lnTo>
                    <a:pt x="2842" y="619"/>
                  </a:lnTo>
                  <a:lnTo>
                    <a:pt x="2842" y="899"/>
                  </a:lnTo>
                  <a:lnTo>
                    <a:pt x="2843" y="899"/>
                  </a:lnTo>
                  <a:lnTo>
                    <a:pt x="2843" y="899"/>
                  </a:lnTo>
                  <a:lnTo>
                    <a:pt x="2844" y="899"/>
                  </a:lnTo>
                  <a:lnTo>
                    <a:pt x="2844" y="899"/>
                  </a:lnTo>
                  <a:lnTo>
                    <a:pt x="2848" y="899"/>
                  </a:lnTo>
                  <a:lnTo>
                    <a:pt x="2848" y="899"/>
                  </a:lnTo>
                  <a:lnTo>
                    <a:pt x="2853" y="899"/>
                  </a:lnTo>
                  <a:lnTo>
                    <a:pt x="2853" y="612"/>
                  </a:lnTo>
                  <a:lnTo>
                    <a:pt x="2855" y="612"/>
                  </a:lnTo>
                  <a:lnTo>
                    <a:pt x="2855" y="611"/>
                  </a:lnTo>
                  <a:lnTo>
                    <a:pt x="2856" y="611"/>
                  </a:lnTo>
                  <a:lnTo>
                    <a:pt x="2856" y="611"/>
                  </a:lnTo>
                  <a:lnTo>
                    <a:pt x="2866" y="611"/>
                  </a:lnTo>
                  <a:lnTo>
                    <a:pt x="2866" y="611"/>
                  </a:lnTo>
                  <a:lnTo>
                    <a:pt x="2891" y="611"/>
                  </a:lnTo>
                  <a:lnTo>
                    <a:pt x="2891" y="610"/>
                  </a:lnTo>
                  <a:lnTo>
                    <a:pt x="2895" y="610"/>
                  </a:lnTo>
                  <a:lnTo>
                    <a:pt x="2895" y="599"/>
                  </a:lnTo>
                  <a:lnTo>
                    <a:pt x="2896" y="5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590"/>
                  </a:lnTo>
                  <a:lnTo>
                    <a:pt x="2903" y="590"/>
                  </a:lnTo>
                  <a:lnTo>
                    <a:pt x="2903" y="582"/>
                  </a:lnTo>
                  <a:lnTo>
                    <a:pt x="2904" y="582"/>
                  </a:lnTo>
                  <a:lnTo>
                    <a:pt x="2904" y="579"/>
                  </a:lnTo>
                  <a:lnTo>
                    <a:pt x="2904" y="57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568"/>
                  </a:lnTo>
                  <a:lnTo>
                    <a:pt x="2938" y="568"/>
                  </a:lnTo>
                  <a:lnTo>
                    <a:pt x="2938" y="567"/>
                  </a:lnTo>
                  <a:lnTo>
                    <a:pt x="2938" y="567"/>
                  </a:lnTo>
                  <a:lnTo>
                    <a:pt x="2938" y="567"/>
                  </a:lnTo>
                  <a:lnTo>
                    <a:pt x="2939" y="567"/>
                  </a:lnTo>
                  <a:lnTo>
                    <a:pt x="2939" y="567"/>
                  </a:lnTo>
                  <a:lnTo>
                    <a:pt x="2943" y="567"/>
                  </a:lnTo>
                  <a:lnTo>
                    <a:pt x="2943" y="567"/>
                  </a:lnTo>
                  <a:lnTo>
                    <a:pt x="2943" y="567"/>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561"/>
                  </a:lnTo>
                  <a:lnTo>
                    <a:pt x="2947" y="561"/>
                  </a:lnTo>
                  <a:lnTo>
                    <a:pt x="2947" y="561"/>
                  </a:lnTo>
                  <a:lnTo>
                    <a:pt x="2950" y="561"/>
                  </a:lnTo>
                  <a:lnTo>
                    <a:pt x="2950" y="552"/>
                  </a:lnTo>
                  <a:lnTo>
                    <a:pt x="2950" y="552"/>
                  </a:lnTo>
                  <a:lnTo>
                    <a:pt x="2950" y="552"/>
                  </a:lnTo>
                  <a:lnTo>
                    <a:pt x="2950" y="552"/>
                  </a:lnTo>
                  <a:lnTo>
                    <a:pt x="2950" y="551"/>
                  </a:lnTo>
                  <a:lnTo>
                    <a:pt x="2950" y="551"/>
                  </a:lnTo>
                  <a:lnTo>
                    <a:pt x="2950" y="551"/>
                  </a:lnTo>
                  <a:lnTo>
                    <a:pt x="2950" y="551"/>
                  </a:lnTo>
                  <a:lnTo>
                    <a:pt x="2950" y="551"/>
                  </a:lnTo>
                  <a:lnTo>
                    <a:pt x="2951" y="551"/>
                  </a:lnTo>
                  <a:lnTo>
                    <a:pt x="2951" y="547"/>
                  </a:lnTo>
                  <a:lnTo>
                    <a:pt x="2951" y="547"/>
                  </a:lnTo>
                  <a:lnTo>
                    <a:pt x="2951" y="547"/>
                  </a:lnTo>
                  <a:lnTo>
                    <a:pt x="2951" y="547"/>
                  </a:lnTo>
                  <a:lnTo>
                    <a:pt x="2951" y="545"/>
                  </a:lnTo>
                  <a:lnTo>
                    <a:pt x="2952" y="545"/>
                  </a:lnTo>
                  <a:lnTo>
                    <a:pt x="2952" y="543"/>
                  </a:lnTo>
                  <a:lnTo>
                    <a:pt x="2953" y="543"/>
                  </a:lnTo>
                  <a:lnTo>
                    <a:pt x="2953" y="540"/>
                  </a:lnTo>
                  <a:lnTo>
                    <a:pt x="2962" y="540"/>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528"/>
                  </a:lnTo>
                  <a:lnTo>
                    <a:pt x="2972" y="528"/>
                  </a:lnTo>
                  <a:lnTo>
                    <a:pt x="2972" y="527"/>
                  </a:lnTo>
                  <a:lnTo>
                    <a:pt x="3045" y="527"/>
                  </a:lnTo>
                  <a:lnTo>
                    <a:pt x="3045" y="899"/>
                  </a:lnTo>
                  <a:lnTo>
                    <a:pt x="3045" y="899"/>
                  </a:lnTo>
                  <a:lnTo>
                    <a:pt x="3045" y="899"/>
                  </a:lnTo>
                  <a:lnTo>
                    <a:pt x="3046" y="899"/>
                  </a:lnTo>
                  <a:lnTo>
                    <a:pt x="3046" y="523"/>
                  </a:lnTo>
                  <a:lnTo>
                    <a:pt x="3046" y="523"/>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511"/>
                  </a:lnTo>
                  <a:lnTo>
                    <a:pt x="3058" y="511"/>
                  </a:lnTo>
                  <a:lnTo>
                    <a:pt x="3058" y="510"/>
                  </a:lnTo>
                  <a:lnTo>
                    <a:pt x="3060" y="510"/>
                  </a:lnTo>
                  <a:lnTo>
                    <a:pt x="3060" y="510"/>
                  </a:lnTo>
                  <a:lnTo>
                    <a:pt x="3075" y="510"/>
                  </a:lnTo>
                  <a:lnTo>
                    <a:pt x="3075" y="500"/>
                  </a:lnTo>
                  <a:lnTo>
                    <a:pt x="3075" y="500"/>
                  </a:lnTo>
                  <a:lnTo>
                    <a:pt x="3075" y="492"/>
                  </a:lnTo>
                  <a:lnTo>
                    <a:pt x="3075" y="492"/>
                  </a:lnTo>
                  <a:lnTo>
                    <a:pt x="3075" y="492"/>
                  </a:lnTo>
                  <a:lnTo>
                    <a:pt x="3075" y="492"/>
                  </a:lnTo>
                  <a:lnTo>
                    <a:pt x="3075" y="492"/>
                  </a:lnTo>
                  <a:lnTo>
                    <a:pt x="3075" y="492"/>
                  </a:lnTo>
                  <a:lnTo>
                    <a:pt x="3075" y="492"/>
                  </a:lnTo>
                  <a:lnTo>
                    <a:pt x="3076" y="492"/>
                  </a:lnTo>
                  <a:lnTo>
                    <a:pt x="3076" y="490"/>
                  </a:lnTo>
                  <a:lnTo>
                    <a:pt x="3101" y="490"/>
                  </a:lnTo>
                  <a:lnTo>
                    <a:pt x="3101" y="490"/>
                  </a:lnTo>
                  <a:lnTo>
                    <a:pt x="3156" y="490"/>
                  </a:lnTo>
                  <a:lnTo>
                    <a:pt x="3156" y="488"/>
                  </a:lnTo>
                  <a:lnTo>
                    <a:pt x="3156" y="488"/>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377"/>
                  </a:lnTo>
                  <a:lnTo>
                    <a:pt x="3216" y="377"/>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377"/>
                  </a:lnTo>
                  <a:lnTo>
                    <a:pt x="3203" y="377"/>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488"/>
                  </a:lnTo>
                  <a:lnTo>
                    <a:pt x="3156" y="488"/>
                  </a:lnTo>
                  <a:lnTo>
                    <a:pt x="3156" y="490"/>
                  </a:lnTo>
                  <a:lnTo>
                    <a:pt x="3101" y="490"/>
                  </a:lnTo>
                  <a:lnTo>
                    <a:pt x="3101" y="490"/>
                  </a:lnTo>
                  <a:lnTo>
                    <a:pt x="3076" y="490"/>
                  </a:lnTo>
                  <a:lnTo>
                    <a:pt x="3076" y="492"/>
                  </a:lnTo>
                  <a:lnTo>
                    <a:pt x="3075" y="492"/>
                  </a:lnTo>
                  <a:lnTo>
                    <a:pt x="3075" y="492"/>
                  </a:lnTo>
                  <a:lnTo>
                    <a:pt x="3075" y="492"/>
                  </a:lnTo>
                  <a:lnTo>
                    <a:pt x="3075" y="492"/>
                  </a:lnTo>
                  <a:lnTo>
                    <a:pt x="3075" y="492"/>
                  </a:lnTo>
                  <a:lnTo>
                    <a:pt x="3075" y="492"/>
                  </a:lnTo>
                  <a:lnTo>
                    <a:pt x="3075" y="492"/>
                  </a:lnTo>
                  <a:lnTo>
                    <a:pt x="3075" y="500"/>
                  </a:lnTo>
                  <a:lnTo>
                    <a:pt x="3075" y="500"/>
                  </a:lnTo>
                  <a:lnTo>
                    <a:pt x="3075" y="510"/>
                  </a:lnTo>
                  <a:lnTo>
                    <a:pt x="3060" y="510"/>
                  </a:lnTo>
                  <a:lnTo>
                    <a:pt x="3060" y="510"/>
                  </a:lnTo>
                  <a:lnTo>
                    <a:pt x="3058" y="510"/>
                  </a:lnTo>
                  <a:lnTo>
                    <a:pt x="3058" y="511"/>
                  </a:lnTo>
                  <a:lnTo>
                    <a:pt x="3058" y="511"/>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523"/>
                  </a:lnTo>
                  <a:lnTo>
                    <a:pt x="3046" y="523"/>
                  </a:lnTo>
                  <a:lnTo>
                    <a:pt x="3046" y="899"/>
                  </a:lnTo>
                  <a:lnTo>
                    <a:pt x="3045" y="899"/>
                  </a:lnTo>
                  <a:lnTo>
                    <a:pt x="3045" y="899"/>
                  </a:lnTo>
                  <a:lnTo>
                    <a:pt x="3045" y="899"/>
                  </a:lnTo>
                  <a:lnTo>
                    <a:pt x="3045" y="527"/>
                  </a:lnTo>
                  <a:lnTo>
                    <a:pt x="2972" y="527"/>
                  </a:lnTo>
                  <a:lnTo>
                    <a:pt x="2972" y="528"/>
                  </a:lnTo>
                  <a:lnTo>
                    <a:pt x="2972" y="528"/>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540"/>
                  </a:lnTo>
                  <a:lnTo>
                    <a:pt x="2953" y="540"/>
                  </a:lnTo>
                  <a:lnTo>
                    <a:pt x="2953" y="543"/>
                  </a:lnTo>
                  <a:lnTo>
                    <a:pt x="2952" y="543"/>
                  </a:lnTo>
                  <a:lnTo>
                    <a:pt x="2952" y="545"/>
                  </a:lnTo>
                  <a:lnTo>
                    <a:pt x="2951" y="545"/>
                  </a:lnTo>
                  <a:lnTo>
                    <a:pt x="2951" y="547"/>
                  </a:lnTo>
                  <a:lnTo>
                    <a:pt x="2951" y="547"/>
                  </a:lnTo>
                  <a:lnTo>
                    <a:pt x="2951" y="547"/>
                  </a:lnTo>
                  <a:lnTo>
                    <a:pt x="2951" y="547"/>
                  </a:lnTo>
                  <a:lnTo>
                    <a:pt x="2951" y="551"/>
                  </a:lnTo>
                  <a:lnTo>
                    <a:pt x="2950" y="551"/>
                  </a:lnTo>
                  <a:lnTo>
                    <a:pt x="2950" y="551"/>
                  </a:lnTo>
                  <a:lnTo>
                    <a:pt x="2950" y="551"/>
                  </a:lnTo>
                  <a:lnTo>
                    <a:pt x="2950" y="551"/>
                  </a:lnTo>
                  <a:lnTo>
                    <a:pt x="2950" y="551"/>
                  </a:lnTo>
                  <a:lnTo>
                    <a:pt x="2950" y="552"/>
                  </a:lnTo>
                  <a:lnTo>
                    <a:pt x="2950" y="552"/>
                  </a:lnTo>
                  <a:lnTo>
                    <a:pt x="2950" y="552"/>
                  </a:lnTo>
                  <a:lnTo>
                    <a:pt x="2950" y="552"/>
                  </a:lnTo>
                  <a:lnTo>
                    <a:pt x="2950" y="561"/>
                  </a:lnTo>
                  <a:lnTo>
                    <a:pt x="2947" y="561"/>
                  </a:lnTo>
                  <a:lnTo>
                    <a:pt x="2947" y="561"/>
                  </a:lnTo>
                  <a:lnTo>
                    <a:pt x="2945" y="561"/>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567"/>
                  </a:lnTo>
                  <a:lnTo>
                    <a:pt x="2943" y="567"/>
                  </a:lnTo>
                  <a:lnTo>
                    <a:pt x="2943" y="567"/>
                  </a:lnTo>
                  <a:lnTo>
                    <a:pt x="2939" y="567"/>
                  </a:lnTo>
                  <a:lnTo>
                    <a:pt x="2939" y="567"/>
                  </a:lnTo>
                  <a:lnTo>
                    <a:pt x="2938" y="567"/>
                  </a:lnTo>
                  <a:lnTo>
                    <a:pt x="2938" y="567"/>
                  </a:lnTo>
                  <a:lnTo>
                    <a:pt x="2938" y="567"/>
                  </a:lnTo>
                  <a:lnTo>
                    <a:pt x="2938" y="568"/>
                  </a:lnTo>
                  <a:lnTo>
                    <a:pt x="2918" y="568"/>
                  </a:lnTo>
                  <a:lnTo>
                    <a:pt x="2918" y="568"/>
                  </a:lnTo>
                  <a:lnTo>
                    <a:pt x="2917" y="568"/>
                  </a:lnTo>
                  <a:lnTo>
                    <a:pt x="2917" y="568"/>
                  </a:lnTo>
                  <a:lnTo>
                    <a:pt x="2917" y="568"/>
                  </a:lnTo>
                  <a:lnTo>
                    <a:pt x="2917" y="577"/>
                  </a:lnTo>
                  <a:lnTo>
                    <a:pt x="2913" y="577"/>
                  </a:lnTo>
                  <a:lnTo>
                    <a:pt x="2913" y="577"/>
                  </a:lnTo>
                  <a:lnTo>
                    <a:pt x="2909" y="577"/>
                  </a:lnTo>
                  <a:lnTo>
                    <a:pt x="2909" y="577"/>
                  </a:lnTo>
                  <a:lnTo>
                    <a:pt x="2906" y="577"/>
                  </a:lnTo>
                  <a:lnTo>
                    <a:pt x="2906" y="577"/>
                  </a:lnTo>
                  <a:lnTo>
                    <a:pt x="2904" y="577"/>
                  </a:lnTo>
                  <a:lnTo>
                    <a:pt x="2904" y="577"/>
                  </a:lnTo>
                  <a:lnTo>
                    <a:pt x="2904" y="577"/>
                  </a:lnTo>
                  <a:lnTo>
                    <a:pt x="2904" y="577"/>
                  </a:lnTo>
                  <a:lnTo>
                    <a:pt x="2904" y="577"/>
                  </a:lnTo>
                  <a:lnTo>
                    <a:pt x="2904" y="577"/>
                  </a:lnTo>
                  <a:lnTo>
                    <a:pt x="2904" y="577"/>
                  </a:lnTo>
                  <a:lnTo>
                    <a:pt x="2904" y="579"/>
                  </a:lnTo>
                  <a:lnTo>
                    <a:pt x="2904" y="579"/>
                  </a:lnTo>
                  <a:lnTo>
                    <a:pt x="2904" y="582"/>
                  </a:lnTo>
                  <a:lnTo>
                    <a:pt x="2903" y="582"/>
                  </a:lnTo>
                  <a:lnTo>
                    <a:pt x="2903" y="590"/>
                  </a:lnTo>
                  <a:lnTo>
                    <a:pt x="2902" y="590"/>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9"/>
                  </a:lnTo>
                  <a:lnTo>
                    <a:pt x="2895" y="599"/>
                  </a:lnTo>
                  <a:lnTo>
                    <a:pt x="2895" y="610"/>
                  </a:lnTo>
                  <a:lnTo>
                    <a:pt x="2891" y="610"/>
                  </a:lnTo>
                  <a:lnTo>
                    <a:pt x="2891" y="611"/>
                  </a:lnTo>
                  <a:lnTo>
                    <a:pt x="2866" y="611"/>
                  </a:lnTo>
                  <a:lnTo>
                    <a:pt x="2866" y="611"/>
                  </a:lnTo>
                  <a:lnTo>
                    <a:pt x="2856" y="611"/>
                  </a:lnTo>
                  <a:lnTo>
                    <a:pt x="2856" y="611"/>
                  </a:lnTo>
                  <a:lnTo>
                    <a:pt x="2855" y="611"/>
                  </a:lnTo>
                  <a:lnTo>
                    <a:pt x="2855" y="612"/>
                  </a:lnTo>
                  <a:lnTo>
                    <a:pt x="2853" y="612"/>
                  </a:lnTo>
                  <a:lnTo>
                    <a:pt x="2853" y="899"/>
                  </a:lnTo>
                  <a:lnTo>
                    <a:pt x="2848" y="899"/>
                  </a:lnTo>
                  <a:lnTo>
                    <a:pt x="2848" y="899"/>
                  </a:lnTo>
                  <a:lnTo>
                    <a:pt x="2844" y="899"/>
                  </a:lnTo>
                  <a:lnTo>
                    <a:pt x="2844" y="899"/>
                  </a:lnTo>
                  <a:lnTo>
                    <a:pt x="2843" y="899"/>
                  </a:lnTo>
                  <a:lnTo>
                    <a:pt x="2843" y="899"/>
                  </a:lnTo>
                  <a:lnTo>
                    <a:pt x="2842" y="899"/>
                  </a:lnTo>
                  <a:lnTo>
                    <a:pt x="2842" y="619"/>
                  </a:lnTo>
                  <a:lnTo>
                    <a:pt x="2842" y="619"/>
                  </a:lnTo>
                  <a:lnTo>
                    <a:pt x="2842" y="619"/>
                  </a:lnTo>
                  <a:lnTo>
                    <a:pt x="2842" y="619"/>
                  </a:lnTo>
                  <a:lnTo>
                    <a:pt x="2842" y="619"/>
                  </a:lnTo>
                  <a:lnTo>
                    <a:pt x="2840" y="619"/>
                  </a:lnTo>
                  <a:lnTo>
                    <a:pt x="2840" y="623"/>
                  </a:lnTo>
                  <a:lnTo>
                    <a:pt x="2837" y="623"/>
                  </a:lnTo>
                  <a:lnTo>
                    <a:pt x="2837" y="623"/>
                  </a:lnTo>
                  <a:lnTo>
                    <a:pt x="2837" y="623"/>
                  </a:lnTo>
                  <a:lnTo>
                    <a:pt x="2837" y="625"/>
                  </a:lnTo>
                  <a:lnTo>
                    <a:pt x="2837" y="625"/>
                  </a:lnTo>
                  <a:lnTo>
                    <a:pt x="2837" y="626"/>
                  </a:lnTo>
                  <a:lnTo>
                    <a:pt x="2799" y="626"/>
                  </a:lnTo>
                  <a:lnTo>
                    <a:pt x="2799" y="626"/>
                  </a:lnTo>
                  <a:lnTo>
                    <a:pt x="2798" y="626"/>
                  </a:lnTo>
                  <a:lnTo>
                    <a:pt x="2798" y="628"/>
                  </a:lnTo>
                  <a:lnTo>
                    <a:pt x="2795" y="628"/>
                  </a:lnTo>
                  <a:lnTo>
                    <a:pt x="2795" y="631"/>
                  </a:lnTo>
                  <a:lnTo>
                    <a:pt x="2794" y="631"/>
                  </a:lnTo>
                  <a:lnTo>
                    <a:pt x="2794" y="631"/>
                  </a:lnTo>
                  <a:lnTo>
                    <a:pt x="2794" y="631"/>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638"/>
                  </a:lnTo>
                  <a:lnTo>
                    <a:pt x="2792" y="638"/>
                  </a:lnTo>
                  <a:lnTo>
                    <a:pt x="2792" y="642"/>
                  </a:lnTo>
                  <a:lnTo>
                    <a:pt x="2791" y="642"/>
                  </a:lnTo>
                  <a:lnTo>
                    <a:pt x="2791" y="643"/>
                  </a:lnTo>
                  <a:lnTo>
                    <a:pt x="2783" y="643"/>
                  </a:lnTo>
                  <a:lnTo>
                    <a:pt x="2783" y="647"/>
                  </a:lnTo>
                  <a:lnTo>
                    <a:pt x="2783" y="647"/>
                  </a:lnTo>
                  <a:lnTo>
                    <a:pt x="2783" y="647"/>
                  </a:lnTo>
                  <a:lnTo>
                    <a:pt x="2783" y="647"/>
                  </a:lnTo>
                  <a:lnTo>
                    <a:pt x="2783" y="647"/>
                  </a:lnTo>
                  <a:lnTo>
                    <a:pt x="2783" y="647"/>
                  </a:lnTo>
                  <a:lnTo>
                    <a:pt x="2783" y="647"/>
                  </a:lnTo>
                  <a:lnTo>
                    <a:pt x="2783" y="647"/>
                  </a:lnTo>
                  <a:lnTo>
                    <a:pt x="2783"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9"/>
                  </a:lnTo>
                  <a:lnTo>
                    <a:pt x="2782" y="649"/>
                  </a:lnTo>
                  <a:lnTo>
                    <a:pt x="2782" y="651"/>
                  </a:lnTo>
                  <a:lnTo>
                    <a:pt x="2775" y="651"/>
                  </a:lnTo>
                  <a:lnTo>
                    <a:pt x="2775" y="652"/>
                  </a:lnTo>
                  <a:lnTo>
                    <a:pt x="2775" y="652"/>
                  </a:lnTo>
                  <a:lnTo>
                    <a:pt x="2775" y="652"/>
                  </a:lnTo>
                  <a:lnTo>
                    <a:pt x="2775" y="652"/>
                  </a:lnTo>
                  <a:lnTo>
                    <a:pt x="2775" y="652"/>
                  </a:lnTo>
                  <a:lnTo>
                    <a:pt x="2775" y="652"/>
                  </a:lnTo>
                  <a:lnTo>
                    <a:pt x="2775" y="653"/>
                  </a:lnTo>
                  <a:lnTo>
                    <a:pt x="2752" y="653"/>
                  </a:lnTo>
                  <a:lnTo>
                    <a:pt x="2752" y="653"/>
                  </a:lnTo>
                  <a:lnTo>
                    <a:pt x="2748" y="653"/>
                  </a:lnTo>
                  <a:lnTo>
                    <a:pt x="2748" y="654"/>
                  </a:lnTo>
                  <a:lnTo>
                    <a:pt x="2736" y="654"/>
                  </a:lnTo>
                  <a:lnTo>
                    <a:pt x="2736" y="654"/>
                  </a:lnTo>
                  <a:lnTo>
                    <a:pt x="2735" y="654"/>
                  </a:lnTo>
                  <a:lnTo>
                    <a:pt x="2735" y="654"/>
                  </a:lnTo>
                  <a:lnTo>
                    <a:pt x="2735" y="654"/>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658"/>
                  </a:lnTo>
                  <a:lnTo>
                    <a:pt x="2735" y="658"/>
                  </a:lnTo>
                  <a:lnTo>
                    <a:pt x="2735" y="658"/>
                  </a:lnTo>
                  <a:lnTo>
                    <a:pt x="2716" y="658"/>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660"/>
                  </a:lnTo>
                  <a:lnTo>
                    <a:pt x="2712" y="660"/>
                  </a:lnTo>
                  <a:lnTo>
                    <a:pt x="2712" y="660"/>
                  </a:lnTo>
                  <a:lnTo>
                    <a:pt x="2712" y="660"/>
                  </a:lnTo>
                  <a:lnTo>
                    <a:pt x="2712" y="899"/>
                  </a:lnTo>
                  <a:lnTo>
                    <a:pt x="2707" y="899"/>
                  </a:lnTo>
                  <a:lnTo>
                    <a:pt x="2707" y="899"/>
                  </a:lnTo>
                  <a:lnTo>
                    <a:pt x="2702" y="899"/>
                  </a:lnTo>
                  <a:lnTo>
                    <a:pt x="2702" y="671"/>
                  </a:lnTo>
                  <a:lnTo>
                    <a:pt x="2702" y="671"/>
                  </a:lnTo>
                  <a:lnTo>
                    <a:pt x="2702" y="671"/>
                  </a:lnTo>
                  <a:lnTo>
                    <a:pt x="2697" y="671"/>
                  </a:lnTo>
                  <a:lnTo>
                    <a:pt x="2697" y="671"/>
                  </a:lnTo>
                  <a:lnTo>
                    <a:pt x="2694" y="671"/>
                  </a:lnTo>
                  <a:lnTo>
                    <a:pt x="2694"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678"/>
                  </a:lnTo>
                  <a:lnTo>
                    <a:pt x="2690" y="678"/>
                  </a:lnTo>
                  <a:lnTo>
                    <a:pt x="2690" y="678"/>
                  </a:lnTo>
                  <a:lnTo>
                    <a:pt x="2690" y="678"/>
                  </a:lnTo>
                  <a:lnTo>
                    <a:pt x="2690" y="678"/>
                  </a:lnTo>
                  <a:lnTo>
                    <a:pt x="2689" y="678"/>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717"/>
                  </a:lnTo>
                  <a:lnTo>
                    <a:pt x="2683" y="717"/>
                  </a:lnTo>
                  <a:lnTo>
                    <a:pt x="2683" y="717"/>
                  </a:lnTo>
                  <a:lnTo>
                    <a:pt x="2683" y="717"/>
                  </a:lnTo>
                  <a:lnTo>
                    <a:pt x="2683" y="717"/>
                  </a:lnTo>
                  <a:lnTo>
                    <a:pt x="2683" y="717"/>
                  </a:lnTo>
                  <a:lnTo>
                    <a:pt x="2683" y="717"/>
                  </a:lnTo>
                  <a:lnTo>
                    <a:pt x="2683" y="717"/>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723"/>
                  </a:lnTo>
                  <a:lnTo>
                    <a:pt x="2661" y="723"/>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743"/>
                  </a:lnTo>
                  <a:lnTo>
                    <a:pt x="2648" y="743"/>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60"/>
                  </a:lnTo>
                  <a:lnTo>
                    <a:pt x="2613" y="760"/>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768"/>
                  </a:lnTo>
                  <a:lnTo>
                    <a:pt x="2531" y="768"/>
                  </a:lnTo>
                  <a:lnTo>
                    <a:pt x="2531" y="768"/>
                  </a:lnTo>
                  <a:lnTo>
                    <a:pt x="2531" y="768"/>
                  </a:lnTo>
                  <a:lnTo>
                    <a:pt x="2531" y="769"/>
                  </a:lnTo>
                  <a:lnTo>
                    <a:pt x="2531" y="769"/>
                  </a:lnTo>
                  <a:lnTo>
                    <a:pt x="2531" y="769"/>
                  </a:lnTo>
                  <a:lnTo>
                    <a:pt x="2531" y="769"/>
                  </a:lnTo>
                  <a:lnTo>
                    <a:pt x="2531" y="769"/>
                  </a:lnTo>
                  <a:lnTo>
                    <a:pt x="2531" y="769"/>
                  </a:lnTo>
                  <a:lnTo>
                    <a:pt x="2531" y="769"/>
                  </a:lnTo>
                  <a:lnTo>
                    <a:pt x="2531" y="76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772"/>
                  </a:lnTo>
                  <a:lnTo>
                    <a:pt x="2526" y="772"/>
                  </a:lnTo>
                  <a:lnTo>
                    <a:pt x="2526" y="772"/>
                  </a:lnTo>
                  <a:lnTo>
                    <a:pt x="2526" y="772"/>
                  </a:lnTo>
                  <a:lnTo>
                    <a:pt x="2526" y="772"/>
                  </a:lnTo>
                  <a:lnTo>
                    <a:pt x="2526" y="772"/>
                  </a:lnTo>
                  <a:lnTo>
                    <a:pt x="2526" y="772"/>
                  </a:lnTo>
                  <a:lnTo>
                    <a:pt x="2526" y="772"/>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80"/>
                  </a:lnTo>
                  <a:lnTo>
                    <a:pt x="2526" y="780"/>
                  </a:lnTo>
                  <a:lnTo>
                    <a:pt x="2526" y="780"/>
                  </a:lnTo>
                  <a:lnTo>
                    <a:pt x="2526" y="780"/>
                  </a:lnTo>
                  <a:lnTo>
                    <a:pt x="2526" y="782"/>
                  </a:lnTo>
                  <a:lnTo>
                    <a:pt x="2524" y="782"/>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798"/>
                  </a:lnTo>
                  <a:lnTo>
                    <a:pt x="2350" y="798"/>
                  </a:lnTo>
                  <a:lnTo>
                    <a:pt x="2350" y="799"/>
                  </a:lnTo>
                  <a:lnTo>
                    <a:pt x="2311" y="799"/>
                  </a:lnTo>
                  <a:lnTo>
                    <a:pt x="2311" y="799"/>
                  </a:lnTo>
                  <a:lnTo>
                    <a:pt x="2308" y="7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6"/>
                  </a:lnTo>
                  <a:lnTo>
                    <a:pt x="2298" y="806"/>
                  </a:lnTo>
                  <a:lnTo>
                    <a:pt x="2298" y="806"/>
                  </a:lnTo>
                  <a:lnTo>
                    <a:pt x="2298" y="806"/>
                  </a:lnTo>
                  <a:lnTo>
                    <a:pt x="2298" y="806"/>
                  </a:lnTo>
                  <a:lnTo>
                    <a:pt x="2294" y="806"/>
                  </a:lnTo>
                  <a:lnTo>
                    <a:pt x="2294" y="806"/>
                  </a:lnTo>
                  <a:lnTo>
                    <a:pt x="2293" y="806"/>
                  </a:lnTo>
                  <a:lnTo>
                    <a:pt x="2293" y="807"/>
                  </a:lnTo>
                  <a:lnTo>
                    <a:pt x="2292" y="807"/>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10"/>
                  </a:lnTo>
                  <a:lnTo>
                    <a:pt x="2273" y="810"/>
                  </a:lnTo>
                  <a:lnTo>
                    <a:pt x="2273" y="810"/>
                  </a:lnTo>
                  <a:lnTo>
                    <a:pt x="2273" y="810"/>
                  </a:lnTo>
                  <a:lnTo>
                    <a:pt x="2273" y="810"/>
                  </a:lnTo>
                  <a:lnTo>
                    <a:pt x="2273" y="810"/>
                  </a:lnTo>
                  <a:lnTo>
                    <a:pt x="2273" y="810"/>
                  </a:lnTo>
                  <a:lnTo>
                    <a:pt x="2273" y="810"/>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14"/>
                  </a:lnTo>
                  <a:lnTo>
                    <a:pt x="2249" y="814"/>
                  </a:lnTo>
                  <a:lnTo>
                    <a:pt x="2249" y="814"/>
                  </a:lnTo>
                  <a:lnTo>
                    <a:pt x="2243" y="814"/>
                  </a:lnTo>
                  <a:lnTo>
                    <a:pt x="2243" y="814"/>
                  </a:lnTo>
                  <a:lnTo>
                    <a:pt x="2241" y="814"/>
                  </a:lnTo>
                  <a:lnTo>
                    <a:pt x="2241" y="814"/>
                  </a:lnTo>
                  <a:lnTo>
                    <a:pt x="2241" y="814"/>
                  </a:lnTo>
                  <a:lnTo>
                    <a:pt x="2241" y="814"/>
                  </a:lnTo>
                  <a:lnTo>
                    <a:pt x="2240" y="814"/>
                  </a:lnTo>
                  <a:lnTo>
                    <a:pt x="2240" y="814"/>
                  </a:lnTo>
                  <a:lnTo>
                    <a:pt x="2240" y="814"/>
                  </a:lnTo>
                  <a:lnTo>
                    <a:pt x="2240" y="814"/>
                  </a:lnTo>
                  <a:lnTo>
                    <a:pt x="2240" y="814"/>
                  </a:lnTo>
                  <a:lnTo>
                    <a:pt x="2240"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8"/>
                  </a:lnTo>
                  <a:lnTo>
                    <a:pt x="2233" y="818"/>
                  </a:lnTo>
                  <a:lnTo>
                    <a:pt x="2233" y="818"/>
                  </a:lnTo>
                  <a:lnTo>
                    <a:pt x="2231" y="818"/>
                  </a:lnTo>
                  <a:lnTo>
                    <a:pt x="2231" y="818"/>
                  </a:lnTo>
                  <a:lnTo>
                    <a:pt x="2231" y="818"/>
                  </a:lnTo>
                  <a:lnTo>
                    <a:pt x="2231" y="818"/>
                  </a:lnTo>
                  <a:lnTo>
                    <a:pt x="2231" y="818"/>
                  </a:lnTo>
                  <a:lnTo>
                    <a:pt x="2231" y="818"/>
                  </a:lnTo>
                  <a:lnTo>
                    <a:pt x="2231" y="818"/>
                  </a:lnTo>
                  <a:lnTo>
                    <a:pt x="2231" y="818"/>
                  </a:lnTo>
                  <a:lnTo>
                    <a:pt x="2231" y="818"/>
                  </a:lnTo>
                  <a:lnTo>
                    <a:pt x="2231" y="820"/>
                  </a:lnTo>
                  <a:lnTo>
                    <a:pt x="2221" y="820"/>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28"/>
                  </a:lnTo>
                  <a:lnTo>
                    <a:pt x="2217" y="828"/>
                  </a:lnTo>
                  <a:lnTo>
                    <a:pt x="2217" y="828"/>
                  </a:lnTo>
                  <a:lnTo>
                    <a:pt x="2217" y="828"/>
                  </a:lnTo>
                  <a:lnTo>
                    <a:pt x="2217" y="828"/>
                  </a:lnTo>
                  <a:lnTo>
                    <a:pt x="2217" y="828"/>
                  </a:lnTo>
                  <a:lnTo>
                    <a:pt x="2217" y="829"/>
                  </a:lnTo>
                  <a:lnTo>
                    <a:pt x="2217" y="829"/>
                  </a:lnTo>
                  <a:lnTo>
                    <a:pt x="2217" y="829"/>
                  </a:lnTo>
                  <a:lnTo>
                    <a:pt x="2217" y="829"/>
                  </a:lnTo>
                  <a:lnTo>
                    <a:pt x="2217" y="831"/>
                  </a:lnTo>
                  <a:lnTo>
                    <a:pt x="2217" y="831"/>
                  </a:lnTo>
                  <a:lnTo>
                    <a:pt x="2217" y="833"/>
                  </a:lnTo>
                  <a:lnTo>
                    <a:pt x="2217" y="833"/>
                  </a:lnTo>
                  <a:lnTo>
                    <a:pt x="2217" y="833"/>
                  </a:lnTo>
                  <a:lnTo>
                    <a:pt x="2216" y="833"/>
                  </a:lnTo>
                  <a:lnTo>
                    <a:pt x="2216" y="833"/>
                  </a:lnTo>
                  <a:lnTo>
                    <a:pt x="2215" y="833"/>
                  </a:lnTo>
                  <a:lnTo>
                    <a:pt x="2215" y="833"/>
                  </a:lnTo>
                  <a:lnTo>
                    <a:pt x="2215" y="833"/>
                  </a:lnTo>
                  <a:lnTo>
                    <a:pt x="2215" y="833"/>
                  </a:lnTo>
                  <a:lnTo>
                    <a:pt x="2215" y="833"/>
                  </a:lnTo>
                  <a:lnTo>
                    <a:pt x="2215" y="834"/>
                  </a:lnTo>
                  <a:lnTo>
                    <a:pt x="2214" y="834"/>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40"/>
                  </a:lnTo>
                  <a:lnTo>
                    <a:pt x="2187" y="840"/>
                  </a:lnTo>
                  <a:lnTo>
                    <a:pt x="2187" y="840"/>
                  </a:lnTo>
                  <a:lnTo>
                    <a:pt x="2187" y="840"/>
                  </a:lnTo>
                  <a:lnTo>
                    <a:pt x="2187" y="840"/>
                  </a:lnTo>
                  <a:lnTo>
                    <a:pt x="2187" y="840"/>
                  </a:lnTo>
                  <a:lnTo>
                    <a:pt x="2187" y="840"/>
                  </a:lnTo>
                  <a:lnTo>
                    <a:pt x="2186" y="840"/>
                  </a:lnTo>
                  <a:lnTo>
                    <a:pt x="2186" y="840"/>
                  </a:lnTo>
                  <a:lnTo>
                    <a:pt x="2186" y="840"/>
                  </a:lnTo>
                  <a:lnTo>
                    <a:pt x="2186" y="840"/>
                  </a:lnTo>
                  <a:lnTo>
                    <a:pt x="2186" y="840"/>
                  </a:lnTo>
                  <a:lnTo>
                    <a:pt x="2186" y="840"/>
                  </a:lnTo>
                  <a:lnTo>
                    <a:pt x="2186" y="840"/>
                  </a:lnTo>
                  <a:lnTo>
                    <a:pt x="2186" y="840"/>
                  </a:lnTo>
                  <a:lnTo>
                    <a:pt x="2186" y="840"/>
                  </a:lnTo>
                  <a:lnTo>
                    <a:pt x="2186" y="844"/>
                  </a:lnTo>
                  <a:lnTo>
                    <a:pt x="2185" y="844"/>
                  </a:lnTo>
                  <a:lnTo>
                    <a:pt x="2185" y="844"/>
                  </a:lnTo>
                  <a:lnTo>
                    <a:pt x="2185" y="844"/>
                  </a:lnTo>
                  <a:lnTo>
                    <a:pt x="2185" y="848"/>
                  </a:lnTo>
                  <a:lnTo>
                    <a:pt x="2185" y="848"/>
                  </a:lnTo>
                  <a:lnTo>
                    <a:pt x="2185" y="848"/>
                  </a:lnTo>
                  <a:lnTo>
                    <a:pt x="2185" y="848"/>
                  </a:lnTo>
                  <a:lnTo>
                    <a:pt x="2185" y="848"/>
                  </a:lnTo>
                  <a:lnTo>
                    <a:pt x="2185" y="848"/>
                  </a:lnTo>
                  <a:lnTo>
                    <a:pt x="2185" y="848"/>
                  </a:lnTo>
                  <a:lnTo>
                    <a:pt x="2185" y="848"/>
                  </a:lnTo>
                  <a:lnTo>
                    <a:pt x="2185" y="849"/>
                  </a:lnTo>
                  <a:lnTo>
                    <a:pt x="2185" y="849"/>
                  </a:lnTo>
                  <a:lnTo>
                    <a:pt x="2185"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51"/>
                  </a:lnTo>
                  <a:lnTo>
                    <a:pt x="2183" y="851"/>
                  </a:lnTo>
                  <a:lnTo>
                    <a:pt x="2183" y="851"/>
                  </a:lnTo>
                  <a:lnTo>
                    <a:pt x="2183" y="851"/>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6"/>
                  </a:lnTo>
                  <a:lnTo>
                    <a:pt x="2182" y="856"/>
                  </a:lnTo>
                  <a:lnTo>
                    <a:pt x="2182" y="856"/>
                  </a:lnTo>
                  <a:lnTo>
                    <a:pt x="2182" y="856"/>
                  </a:lnTo>
                  <a:lnTo>
                    <a:pt x="2182" y="856"/>
                  </a:lnTo>
                  <a:lnTo>
                    <a:pt x="2182" y="856"/>
                  </a:lnTo>
                  <a:lnTo>
                    <a:pt x="2182" y="856"/>
                  </a:lnTo>
                  <a:lnTo>
                    <a:pt x="2182" y="856"/>
                  </a:lnTo>
                  <a:lnTo>
                    <a:pt x="2182" y="861"/>
                  </a:lnTo>
                  <a:lnTo>
                    <a:pt x="2178" y="861"/>
                  </a:lnTo>
                  <a:lnTo>
                    <a:pt x="2178" y="862"/>
                  </a:lnTo>
                  <a:lnTo>
                    <a:pt x="2176" y="862"/>
                  </a:lnTo>
                  <a:lnTo>
                    <a:pt x="2176" y="862"/>
                  </a:lnTo>
                  <a:lnTo>
                    <a:pt x="2175" y="862"/>
                  </a:lnTo>
                  <a:lnTo>
                    <a:pt x="2175" y="862"/>
                  </a:lnTo>
                  <a:lnTo>
                    <a:pt x="2175" y="862"/>
                  </a:lnTo>
                  <a:lnTo>
                    <a:pt x="2175" y="862"/>
                  </a:lnTo>
                  <a:lnTo>
                    <a:pt x="2175" y="862"/>
                  </a:lnTo>
                  <a:lnTo>
                    <a:pt x="2175" y="862"/>
                  </a:lnTo>
                  <a:lnTo>
                    <a:pt x="2175" y="862"/>
                  </a:lnTo>
                  <a:lnTo>
                    <a:pt x="2175" y="862"/>
                  </a:lnTo>
                  <a:lnTo>
                    <a:pt x="2175" y="862"/>
                  </a:lnTo>
                  <a:lnTo>
                    <a:pt x="2175" y="863"/>
                  </a:lnTo>
                  <a:lnTo>
                    <a:pt x="2158" y="863"/>
                  </a:lnTo>
                  <a:lnTo>
                    <a:pt x="2158" y="863"/>
                  </a:lnTo>
                  <a:lnTo>
                    <a:pt x="2155" y="863"/>
                  </a:lnTo>
                  <a:lnTo>
                    <a:pt x="2155" y="863"/>
                  </a:lnTo>
                  <a:lnTo>
                    <a:pt x="2155" y="863"/>
                  </a:lnTo>
                  <a:lnTo>
                    <a:pt x="2155" y="867"/>
                  </a:lnTo>
                  <a:lnTo>
                    <a:pt x="2154" y="867"/>
                  </a:lnTo>
                  <a:lnTo>
                    <a:pt x="2154" y="867"/>
                  </a:lnTo>
                  <a:lnTo>
                    <a:pt x="2154" y="867"/>
                  </a:lnTo>
                  <a:lnTo>
                    <a:pt x="2154" y="867"/>
                  </a:lnTo>
                  <a:lnTo>
                    <a:pt x="2154" y="867"/>
                  </a:lnTo>
                  <a:lnTo>
                    <a:pt x="2154" y="867"/>
                  </a:lnTo>
                  <a:lnTo>
                    <a:pt x="2154" y="867"/>
                  </a:lnTo>
                  <a:lnTo>
                    <a:pt x="2154" y="867"/>
                  </a:lnTo>
                  <a:lnTo>
                    <a:pt x="2154" y="867"/>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69"/>
                  </a:lnTo>
                  <a:lnTo>
                    <a:pt x="2153" y="869"/>
                  </a:lnTo>
                  <a:lnTo>
                    <a:pt x="2153" y="869"/>
                  </a:lnTo>
                  <a:lnTo>
                    <a:pt x="2152" y="869"/>
                  </a:lnTo>
                  <a:lnTo>
                    <a:pt x="2152" y="869"/>
                  </a:lnTo>
                  <a:lnTo>
                    <a:pt x="2152" y="869"/>
                  </a:lnTo>
                  <a:lnTo>
                    <a:pt x="2152" y="869"/>
                  </a:lnTo>
                  <a:lnTo>
                    <a:pt x="2152" y="869"/>
                  </a:lnTo>
                  <a:lnTo>
                    <a:pt x="2152" y="869"/>
                  </a:lnTo>
                  <a:lnTo>
                    <a:pt x="2152" y="869"/>
                  </a:lnTo>
                  <a:lnTo>
                    <a:pt x="2152" y="869"/>
                  </a:lnTo>
                  <a:lnTo>
                    <a:pt x="2152" y="869"/>
                  </a:lnTo>
                  <a:lnTo>
                    <a:pt x="2152" y="870"/>
                  </a:lnTo>
                  <a:lnTo>
                    <a:pt x="2151" y="870"/>
                  </a:lnTo>
                  <a:lnTo>
                    <a:pt x="2151" y="870"/>
                  </a:lnTo>
                  <a:lnTo>
                    <a:pt x="2151" y="870"/>
                  </a:lnTo>
                  <a:lnTo>
                    <a:pt x="2151" y="870"/>
                  </a:lnTo>
                  <a:lnTo>
                    <a:pt x="2151" y="870"/>
                  </a:lnTo>
                  <a:lnTo>
                    <a:pt x="2151" y="870"/>
                  </a:lnTo>
                  <a:lnTo>
                    <a:pt x="2151" y="870"/>
                  </a:lnTo>
                  <a:lnTo>
                    <a:pt x="2151" y="870"/>
                  </a:lnTo>
                  <a:lnTo>
                    <a:pt x="2151" y="870"/>
                  </a:lnTo>
                  <a:lnTo>
                    <a:pt x="2151" y="871"/>
                  </a:lnTo>
                  <a:lnTo>
                    <a:pt x="2151" y="871"/>
                  </a:lnTo>
                  <a:lnTo>
                    <a:pt x="2151" y="871"/>
                  </a:lnTo>
                  <a:lnTo>
                    <a:pt x="2151" y="871"/>
                  </a:lnTo>
                  <a:lnTo>
                    <a:pt x="2151" y="871"/>
                  </a:lnTo>
                  <a:lnTo>
                    <a:pt x="2151" y="871"/>
                  </a:lnTo>
                  <a:lnTo>
                    <a:pt x="2151" y="871"/>
                  </a:lnTo>
                  <a:lnTo>
                    <a:pt x="2151" y="871"/>
                  </a:lnTo>
                  <a:lnTo>
                    <a:pt x="2151"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87"/>
                  </a:lnTo>
                  <a:lnTo>
                    <a:pt x="2078" y="887"/>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9"/>
                  </a:lnTo>
                  <a:lnTo>
                    <a:pt x="2077" y="889"/>
                  </a:lnTo>
                  <a:lnTo>
                    <a:pt x="2077" y="889"/>
                  </a:lnTo>
                  <a:lnTo>
                    <a:pt x="2077" y="889"/>
                  </a:lnTo>
                  <a:lnTo>
                    <a:pt x="2077" y="899"/>
                  </a:lnTo>
                  <a:lnTo>
                    <a:pt x="2077" y="899"/>
                  </a:lnTo>
                  <a:lnTo>
                    <a:pt x="2077" y="899"/>
                  </a:lnTo>
                  <a:lnTo>
                    <a:pt x="2077" y="899"/>
                  </a:lnTo>
                  <a:lnTo>
                    <a:pt x="2077" y="899"/>
                  </a:lnTo>
                  <a:lnTo>
                    <a:pt x="2077" y="899"/>
                  </a:lnTo>
                  <a:lnTo>
                    <a:pt x="2077" y="892"/>
                  </a:lnTo>
                  <a:lnTo>
                    <a:pt x="2064" y="892"/>
                  </a:lnTo>
                  <a:lnTo>
                    <a:pt x="2064" y="892"/>
                  </a:lnTo>
                  <a:lnTo>
                    <a:pt x="2061" y="892"/>
                  </a:lnTo>
                  <a:lnTo>
                    <a:pt x="2061" y="892"/>
                  </a:lnTo>
                  <a:lnTo>
                    <a:pt x="2060" y="892"/>
                  </a:lnTo>
                  <a:lnTo>
                    <a:pt x="2060" y="892"/>
                  </a:lnTo>
                  <a:lnTo>
                    <a:pt x="2060" y="892"/>
                  </a:lnTo>
                  <a:lnTo>
                    <a:pt x="2060" y="892"/>
                  </a:lnTo>
                  <a:lnTo>
                    <a:pt x="2059" y="892"/>
                  </a:lnTo>
                  <a:lnTo>
                    <a:pt x="2059" y="892"/>
                  </a:lnTo>
                  <a:lnTo>
                    <a:pt x="2059" y="892"/>
                  </a:lnTo>
                  <a:lnTo>
                    <a:pt x="2059" y="892"/>
                  </a:lnTo>
                  <a:lnTo>
                    <a:pt x="2059" y="892"/>
                  </a:lnTo>
                  <a:lnTo>
                    <a:pt x="2059" y="893"/>
                  </a:lnTo>
                  <a:lnTo>
                    <a:pt x="2059" y="893"/>
                  </a:lnTo>
                  <a:lnTo>
                    <a:pt x="2059" y="893"/>
                  </a:lnTo>
                  <a:lnTo>
                    <a:pt x="2059" y="893"/>
                  </a:lnTo>
                  <a:lnTo>
                    <a:pt x="2059" y="894"/>
                  </a:lnTo>
                  <a:lnTo>
                    <a:pt x="2059" y="894"/>
                  </a:lnTo>
                  <a:lnTo>
                    <a:pt x="2059" y="894"/>
                  </a:lnTo>
                  <a:lnTo>
                    <a:pt x="2059" y="894"/>
                  </a:lnTo>
                  <a:lnTo>
                    <a:pt x="2059" y="896"/>
                  </a:lnTo>
                  <a:lnTo>
                    <a:pt x="2058" y="896"/>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908"/>
                  </a:lnTo>
                  <a:lnTo>
                    <a:pt x="2055" y="908"/>
                  </a:lnTo>
                  <a:lnTo>
                    <a:pt x="2055" y="908"/>
                  </a:lnTo>
                  <a:lnTo>
                    <a:pt x="2055" y="908"/>
                  </a:lnTo>
                  <a:lnTo>
                    <a:pt x="2055" y="908"/>
                  </a:lnTo>
                  <a:lnTo>
                    <a:pt x="2055" y="908"/>
                  </a:lnTo>
                  <a:lnTo>
                    <a:pt x="2055" y="908"/>
                  </a:lnTo>
                  <a:lnTo>
                    <a:pt x="2055" y="908"/>
                  </a:lnTo>
                  <a:lnTo>
                    <a:pt x="2055" y="899"/>
                  </a:lnTo>
                  <a:lnTo>
                    <a:pt x="2032" y="899"/>
                  </a:lnTo>
                  <a:lnTo>
                    <a:pt x="2032" y="899"/>
                  </a:lnTo>
                  <a:lnTo>
                    <a:pt x="2021" y="899"/>
                  </a:lnTo>
                  <a:lnTo>
                    <a:pt x="2021" y="899"/>
                  </a:lnTo>
                  <a:lnTo>
                    <a:pt x="1968" y="899"/>
                  </a:lnTo>
                  <a:lnTo>
                    <a:pt x="1968" y="910"/>
                  </a:lnTo>
                  <a:lnTo>
                    <a:pt x="1963" y="910"/>
                  </a:lnTo>
                  <a:lnTo>
                    <a:pt x="1963" y="899"/>
                  </a:lnTo>
                  <a:lnTo>
                    <a:pt x="1958" y="899"/>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6"/>
                  </a:lnTo>
                  <a:lnTo>
                    <a:pt x="1948" y="916"/>
                  </a:lnTo>
                  <a:lnTo>
                    <a:pt x="1948" y="916"/>
                  </a:lnTo>
                  <a:lnTo>
                    <a:pt x="1948" y="916"/>
                  </a:lnTo>
                  <a:lnTo>
                    <a:pt x="1948" y="916"/>
                  </a:lnTo>
                  <a:lnTo>
                    <a:pt x="1948" y="916"/>
                  </a:lnTo>
                  <a:lnTo>
                    <a:pt x="1948" y="916"/>
                  </a:lnTo>
                  <a:lnTo>
                    <a:pt x="1945" y="916"/>
                  </a:lnTo>
                  <a:lnTo>
                    <a:pt x="1945" y="916"/>
                  </a:lnTo>
                  <a:lnTo>
                    <a:pt x="1945" y="916"/>
                  </a:lnTo>
                  <a:lnTo>
                    <a:pt x="1945" y="916"/>
                  </a:lnTo>
                  <a:lnTo>
                    <a:pt x="1945" y="916"/>
                  </a:lnTo>
                  <a:lnTo>
                    <a:pt x="1945" y="916"/>
                  </a:lnTo>
                  <a:lnTo>
                    <a:pt x="1945" y="916"/>
                  </a:lnTo>
                  <a:lnTo>
                    <a:pt x="1945" y="899"/>
                  </a:lnTo>
                  <a:lnTo>
                    <a:pt x="1945" y="899"/>
                  </a:lnTo>
                  <a:lnTo>
                    <a:pt x="1945" y="899"/>
                  </a:lnTo>
                  <a:lnTo>
                    <a:pt x="1945" y="899"/>
                  </a:lnTo>
                  <a:lnTo>
                    <a:pt x="1945" y="899"/>
                  </a:lnTo>
                  <a:lnTo>
                    <a:pt x="1945" y="899"/>
                  </a:lnTo>
                  <a:lnTo>
                    <a:pt x="1945" y="920"/>
                  </a:lnTo>
                  <a:lnTo>
                    <a:pt x="1945" y="920"/>
                  </a:lnTo>
                  <a:lnTo>
                    <a:pt x="1945" y="920"/>
                  </a:lnTo>
                  <a:lnTo>
                    <a:pt x="1945" y="920"/>
                  </a:lnTo>
                  <a:lnTo>
                    <a:pt x="1945" y="920"/>
                  </a:lnTo>
                  <a:lnTo>
                    <a:pt x="1945" y="920"/>
                  </a:lnTo>
                  <a:lnTo>
                    <a:pt x="1945" y="920"/>
                  </a:lnTo>
                  <a:lnTo>
                    <a:pt x="1945" y="920"/>
                  </a:lnTo>
                  <a:lnTo>
                    <a:pt x="1945" y="920"/>
                  </a:lnTo>
                  <a:lnTo>
                    <a:pt x="1944" y="920"/>
                  </a:lnTo>
                  <a:lnTo>
                    <a:pt x="1944" y="920"/>
                  </a:lnTo>
                  <a:lnTo>
                    <a:pt x="1944" y="920"/>
                  </a:lnTo>
                  <a:lnTo>
                    <a:pt x="1944" y="921"/>
                  </a:lnTo>
                  <a:lnTo>
                    <a:pt x="1944" y="921"/>
                  </a:lnTo>
                  <a:lnTo>
                    <a:pt x="1944" y="921"/>
                  </a:lnTo>
                  <a:lnTo>
                    <a:pt x="1944" y="921"/>
                  </a:lnTo>
                  <a:lnTo>
                    <a:pt x="1944" y="921"/>
                  </a:lnTo>
                  <a:lnTo>
                    <a:pt x="1944" y="921"/>
                  </a:lnTo>
                  <a:lnTo>
                    <a:pt x="1944" y="921"/>
                  </a:lnTo>
                  <a:lnTo>
                    <a:pt x="1944" y="921"/>
                  </a:lnTo>
                  <a:lnTo>
                    <a:pt x="1944" y="924"/>
                  </a:lnTo>
                  <a:lnTo>
                    <a:pt x="1944" y="924"/>
                  </a:lnTo>
                  <a:lnTo>
                    <a:pt x="1944" y="924"/>
                  </a:lnTo>
                  <a:lnTo>
                    <a:pt x="1944" y="924"/>
                  </a:lnTo>
                  <a:lnTo>
                    <a:pt x="1944" y="925"/>
                  </a:lnTo>
                  <a:lnTo>
                    <a:pt x="1943" y="925"/>
                  </a:lnTo>
                  <a:lnTo>
                    <a:pt x="1943" y="925"/>
                  </a:lnTo>
                  <a:lnTo>
                    <a:pt x="1943" y="925"/>
                  </a:lnTo>
                  <a:lnTo>
                    <a:pt x="1943" y="899"/>
                  </a:lnTo>
                  <a:lnTo>
                    <a:pt x="1936" y="899"/>
                  </a:lnTo>
                  <a:lnTo>
                    <a:pt x="1936" y="899"/>
                  </a:lnTo>
                  <a:lnTo>
                    <a:pt x="1929" y="899"/>
                  </a:lnTo>
                  <a:lnTo>
                    <a:pt x="1929" y="899"/>
                  </a:lnTo>
                  <a:lnTo>
                    <a:pt x="1927" y="899"/>
                  </a:lnTo>
                  <a:lnTo>
                    <a:pt x="1927" y="899"/>
                  </a:lnTo>
                  <a:lnTo>
                    <a:pt x="1926" y="89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936"/>
                  </a:lnTo>
                  <a:lnTo>
                    <a:pt x="1902" y="936"/>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938"/>
                  </a:lnTo>
                  <a:lnTo>
                    <a:pt x="1901" y="938"/>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952"/>
                  </a:lnTo>
                  <a:lnTo>
                    <a:pt x="1854" y="952"/>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958"/>
                  </a:lnTo>
                  <a:lnTo>
                    <a:pt x="1852" y="958"/>
                  </a:lnTo>
                  <a:lnTo>
                    <a:pt x="1852" y="958"/>
                  </a:lnTo>
                  <a:lnTo>
                    <a:pt x="1852" y="958"/>
                  </a:lnTo>
                  <a:lnTo>
                    <a:pt x="1852" y="958"/>
                  </a:lnTo>
                  <a:lnTo>
                    <a:pt x="1852" y="958"/>
                  </a:lnTo>
                  <a:lnTo>
                    <a:pt x="1852" y="958"/>
                  </a:lnTo>
                  <a:lnTo>
                    <a:pt x="1852" y="958"/>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899"/>
                  </a:lnTo>
                  <a:lnTo>
                    <a:pt x="1852" y="899"/>
                  </a:lnTo>
                  <a:lnTo>
                    <a:pt x="1852" y="899"/>
                  </a:lnTo>
                  <a:lnTo>
                    <a:pt x="1852" y="899"/>
                  </a:lnTo>
                  <a:lnTo>
                    <a:pt x="1852" y="960"/>
                  </a:lnTo>
                  <a:lnTo>
                    <a:pt x="1852" y="960"/>
                  </a:lnTo>
                  <a:lnTo>
                    <a:pt x="1852" y="963"/>
                  </a:lnTo>
                  <a:lnTo>
                    <a:pt x="1847" y="963"/>
                  </a:lnTo>
                  <a:lnTo>
                    <a:pt x="1847" y="963"/>
                  </a:lnTo>
                  <a:lnTo>
                    <a:pt x="1846" y="963"/>
                  </a:lnTo>
                  <a:lnTo>
                    <a:pt x="1846" y="963"/>
                  </a:lnTo>
                  <a:lnTo>
                    <a:pt x="1845" y="963"/>
                  </a:lnTo>
                  <a:lnTo>
                    <a:pt x="1845" y="963"/>
                  </a:lnTo>
                  <a:lnTo>
                    <a:pt x="1845" y="963"/>
                  </a:lnTo>
                  <a:lnTo>
                    <a:pt x="1845" y="964"/>
                  </a:lnTo>
                  <a:lnTo>
                    <a:pt x="1844" y="964"/>
                  </a:lnTo>
                  <a:lnTo>
                    <a:pt x="1844" y="966"/>
                  </a:lnTo>
                  <a:lnTo>
                    <a:pt x="1820" y="966"/>
                  </a:lnTo>
                  <a:lnTo>
                    <a:pt x="1820" y="966"/>
                  </a:lnTo>
                  <a:lnTo>
                    <a:pt x="1817" y="966"/>
                  </a:lnTo>
                  <a:lnTo>
                    <a:pt x="1817" y="966"/>
                  </a:lnTo>
                  <a:lnTo>
                    <a:pt x="1817" y="966"/>
                  </a:lnTo>
                  <a:lnTo>
                    <a:pt x="1817" y="968"/>
                  </a:lnTo>
                  <a:lnTo>
                    <a:pt x="1815" y="968"/>
                  </a:lnTo>
                  <a:lnTo>
                    <a:pt x="1815" y="970"/>
                  </a:lnTo>
                  <a:lnTo>
                    <a:pt x="1814" y="970"/>
                  </a:lnTo>
                  <a:lnTo>
                    <a:pt x="1814" y="970"/>
                  </a:lnTo>
                  <a:lnTo>
                    <a:pt x="1814" y="970"/>
                  </a:lnTo>
                  <a:lnTo>
                    <a:pt x="1814" y="970"/>
                  </a:lnTo>
                  <a:lnTo>
                    <a:pt x="1814" y="970"/>
                  </a:lnTo>
                  <a:lnTo>
                    <a:pt x="1814" y="974"/>
                  </a:lnTo>
                  <a:lnTo>
                    <a:pt x="1814" y="974"/>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899"/>
                  </a:lnTo>
                  <a:lnTo>
                    <a:pt x="1737" y="899"/>
                  </a:lnTo>
                  <a:lnTo>
                    <a:pt x="1737" y="899"/>
                  </a:lnTo>
                  <a:lnTo>
                    <a:pt x="1706" y="899"/>
                  </a:lnTo>
                  <a:lnTo>
                    <a:pt x="1706" y="899"/>
                  </a:lnTo>
                  <a:lnTo>
                    <a:pt x="1706" y="899"/>
                  </a:lnTo>
                  <a:lnTo>
                    <a:pt x="1706" y="993"/>
                  </a:lnTo>
                  <a:lnTo>
                    <a:pt x="1703" y="993"/>
                  </a:lnTo>
                  <a:lnTo>
                    <a:pt x="1703" y="993"/>
                  </a:lnTo>
                  <a:lnTo>
                    <a:pt x="1703" y="993"/>
                  </a:lnTo>
                  <a:lnTo>
                    <a:pt x="1703" y="993"/>
                  </a:lnTo>
                  <a:lnTo>
                    <a:pt x="1702" y="993"/>
                  </a:lnTo>
                  <a:lnTo>
                    <a:pt x="1702" y="993"/>
                  </a:lnTo>
                  <a:lnTo>
                    <a:pt x="1702" y="993"/>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997"/>
                  </a:lnTo>
                  <a:lnTo>
                    <a:pt x="1699" y="997"/>
                  </a:lnTo>
                  <a:lnTo>
                    <a:pt x="1699" y="998"/>
                  </a:lnTo>
                  <a:lnTo>
                    <a:pt x="1699" y="998"/>
                  </a:lnTo>
                  <a:lnTo>
                    <a:pt x="1699" y="999"/>
                  </a:lnTo>
                  <a:lnTo>
                    <a:pt x="1699" y="999"/>
                  </a:lnTo>
                  <a:lnTo>
                    <a:pt x="1699" y="999"/>
                  </a:lnTo>
                  <a:lnTo>
                    <a:pt x="1699" y="999"/>
                  </a:lnTo>
                  <a:lnTo>
                    <a:pt x="1699" y="999"/>
                  </a:lnTo>
                  <a:lnTo>
                    <a:pt x="1699" y="999"/>
                  </a:lnTo>
                  <a:lnTo>
                    <a:pt x="1699" y="1003"/>
                  </a:lnTo>
                  <a:lnTo>
                    <a:pt x="1699" y="1003"/>
                  </a:lnTo>
                  <a:lnTo>
                    <a:pt x="1699" y="1004"/>
                  </a:lnTo>
                  <a:lnTo>
                    <a:pt x="1699" y="1004"/>
                  </a:lnTo>
                  <a:lnTo>
                    <a:pt x="1699" y="1004"/>
                  </a:lnTo>
                  <a:lnTo>
                    <a:pt x="1699" y="1004"/>
                  </a:lnTo>
                  <a:lnTo>
                    <a:pt x="1699" y="1005"/>
                  </a:lnTo>
                  <a:lnTo>
                    <a:pt x="1698" y="1005"/>
                  </a:lnTo>
                  <a:lnTo>
                    <a:pt x="1698" y="1005"/>
                  </a:lnTo>
                  <a:lnTo>
                    <a:pt x="1698" y="1005"/>
                  </a:lnTo>
                  <a:lnTo>
                    <a:pt x="1698" y="1006"/>
                  </a:lnTo>
                  <a:lnTo>
                    <a:pt x="1695" y="1006"/>
                  </a:lnTo>
                  <a:lnTo>
                    <a:pt x="1695" y="1006"/>
                  </a:lnTo>
                  <a:lnTo>
                    <a:pt x="1695" y="1006"/>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1011"/>
                  </a:lnTo>
                  <a:lnTo>
                    <a:pt x="1549" y="1011"/>
                  </a:lnTo>
                  <a:lnTo>
                    <a:pt x="1549" y="899"/>
                  </a:lnTo>
                  <a:lnTo>
                    <a:pt x="1544" y="899"/>
                  </a:lnTo>
                  <a:lnTo>
                    <a:pt x="1544" y="899"/>
                  </a:lnTo>
                  <a:lnTo>
                    <a:pt x="1541" y="899"/>
                  </a:lnTo>
                  <a:lnTo>
                    <a:pt x="1541" y="899"/>
                  </a:lnTo>
                  <a:lnTo>
                    <a:pt x="1539" y="899"/>
                  </a:lnTo>
                  <a:lnTo>
                    <a:pt x="1539" y="899"/>
                  </a:lnTo>
                  <a:lnTo>
                    <a:pt x="1538" y="899"/>
                  </a:lnTo>
                  <a:lnTo>
                    <a:pt x="1538" y="1011"/>
                  </a:lnTo>
                  <a:lnTo>
                    <a:pt x="1537" y="1011"/>
                  </a:lnTo>
                  <a:lnTo>
                    <a:pt x="1537" y="899"/>
                  </a:lnTo>
                  <a:lnTo>
                    <a:pt x="1536" y="899"/>
                  </a:lnTo>
                  <a:lnTo>
                    <a:pt x="1536" y="899"/>
                  </a:lnTo>
                  <a:lnTo>
                    <a:pt x="1536" y="899"/>
                  </a:lnTo>
                  <a:lnTo>
                    <a:pt x="1536" y="1011"/>
                  </a:lnTo>
                  <a:lnTo>
                    <a:pt x="1535" y="1011"/>
                  </a:lnTo>
                  <a:lnTo>
                    <a:pt x="1535" y="899"/>
                  </a:lnTo>
                  <a:lnTo>
                    <a:pt x="1535" y="899"/>
                  </a:lnTo>
                  <a:lnTo>
                    <a:pt x="1535" y="899"/>
                  </a:lnTo>
                  <a:lnTo>
                    <a:pt x="1535" y="899"/>
                  </a:lnTo>
                  <a:lnTo>
                    <a:pt x="1535" y="1012"/>
                  </a:lnTo>
                  <a:lnTo>
                    <a:pt x="1507" y="1012"/>
                  </a:lnTo>
                  <a:lnTo>
                    <a:pt x="1507" y="1012"/>
                  </a:lnTo>
                  <a:lnTo>
                    <a:pt x="1495" y="1012"/>
                  </a:lnTo>
                  <a:lnTo>
                    <a:pt x="1495" y="1014"/>
                  </a:lnTo>
                  <a:lnTo>
                    <a:pt x="1489" y="1014"/>
                  </a:lnTo>
                  <a:lnTo>
                    <a:pt x="1489" y="1014"/>
                  </a:lnTo>
                  <a:lnTo>
                    <a:pt x="1487" y="1014"/>
                  </a:lnTo>
                  <a:lnTo>
                    <a:pt x="1487" y="1014"/>
                  </a:lnTo>
                  <a:lnTo>
                    <a:pt x="1486" y="1014"/>
                  </a:lnTo>
                  <a:lnTo>
                    <a:pt x="1486" y="1014"/>
                  </a:lnTo>
                  <a:lnTo>
                    <a:pt x="1485" y="1014"/>
                  </a:lnTo>
                  <a:lnTo>
                    <a:pt x="1485" y="1016"/>
                  </a:lnTo>
                  <a:lnTo>
                    <a:pt x="1485" y="1016"/>
                  </a:lnTo>
                  <a:lnTo>
                    <a:pt x="1485" y="1016"/>
                  </a:lnTo>
                  <a:lnTo>
                    <a:pt x="1485" y="1016"/>
                  </a:lnTo>
                  <a:lnTo>
                    <a:pt x="1485" y="1017"/>
                  </a:lnTo>
                  <a:lnTo>
                    <a:pt x="1484" y="1017"/>
                  </a:lnTo>
                  <a:lnTo>
                    <a:pt x="1484" y="1017"/>
                  </a:lnTo>
                  <a:lnTo>
                    <a:pt x="1484" y="1017"/>
                  </a:lnTo>
                  <a:lnTo>
                    <a:pt x="1484" y="1017"/>
                  </a:lnTo>
                  <a:lnTo>
                    <a:pt x="1484" y="1017"/>
                  </a:lnTo>
                  <a:lnTo>
                    <a:pt x="1484" y="1019"/>
                  </a:lnTo>
                  <a:lnTo>
                    <a:pt x="1484" y="1019"/>
                  </a:lnTo>
                  <a:lnTo>
                    <a:pt x="1484" y="1020"/>
                  </a:lnTo>
                  <a:lnTo>
                    <a:pt x="1484" y="1020"/>
                  </a:lnTo>
                  <a:lnTo>
                    <a:pt x="1484" y="1020"/>
                  </a:lnTo>
                  <a:lnTo>
                    <a:pt x="1484" y="1020"/>
                  </a:lnTo>
                  <a:lnTo>
                    <a:pt x="1484" y="1020"/>
                  </a:lnTo>
                  <a:lnTo>
                    <a:pt x="1484" y="1020"/>
                  </a:lnTo>
                  <a:lnTo>
                    <a:pt x="1484" y="1021"/>
                  </a:lnTo>
                  <a:lnTo>
                    <a:pt x="1484" y="1021"/>
                  </a:lnTo>
                  <a:lnTo>
                    <a:pt x="1484" y="1024"/>
                  </a:lnTo>
                  <a:lnTo>
                    <a:pt x="1483" y="1024"/>
                  </a:lnTo>
                  <a:lnTo>
                    <a:pt x="1483" y="1024"/>
                  </a:lnTo>
                  <a:lnTo>
                    <a:pt x="1483" y="1024"/>
                  </a:lnTo>
                  <a:lnTo>
                    <a:pt x="1483" y="1025"/>
                  </a:lnTo>
                  <a:lnTo>
                    <a:pt x="1483" y="1025"/>
                  </a:lnTo>
                  <a:lnTo>
                    <a:pt x="1483" y="1026"/>
                  </a:lnTo>
                  <a:lnTo>
                    <a:pt x="1483" y="1026"/>
                  </a:lnTo>
                  <a:lnTo>
                    <a:pt x="1483" y="1026"/>
                  </a:lnTo>
                  <a:lnTo>
                    <a:pt x="1483" y="1026"/>
                  </a:lnTo>
                  <a:lnTo>
                    <a:pt x="1483"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7"/>
                  </a:lnTo>
                  <a:lnTo>
                    <a:pt x="1479" y="1027"/>
                  </a:lnTo>
                  <a:lnTo>
                    <a:pt x="1479" y="1028"/>
                  </a:lnTo>
                  <a:lnTo>
                    <a:pt x="1478" y="1028"/>
                  </a:lnTo>
                  <a:lnTo>
                    <a:pt x="1478" y="1029"/>
                  </a:lnTo>
                  <a:lnTo>
                    <a:pt x="1478" y="1029"/>
                  </a:lnTo>
                  <a:lnTo>
                    <a:pt x="1478" y="1029"/>
                  </a:lnTo>
                  <a:lnTo>
                    <a:pt x="1478" y="1029"/>
                  </a:lnTo>
                  <a:lnTo>
                    <a:pt x="1478" y="1029"/>
                  </a:lnTo>
                  <a:lnTo>
                    <a:pt x="1478" y="1029"/>
                  </a:lnTo>
                  <a:lnTo>
                    <a:pt x="1478" y="1029"/>
                  </a:lnTo>
                  <a:lnTo>
                    <a:pt x="1478" y="1029"/>
                  </a:lnTo>
                  <a:lnTo>
                    <a:pt x="1478" y="1031"/>
                  </a:lnTo>
                  <a:lnTo>
                    <a:pt x="1476" y="1031"/>
                  </a:lnTo>
                  <a:lnTo>
                    <a:pt x="1476" y="1032"/>
                  </a:lnTo>
                  <a:lnTo>
                    <a:pt x="1476" y="1032"/>
                  </a:lnTo>
                  <a:lnTo>
                    <a:pt x="1476" y="1032"/>
                  </a:lnTo>
                  <a:lnTo>
                    <a:pt x="1475" y="1032"/>
                  </a:lnTo>
                  <a:lnTo>
                    <a:pt x="1475" y="1032"/>
                  </a:lnTo>
                  <a:lnTo>
                    <a:pt x="1475" y="1032"/>
                  </a:lnTo>
                  <a:lnTo>
                    <a:pt x="1475" y="1033"/>
                  </a:lnTo>
                  <a:lnTo>
                    <a:pt x="1475" y="1033"/>
                  </a:lnTo>
                  <a:lnTo>
                    <a:pt x="1475" y="1033"/>
                  </a:lnTo>
                  <a:lnTo>
                    <a:pt x="1474" y="1033"/>
                  </a:lnTo>
                  <a:lnTo>
                    <a:pt x="1474" y="1034"/>
                  </a:lnTo>
                  <a:lnTo>
                    <a:pt x="1474" y="1034"/>
                  </a:lnTo>
                  <a:lnTo>
                    <a:pt x="1474" y="1034"/>
                  </a:lnTo>
                  <a:lnTo>
                    <a:pt x="1474" y="1034"/>
                  </a:lnTo>
                  <a:lnTo>
                    <a:pt x="1474" y="1035"/>
                  </a:lnTo>
                  <a:lnTo>
                    <a:pt x="1457" y="1035"/>
                  </a:lnTo>
                  <a:lnTo>
                    <a:pt x="1457" y="1035"/>
                  </a:lnTo>
                  <a:lnTo>
                    <a:pt x="1457" y="1035"/>
                  </a:lnTo>
                  <a:lnTo>
                    <a:pt x="1457" y="899"/>
                  </a:lnTo>
                  <a:lnTo>
                    <a:pt x="1456" y="899"/>
                  </a:lnTo>
                  <a:lnTo>
                    <a:pt x="1456" y="899"/>
                  </a:lnTo>
                  <a:lnTo>
                    <a:pt x="1455" y="899"/>
                  </a:lnTo>
                  <a:lnTo>
                    <a:pt x="1455" y="899"/>
                  </a:lnTo>
                  <a:lnTo>
                    <a:pt x="1455" y="899"/>
                  </a:lnTo>
                  <a:lnTo>
                    <a:pt x="1455" y="899"/>
                  </a:lnTo>
                  <a:lnTo>
                    <a:pt x="1455" y="899"/>
                  </a:lnTo>
                  <a:lnTo>
                    <a:pt x="1455" y="899"/>
                  </a:lnTo>
                  <a:lnTo>
                    <a:pt x="1455" y="899"/>
                  </a:lnTo>
                  <a:lnTo>
                    <a:pt x="1455" y="1036"/>
                  </a:lnTo>
                  <a:lnTo>
                    <a:pt x="1454" y="1036"/>
                  </a:lnTo>
                  <a:lnTo>
                    <a:pt x="1454" y="1037"/>
                  </a:lnTo>
                  <a:lnTo>
                    <a:pt x="1453" y="1037"/>
                  </a:lnTo>
                  <a:lnTo>
                    <a:pt x="1453" y="1037"/>
                  </a:lnTo>
                  <a:lnTo>
                    <a:pt x="1453" y="1037"/>
                  </a:lnTo>
                  <a:lnTo>
                    <a:pt x="1453" y="1038"/>
                  </a:lnTo>
                  <a:lnTo>
                    <a:pt x="1453" y="1038"/>
                  </a:lnTo>
                  <a:lnTo>
                    <a:pt x="1453" y="1038"/>
                  </a:lnTo>
                  <a:lnTo>
                    <a:pt x="1441" y="1038"/>
                  </a:lnTo>
                  <a:lnTo>
                    <a:pt x="1441" y="1038"/>
                  </a:lnTo>
                  <a:lnTo>
                    <a:pt x="1439" y="1038"/>
                  </a:lnTo>
                  <a:lnTo>
                    <a:pt x="1439" y="1038"/>
                  </a:lnTo>
                  <a:lnTo>
                    <a:pt x="1438" y="1038"/>
                  </a:lnTo>
                  <a:lnTo>
                    <a:pt x="1438" y="1038"/>
                  </a:lnTo>
                  <a:lnTo>
                    <a:pt x="1438" y="1038"/>
                  </a:lnTo>
                  <a:lnTo>
                    <a:pt x="1438" y="1039"/>
                  </a:lnTo>
                  <a:lnTo>
                    <a:pt x="1438" y="1039"/>
                  </a:lnTo>
                  <a:lnTo>
                    <a:pt x="1438" y="1039"/>
                  </a:lnTo>
                  <a:lnTo>
                    <a:pt x="1438" y="103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1041"/>
                  </a:lnTo>
                  <a:lnTo>
                    <a:pt x="1434" y="1041"/>
                  </a:lnTo>
                  <a:lnTo>
                    <a:pt x="1434" y="1042"/>
                  </a:lnTo>
                  <a:lnTo>
                    <a:pt x="1432" y="1042"/>
                  </a:lnTo>
                  <a:lnTo>
                    <a:pt x="1432" y="1042"/>
                  </a:lnTo>
                  <a:lnTo>
                    <a:pt x="1432" y="1042"/>
                  </a:lnTo>
                  <a:lnTo>
                    <a:pt x="1432" y="1042"/>
                  </a:lnTo>
                  <a:lnTo>
                    <a:pt x="1432" y="1042"/>
                  </a:lnTo>
                  <a:lnTo>
                    <a:pt x="1432" y="1042"/>
                  </a:lnTo>
                  <a:lnTo>
                    <a:pt x="1425" y="1042"/>
                  </a:lnTo>
                  <a:lnTo>
                    <a:pt x="1425" y="1042"/>
                  </a:lnTo>
                  <a:lnTo>
                    <a:pt x="1423" y="1042"/>
                  </a:lnTo>
                  <a:lnTo>
                    <a:pt x="1423" y="1042"/>
                  </a:lnTo>
                  <a:lnTo>
                    <a:pt x="1422" y="1042"/>
                  </a:lnTo>
                  <a:lnTo>
                    <a:pt x="1422" y="1042"/>
                  </a:lnTo>
                  <a:lnTo>
                    <a:pt x="1421" y="1042"/>
                  </a:lnTo>
                  <a:lnTo>
                    <a:pt x="1421" y="1043"/>
                  </a:lnTo>
                  <a:lnTo>
                    <a:pt x="1414" y="1043"/>
                  </a:lnTo>
                  <a:lnTo>
                    <a:pt x="1414" y="1043"/>
                  </a:lnTo>
                  <a:lnTo>
                    <a:pt x="1413" y="1043"/>
                  </a:lnTo>
                  <a:lnTo>
                    <a:pt x="1413" y="1043"/>
                  </a:lnTo>
                  <a:lnTo>
                    <a:pt x="1413" y="1043"/>
                  </a:lnTo>
                  <a:lnTo>
                    <a:pt x="1413" y="1043"/>
                  </a:lnTo>
                  <a:lnTo>
                    <a:pt x="1413" y="1043"/>
                  </a:lnTo>
                  <a:lnTo>
                    <a:pt x="1413"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6"/>
                  </a:lnTo>
                  <a:lnTo>
                    <a:pt x="1410" y="1046"/>
                  </a:lnTo>
                  <a:lnTo>
                    <a:pt x="1410" y="1046"/>
                  </a:lnTo>
                  <a:lnTo>
                    <a:pt x="1410" y="1046"/>
                  </a:lnTo>
                  <a:lnTo>
                    <a:pt x="1410" y="1047"/>
                  </a:lnTo>
                  <a:lnTo>
                    <a:pt x="1408" y="1047"/>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9"/>
                  </a:lnTo>
                  <a:lnTo>
                    <a:pt x="1408" y="104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1054"/>
                  </a:lnTo>
                  <a:lnTo>
                    <a:pt x="1404" y="1054"/>
                  </a:lnTo>
                  <a:lnTo>
                    <a:pt x="1404" y="1054"/>
                  </a:lnTo>
                  <a:lnTo>
                    <a:pt x="1404" y="1054"/>
                  </a:lnTo>
                  <a:lnTo>
                    <a:pt x="1404" y="1054"/>
                  </a:lnTo>
                  <a:lnTo>
                    <a:pt x="1404" y="1054"/>
                  </a:lnTo>
                  <a:lnTo>
                    <a:pt x="1404" y="1054"/>
                  </a:lnTo>
                  <a:lnTo>
                    <a:pt x="1404" y="1054"/>
                  </a:lnTo>
                  <a:lnTo>
                    <a:pt x="1404" y="1054"/>
                  </a:lnTo>
                  <a:lnTo>
                    <a:pt x="1403" y="1054"/>
                  </a:lnTo>
                  <a:lnTo>
                    <a:pt x="1403" y="1056"/>
                  </a:lnTo>
                  <a:lnTo>
                    <a:pt x="1403" y="1056"/>
                  </a:lnTo>
                  <a:lnTo>
                    <a:pt x="1403" y="1056"/>
                  </a:lnTo>
                  <a:lnTo>
                    <a:pt x="1399" y="1056"/>
                  </a:lnTo>
                  <a:lnTo>
                    <a:pt x="1399" y="1056"/>
                  </a:lnTo>
                  <a:lnTo>
                    <a:pt x="1399" y="1056"/>
                  </a:lnTo>
                  <a:lnTo>
                    <a:pt x="1399" y="1057"/>
                  </a:lnTo>
                  <a:lnTo>
                    <a:pt x="1399" y="1057"/>
                  </a:lnTo>
                  <a:lnTo>
                    <a:pt x="1399" y="1059"/>
                  </a:lnTo>
                  <a:lnTo>
                    <a:pt x="1399" y="1059"/>
                  </a:lnTo>
                  <a:lnTo>
                    <a:pt x="1399" y="1059"/>
                  </a:lnTo>
                  <a:lnTo>
                    <a:pt x="1397" y="1059"/>
                  </a:lnTo>
                  <a:lnTo>
                    <a:pt x="1397" y="1059"/>
                  </a:lnTo>
                  <a:lnTo>
                    <a:pt x="1396" y="1059"/>
                  </a:lnTo>
                  <a:lnTo>
                    <a:pt x="1396" y="1059"/>
                  </a:lnTo>
                  <a:lnTo>
                    <a:pt x="1396" y="1059"/>
                  </a:lnTo>
                  <a:lnTo>
                    <a:pt x="1396" y="1060"/>
                  </a:lnTo>
                  <a:lnTo>
                    <a:pt x="1392" y="1060"/>
                  </a:lnTo>
                  <a:lnTo>
                    <a:pt x="1392"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0" y="1060"/>
                  </a:lnTo>
                  <a:lnTo>
                    <a:pt x="1390" y="1060"/>
                  </a:lnTo>
                  <a:lnTo>
                    <a:pt x="1390" y="1060"/>
                  </a:lnTo>
                  <a:lnTo>
                    <a:pt x="1390" y="1060"/>
                  </a:lnTo>
                  <a:lnTo>
                    <a:pt x="1390" y="1060"/>
                  </a:lnTo>
                  <a:lnTo>
                    <a:pt x="1390" y="1060"/>
                  </a:lnTo>
                  <a:lnTo>
                    <a:pt x="1390" y="1060"/>
                  </a:lnTo>
                  <a:lnTo>
                    <a:pt x="1390" y="1060"/>
                  </a:lnTo>
                  <a:lnTo>
                    <a:pt x="1390" y="1060"/>
                  </a:lnTo>
                  <a:lnTo>
                    <a:pt x="1390" y="1061"/>
                  </a:lnTo>
                  <a:lnTo>
                    <a:pt x="1389" y="1061"/>
                  </a:lnTo>
                  <a:lnTo>
                    <a:pt x="1389" y="1061"/>
                  </a:lnTo>
                  <a:lnTo>
                    <a:pt x="1389" y="1061"/>
                  </a:lnTo>
                  <a:lnTo>
                    <a:pt x="1389" y="1061"/>
                  </a:lnTo>
                  <a:lnTo>
                    <a:pt x="1388" y="1061"/>
                  </a:lnTo>
                  <a:lnTo>
                    <a:pt x="1388" y="1061"/>
                  </a:lnTo>
                  <a:lnTo>
                    <a:pt x="1388" y="1061"/>
                  </a:lnTo>
                  <a:lnTo>
                    <a:pt x="1388" y="1062"/>
                  </a:lnTo>
                  <a:lnTo>
                    <a:pt x="1388" y="1062"/>
                  </a:lnTo>
                  <a:lnTo>
                    <a:pt x="1388" y="1063"/>
                  </a:lnTo>
                  <a:lnTo>
                    <a:pt x="1388" y="1063"/>
                  </a:lnTo>
                  <a:lnTo>
                    <a:pt x="1388" y="1063"/>
                  </a:lnTo>
                  <a:lnTo>
                    <a:pt x="1388" y="1063"/>
                  </a:lnTo>
                  <a:lnTo>
                    <a:pt x="1388" y="1064"/>
                  </a:lnTo>
                  <a:lnTo>
                    <a:pt x="1388" y="1064"/>
                  </a:lnTo>
                  <a:lnTo>
                    <a:pt x="1388" y="1064"/>
                  </a:lnTo>
                  <a:lnTo>
                    <a:pt x="1387" y="1064"/>
                  </a:lnTo>
                  <a:lnTo>
                    <a:pt x="1387" y="1064"/>
                  </a:lnTo>
                  <a:lnTo>
                    <a:pt x="1387" y="1064"/>
                  </a:lnTo>
                  <a:lnTo>
                    <a:pt x="1387" y="1064"/>
                  </a:lnTo>
                  <a:lnTo>
                    <a:pt x="1387" y="1064"/>
                  </a:lnTo>
                  <a:lnTo>
                    <a:pt x="1387" y="1064"/>
                  </a:lnTo>
                  <a:lnTo>
                    <a:pt x="1387" y="1064"/>
                  </a:lnTo>
                  <a:lnTo>
                    <a:pt x="1387" y="1064"/>
                  </a:lnTo>
                  <a:lnTo>
                    <a:pt x="1386" y="1064"/>
                  </a:lnTo>
                  <a:lnTo>
                    <a:pt x="1386" y="1064"/>
                  </a:lnTo>
                  <a:lnTo>
                    <a:pt x="1385" y="1064"/>
                  </a:lnTo>
                  <a:lnTo>
                    <a:pt x="1385" y="1064"/>
                  </a:lnTo>
                  <a:lnTo>
                    <a:pt x="1385" y="1064"/>
                  </a:lnTo>
                  <a:lnTo>
                    <a:pt x="1385" y="1068"/>
                  </a:lnTo>
                  <a:lnTo>
                    <a:pt x="1385" y="1068"/>
                  </a:lnTo>
                  <a:lnTo>
                    <a:pt x="1385" y="1069"/>
                  </a:lnTo>
                  <a:lnTo>
                    <a:pt x="1382" y="1069"/>
                  </a:lnTo>
                  <a:lnTo>
                    <a:pt x="1382" y="1069"/>
                  </a:lnTo>
                  <a:lnTo>
                    <a:pt x="1381" y="1069"/>
                  </a:lnTo>
                  <a:lnTo>
                    <a:pt x="1381" y="1069"/>
                  </a:lnTo>
                  <a:lnTo>
                    <a:pt x="1380" y="1069"/>
                  </a:lnTo>
                  <a:lnTo>
                    <a:pt x="1380" y="1072"/>
                  </a:lnTo>
                  <a:lnTo>
                    <a:pt x="1375" y="1072"/>
                  </a:lnTo>
                  <a:lnTo>
                    <a:pt x="1375" y="1073"/>
                  </a:lnTo>
                  <a:lnTo>
                    <a:pt x="1375" y="1073"/>
                  </a:lnTo>
                  <a:lnTo>
                    <a:pt x="1375" y="1074"/>
                  </a:lnTo>
                  <a:lnTo>
                    <a:pt x="1375" y="1074"/>
                  </a:lnTo>
                  <a:lnTo>
                    <a:pt x="1375" y="1074"/>
                  </a:lnTo>
                  <a:lnTo>
                    <a:pt x="1370" y="1074"/>
                  </a:lnTo>
                  <a:lnTo>
                    <a:pt x="1370" y="1074"/>
                  </a:lnTo>
                  <a:lnTo>
                    <a:pt x="1369" y="1074"/>
                  </a:lnTo>
                  <a:lnTo>
                    <a:pt x="1369" y="1074"/>
                  </a:lnTo>
                  <a:lnTo>
                    <a:pt x="1369" y="1074"/>
                  </a:lnTo>
                  <a:lnTo>
                    <a:pt x="1369" y="1076"/>
                  </a:lnTo>
                  <a:lnTo>
                    <a:pt x="1369" y="1076"/>
                  </a:lnTo>
                  <a:lnTo>
                    <a:pt x="1369" y="899"/>
                  </a:lnTo>
                  <a:lnTo>
                    <a:pt x="1369" y="899"/>
                  </a:lnTo>
                  <a:lnTo>
                    <a:pt x="1369" y="899"/>
                  </a:lnTo>
                  <a:lnTo>
                    <a:pt x="1369" y="899"/>
                  </a:lnTo>
                  <a:lnTo>
                    <a:pt x="1369" y="899"/>
                  </a:lnTo>
                  <a:lnTo>
                    <a:pt x="1369" y="899"/>
                  </a:lnTo>
                  <a:lnTo>
                    <a:pt x="1369" y="1077"/>
                  </a:lnTo>
                  <a:lnTo>
                    <a:pt x="1369" y="1077"/>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1088"/>
                  </a:lnTo>
                  <a:lnTo>
                    <a:pt x="1366" y="1088"/>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100"/>
                  </a:lnTo>
                  <a:lnTo>
                    <a:pt x="1354" y="1100"/>
                  </a:lnTo>
                  <a:lnTo>
                    <a:pt x="1354" y="1101"/>
                  </a:lnTo>
                  <a:lnTo>
                    <a:pt x="1354" y="1101"/>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10"/>
                  </a:lnTo>
                  <a:lnTo>
                    <a:pt x="1337" y="1110"/>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1114"/>
                  </a:lnTo>
                  <a:lnTo>
                    <a:pt x="1332" y="1114"/>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1116"/>
                  </a:lnTo>
                  <a:lnTo>
                    <a:pt x="1326" y="1116"/>
                  </a:lnTo>
                  <a:lnTo>
                    <a:pt x="1326" y="1116"/>
                  </a:lnTo>
                  <a:lnTo>
                    <a:pt x="1326" y="1116"/>
                  </a:lnTo>
                  <a:lnTo>
                    <a:pt x="1326" y="1116"/>
                  </a:lnTo>
                  <a:lnTo>
                    <a:pt x="1326" y="1116"/>
                  </a:lnTo>
                  <a:lnTo>
                    <a:pt x="1326" y="1116"/>
                  </a:lnTo>
                  <a:lnTo>
                    <a:pt x="1326" y="1116"/>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1"/>
                  </a:lnTo>
                  <a:lnTo>
                    <a:pt x="1319" y="1121"/>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899"/>
                  </a:lnTo>
                  <a:lnTo>
                    <a:pt x="1259" y="899"/>
                  </a:lnTo>
                  <a:lnTo>
                    <a:pt x="1259" y="899"/>
                  </a:lnTo>
                  <a:lnTo>
                    <a:pt x="1255" y="899"/>
                  </a:lnTo>
                  <a:lnTo>
                    <a:pt x="1255" y="899"/>
                  </a:lnTo>
                  <a:lnTo>
                    <a:pt x="1253" y="899"/>
                  </a:lnTo>
                  <a:lnTo>
                    <a:pt x="1253" y="899"/>
                  </a:lnTo>
                  <a:lnTo>
                    <a:pt x="1252" y="899"/>
                  </a:lnTo>
                  <a:lnTo>
                    <a:pt x="1252" y="899"/>
                  </a:lnTo>
                  <a:lnTo>
                    <a:pt x="1251" y="899"/>
                  </a:lnTo>
                  <a:lnTo>
                    <a:pt x="1251" y="899"/>
                  </a:lnTo>
                  <a:lnTo>
                    <a:pt x="1251" y="899"/>
                  </a:lnTo>
                  <a:lnTo>
                    <a:pt x="1251" y="899"/>
                  </a:lnTo>
                  <a:lnTo>
                    <a:pt x="1250" y="899"/>
                  </a:lnTo>
                  <a:lnTo>
                    <a:pt x="1250" y="899"/>
                  </a:lnTo>
                  <a:lnTo>
                    <a:pt x="1250" y="899"/>
                  </a:lnTo>
                  <a:lnTo>
                    <a:pt x="1250" y="899"/>
                  </a:lnTo>
                  <a:lnTo>
                    <a:pt x="1250" y="899"/>
                  </a:lnTo>
                  <a:lnTo>
                    <a:pt x="1250" y="899"/>
                  </a:lnTo>
                  <a:lnTo>
                    <a:pt x="1250" y="899"/>
                  </a:lnTo>
                  <a:lnTo>
                    <a:pt x="1250" y="899"/>
                  </a:lnTo>
                  <a:lnTo>
                    <a:pt x="1249" y="899"/>
                  </a:lnTo>
                  <a:lnTo>
                    <a:pt x="1249" y="899"/>
                  </a:lnTo>
                  <a:lnTo>
                    <a:pt x="1249" y="899"/>
                  </a:lnTo>
                  <a:lnTo>
                    <a:pt x="1249" y="899"/>
                  </a:lnTo>
                  <a:lnTo>
                    <a:pt x="1249" y="899"/>
                  </a:lnTo>
                  <a:lnTo>
                    <a:pt x="1249" y="1123"/>
                  </a:lnTo>
                  <a:lnTo>
                    <a:pt x="1249" y="1123"/>
                  </a:lnTo>
                  <a:lnTo>
                    <a:pt x="1249" y="1124"/>
                  </a:lnTo>
                  <a:lnTo>
                    <a:pt x="1249" y="1124"/>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9"/>
                  </a:lnTo>
                  <a:lnTo>
                    <a:pt x="1224" y="1129"/>
                  </a:lnTo>
                  <a:lnTo>
                    <a:pt x="1224" y="899"/>
                  </a:lnTo>
                  <a:lnTo>
                    <a:pt x="1224" y="899"/>
                  </a:lnTo>
                  <a:lnTo>
                    <a:pt x="1224" y="899"/>
                  </a:lnTo>
                  <a:lnTo>
                    <a:pt x="1224" y="899"/>
                  </a:lnTo>
                  <a:lnTo>
                    <a:pt x="1224" y="899"/>
                  </a:lnTo>
                  <a:lnTo>
                    <a:pt x="1223" y="899"/>
                  </a:lnTo>
                  <a:lnTo>
                    <a:pt x="1223" y="899"/>
                  </a:lnTo>
                  <a:lnTo>
                    <a:pt x="1223" y="899"/>
                  </a:lnTo>
                  <a:lnTo>
                    <a:pt x="1223" y="1132"/>
                  </a:lnTo>
                  <a:lnTo>
                    <a:pt x="1223" y="1132"/>
                  </a:lnTo>
                  <a:lnTo>
                    <a:pt x="1223" y="1132"/>
                  </a:lnTo>
                  <a:lnTo>
                    <a:pt x="1223" y="1132"/>
                  </a:lnTo>
                  <a:lnTo>
                    <a:pt x="1223" y="899"/>
                  </a:lnTo>
                  <a:lnTo>
                    <a:pt x="1223" y="899"/>
                  </a:lnTo>
                  <a:lnTo>
                    <a:pt x="1223" y="899"/>
                  </a:lnTo>
                  <a:lnTo>
                    <a:pt x="1223" y="899"/>
                  </a:lnTo>
                  <a:lnTo>
                    <a:pt x="1223" y="899"/>
                  </a:lnTo>
                  <a:lnTo>
                    <a:pt x="1213" y="899"/>
                  </a:lnTo>
                  <a:lnTo>
                    <a:pt x="1213" y="899"/>
                  </a:lnTo>
                  <a:lnTo>
                    <a:pt x="1202" y="899"/>
                  </a:lnTo>
                  <a:lnTo>
                    <a:pt x="1202" y="899"/>
                  </a:lnTo>
                  <a:lnTo>
                    <a:pt x="1195" y="899"/>
                  </a:lnTo>
                  <a:lnTo>
                    <a:pt x="1195" y="1133"/>
                  </a:lnTo>
                  <a:lnTo>
                    <a:pt x="1190" y="1133"/>
                  </a:lnTo>
                  <a:lnTo>
                    <a:pt x="1190" y="899"/>
                  </a:lnTo>
                  <a:lnTo>
                    <a:pt x="1186" y="899"/>
                  </a:lnTo>
                  <a:lnTo>
                    <a:pt x="1186" y="899"/>
                  </a:lnTo>
                  <a:lnTo>
                    <a:pt x="1185" y="899"/>
                  </a:lnTo>
                  <a:lnTo>
                    <a:pt x="1185" y="899"/>
                  </a:lnTo>
                  <a:lnTo>
                    <a:pt x="1184" y="899"/>
                  </a:lnTo>
                  <a:lnTo>
                    <a:pt x="1184" y="1133"/>
                  </a:lnTo>
                  <a:lnTo>
                    <a:pt x="1183" y="1133"/>
                  </a:lnTo>
                  <a:lnTo>
                    <a:pt x="1183" y="1133"/>
                  </a:lnTo>
                  <a:lnTo>
                    <a:pt x="1182" y="1133"/>
                  </a:lnTo>
                  <a:lnTo>
                    <a:pt x="1182" y="899"/>
                  </a:lnTo>
                  <a:lnTo>
                    <a:pt x="1182" y="899"/>
                  </a:lnTo>
                  <a:lnTo>
                    <a:pt x="1182" y="1133"/>
                  </a:lnTo>
                  <a:lnTo>
                    <a:pt x="1182" y="1133"/>
                  </a:lnTo>
                  <a:lnTo>
                    <a:pt x="1182" y="899"/>
                  </a:lnTo>
                  <a:lnTo>
                    <a:pt x="1181" y="899"/>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1134"/>
                  </a:lnTo>
                  <a:lnTo>
                    <a:pt x="1181" y="1134"/>
                  </a:lnTo>
                  <a:lnTo>
                    <a:pt x="1181" y="1135"/>
                  </a:lnTo>
                  <a:lnTo>
                    <a:pt x="1180" y="1135"/>
                  </a:lnTo>
                  <a:lnTo>
                    <a:pt x="1180" y="1135"/>
                  </a:lnTo>
                  <a:lnTo>
                    <a:pt x="1179" y="1135"/>
                  </a:lnTo>
                  <a:lnTo>
                    <a:pt x="1179" y="1135"/>
                  </a:lnTo>
                  <a:lnTo>
                    <a:pt x="1179" y="1135"/>
                  </a:lnTo>
                  <a:lnTo>
                    <a:pt x="1179" y="1135"/>
                  </a:lnTo>
                  <a:lnTo>
                    <a:pt x="1179" y="1135"/>
                  </a:lnTo>
                  <a:lnTo>
                    <a:pt x="1179" y="1135"/>
                  </a:lnTo>
                  <a:lnTo>
                    <a:pt x="1179" y="1135"/>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04" y="1136"/>
                  </a:lnTo>
                  <a:lnTo>
                    <a:pt x="1104" y="1136"/>
                  </a:lnTo>
                  <a:lnTo>
                    <a:pt x="1102" y="1136"/>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899"/>
                  </a:lnTo>
                  <a:lnTo>
                    <a:pt x="1069" y="899"/>
                  </a:lnTo>
                  <a:lnTo>
                    <a:pt x="1069" y="1143"/>
                  </a:lnTo>
                  <a:lnTo>
                    <a:pt x="1069" y="1143"/>
                  </a:lnTo>
                  <a:lnTo>
                    <a:pt x="1069" y="899"/>
                  </a:lnTo>
                  <a:lnTo>
                    <a:pt x="1069" y="899"/>
                  </a:lnTo>
                  <a:lnTo>
                    <a:pt x="1069" y="1143"/>
                  </a:lnTo>
                  <a:lnTo>
                    <a:pt x="1069" y="1143"/>
                  </a:lnTo>
                  <a:lnTo>
                    <a:pt x="1069" y="1146"/>
                  </a:lnTo>
                  <a:lnTo>
                    <a:pt x="1069" y="1146"/>
                  </a:lnTo>
                  <a:lnTo>
                    <a:pt x="1069" y="1146"/>
                  </a:lnTo>
                  <a:lnTo>
                    <a:pt x="1069" y="1146"/>
                  </a:lnTo>
                  <a:lnTo>
                    <a:pt x="1069" y="1148"/>
                  </a:lnTo>
                  <a:lnTo>
                    <a:pt x="1067" y="1148"/>
                  </a:lnTo>
                  <a:lnTo>
                    <a:pt x="1067" y="1148"/>
                  </a:lnTo>
                  <a:lnTo>
                    <a:pt x="1067" y="1148"/>
                  </a:lnTo>
                  <a:lnTo>
                    <a:pt x="1067" y="1148"/>
                  </a:lnTo>
                  <a:lnTo>
                    <a:pt x="1067" y="1148"/>
                  </a:lnTo>
                  <a:lnTo>
                    <a:pt x="1067" y="1150"/>
                  </a:lnTo>
                  <a:lnTo>
                    <a:pt x="1062" y="1150"/>
                  </a:lnTo>
                  <a:lnTo>
                    <a:pt x="1062" y="1150"/>
                  </a:lnTo>
                  <a:lnTo>
                    <a:pt x="1061" y="1150"/>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899"/>
                  </a:lnTo>
                  <a:lnTo>
                    <a:pt x="1037" y="899"/>
                  </a:lnTo>
                  <a:lnTo>
                    <a:pt x="1037" y="899"/>
                  </a:lnTo>
                  <a:lnTo>
                    <a:pt x="1037" y="899"/>
                  </a:lnTo>
                  <a:lnTo>
                    <a:pt x="1037" y="899"/>
                  </a:lnTo>
                  <a:lnTo>
                    <a:pt x="1028" y="899"/>
                  </a:lnTo>
                  <a:lnTo>
                    <a:pt x="1028" y="899"/>
                  </a:lnTo>
                  <a:lnTo>
                    <a:pt x="1023" y="899"/>
                  </a:lnTo>
                  <a:lnTo>
                    <a:pt x="1023" y="899"/>
                  </a:lnTo>
                  <a:lnTo>
                    <a:pt x="1020" y="899"/>
                  </a:lnTo>
                  <a:lnTo>
                    <a:pt x="1020" y="899"/>
                  </a:lnTo>
                  <a:lnTo>
                    <a:pt x="1017" y="899"/>
                  </a:lnTo>
                  <a:lnTo>
                    <a:pt x="1017" y="899"/>
                  </a:lnTo>
                  <a:lnTo>
                    <a:pt x="1015" y="899"/>
                  </a:lnTo>
                  <a:lnTo>
                    <a:pt x="1015" y="899"/>
                  </a:lnTo>
                  <a:lnTo>
                    <a:pt x="1013" y="899"/>
                  </a:lnTo>
                  <a:lnTo>
                    <a:pt x="1013" y="899"/>
                  </a:lnTo>
                  <a:lnTo>
                    <a:pt x="1011" y="899"/>
                  </a:lnTo>
                  <a:lnTo>
                    <a:pt x="1011" y="899"/>
                  </a:lnTo>
                  <a:lnTo>
                    <a:pt x="1010" y="899"/>
                  </a:lnTo>
                  <a:lnTo>
                    <a:pt x="1010" y="899"/>
                  </a:lnTo>
                  <a:lnTo>
                    <a:pt x="1009" y="899"/>
                  </a:lnTo>
                  <a:lnTo>
                    <a:pt x="1009" y="899"/>
                  </a:lnTo>
                  <a:lnTo>
                    <a:pt x="1008" y="899"/>
                  </a:lnTo>
                  <a:lnTo>
                    <a:pt x="1008" y="899"/>
                  </a:lnTo>
                  <a:lnTo>
                    <a:pt x="1007" y="899"/>
                  </a:lnTo>
                  <a:lnTo>
                    <a:pt x="1007" y="899"/>
                  </a:lnTo>
                  <a:lnTo>
                    <a:pt x="1006" y="899"/>
                  </a:lnTo>
                  <a:lnTo>
                    <a:pt x="1006" y="899"/>
                  </a:lnTo>
                  <a:lnTo>
                    <a:pt x="1006" y="899"/>
                  </a:lnTo>
                  <a:lnTo>
                    <a:pt x="1006" y="899"/>
                  </a:lnTo>
                  <a:lnTo>
                    <a:pt x="1005" y="899"/>
                  </a:lnTo>
                  <a:lnTo>
                    <a:pt x="1005" y="899"/>
                  </a:lnTo>
                  <a:lnTo>
                    <a:pt x="1005" y="899"/>
                  </a:lnTo>
                  <a:lnTo>
                    <a:pt x="1005" y="1155"/>
                  </a:lnTo>
                  <a:lnTo>
                    <a:pt x="1005" y="1155"/>
                  </a:lnTo>
                  <a:lnTo>
                    <a:pt x="1005" y="899"/>
                  </a:lnTo>
                  <a:lnTo>
                    <a:pt x="1005" y="899"/>
                  </a:lnTo>
                  <a:lnTo>
                    <a:pt x="1005" y="1155"/>
                  </a:lnTo>
                  <a:lnTo>
                    <a:pt x="1005" y="1155"/>
                  </a:lnTo>
                  <a:lnTo>
                    <a:pt x="1005" y="899"/>
                  </a:lnTo>
                  <a:lnTo>
                    <a:pt x="1005" y="899"/>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1157"/>
                  </a:lnTo>
                  <a:lnTo>
                    <a:pt x="1004" y="1157"/>
                  </a:lnTo>
                  <a:lnTo>
                    <a:pt x="1004" y="1158"/>
                  </a:lnTo>
                  <a:lnTo>
                    <a:pt x="1004" y="1158"/>
                  </a:lnTo>
                  <a:lnTo>
                    <a:pt x="1004" y="1164"/>
                  </a:lnTo>
                  <a:lnTo>
                    <a:pt x="1004" y="1164"/>
                  </a:lnTo>
                  <a:lnTo>
                    <a:pt x="1004" y="1164"/>
                  </a:lnTo>
                  <a:lnTo>
                    <a:pt x="1004" y="1164"/>
                  </a:lnTo>
                  <a:lnTo>
                    <a:pt x="1004" y="1167"/>
                  </a:lnTo>
                  <a:lnTo>
                    <a:pt x="1003" y="1167"/>
                  </a:lnTo>
                  <a:lnTo>
                    <a:pt x="1003" y="1167"/>
                  </a:lnTo>
                  <a:lnTo>
                    <a:pt x="1002" y="1167"/>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899"/>
                  </a:lnTo>
                  <a:lnTo>
                    <a:pt x="989" y="899"/>
                  </a:lnTo>
                  <a:lnTo>
                    <a:pt x="989" y="899"/>
                  </a:lnTo>
                  <a:lnTo>
                    <a:pt x="965" y="899"/>
                  </a:lnTo>
                  <a:lnTo>
                    <a:pt x="965" y="899"/>
                  </a:lnTo>
                  <a:lnTo>
                    <a:pt x="958" y="899"/>
                  </a:lnTo>
                  <a:lnTo>
                    <a:pt x="958" y="899"/>
                  </a:lnTo>
                  <a:lnTo>
                    <a:pt x="957" y="899"/>
                  </a:lnTo>
                  <a:lnTo>
                    <a:pt x="957" y="899"/>
                  </a:lnTo>
                  <a:lnTo>
                    <a:pt x="957" y="899"/>
                  </a:lnTo>
                  <a:lnTo>
                    <a:pt x="957" y="1176"/>
                  </a:lnTo>
                  <a:lnTo>
                    <a:pt x="955" y="1176"/>
                  </a:lnTo>
                  <a:lnTo>
                    <a:pt x="955" y="1176"/>
                  </a:lnTo>
                  <a:lnTo>
                    <a:pt x="955" y="1176"/>
                  </a:lnTo>
                  <a:lnTo>
                    <a:pt x="955" y="1176"/>
                  </a:lnTo>
                  <a:lnTo>
                    <a:pt x="955" y="1176"/>
                  </a:lnTo>
                  <a:lnTo>
                    <a:pt x="955" y="1177"/>
                  </a:lnTo>
                  <a:lnTo>
                    <a:pt x="955" y="1177"/>
                  </a:lnTo>
                  <a:lnTo>
                    <a:pt x="955" y="1177"/>
                  </a:lnTo>
                  <a:lnTo>
                    <a:pt x="955" y="1177"/>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3"/>
                  </a:lnTo>
                  <a:lnTo>
                    <a:pt x="955" y="1183"/>
                  </a:lnTo>
                  <a:lnTo>
                    <a:pt x="955" y="1183"/>
                  </a:lnTo>
                  <a:lnTo>
                    <a:pt x="955" y="1183"/>
                  </a:lnTo>
                  <a:lnTo>
                    <a:pt x="955" y="1183"/>
                  </a:lnTo>
                  <a:lnTo>
                    <a:pt x="952" y="1183"/>
                  </a:lnTo>
                  <a:lnTo>
                    <a:pt x="952" y="1183"/>
                  </a:lnTo>
                  <a:lnTo>
                    <a:pt x="952" y="1183"/>
                  </a:lnTo>
                  <a:lnTo>
                    <a:pt x="952" y="1183"/>
                  </a:lnTo>
                  <a:lnTo>
                    <a:pt x="951" y="1183"/>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1192"/>
                  </a:lnTo>
                  <a:lnTo>
                    <a:pt x="938" y="1192"/>
                  </a:lnTo>
                  <a:lnTo>
                    <a:pt x="938" y="1192"/>
                  </a:lnTo>
                  <a:lnTo>
                    <a:pt x="936" y="1192"/>
                  </a:lnTo>
                  <a:lnTo>
                    <a:pt x="936" y="1192"/>
                  </a:lnTo>
                  <a:lnTo>
                    <a:pt x="936" y="1192"/>
                  </a:lnTo>
                  <a:lnTo>
                    <a:pt x="936" y="1192"/>
                  </a:lnTo>
                  <a:lnTo>
                    <a:pt x="935" y="1192"/>
                  </a:lnTo>
                  <a:lnTo>
                    <a:pt x="935" y="1192"/>
                  </a:lnTo>
                  <a:lnTo>
                    <a:pt x="935" y="1192"/>
                  </a:lnTo>
                  <a:lnTo>
                    <a:pt x="935" y="1192"/>
                  </a:lnTo>
                  <a:lnTo>
                    <a:pt x="935" y="1192"/>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7"/>
                  </a:lnTo>
                  <a:lnTo>
                    <a:pt x="932" y="1197"/>
                  </a:lnTo>
                  <a:lnTo>
                    <a:pt x="932" y="1198"/>
                  </a:lnTo>
                  <a:lnTo>
                    <a:pt x="931" y="1198"/>
                  </a:lnTo>
                  <a:lnTo>
                    <a:pt x="931" y="1199"/>
                  </a:lnTo>
                  <a:lnTo>
                    <a:pt x="929" y="1199"/>
                  </a:lnTo>
                  <a:lnTo>
                    <a:pt x="929" y="1199"/>
                  </a:lnTo>
                  <a:lnTo>
                    <a:pt x="928" y="11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2"/>
                  </a:lnTo>
                  <a:lnTo>
                    <a:pt x="913" y="1202"/>
                  </a:lnTo>
                  <a:lnTo>
                    <a:pt x="913" y="1202"/>
                  </a:lnTo>
                  <a:lnTo>
                    <a:pt x="912" y="1202"/>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0" y="1204"/>
                  </a:lnTo>
                  <a:lnTo>
                    <a:pt x="910" y="1204"/>
                  </a:lnTo>
                  <a:lnTo>
                    <a:pt x="910" y="1204"/>
                  </a:lnTo>
                  <a:lnTo>
                    <a:pt x="910" y="1204"/>
                  </a:lnTo>
                  <a:lnTo>
                    <a:pt x="909" y="1204"/>
                  </a:lnTo>
                  <a:lnTo>
                    <a:pt x="909" y="1205"/>
                  </a:lnTo>
                  <a:lnTo>
                    <a:pt x="907" y="1205"/>
                  </a:lnTo>
                  <a:lnTo>
                    <a:pt x="907" y="899"/>
                  </a:lnTo>
                  <a:lnTo>
                    <a:pt x="902" y="899"/>
                  </a:lnTo>
                  <a:lnTo>
                    <a:pt x="902" y="899"/>
                  </a:lnTo>
                  <a:lnTo>
                    <a:pt x="900" y="899"/>
                  </a:lnTo>
                  <a:lnTo>
                    <a:pt x="900" y="899"/>
                  </a:lnTo>
                  <a:lnTo>
                    <a:pt x="900" y="899"/>
                  </a:lnTo>
                  <a:lnTo>
                    <a:pt x="900" y="899"/>
                  </a:lnTo>
                  <a:lnTo>
                    <a:pt x="899" y="899"/>
                  </a:lnTo>
                  <a:lnTo>
                    <a:pt x="899" y="1207"/>
                  </a:lnTo>
                  <a:lnTo>
                    <a:pt x="899" y="1207"/>
                  </a:lnTo>
                  <a:lnTo>
                    <a:pt x="899" y="899"/>
                  </a:lnTo>
                  <a:lnTo>
                    <a:pt x="899" y="899"/>
                  </a:lnTo>
                  <a:lnTo>
                    <a:pt x="899" y="899"/>
                  </a:lnTo>
                  <a:lnTo>
                    <a:pt x="899" y="899"/>
                  </a:lnTo>
                  <a:lnTo>
                    <a:pt x="899" y="1208"/>
                  </a:lnTo>
                  <a:lnTo>
                    <a:pt x="899" y="1208"/>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1"/>
                  </a:lnTo>
                  <a:lnTo>
                    <a:pt x="887" y="1211"/>
                  </a:lnTo>
                  <a:lnTo>
                    <a:pt x="887" y="1211"/>
                  </a:lnTo>
                  <a:lnTo>
                    <a:pt x="887" y="1211"/>
                  </a:lnTo>
                  <a:lnTo>
                    <a:pt x="887" y="1211"/>
                  </a:lnTo>
                  <a:lnTo>
                    <a:pt x="887" y="1211"/>
                  </a:lnTo>
                  <a:lnTo>
                    <a:pt x="887" y="1212"/>
                  </a:lnTo>
                  <a:lnTo>
                    <a:pt x="887" y="1212"/>
                  </a:lnTo>
                  <a:lnTo>
                    <a:pt x="887"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1216"/>
                  </a:lnTo>
                  <a:lnTo>
                    <a:pt x="882" y="1216"/>
                  </a:lnTo>
                  <a:lnTo>
                    <a:pt x="882" y="1216"/>
                  </a:lnTo>
                  <a:lnTo>
                    <a:pt x="881" y="1216"/>
                  </a:lnTo>
                  <a:lnTo>
                    <a:pt x="881" y="1216"/>
                  </a:lnTo>
                  <a:lnTo>
                    <a:pt x="881" y="1216"/>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1220"/>
                  </a:lnTo>
                  <a:lnTo>
                    <a:pt x="850" y="1220"/>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4"/>
                  </a:lnTo>
                  <a:lnTo>
                    <a:pt x="847" y="1224"/>
                  </a:lnTo>
                  <a:lnTo>
                    <a:pt x="847" y="899"/>
                  </a:lnTo>
                  <a:lnTo>
                    <a:pt x="846" y="899"/>
                  </a:lnTo>
                  <a:lnTo>
                    <a:pt x="846"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899"/>
                  </a:lnTo>
                  <a:lnTo>
                    <a:pt x="845" y="1229"/>
                  </a:lnTo>
                  <a:lnTo>
                    <a:pt x="845" y="122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3"/>
                  </a:lnTo>
                  <a:lnTo>
                    <a:pt x="836" y="1233"/>
                  </a:lnTo>
                  <a:lnTo>
                    <a:pt x="836" y="1233"/>
                  </a:lnTo>
                  <a:lnTo>
                    <a:pt x="836" y="1233"/>
                  </a:lnTo>
                  <a:lnTo>
                    <a:pt x="836" y="1236"/>
                  </a:lnTo>
                  <a:lnTo>
                    <a:pt x="835" y="1236"/>
                  </a:lnTo>
                  <a:lnTo>
                    <a:pt x="835" y="899"/>
                  </a:lnTo>
                  <a:lnTo>
                    <a:pt x="835" y="899"/>
                  </a:lnTo>
                  <a:lnTo>
                    <a:pt x="835" y="899"/>
                  </a:lnTo>
                  <a:lnTo>
                    <a:pt x="835" y="899"/>
                  </a:lnTo>
                  <a:lnTo>
                    <a:pt x="835" y="1236"/>
                  </a:lnTo>
                  <a:lnTo>
                    <a:pt x="829" y="1236"/>
                  </a:lnTo>
                  <a:lnTo>
                    <a:pt x="829" y="1240"/>
                  </a:lnTo>
                  <a:lnTo>
                    <a:pt x="828" y="1240"/>
                  </a:lnTo>
                  <a:lnTo>
                    <a:pt x="828" y="899"/>
                  </a:lnTo>
                  <a:lnTo>
                    <a:pt x="828" y="899"/>
                  </a:lnTo>
                  <a:lnTo>
                    <a:pt x="828" y="1240"/>
                  </a:lnTo>
                  <a:lnTo>
                    <a:pt x="828" y="1240"/>
                  </a:lnTo>
                  <a:lnTo>
                    <a:pt x="828" y="1240"/>
                  </a:lnTo>
                  <a:lnTo>
                    <a:pt x="828" y="1240"/>
                  </a:lnTo>
                  <a:lnTo>
                    <a:pt x="828" y="899"/>
                  </a:lnTo>
                  <a:lnTo>
                    <a:pt x="828" y="899"/>
                  </a:lnTo>
                  <a:lnTo>
                    <a:pt x="828" y="899"/>
                  </a:lnTo>
                  <a:lnTo>
                    <a:pt x="828" y="899"/>
                  </a:lnTo>
                  <a:lnTo>
                    <a:pt x="828" y="1240"/>
                  </a:lnTo>
                  <a:lnTo>
                    <a:pt x="828" y="1240"/>
                  </a:lnTo>
                  <a:lnTo>
                    <a:pt x="828" y="1241"/>
                  </a:lnTo>
                  <a:lnTo>
                    <a:pt x="828" y="1241"/>
                  </a:lnTo>
                  <a:lnTo>
                    <a:pt x="828" y="1242"/>
                  </a:lnTo>
                  <a:lnTo>
                    <a:pt x="828" y="1242"/>
                  </a:lnTo>
                  <a:lnTo>
                    <a:pt x="828" y="1242"/>
                  </a:lnTo>
                  <a:lnTo>
                    <a:pt x="828" y="1242"/>
                  </a:lnTo>
                  <a:lnTo>
                    <a:pt x="828" y="1242"/>
                  </a:lnTo>
                  <a:lnTo>
                    <a:pt x="828" y="1242"/>
                  </a:lnTo>
                  <a:lnTo>
                    <a:pt x="828" y="1242"/>
                  </a:lnTo>
                  <a:lnTo>
                    <a:pt x="827" y="1242"/>
                  </a:lnTo>
                  <a:lnTo>
                    <a:pt x="827" y="899"/>
                  </a:lnTo>
                  <a:lnTo>
                    <a:pt x="827" y="899"/>
                  </a:lnTo>
                  <a:lnTo>
                    <a:pt x="827" y="899"/>
                  </a:lnTo>
                  <a:lnTo>
                    <a:pt x="827" y="899"/>
                  </a:lnTo>
                  <a:lnTo>
                    <a:pt x="827" y="899"/>
                  </a:lnTo>
                  <a:lnTo>
                    <a:pt x="819" y="899"/>
                  </a:lnTo>
                  <a:lnTo>
                    <a:pt x="819" y="899"/>
                  </a:lnTo>
                  <a:lnTo>
                    <a:pt x="813" y="899"/>
                  </a:lnTo>
                  <a:lnTo>
                    <a:pt x="813" y="899"/>
                  </a:lnTo>
                  <a:lnTo>
                    <a:pt x="811" y="899"/>
                  </a:lnTo>
                  <a:lnTo>
                    <a:pt x="811" y="899"/>
                  </a:lnTo>
                  <a:lnTo>
                    <a:pt x="810" y="899"/>
                  </a:lnTo>
                  <a:lnTo>
                    <a:pt x="810" y="899"/>
                  </a:lnTo>
                  <a:lnTo>
                    <a:pt x="808" y="899"/>
                  </a:lnTo>
                  <a:lnTo>
                    <a:pt x="808" y="899"/>
                  </a:lnTo>
                  <a:lnTo>
                    <a:pt x="806" y="899"/>
                  </a:lnTo>
                  <a:lnTo>
                    <a:pt x="806" y="899"/>
                  </a:lnTo>
                  <a:lnTo>
                    <a:pt x="805" y="899"/>
                  </a:lnTo>
                  <a:lnTo>
                    <a:pt x="805" y="899"/>
                  </a:lnTo>
                  <a:lnTo>
                    <a:pt x="804" y="899"/>
                  </a:lnTo>
                  <a:lnTo>
                    <a:pt x="804" y="899"/>
                  </a:lnTo>
                  <a:lnTo>
                    <a:pt x="803" y="899"/>
                  </a:lnTo>
                  <a:lnTo>
                    <a:pt x="803" y="899"/>
                  </a:lnTo>
                  <a:lnTo>
                    <a:pt x="802" y="899"/>
                  </a:lnTo>
                  <a:lnTo>
                    <a:pt x="802" y="899"/>
                  </a:lnTo>
                  <a:lnTo>
                    <a:pt x="802" y="899"/>
                  </a:lnTo>
                  <a:lnTo>
                    <a:pt x="802" y="899"/>
                  </a:lnTo>
                  <a:lnTo>
                    <a:pt x="802" y="899"/>
                  </a:lnTo>
                  <a:lnTo>
                    <a:pt x="802" y="899"/>
                  </a:lnTo>
                  <a:lnTo>
                    <a:pt x="802" y="899"/>
                  </a:lnTo>
                  <a:lnTo>
                    <a:pt x="802"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1" y="899"/>
                  </a:lnTo>
                  <a:lnTo>
                    <a:pt x="800" y="899"/>
                  </a:lnTo>
                  <a:lnTo>
                    <a:pt x="800" y="899"/>
                  </a:lnTo>
                  <a:lnTo>
                    <a:pt x="800" y="899"/>
                  </a:lnTo>
                  <a:lnTo>
                    <a:pt x="800" y="899"/>
                  </a:lnTo>
                  <a:lnTo>
                    <a:pt x="800" y="899"/>
                  </a:lnTo>
                  <a:lnTo>
                    <a:pt x="800" y="1246"/>
                  </a:lnTo>
                  <a:lnTo>
                    <a:pt x="800" y="1246"/>
                  </a:lnTo>
                  <a:lnTo>
                    <a:pt x="800" y="1247"/>
                  </a:lnTo>
                  <a:lnTo>
                    <a:pt x="800" y="1247"/>
                  </a:lnTo>
                  <a:lnTo>
                    <a:pt x="800" y="1247"/>
                  </a:lnTo>
                  <a:lnTo>
                    <a:pt x="800" y="1247"/>
                  </a:lnTo>
                  <a:lnTo>
                    <a:pt x="800" y="1248"/>
                  </a:lnTo>
                  <a:lnTo>
                    <a:pt x="795" y="1248"/>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2" y="1248"/>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1252"/>
                  </a:lnTo>
                  <a:lnTo>
                    <a:pt x="777" y="1252"/>
                  </a:lnTo>
                  <a:lnTo>
                    <a:pt x="777" y="1252"/>
                  </a:lnTo>
                  <a:lnTo>
                    <a:pt x="777" y="1252"/>
                  </a:lnTo>
                  <a:lnTo>
                    <a:pt x="777" y="1252"/>
                  </a:lnTo>
                  <a:lnTo>
                    <a:pt x="777" y="1252"/>
                  </a:lnTo>
                  <a:lnTo>
                    <a:pt x="777" y="1253"/>
                  </a:lnTo>
                  <a:lnTo>
                    <a:pt x="768" y="1253"/>
                  </a:lnTo>
                  <a:lnTo>
                    <a:pt x="768" y="1253"/>
                  </a:lnTo>
                  <a:lnTo>
                    <a:pt x="768" y="1253"/>
                  </a:lnTo>
                  <a:lnTo>
                    <a:pt x="768" y="1256"/>
                  </a:lnTo>
                  <a:lnTo>
                    <a:pt x="768" y="1256"/>
                  </a:lnTo>
                  <a:lnTo>
                    <a:pt x="768" y="899"/>
                  </a:lnTo>
                  <a:lnTo>
                    <a:pt x="767" y="899"/>
                  </a:lnTo>
                  <a:lnTo>
                    <a:pt x="767" y="899"/>
                  </a:lnTo>
                  <a:lnTo>
                    <a:pt x="767" y="899"/>
                  </a:lnTo>
                  <a:lnTo>
                    <a:pt x="767" y="1257"/>
                  </a:lnTo>
                  <a:lnTo>
                    <a:pt x="767" y="1257"/>
                  </a:lnTo>
                  <a:lnTo>
                    <a:pt x="767" y="899"/>
                  </a:lnTo>
                  <a:lnTo>
                    <a:pt x="767" y="899"/>
                  </a:lnTo>
                  <a:lnTo>
                    <a:pt x="767" y="899"/>
                  </a:lnTo>
                  <a:lnTo>
                    <a:pt x="767" y="899"/>
                  </a:lnTo>
                  <a:lnTo>
                    <a:pt x="767" y="1257"/>
                  </a:lnTo>
                  <a:lnTo>
                    <a:pt x="767" y="1257"/>
                  </a:lnTo>
                  <a:lnTo>
                    <a:pt x="767" y="899"/>
                  </a:lnTo>
                  <a:lnTo>
                    <a:pt x="766" y="899"/>
                  </a:lnTo>
                  <a:lnTo>
                    <a:pt x="766" y="1257"/>
                  </a:lnTo>
                  <a:lnTo>
                    <a:pt x="766" y="1257"/>
                  </a:lnTo>
                  <a:lnTo>
                    <a:pt x="766" y="1257"/>
                  </a:lnTo>
                  <a:lnTo>
                    <a:pt x="766" y="1257"/>
                  </a:lnTo>
                  <a:lnTo>
                    <a:pt x="766" y="899"/>
                  </a:lnTo>
                  <a:lnTo>
                    <a:pt x="766" y="899"/>
                  </a:lnTo>
                  <a:lnTo>
                    <a:pt x="766" y="899"/>
                  </a:lnTo>
                  <a:lnTo>
                    <a:pt x="766" y="899"/>
                  </a:lnTo>
                  <a:lnTo>
                    <a:pt x="766" y="899"/>
                  </a:lnTo>
                  <a:lnTo>
                    <a:pt x="766" y="899"/>
                  </a:lnTo>
                  <a:lnTo>
                    <a:pt x="766" y="899"/>
                  </a:lnTo>
                  <a:lnTo>
                    <a:pt x="766" y="899"/>
                  </a:lnTo>
                  <a:lnTo>
                    <a:pt x="766" y="1258"/>
                  </a:lnTo>
                  <a:lnTo>
                    <a:pt x="766" y="1258"/>
                  </a:lnTo>
                  <a:lnTo>
                    <a:pt x="766" y="1258"/>
                  </a:lnTo>
                  <a:lnTo>
                    <a:pt x="766" y="1258"/>
                  </a:lnTo>
                  <a:lnTo>
                    <a:pt x="766" y="1258"/>
                  </a:lnTo>
                  <a:lnTo>
                    <a:pt x="766" y="1258"/>
                  </a:lnTo>
                  <a:lnTo>
                    <a:pt x="766" y="1258"/>
                  </a:lnTo>
                  <a:lnTo>
                    <a:pt x="766" y="1258"/>
                  </a:lnTo>
                  <a:lnTo>
                    <a:pt x="766" y="899"/>
                  </a:lnTo>
                  <a:lnTo>
                    <a:pt x="766" y="899"/>
                  </a:lnTo>
                  <a:lnTo>
                    <a:pt x="766" y="899"/>
                  </a:lnTo>
                  <a:lnTo>
                    <a:pt x="766" y="899"/>
                  </a:lnTo>
                  <a:lnTo>
                    <a:pt x="766" y="899"/>
                  </a:lnTo>
                  <a:lnTo>
                    <a:pt x="766" y="899"/>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1261"/>
                  </a:lnTo>
                  <a:lnTo>
                    <a:pt x="743" y="1261"/>
                  </a:lnTo>
                  <a:lnTo>
                    <a:pt x="743" y="1261"/>
                  </a:lnTo>
                  <a:lnTo>
                    <a:pt x="737" y="1261"/>
                  </a:lnTo>
                  <a:lnTo>
                    <a:pt x="737" y="1261"/>
                  </a:lnTo>
                  <a:lnTo>
                    <a:pt x="737" y="1261"/>
                  </a:lnTo>
                  <a:lnTo>
                    <a:pt x="737" y="1261"/>
                  </a:lnTo>
                  <a:lnTo>
                    <a:pt x="737" y="1261"/>
                  </a:lnTo>
                  <a:lnTo>
                    <a:pt x="737" y="1262"/>
                  </a:lnTo>
                  <a:lnTo>
                    <a:pt x="737" y="1262"/>
                  </a:lnTo>
                  <a:lnTo>
                    <a:pt x="737" y="1262"/>
                  </a:lnTo>
                  <a:lnTo>
                    <a:pt x="736" y="1262"/>
                  </a:lnTo>
                  <a:lnTo>
                    <a:pt x="736" y="1262"/>
                  </a:lnTo>
                  <a:lnTo>
                    <a:pt x="736" y="1262"/>
                  </a:lnTo>
                  <a:lnTo>
                    <a:pt x="736" y="1264"/>
                  </a:lnTo>
                  <a:lnTo>
                    <a:pt x="736" y="1264"/>
                  </a:lnTo>
                  <a:lnTo>
                    <a:pt x="736" y="1264"/>
                  </a:lnTo>
                  <a:lnTo>
                    <a:pt x="736" y="1264"/>
                  </a:lnTo>
                  <a:lnTo>
                    <a:pt x="736" y="1265"/>
                  </a:lnTo>
                  <a:lnTo>
                    <a:pt x="736" y="1265"/>
                  </a:lnTo>
                  <a:lnTo>
                    <a:pt x="736" y="1265"/>
                  </a:lnTo>
                  <a:lnTo>
                    <a:pt x="736" y="1265"/>
                  </a:lnTo>
                  <a:lnTo>
                    <a:pt x="736" y="1265"/>
                  </a:lnTo>
                  <a:lnTo>
                    <a:pt x="732" y="1265"/>
                  </a:lnTo>
                  <a:lnTo>
                    <a:pt x="732" y="1265"/>
                  </a:lnTo>
                  <a:lnTo>
                    <a:pt x="728" y="1265"/>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1270"/>
                  </a:lnTo>
                  <a:lnTo>
                    <a:pt x="680" y="1270"/>
                  </a:lnTo>
                  <a:lnTo>
                    <a:pt x="680" y="1270"/>
                  </a:lnTo>
                  <a:lnTo>
                    <a:pt x="680" y="1270"/>
                  </a:lnTo>
                  <a:lnTo>
                    <a:pt x="680" y="1270"/>
                  </a:lnTo>
                  <a:lnTo>
                    <a:pt x="680" y="1270"/>
                  </a:lnTo>
                  <a:lnTo>
                    <a:pt x="680" y="1271"/>
                  </a:lnTo>
                  <a:lnTo>
                    <a:pt x="680" y="1271"/>
                  </a:lnTo>
                  <a:lnTo>
                    <a:pt x="680" y="1271"/>
                  </a:lnTo>
                  <a:lnTo>
                    <a:pt x="680" y="1271"/>
                  </a:lnTo>
                  <a:lnTo>
                    <a:pt x="680" y="1271"/>
                  </a:lnTo>
                  <a:lnTo>
                    <a:pt x="679" y="1271"/>
                  </a:lnTo>
                  <a:lnTo>
                    <a:pt x="679" y="1273"/>
                  </a:lnTo>
                  <a:lnTo>
                    <a:pt x="677" y="1273"/>
                  </a:lnTo>
                  <a:lnTo>
                    <a:pt x="677" y="1273"/>
                  </a:lnTo>
                  <a:lnTo>
                    <a:pt x="677" y="1273"/>
                  </a:lnTo>
                  <a:lnTo>
                    <a:pt x="677" y="1274"/>
                  </a:lnTo>
                  <a:lnTo>
                    <a:pt x="677" y="1274"/>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1276"/>
                  </a:lnTo>
                  <a:lnTo>
                    <a:pt x="674" y="1276"/>
                  </a:lnTo>
                  <a:lnTo>
                    <a:pt x="674" y="1276"/>
                  </a:lnTo>
                  <a:lnTo>
                    <a:pt x="673" y="1276"/>
                  </a:lnTo>
                  <a:lnTo>
                    <a:pt x="673" y="1276"/>
                  </a:lnTo>
                  <a:lnTo>
                    <a:pt x="673" y="1276"/>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1280"/>
                  </a:lnTo>
                  <a:lnTo>
                    <a:pt x="649" y="1280"/>
                  </a:lnTo>
                  <a:lnTo>
                    <a:pt x="649" y="1280"/>
                  </a:lnTo>
                  <a:lnTo>
                    <a:pt x="649" y="1280"/>
                  </a:lnTo>
                  <a:lnTo>
                    <a:pt x="649" y="1281"/>
                  </a:lnTo>
                  <a:lnTo>
                    <a:pt x="629" y="1281"/>
                  </a:lnTo>
                  <a:lnTo>
                    <a:pt x="629" y="1281"/>
                  </a:lnTo>
                  <a:lnTo>
                    <a:pt x="616" y="1281"/>
                  </a:lnTo>
                  <a:lnTo>
                    <a:pt x="616" y="1281"/>
                  </a:lnTo>
                  <a:lnTo>
                    <a:pt x="612" y="1281"/>
                  </a:lnTo>
                  <a:lnTo>
                    <a:pt x="612" y="1281"/>
                  </a:lnTo>
                  <a:lnTo>
                    <a:pt x="610" y="1281"/>
                  </a:lnTo>
                  <a:lnTo>
                    <a:pt x="610" y="1281"/>
                  </a:lnTo>
                  <a:lnTo>
                    <a:pt x="608" y="1281"/>
                  </a:lnTo>
                  <a:lnTo>
                    <a:pt x="608" y="1281"/>
                  </a:lnTo>
                  <a:lnTo>
                    <a:pt x="607" y="1281"/>
                  </a:lnTo>
                  <a:lnTo>
                    <a:pt x="607" y="1281"/>
                  </a:lnTo>
                  <a:lnTo>
                    <a:pt x="607" y="1281"/>
                  </a:lnTo>
                  <a:lnTo>
                    <a:pt x="607" y="1281"/>
                  </a:lnTo>
                  <a:lnTo>
                    <a:pt x="607" y="1281"/>
                  </a:lnTo>
                  <a:lnTo>
                    <a:pt x="607" y="1281"/>
                  </a:lnTo>
                  <a:lnTo>
                    <a:pt x="607" y="1281"/>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3"/>
                  </a:lnTo>
                  <a:lnTo>
                    <a:pt x="605" y="1283"/>
                  </a:lnTo>
                  <a:lnTo>
                    <a:pt x="605" y="1284"/>
                  </a:lnTo>
                  <a:lnTo>
                    <a:pt x="605" y="1284"/>
                  </a:lnTo>
                  <a:lnTo>
                    <a:pt x="605" y="1284"/>
                  </a:lnTo>
                  <a:lnTo>
                    <a:pt x="605" y="1284"/>
                  </a:lnTo>
                  <a:lnTo>
                    <a:pt x="605" y="1285"/>
                  </a:lnTo>
                  <a:lnTo>
                    <a:pt x="602" y="1285"/>
                  </a:lnTo>
                  <a:lnTo>
                    <a:pt x="602" y="1285"/>
                  </a:lnTo>
                  <a:lnTo>
                    <a:pt x="600" y="1285"/>
                  </a:lnTo>
                  <a:lnTo>
                    <a:pt x="600"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7"/>
                  </a:lnTo>
                  <a:lnTo>
                    <a:pt x="598" y="1287"/>
                  </a:lnTo>
                  <a:lnTo>
                    <a:pt x="598" y="1287"/>
                  </a:lnTo>
                  <a:lnTo>
                    <a:pt x="597" y="1287"/>
                  </a:lnTo>
                  <a:lnTo>
                    <a:pt x="597" y="1288"/>
                  </a:lnTo>
                  <a:lnTo>
                    <a:pt x="596" y="1288"/>
                  </a:lnTo>
                  <a:lnTo>
                    <a:pt x="596" y="1288"/>
                  </a:lnTo>
                  <a:lnTo>
                    <a:pt x="595" y="1288"/>
                  </a:lnTo>
                  <a:lnTo>
                    <a:pt x="595" y="1289"/>
                  </a:lnTo>
                  <a:lnTo>
                    <a:pt x="595" y="1289"/>
                  </a:lnTo>
                  <a:lnTo>
                    <a:pt x="595" y="1289"/>
                  </a:lnTo>
                  <a:lnTo>
                    <a:pt x="594" y="1289"/>
                  </a:lnTo>
                  <a:lnTo>
                    <a:pt x="594" y="1290"/>
                  </a:lnTo>
                  <a:lnTo>
                    <a:pt x="592" y="1290"/>
                  </a:lnTo>
                  <a:lnTo>
                    <a:pt x="592" y="1290"/>
                  </a:lnTo>
                  <a:lnTo>
                    <a:pt x="591" y="1290"/>
                  </a:lnTo>
                  <a:lnTo>
                    <a:pt x="591" y="1290"/>
                  </a:lnTo>
                  <a:lnTo>
                    <a:pt x="590" y="1290"/>
                  </a:lnTo>
                  <a:lnTo>
                    <a:pt x="590" y="1290"/>
                  </a:lnTo>
                  <a:lnTo>
                    <a:pt x="589" y="1290"/>
                  </a:lnTo>
                  <a:lnTo>
                    <a:pt x="589" y="1290"/>
                  </a:lnTo>
                  <a:lnTo>
                    <a:pt x="588" y="1290"/>
                  </a:lnTo>
                  <a:lnTo>
                    <a:pt x="588" y="1290"/>
                  </a:lnTo>
                  <a:lnTo>
                    <a:pt x="588" y="1290"/>
                  </a:lnTo>
                  <a:lnTo>
                    <a:pt x="588" y="1290"/>
                  </a:lnTo>
                  <a:lnTo>
                    <a:pt x="587" y="1290"/>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1"/>
                  </a:lnTo>
                  <a:lnTo>
                    <a:pt x="582" y="1291"/>
                  </a:lnTo>
                  <a:lnTo>
                    <a:pt x="582" y="1291"/>
                  </a:lnTo>
                  <a:lnTo>
                    <a:pt x="582" y="1291"/>
                  </a:lnTo>
                  <a:lnTo>
                    <a:pt x="582" y="1292"/>
                  </a:lnTo>
                  <a:lnTo>
                    <a:pt x="582" y="1292"/>
                  </a:lnTo>
                  <a:lnTo>
                    <a:pt x="582" y="1292"/>
                  </a:lnTo>
                  <a:lnTo>
                    <a:pt x="582" y="1292"/>
                  </a:lnTo>
                  <a:lnTo>
                    <a:pt x="582" y="1292"/>
                  </a:lnTo>
                  <a:lnTo>
                    <a:pt x="581" y="1292"/>
                  </a:lnTo>
                  <a:lnTo>
                    <a:pt x="581" y="1292"/>
                  </a:lnTo>
                  <a:lnTo>
                    <a:pt x="580" y="1292"/>
                  </a:lnTo>
                  <a:lnTo>
                    <a:pt x="580" y="1292"/>
                  </a:lnTo>
                  <a:lnTo>
                    <a:pt x="579" y="1292"/>
                  </a:lnTo>
                  <a:lnTo>
                    <a:pt x="579" y="1292"/>
                  </a:lnTo>
                  <a:lnTo>
                    <a:pt x="576" y="1292"/>
                  </a:lnTo>
                  <a:lnTo>
                    <a:pt x="576" y="1292"/>
                  </a:lnTo>
                  <a:lnTo>
                    <a:pt x="574" y="1292"/>
                  </a:lnTo>
                  <a:lnTo>
                    <a:pt x="574"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3"/>
                  </a:lnTo>
                  <a:lnTo>
                    <a:pt x="554" y="1293"/>
                  </a:lnTo>
                  <a:lnTo>
                    <a:pt x="554" y="1293"/>
                  </a:lnTo>
                  <a:lnTo>
                    <a:pt x="554" y="1293"/>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1297"/>
                  </a:lnTo>
                  <a:lnTo>
                    <a:pt x="548" y="1297"/>
                  </a:lnTo>
                  <a:lnTo>
                    <a:pt x="548" y="1297"/>
                  </a:lnTo>
                  <a:lnTo>
                    <a:pt x="548" y="1297"/>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1299"/>
                  </a:lnTo>
                  <a:lnTo>
                    <a:pt x="529" y="1299"/>
                  </a:lnTo>
                  <a:lnTo>
                    <a:pt x="529" y="1299"/>
                  </a:lnTo>
                  <a:lnTo>
                    <a:pt x="529" y="1299"/>
                  </a:lnTo>
                  <a:lnTo>
                    <a:pt x="529" y="1300"/>
                  </a:lnTo>
                  <a:lnTo>
                    <a:pt x="528" y="1300"/>
                  </a:lnTo>
                  <a:lnTo>
                    <a:pt x="528" y="1300"/>
                  </a:lnTo>
                  <a:lnTo>
                    <a:pt x="527" y="1300"/>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899"/>
                  </a:lnTo>
                  <a:lnTo>
                    <a:pt x="527" y="899"/>
                  </a:lnTo>
                  <a:lnTo>
                    <a:pt x="527" y="899"/>
                  </a:lnTo>
                  <a:lnTo>
                    <a:pt x="527" y="899"/>
                  </a:lnTo>
                  <a:lnTo>
                    <a:pt x="527" y="899"/>
                  </a:lnTo>
                  <a:lnTo>
                    <a:pt x="527" y="899"/>
                  </a:lnTo>
                  <a:lnTo>
                    <a:pt x="527" y="1300"/>
                  </a:lnTo>
                  <a:lnTo>
                    <a:pt x="527" y="1300"/>
                  </a:lnTo>
                  <a:lnTo>
                    <a:pt x="527" y="1300"/>
                  </a:lnTo>
                  <a:lnTo>
                    <a:pt x="527" y="1300"/>
                  </a:lnTo>
                  <a:lnTo>
                    <a:pt x="527" y="899"/>
                  </a:lnTo>
                  <a:lnTo>
                    <a:pt x="527" y="899"/>
                  </a:lnTo>
                  <a:lnTo>
                    <a:pt x="527" y="1300"/>
                  </a:lnTo>
                  <a:lnTo>
                    <a:pt x="527" y="1300"/>
                  </a:lnTo>
                  <a:lnTo>
                    <a:pt x="527" y="1300"/>
                  </a:lnTo>
                  <a:lnTo>
                    <a:pt x="527" y="1300"/>
                  </a:lnTo>
                  <a:lnTo>
                    <a:pt x="527" y="1300"/>
                  </a:lnTo>
                  <a:lnTo>
                    <a:pt x="527" y="1300"/>
                  </a:lnTo>
                  <a:lnTo>
                    <a:pt x="527" y="899"/>
                  </a:lnTo>
                  <a:lnTo>
                    <a:pt x="527" y="899"/>
                  </a:lnTo>
                  <a:lnTo>
                    <a:pt x="527"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899"/>
                  </a:lnTo>
                  <a:lnTo>
                    <a:pt x="525" y="899"/>
                  </a:lnTo>
                  <a:lnTo>
                    <a:pt x="525" y="899"/>
                  </a:lnTo>
                  <a:lnTo>
                    <a:pt x="525" y="899"/>
                  </a:lnTo>
                  <a:lnTo>
                    <a:pt x="525" y="899"/>
                  </a:lnTo>
                  <a:lnTo>
                    <a:pt x="522" y="899"/>
                  </a:lnTo>
                  <a:lnTo>
                    <a:pt x="522" y="1306"/>
                  </a:lnTo>
                  <a:lnTo>
                    <a:pt x="521" y="1306"/>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899"/>
                  </a:lnTo>
                  <a:lnTo>
                    <a:pt x="519" y="899"/>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1312"/>
                  </a:lnTo>
                  <a:lnTo>
                    <a:pt x="510" y="1312"/>
                  </a:lnTo>
                  <a:lnTo>
                    <a:pt x="510" y="1314"/>
                  </a:lnTo>
                  <a:lnTo>
                    <a:pt x="510" y="1314"/>
                  </a:lnTo>
                  <a:lnTo>
                    <a:pt x="510" y="1314"/>
                  </a:lnTo>
                  <a:lnTo>
                    <a:pt x="510" y="1314"/>
                  </a:lnTo>
                  <a:lnTo>
                    <a:pt x="510" y="1314"/>
                  </a:lnTo>
                  <a:lnTo>
                    <a:pt x="477" y="1314"/>
                  </a:lnTo>
                  <a:lnTo>
                    <a:pt x="477" y="899"/>
                  </a:lnTo>
                  <a:lnTo>
                    <a:pt x="477" y="899"/>
                  </a:lnTo>
                  <a:lnTo>
                    <a:pt x="477" y="1315"/>
                  </a:lnTo>
                  <a:lnTo>
                    <a:pt x="477" y="1315"/>
                  </a:lnTo>
                  <a:lnTo>
                    <a:pt x="477" y="1315"/>
                  </a:lnTo>
                  <a:lnTo>
                    <a:pt x="475" y="1315"/>
                  </a:lnTo>
                  <a:lnTo>
                    <a:pt x="475" y="1316"/>
                  </a:lnTo>
                  <a:lnTo>
                    <a:pt x="474" y="1316"/>
                  </a:lnTo>
                  <a:lnTo>
                    <a:pt x="474" y="1317"/>
                  </a:lnTo>
                  <a:lnTo>
                    <a:pt x="472" y="1317"/>
                  </a:lnTo>
                  <a:lnTo>
                    <a:pt x="472" y="1317"/>
                  </a:lnTo>
                  <a:lnTo>
                    <a:pt x="472" y="1317"/>
                  </a:lnTo>
                  <a:lnTo>
                    <a:pt x="472" y="1317"/>
                  </a:lnTo>
                  <a:lnTo>
                    <a:pt x="471" y="1317"/>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1317"/>
                  </a:lnTo>
                  <a:lnTo>
                    <a:pt x="470" y="1317"/>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899"/>
                  </a:lnTo>
                  <a:lnTo>
                    <a:pt x="456"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9"/>
                  </a:lnTo>
                  <a:lnTo>
                    <a:pt x="430" y="1329"/>
                  </a:lnTo>
                  <a:lnTo>
                    <a:pt x="430" y="1330"/>
                  </a:lnTo>
                  <a:lnTo>
                    <a:pt x="430" y="1330"/>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2"/>
                  </a:lnTo>
                  <a:lnTo>
                    <a:pt x="400" y="1332"/>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1335"/>
                  </a:lnTo>
                  <a:lnTo>
                    <a:pt x="398" y="1335"/>
                  </a:lnTo>
                  <a:lnTo>
                    <a:pt x="398" y="1335"/>
                  </a:lnTo>
                  <a:lnTo>
                    <a:pt x="398" y="1335"/>
                  </a:lnTo>
                  <a:lnTo>
                    <a:pt x="398" y="1336"/>
                  </a:lnTo>
                  <a:lnTo>
                    <a:pt x="398" y="1336"/>
                  </a:lnTo>
                  <a:lnTo>
                    <a:pt x="398" y="1336"/>
                  </a:lnTo>
                  <a:lnTo>
                    <a:pt x="398" y="1336"/>
                  </a:lnTo>
                  <a:lnTo>
                    <a:pt x="398" y="1336"/>
                  </a:lnTo>
                  <a:lnTo>
                    <a:pt x="398" y="1336"/>
                  </a:lnTo>
                  <a:lnTo>
                    <a:pt x="398" y="1336"/>
                  </a:lnTo>
                  <a:lnTo>
                    <a:pt x="398" y="1336"/>
                  </a:lnTo>
                  <a:lnTo>
                    <a:pt x="398" y="1336"/>
                  </a:lnTo>
                  <a:lnTo>
                    <a:pt x="387" y="1336"/>
                  </a:lnTo>
                  <a:lnTo>
                    <a:pt x="387" y="1336"/>
                  </a:lnTo>
                  <a:lnTo>
                    <a:pt x="384" y="1336"/>
                  </a:lnTo>
                  <a:lnTo>
                    <a:pt x="384" y="1336"/>
                  </a:lnTo>
                  <a:lnTo>
                    <a:pt x="383" y="1336"/>
                  </a:lnTo>
                  <a:lnTo>
                    <a:pt x="383" y="1336"/>
                  </a:lnTo>
                  <a:lnTo>
                    <a:pt x="383" y="1336"/>
                  </a:lnTo>
                  <a:lnTo>
                    <a:pt x="383" y="1337"/>
                  </a:lnTo>
                  <a:lnTo>
                    <a:pt x="383" y="1337"/>
                  </a:lnTo>
                  <a:lnTo>
                    <a:pt x="383" y="1341"/>
                  </a:lnTo>
                  <a:lnTo>
                    <a:pt x="383" y="1341"/>
                  </a:lnTo>
                  <a:lnTo>
                    <a:pt x="383" y="1341"/>
                  </a:lnTo>
                  <a:lnTo>
                    <a:pt x="383" y="1341"/>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1348"/>
                  </a:lnTo>
                  <a:lnTo>
                    <a:pt x="382" y="1348"/>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60"/>
                  </a:lnTo>
                  <a:lnTo>
                    <a:pt x="342" y="1360"/>
                  </a:lnTo>
                  <a:lnTo>
                    <a:pt x="342" y="1360"/>
                  </a:lnTo>
                  <a:lnTo>
                    <a:pt x="342" y="1360"/>
                  </a:lnTo>
                  <a:lnTo>
                    <a:pt x="342" y="1360"/>
                  </a:lnTo>
                  <a:lnTo>
                    <a:pt x="342" y="1360"/>
                  </a:lnTo>
                  <a:lnTo>
                    <a:pt x="342" y="1362"/>
                  </a:lnTo>
                  <a:lnTo>
                    <a:pt x="342" y="1362"/>
                  </a:lnTo>
                  <a:lnTo>
                    <a:pt x="342" y="1362"/>
                  </a:lnTo>
                  <a:lnTo>
                    <a:pt x="342" y="1362"/>
                  </a:lnTo>
                  <a:lnTo>
                    <a:pt x="342" y="1362"/>
                  </a:lnTo>
                  <a:lnTo>
                    <a:pt x="342" y="1362"/>
                  </a:lnTo>
                  <a:lnTo>
                    <a:pt x="342" y="899"/>
                  </a:lnTo>
                  <a:lnTo>
                    <a:pt x="342" y="899"/>
                  </a:lnTo>
                  <a:lnTo>
                    <a:pt x="342" y="899"/>
                  </a:lnTo>
                  <a:lnTo>
                    <a:pt x="341" y="899"/>
                  </a:lnTo>
                  <a:lnTo>
                    <a:pt x="341" y="899"/>
                  </a:lnTo>
                  <a:lnTo>
                    <a:pt x="340" y="899"/>
                  </a:lnTo>
                  <a:lnTo>
                    <a:pt x="340" y="899"/>
                  </a:lnTo>
                  <a:lnTo>
                    <a:pt x="339" y="899"/>
                  </a:lnTo>
                  <a:lnTo>
                    <a:pt x="339" y="899"/>
                  </a:lnTo>
                  <a:lnTo>
                    <a:pt x="339" y="899"/>
                  </a:lnTo>
                  <a:lnTo>
                    <a:pt x="339" y="899"/>
                  </a:lnTo>
                  <a:lnTo>
                    <a:pt x="339" y="899"/>
                  </a:lnTo>
                  <a:lnTo>
                    <a:pt x="339" y="899"/>
                  </a:lnTo>
                  <a:lnTo>
                    <a:pt x="339" y="899"/>
                  </a:lnTo>
                  <a:lnTo>
                    <a:pt x="339" y="899"/>
                  </a:lnTo>
                  <a:lnTo>
                    <a:pt x="339" y="899"/>
                  </a:lnTo>
                  <a:lnTo>
                    <a:pt x="339" y="899"/>
                  </a:lnTo>
                  <a:lnTo>
                    <a:pt x="338" y="899"/>
                  </a:lnTo>
                  <a:lnTo>
                    <a:pt x="338" y="1363"/>
                  </a:lnTo>
                  <a:lnTo>
                    <a:pt x="338" y="1363"/>
                  </a:lnTo>
                  <a:lnTo>
                    <a:pt x="338" y="1363"/>
                  </a:lnTo>
                  <a:lnTo>
                    <a:pt x="338" y="1363"/>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8" y="899"/>
                  </a:lnTo>
                  <a:lnTo>
                    <a:pt x="337" y="899"/>
                  </a:lnTo>
                  <a:lnTo>
                    <a:pt x="337" y="899"/>
                  </a:lnTo>
                  <a:lnTo>
                    <a:pt x="337" y="899"/>
                  </a:lnTo>
                  <a:lnTo>
                    <a:pt x="337" y="899"/>
                  </a:lnTo>
                  <a:lnTo>
                    <a:pt x="337" y="899"/>
                  </a:lnTo>
                  <a:lnTo>
                    <a:pt x="337" y="899"/>
                  </a:lnTo>
                  <a:lnTo>
                    <a:pt x="337" y="899"/>
                  </a:lnTo>
                  <a:lnTo>
                    <a:pt x="337" y="899"/>
                  </a:lnTo>
                  <a:lnTo>
                    <a:pt x="336" y="899"/>
                  </a:lnTo>
                  <a:lnTo>
                    <a:pt x="336" y="899"/>
                  </a:lnTo>
                  <a:lnTo>
                    <a:pt x="336" y="899"/>
                  </a:lnTo>
                  <a:lnTo>
                    <a:pt x="336" y="899"/>
                  </a:lnTo>
                  <a:lnTo>
                    <a:pt x="336" y="899"/>
                  </a:lnTo>
                  <a:lnTo>
                    <a:pt x="336" y="899"/>
                  </a:lnTo>
                  <a:lnTo>
                    <a:pt x="336" y="899"/>
                  </a:lnTo>
                  <a:lnTo>
                    <a:pt x="336" y="899"/>
                  </a:lnTo>
                  <a:lnTo>
                    <a:pt x="336" y="899"/>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5"/>
                  </a:lnTo>
                  <a:lnTo>
                    <a:pt x="335" y="1365"/>
                  </a:lnTo>
                  <a:lnTo>
                    <a:pt x="335" y="1365"/>
                  </a:lnTo>
                  <a:lnTo>
                    <a:pt x="335" y="1365"/>
                  </a:lnTo>
                  <a:lnTo>
                    <a:pt x="335" y="1365"/>
                  </a:lnTo>
                  <a:lnTo>
                    <a:pt x="335" y="1365"/>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899"/>
                  </a:lnTo>
                  <a:lnTo>
                    <a:pt x="333" y="899"/>
                  </a:lnTo>
                  <a:lnTo>
                    <a:pt x="333" y="899"/>
                  </a:lnTo>
                  <a:lnTo>
                    <a:pt x="332" y="899"/>
                  </a:lnTo>
                  <a:lnTo>
                    <a:pt x="332" y="899"/>
                  </a:lnTo>
                  <a:lnTo>
                    <a:pt x="331" y="899"/>
                  </a:lnTo>
                  <a:lnTo>
                    <a:pt x="331" y="899"/>
                  </a:lnTo>
                  <a:lnTo>
                    <a:pt x="330" y="899"/>
                  </a:lnTo>
                  <a:lnTo>
                    <a:pt x="330" y="899"/>
                  </a:lnTo>
                  <a:lnTo>
                    <a:pt x="329" y="899"/>
                  </a:lnTo>
                  <a:lnTo>
                    <a:pt x="329"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899"/>
                  </a:lnTo>
                  <a:lnTo>
                    <a:pt x="328" y="1368"/>
                  </a:lnTo>
                  <a:lnTo>
                    <a:pt x="328" y="1368"/>
                  </a:lnTo>
                  <a:lnTo>
                    <a:pt x="328"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1374"/>
                  </a:lnTo>
                  <a:lnTo>
                    <a:pt x="309" y="1374"/>
                  </a:lnTo>
                  <a:lnTo>
                    <a:pt x="309" y="1378"/>
                  </a:lnTo>
                  <a:lnTo>
                    <a:pt x="309" y="1378"/>
                  </a:lnTo>
                  <a:lnTo>
                    <a:pt x="309" y="1380"/>
                  </a:lnTo>
                  <a:lnTo>
                    <a:pt x="309" y="1380"/>
                  </a:lnTo>
                  <a:lnTo>
                    <a:pt x="309" y="1380"/>
                  </a:lnTo>
                  <a:lnTo>
                    <a:pt x="309" y="1380"/>
                  </a:lnTo>
                  <a:lnTo>
                    <a:pt x="309" y="1380"/>
                  </a:lnTo>
                  <a:lnTo>
                    <a:pt x="309" y="1380"/>
                  </a:lnTo>
                  <a:lnTo>
                    <a:pt x="309" y="1383"/>
                  </a:lnTo>
                  <a:lnTo>
                    <a:pt x="308" y="1383"/>
                  </a:lnTo>
                  <a:lnTo>
                    <a:pt x="308" y="1383"/>
                  </a:lnTo>
                  <a:lnTo>
                    <a:pt x="307" y="1383"/>
                  </a:lnTo>
                  <a:lnTo>
                    <a:pt x="307" y="1383"/>
                  </a:lnTo>
                  <a:lnTo>
                    <a:pt x="307" y="1383"/>
                  </a:lnTo>
                  <a:lnTo>
                    <a:pt x="307" y="1385"/>
                  </a:lnTo>
                  <a:lnTo>
                    <a:pt x="301" y="1385"/>
                  </a:lnTo>
                  <a:lnTo>
                    <a:pt x="301" y="1385"/>
                  </a:lnTo>
                  <a:lnTo>
                    <a:pt x="299" y="1385"/>
                  </a:lnTo>
                  <a:lnTo>
                    <a:pt x="299" y="1385"/>
                  </a:lnTo>
                  <a:lnTo>
                    <a:pt x="297" y="1385"/>
                  </a:lnTo>
                  <a:lnTo>
                    <a:pt x="297" y="1385"/>
                  </a:lnTo>
                  <a:lnTo>
                    <a:pt x="296" y="1385"/>
                  </a:lnTo>
                  <a:lnTo>
                    <a:pt x="296" y="1386"/>
                  </a:lnTo>
                  <a:lnTo>
                    <a:pt x="296" y="1386"/>
                  </a:lnTo>
                  <a:lnTo>
                    <a:pt x="296" y="1386"/>
                  </a:lnTo>
                  <a:lnTo>
                    <a:pt x="296" y="1386"/>
                  </a:lnTo>
                  <a:lnTo>
                    <a:pt x="296" y="1386"/>
                  </a:lnTo>
                  <a:lnTo>
                    <a:pt x="296" y="1386"/>
                  </a:lnTo>
                  <a:lnTo>
                    <a:pt x="296" y="1386"/>
                  </a:lnTo>
                  <a:lnTo>
                    <a:pt x="296" y="1386"/>
                  </a:lnTo>
                  <a:lnTo>
                    <a:pt x="296" y="899"/>
                  </a:lnTo>
                  <a:lnTo>
                    <a:pt x="296" y="899"/>
                  </a:lnTo>
                  <a:lnTo>
                    <a:pt x="296"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899"/>
                  </a:lnTo>
                  <a:lnTo>
                    <a:pt x="295" y="1386"/>
                  </a:lnTo>
                  <a:lnTo>
                    <a:pt x="295" y="1386"/>
                  </a:lnTo>
                  <a:lnTo>
                    <a:pt x="295" y="1386"/>
                  </a:lnTo>
                  <a:lnTo>
                    <a:pt x="295" y="1386"/>
                  </a:lnTo>
                  <a:lnTo>
                    <a:pt x="295" y="1386"/>
                  </a:lnTo>
                  <a:lnTo>
                    <a:pt x="295" y="1386"/>
                  </a:lnTo>
                  <a:lnTo>
                    <a:pt x="295" y="899"/>
                  </a:lnTo>
                  <a:lnTo>
                    <a:pt x="295" y="899"/>
                  </a:lnTo>
                  <a:lnTo>
                    <a:pt x="295" y="899"/>
                  </a:lnTo>
                  <a:lnTo>
                    <a:pt x="290" y="899"/>
                  </a:lnTo>
                  <a:lnTo>
                    <a:pt x="290" y="899"/>
                  </a:lnTo>
                  <a:lnTo>
                    <a:pt x="289" y="899"/>
                  </a:lnTo>
                  <a:lnTo>
                    <a:pt x="289" y="899"/>
                  </a:lnTo>
                  <a:lnTo>
                    <a:pt x="288" y="899"/>
                  </a:lnTo>
                  <a:lnTo>
                    <a:pt x="288" y="899"/>
                  </a:lnTo>
                  <a:lnTo>
                    <a:pt x="288" y="899"/>
                  </a:lnTo>
                  <a:lnTo>
                    <a:pt x="288" y="1389"/>
                  </a:lnTo>
                  <a:lnTo>
                    <a:pt x="288" y="1389"/>
                  </a:lnTo>
                  <a:lnTo>
                    <a:pt x="288" y="1389"/>
                  </a:lnTo>
                  <a:lnTo>
                    <a:pt x="288" y="1389"/>
                  </a:lnTo>
                  <a:lnTo>
                    <a:pt x="288" y="899"/>
                  </a:lnTo>
                  <a:lnTo>
                    <a:pt x="288" y="899"/>
                  </a:lnTo>
                  <a:lnTo>
                    <a:pt x="288" y="1396"/>
                  </a:lnTo>
                  <a:lnTo>
                    <a:pt x="286" y="1396"/>
                  </a:lnTo>
                  <a:lnTo>
                    <a:pt x="286" y="899"/>
                  </a:lnTo>
                  <a:lnTo>
                    <a:pt x="280" y="899"/>
                  </a:lnTo>
                  <a:lnTo>
                    <a:pt x="280" y="899"/>
                  </a:lnTo>
                  <a:lnTo>
                    <a:pt x="274" y="899"/>
                  </a:lnTo>
                  <a:lnTo>
                    <a:pt x="274" y="899"/>
                  </a:lnTo>
                  <a:lnTo>
                    <a:pt x="268" y="899"/>
                  </a:lnTo>
                  <a:lnTo>
                    <a:pt x="268" y="899"/>
                  </a:lnTo>
                  <a:lnTo>
                    <a:pt x="266" y="899"/>
                  </a:lnTo>
                  <a:lnTo>
                    <a:pt x="266" y="899"/>
                  </a:lnTo>
                  <a:lnTo>
                    <a:pt x="266" y="899"/>
                  </a:lnTo>
                  <a:lnTo>
                    <a:pt x="266" y="899"/>
                  </a:lnTo>
                  <a:lnTo>
                    <a:pt x="266" y="899"/>
                  </a:lnTo>
                  <a:lnTo>
                    <a:pt x="266" y="1401"/>
                  </a:lnTo>
                  <a:lnTo>
                    <a:pt x="266" y="1401"/>
                  </a:lnTo>
                  <a:lnTo>
                    <a:pt x="266" y="1401"/>
                  </a:lnTo>
                  <a:lnTo>
                    <a:pt x="266" y="1401"/>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1405"/>
                  </a:lnTo>
                  <a:lnTo>
                    <a:pt x="247" y="1405"/>
                  </a:lnTo>
                  <a:lnTo>
                    <a:pt x="247" y="1406"/>
                  </a:lnTo>
                  <a:lnTo>
                    <a:pt x="243" y="1406"/>
                  </a:lnTo>
                  <a:lnTo>
                    <a:pt x="243" y="1406"/>
                  </a:lnTo>
                  <a:lnTo>
                    <a:pt x="241" y="1406"/>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1420"/>
                  </a:lnTo>
                  <a:lnTo>
                    <a:pt x="210" y="1420"/>
                  </a:lnTo>
                  <a:lnTo>
                    <a:pt x="210"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07" y="1420"/>
                  </a:lnTo>
                  <a:lnTo>
                    <a:pt x="207" y="1420"/>
                  </a:lnTo>
                  <a:lnTo>
                    <a:pt x="207" y="1420"/>
                  </a:lnTo>
                  <a:lnTo>
                    <a:pt x="207" y="1420"/>
                  </a:lnTo>
                  <a:lnTo>
                    <a:pt x="207" y="1420"/>
                  </a:lnTo>
                  <a:lnTo>
                    <a:pt x="207" y="1425"/>
                  </a:lnTo>
                  <a:lnTo>
                    <a:pt x="206" y="1425"/>
                  </a:lnTo>
                  <a:lnTo>
                    <a:pt x="206" y="1425"/>
                  </a:lnTo>
                  <a:lnTo>
                    <a:pt x="205" y="1425"/>
                  </a:lnTo>
                  <a:lnTo>
                    <a:pt x="205" y="1425"/>
                  </a:lnTo>
                  <a:lnTo>
                    <a:pt x="204" y="1425"/>
                  </a:lnTo>
                  <a:lnTo>
                    <a:pt x="204" y="1426"/>
                  </a:lnTo>
                  <a:lnTo>
                    <a:pt x="204" y="1426"/>
                  </a:lnTo>
                  <a:lnTo>
                    <a:pt x="204" y="1426"/>
                  </a:lnTo>
                  <a:lnTo>
                    <a:pt x="204" y="1426"/>
                  </a:lnTo>
                  <a:lnTo>
                    <a:pt x="204" y="1426"/>
                  </a:lnTo>
                  <a:lnTo>
                    <a:pt x="204" y="1426"/>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1439"/>
                  </a:lnTo>
                  <a:lnTo>
                    <a:pt x="152" y="1439"/>
                  </a:lnTo>
                  <a:lnTo>
                    <a:pt x="152" y="1439"/>
                  </a:lnTo>
                  <a:lnTo>
                    <a:pt x="152" y="1439"/>
                  </a:lnTo>
                  <a:lnTo>
                    <a:pt x="152" y="1439"/>
                  </a:lnTo>
                  <a:lnTo>
                    <a:pt x="151" y="1439"/>
                  </a:lnTo>
                  <a:lnTo>
                    <a:pt x="151" y="899"/>
                  </a:lnTo>
                  <a:lnTo>
                    <a:pt x="151" y="899"/>
                  </a:lnTo>
                  <a:lnTo>
                    <a:pt x="151" y="899"/>
                  </a:lnTo>
                  <a:lnTo>
                    <a:pt x="151" y="899"/>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3"/>
                  </a:lnTo>
                  <a:lnTo>
                    <a:pt x="151" y="1443"/>
                  </a:lnTo>
                  <a:lnTo>
                    <a:pt x="151" y="1443"/>
                  </a:lnTo>
                  <a:lnTo>
                    <a:pt x="151" y="1443"/>
                  </a:lnTo>
                  <a:lnTo>
                    <a:pt x="151" y="1443"/>
                  </a:lnTo>
                  <a:lnTo>
                    <a:pt x="151" y="1443"/>
                  </a:lnTo>
                  <a:lnTo>
                    <a:pt x="151" y="899"/>
                  </a:lnTo>
                  <a:lnTo>
                    <a:pt x="150" y="899"/>
                  </a:lnTo>
                  <a:lnTo>
                    <a:pt x="150" y="899"/>
                  </a:lnTo>
                  <a:lnTo>
                    <a:pt x="150" y="899"/>
                  </a:lnTo>
                  <a:lnTo>
                    <a:pt x="150" y="899"/>
                  </a:lnTo>
                  <a:lnTo>
                    <a:pt x="150" y="899"/>
                  </a:lnTo>
                  <a:lnTo>
                    <a:pt x="150" y="1444"/>
                  </a:lnTo>
                  <a:lnTo>
                    <a:pt x="150" y="1444"/>
                  </a:lnTo>
                  <a:lnTo>
                    <a:pt x="150" y="1444"/>
                  </a:lnTo>
                  <a:lnTo>
                    <a:pt x="150" y="1444"/>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899"/>
                  </a:lnTo>
                  <a:lnTo>
                    <a:pt x="148" y="899"/>
                  </a:lnTo>
                  <a:lnTo>
                    <a:pt x="148" y="899"/>
                  </a:lnTo>
                  <a:lnTo>
                    <a:pt x="148" y="899"/>
                  </a:lnTo>
                  <a:lnTo>
                    <a:pt x="148" y="1447"/>
                  </a:lnTo>
                  <a:lnTo>
                    <a:pt x="148" y="1447"/>
                  </a:lnTo>
                  <a:lnTo>
                    <a:pt x="148" y="1447"/>
                  </a:lnTo>
                  <a:lnTo>
                    <a:pt x="148" y="1447"/>
                  </a:lnTo>
                  <a:lnTo>
                    <a:pt x="148" y="899"/>
                  </a:lnTo>
                  <a:lnTo>
                    <a:pt x="148" y="899"/>
                  </a:lnTo>
                  <a:lnTo>
                    <a:pt x="148" y="1447"/>
                  </a:lnTo>
                  <a:lnTo>
                    <a:pt x="148" y="1447"/>
                  </a:lnTo>
                  <a:lnTo>
                    <a:pt x="148" y="1449"/>
                  </a:lnTo>
                  <a:lnTo>
                    <a:pt x="148" y="1449"/>
                  </a:lnTo>
                  <a:lnTo>
                    <a:pt x="148" y="899"/>
                  </a:lnTo>
                  <a:lnTo>
                    <a:pt x="148" y="899"/>
                  </a:lnTo>
                  <a:lnTo>
                    <a:pt x="148" y="899"/>
                  </a:lnTo>
                  <a:lnTo>
                    <a:pt x="148" y="899"/>
                  </a:lnTo>
                  <a:lnTo>
                    <a:pt x="148" y="1451"/>
                  </a:lnTo>
                  <a:lnTo>
                    <a:pt x="147" y="1451"/>
                  </a:lnTo>
                  <a:lnTo>
                    <a:pt x="147" y="899"/>
                  </a:lnTo>
                  <a:lnTo>
                    <a:pt x="147" y="899"/>
                  </a:lnTo>
                  <a:lnTo>
                    <a:pt x="147" y="899"/>
                  </a:lnTo>
                  <a:lnTo>
                    <a:pt x="147" y="899"/>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8"/>
                  </a:lnTo>
                  <a:lnTo>
                    <a:pt x="141" y="1458"/>
                  </a:lnTo>
                  <a:lnTo>
                    <a:pt x="141" y="1458"/>
                  </a:lnTo>
                  <a:lnTo>
                    <a:pt x="140" y="1458"/>
                  </a:lnTo>
                  <a:lnTo>
                    <a:pt x="140" y="1458"/>
                  </a:lnTo>
                  <a:lnTo>
                    <a:pt x="140" y="1458"/>
                  </a:lnTo>
                  <a:lnTo>
                    <a:pt x="140" y="1458"/>
                  </a:lnTo>
                  <a:lnTo>
                    <a:pt x="140" y="1458"/>
                  </a:lnTo>
                  <a:lnTo>
                    <a:pt x="140" y="1460"/>
                  </a:lnTo>
                  <a:lnTo>
                    <a:pt x="140" y="1460"/>
                  </a:lnTo>
                  <a:lnTo>
                    <a:pt x="140" y="1460"/>
                  </a:lnTo>
                  <a:lnTo>
                    <a:pt x="140" y="1460"/>
                  </a:lnTo>
                  <a:lnTo>
                    <a:pt x="140" y="1460"/>
                  </a:lnTo>
                  <a:lnTo>
                    <a:pt x="140" y="1460"/>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899"/>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899"/>
                  </a:lnTo>
                  <a:lnTo>
                    <a:pt x="139" y="899"/>
                  </a:lnTo>
                  <a:lnTo>
                    <a:pt x="139" y="1471"/>
                  </a:lnTo>
                  <a:lnTo>
                    <a:pt x="139" y="1471"/>
                  </a:lnTo>
                  <a:lnTo>
                    <a:pt x="139" y="899"/>
                  </a:lnTo>
                  <a:lnTo>
                    <a:pt x="139" y="899"/>
                  </a:lnTo>
                  <a:lnTo>
                    <a:pt x="139" y="1471"/>
                  </a:lnTo>
                  <a:lnTo>
                    <a:pt x="139" y="1471"/>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899"/>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3"/>
                  </a:lnTo>
                  <a:lnTo>
                    <a:pt x="137" y="1483"/>
                  </a:lnTo>
                  <a:lnTo>
                    <a:pt x="137" y="899"/>
                  </a:lnTo>
                  <a:lnTo>
                    <a:pt x="137" y="899"/>
                  </a:lnTo>
                  <a:lnTo>
                    <a:pt x="137"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899"/>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899"/>
                  </a:lnTo>
                  <a:lnTo>
                    <a:pt x="136" y="899"/>
                  </a:lnTo>
                  <a:lnTo>
                    <a:pt x="136" y="899"/>
                  </a:lnTo>
                  <a:lnTo>
                    <a:pt x="136" y="899"/>
                  </a:lnTo>
                  <a:lnTo>
                    <a:pt x="136" y="1492"/>
                  </a:lnTo>
                  <a:lnTo>
                    <a:pt x="136" y="1492"/>
                  </a:lnTo>
                  <a:lnTo>
                    <a:pt x="136" y="1492"/>
                  </a:lnTo>
                  <a:lnTo>
                    <a:pt x="135" y="1492"/>
                  </a:lnTo>
                  <a:lnTo>
                    <a:pt x="135" y="1492"/>
                  </a:lnTo>
                  <a:lnTo>
                    <a:pt x="135" y="1492"/>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899"/>
                  </a:lnTo>
                  <a:lnTo>
                    <a:pt x="123" y="899"/>
                  </a:lnTo>
                  <a:lnTo>
                    <a:pt x="123" y="899"/>
                  </a:lnTo>
                  <a:lnTo>
                    <a:pt x="123" y="899"/>
                  </a:lnTo>
                  <a:lnTo>
                    <a:pt x="123" y="899"/>
                  </a:lnTo>
                  <a:lnTo>
                    <a:pt x="123" y="899"/>
                  </a:lnTo>
                  <a:lnTo>
                    <a:pt x="123"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899"/>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19" y="1516"/>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9" y="899"/>
                  </a:lnTo>
                  <a:lnTo>
                    <a:pt x="117" y="899"/>
                  </a:lnTo>
                  <a:lnTo>
                    <a:pt x="117"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1530"/>
                  </a:lnTo>
                  <a:lnTo>
                    <a:pt x="115" y="1530"/>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1535"/>
                  </a:lnTo>
                  <a:lnTo>
                    <a:pt x="106" y="1535"/>
                  </a:lnTo>
                  <a:lnTo>
                    <a:pt x="106" y="1536"/>
                  </a:lnTo>
                  <a:lnTo>
                    <a:pt x="104" y="1536"/>
                  </a:lnTo>
                  <a:lnTo>
                    <a:pt x="104" y="1536"/>
                  </a:lnTo>
                  <a:lnTo>
                    <a:pt x="103" y="1536"/>
                  </a:lnTo>
                  <a:lnTo>
                    <a:pt x="103" y="1536"/>
                  </a:lnTo>
                  <a:lnTo>
                    <a:pt x="103" y="1536"/>
                  </a:lnTo>
                  <a:lnTo>
                    <a:pt x="103" y="899"/>
                  </a:lnTo>
                  <a:lnTo>
                    <a:pt x="103" y="899"/>
                  </a:lnTo>
                  <a:lnTo>
                    <a:pt x="103" y="899"/>
                  </a:lnTo>
                  <a:lnTo>
                    <a:pt x="103" y="899"/>
                  </a:lnTo>
                  <a:lnTo>
                    <a:pt x="103" y="1543"/>
                  </a:lnTo>
                  <a:lnTo>
                    <a:pt x="102" y="1543"/>
                  </a:lnTo>
                  <a:lnTo>
                    <a:pt x="102" y="1543"/>
                  </a:lnTo>
                  <a:lnTo>
                    <a:pt x="101" y="1543"/>
                  </a:lnTo>
                  <a:lnTo>
                    <a:pt x="101" y="1544"/>
                  </a:lnTo>
                  <a:lnTo>
                    <a:pt x="94" y="1544"/>
                  </a:lnTo>
                  <a:lnTo>
                    <a:pt x="94" y="1544"/>
                  </a:lnTo>
                  <a:lnTo>
                    <a:pt x="93" y="1544"/>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1571"/>
                  </a:lnTo>
                  <a:lnTo>
                    <a:pt x="86" y="1571"/>
                  </a:lnTo>
                  <a:lnTo>
                    <a:pt x="86" y="899"/>
                  </a:lnTo>
                  <a:lnTo>
                    <a:pt x="86" y="899"/>
                  </a:lnTo>
                  <a:lnTo>
                    <a:pt x="86" y="1579"/>
                  </a:lnTo>
                  <a:lnTo>
                    <a:pt x="86" y="1579"/>
                  </a:lnTo>
                  <a:lnTo>
                    <a:pt x="86" y="1579"/>
                  </a:lnTo>
                  <a:lnTo>
                    <a:pt x="85" y="1579"/>
                  </a:lnTo>
                  <a:lnTo>
                    <a:pt x="85" y="899"/>
                  </a:lnTo>
                  <a:lnTo>
                    <a:pt x="83" y="899"/>
                  </a:lnTo>
                  <a:lnTo>
                    <a:pt x="83" y="899"/>
                  </a:lnTo>
                  <a:lnTo>
                    <a:pt x="81" y="899"/>
                  </a:lnTo>
                  <a:lnTo>
                    <a:pt x="81" y="899"/>
                  </a:lnTo>
                  <a:lnTo>
                    <a:pt x="81" y="899"/>
                  </a:lnTo>
                  <a:lnTo>
                    <a:pt x="81" y="899"/>
                  </a:lnTo>
                  <a:lnTo>
                    <a:pt x="81" y="899"/>
                  </a:lnTo>
                  <a:lnTo>
                    <a:pt x="81" y="899"/>
                  </a:lnTo>
                  <a:lnTo>
                    <a:pt x="81" y="899"/>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899"/>
                  </a:lnTo>
                  <a:lnTo>
                    <a:pt x="69" y="899"/>
                  </a:lnTo>
                  <a:lnTo>
                    <a:pt x="69" y="899"/>
                  </a:lnTo>
                  <a:lnTo>
                    <a:pt x="68" y="899"/>
                  </a:lnTo>
                  <a:lnTo>
                    <a:pt x="68" y="899"/>
                  </a:lnTo>
                  <a:lnTo>
                    <a:pt x="68" y="899"/>
                  </a:lnTo>
                  <a:lnTo>
                    <a:pt x="68" y="899"/>
                  </a:lnTo>
                  <a:lnTo>
                    <a:pt x="67" y="899"/>
                  </a:lnTo>
                  <a:lnTo>
                    <a:pt x="67" y="899"/>
                  </a:lnTo>
                  <a:lnTo>
                    <a:pt x="67" y="899"/>
                  </a:lnTo>
                  <a:lnTo>
                    <a:pt x="67" y="899"/>
                  </a:lnTo>
                  <a:lnTo>
                    <a:pt x="67" y="899"/>
                  </a:lnTo>
                  <a:lnTo>
                    <a:pt x="67" y="899"/>
                  </a:lnTo>
                  <a:lnTo>
                    <a:pt x="67" y="899"/>
                  </a:lnTo>
                  <a:lnTo>
                    <a:pt x="67" y="899"/>
                  </a:lnTo>
                  <a:lnTo>
                    <a:pt x="67" y="899"/>
                  </a:lnTo>
                  <a:lnTo>
                    <a:pt x="67" y="899"/>
                  </a:lnTo>
                  <a:lnTo>
                    <a:pt x="66" y="899"/>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899"/>
                  </a:lnTo>
                  <a:lnTo>
                    <a:pt x="55" y="1644"/>
                  </a:lnTo>
                  <a:lnTo>
                    <a:pt x="50" y="1644"/>
                  </a:lnTo>
                  <a:lnTo>
                    <a:pt x="50" y="1644"/>
                  </a:lnTo>
                  <a:lnTo>
                    <a:pt x="47" y="1644"/>
                  </a:lnTo>
                  <a:lnTo>
                    <a:pt x="47" y="1644"/>
                  </a:lnTo>
                  <a:lnTo>
                    <a:pt x="46" y="1644"/>
                  </a:lnTo>
                  <a:lnTo>
                    <a:pt x="46" y="1644"/>
                  </a:lnTo>
                  <a:lnTo>
                    <a:pt x="46" y="1644"/>
                  </a:lnTo>
                  <a:lnTo>
                    <a:pt x="46" y="1644"/>
                  </a:lnTo>
                  <a:lnTo>
                    <a:pt x="46" y="1644"/>
                  </a:lnTo>
                  <a:lnTo>
                    <a:pt x="46" y="1644"/>
                  </a:lnTo>
                  <a:lnTo>
                    <a:pt x="46" y="1644"/>
                  </a:lnTo>
                  <a:lnTo>
                    <a:pt x="46" y="1646"/>
                  </a:lnTo>
                  <a:lnTo>
                    <a:pt x="46" y="1646"/>
                  </a:lnTo>
                  <a:lnTo>
                    <a:pt x="46" y="1647"/>
                  </a:lnTo>
                  <a:lnTo>
                    <a:pt x="45" y="1647"/>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5" y="899"/>
                  </a:lnTo>
                  <a:lnTo>
                    <a:pt x="44" y="899"/>
                  </a:lnTo>
                  <a:lnTo>
                    <a:pt x="44" y="899"/>
                  </a:lnTo>
                  <a:lnTo>
                    <a:pt x="44" y="899"/>
                  </a:lnTo>
                  <a:lnTo>
                    <a:pt x="44" y="899"/>
                  </a:lnTo>
                  <a:lnTo>
                    <a:pt x="44" y="899"/>
                  </a:lnTo>
                  <a:lnTo>
                    <a:pt x="44" y="1656"/>
                  </a:lnTo>
                  <a:lnTo>
                    <a:pt x="44" y="1656"/>
                  </a:lnTo>
                  <a:lnTo>
                    <a:pt x="44" y="1661"/>
                  </a:lnTo>
                  <a:lnTo>
                    <a:pt x="44" y="1661"/>
                  </a:lnTo>
                  <a:lnTo>
                    <a:pt x="44" y="1661"/>
                  </a:lnTo>
                  <a:lnTo>
                    <a:pt x="44" y="1661"/>
                  </a:lnTo>
                  <a:lnTo>
                    <a:pt x="44" y="899"/>
                  </a:lnTo>
                  <a:lnTo>
                    <a:pt x="44" y="899"/>
                  </a:lnTo>
                  <a:lnTo>
                    <a:pt x="44" y="1669"/>
                  </a:lnTo>
                  <a:lnTo>
                    <a:pt x="44" y="1669"/>
                  </a:lnTo>
                  <a:lnTo>
                    <a:pt x="44" y="1669"/>
                  </a:lnTo>
                  <a:lnTo>
                    <a:pt x="43" y="1669"/>
                  </a:lnTo>
                  <a:lnTo>
                    <a:pt x="43" y="899"/>
                  </a:lnTo>
                  <a:lnTo>
                    <a:pt x="43" y="899"/>
                  </a:lnTo>
                  <a:lnTo>
                    <a:pt x="43" y="899"/>
                  </a:lnTo>
                  <a:lnTo>
                    <a:pt x="43" y="899"/>
                  </a:lnTo>
                  <a:lnTo>
                    <a:pt x="43" y="1669"/>
                  </a:lnTo>
                  <a:lnTo>
                    <a:pt x="43" y="1669"/>
                  </a:lnTo>
                  <a:lnTo>
                    <a:pt x="43" y="899"/>
                  </a:lnTo>
                  <a:lnTo>
                    <a:pt x="43" y="899"/>
                  </a:lnTo>
                  <a:lnTo>
                    <a:pt x="43" y="1671"/>
                  </a:lnTo>
                  <a:lnTo>
                    <a:pt x="43" y="1671"/>
                  </a:lnTo>
                  <a:lnTo>
                    <a:pt x="43" y="1671"/>
                  </a:lnTo>
                  <a:lnTo>
                    <a:pt x="43" y="1671"/>
                  </a:lnTo>
                  <a:lnTo>
                    <a:pt x="43" y="1671"/>
                  </a:lnTo>
                  <a:lnTo>
                    <a:pt x="43" y="1671"/>
                  </a:lnTo>
                  <a:lnTo>
                    <a:pt x="43" y="1671"/>
                  </a:lnTo>
                  <a:lnTo>
                    <a:pt x="43" y="1671"/>
                  </a:lnTo>
                  <a:lnTo>
                    <a:pt x="43" y="1677"/>
                  </a:lnTo>
                  <a:lnTo>
                    <a:pt x="43" y="1677"/>
                  </a:lnTo>
                  <a:lnTo>
                    <a:pt x="43" y="1677"/>
                  </a:lnTo>
                  <a:lnTo>
                    <a:pt x="43" y="1677"/>
                  </a:lnTo>
                  <a:lnTo>
                    <a:pt x="43" y="1678"/>
                  </a:lnTo>
                  <a:lnTo>
                    <a:pt x="42" y="1678"/>
                  </a:lnTo>
                  <a:lnTo>
                    <a:pt x="42" y="1678"/>
                  </a:lnTo>
                  <a:lnTo>
                    <a:pt x="42" y="1678"/>
                  </a:lnTo>
                  <a:lnTo>
                    <a:pt x="42" y="1681"/>
                  </a:lnTo>
                  <a:lnTo>
                    <a:pt x="41" y="1681"/>
                  </a:lnTo>
                  <a:lnTo>
                    <a:pt x="41" y="1681"/>
                  </a:lnTo>
                  <a:lnTo>
                    <a:pt x="41" y="1681"/>
                  </a:lnTo>
                  <a:lnTo>
                    <a:pt x="41" y="1681"/>
                  </a:lnTo>
                  <a:lnTo>
                    <a:pt x="41" y="1681"/>
                  </a:lnTo>
                  <a:lnTo>
                    <a:pt x="41" y="1683"/>
                  </a:lnTo>
                  <a:lnTo>
                    <a:pt x="41" y="1683"/>
                  </a:lnTo>
                  <a:lnTo>
                    <a:pt x="41" y="1684"/>
                  </a:lnTo>
                  <a:lnTo>
                    <a:pt x="41" y="1684"/>
                  </a:lnTo>
                  <a:lnTo>
                    <a:pt x="41" y="1685"/>
                  </a:lnTo>
                  <a:lnTo>
                    <a:pt x="40" y="1685"/>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90"/>
                  </a:lnTo>
                  <a:lnTo>
                    <a:pt x="39" y="1690"/>
                  </a:lnTo>
                  <a:lnTo>
                    <a:pt x="39" y="1691"/>
                  </a:lnTo>
                  <a:lnTo>
                    <a:pt x="39" y="1691"/>
                  </a:lnTo>
                  <a:lnTo>
                    <a:pt x="39" y="1693"/>
                  </a:lnTo>
                  <a:lnTo>
                    <a:pt x="39" y="1693"/>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1701"/>
                  </a:lnTo>
                  <a:lnTo>
                    <a:pt x="38" y="1701"/>
                  </a:lnTo>
                  <a:lnTo>
                    <a:pt x="38" y="1705"/>
                  </a:lnTo>
                  <a:lnTo>
                    <a:pt x="38" y="1705"/>
                  </a:lnTo>
                  <a:lnTo>
                    <a:pt x="38" y="1707"/>
                  </a:lnTo>
                  <a:lnTo>
                    <a:pt x="37" y="1707"/>
                  </a:lnTo>
                  <a:lnTo>
                    <a:pt x="37" y="1708"/>
                  </a:lnTo>
                  <a:lnTo>
                    <a:pt x="37" y="1708"/>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13"/>
                  </a:lnTo>
                  <a:lnTo>
                    <a:pt x="35" y="1713"/>
                  </a:lnTo>
                  <a:lnTo>
                    <a:pt x="35" y="1714"/>
                  </a:lnTo>
                  <a:lnTo>
                    <a:pt x="34" y="1714"/>
                  </a:lnTo>
                  <a:lnTo>
                    <a:pt x="34" y="1714"/>
                  </a:lnTo>
                  <a:lnTo>
                    <a:pt x="34" y="1714"/>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899"/>
                  </a:lnTo>
                  <a:lnTo>
                    <a:pt x="30" y="899"/>
                  </a:lnTo>
                  <a:lnTo>
                    <a:pt x="30" y="899"/>
                  </a:lnTo>
                  <a:lnTo>
                    <a:pt x="30" y="899"/>
                  </a:lnTo>
                  <a:lnTo>
                    <a:pt x="30" y="899"/>
                  </a:lnTo>
                  <a:lnTo>
                    <a:pt x="30" y="899"/>
                  </a:lnTo>
                  <a:lnTo>
                    <a:pt x="30" y="1750"/>
                  </a:lnTo>
                  <a:lnTo>
                    <a:pt x="29" y="1750"/>
                  </a:lnTo>
                  <a:lnTo>
                    <a:pt x="29" y="1750"/>
                  </a:lnTo>
                  <a:lnTo>
                    <a:pt x="28" y="1750"/>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899"/>
                  </a:lnTo>
                  <a:lnTo>
                    <a:pt x="20" y="899"/>
                  </a:lnTo>
                  <a:lnTo>
                    <a:pt x="20" y="899"/>
                  </a:lnTo>
                  <a:lnTo>
                    <a:pt x="20" y="899"/>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1767"/>
                  </a:lnTo>
                  <a:lnTo>
                    <a:pt x="20" y="1767"/>
                  </a:lnTo>
                  <a:lnTo>
                    <a:pt x="20" y="1767"/>
                  </a:lnTo>
                  <a:lnTo>
                    <a:pt x="20" y="1767"/>
                  </a:lnTo>
                  <a:lnTo>
                    <a:pt x="20" y="1769"/>
                  </a:lnTo>
                  <a:lnTo>
                    <a:pt x="20" y="1769"/>
                  </a:lnTo>
                  <a:lnTo>
                    <a:pt x="20" y="1769"/>
                  </a:lnTo>
                  <a:lnTo>
                    <a:pt x="20" y="1769"/>
                  </a:lnTo>
                  <a:lnTo>
                    <a:pt x="20" y="1769"/>
                  </a:lnTo>
                  <a:lnTo>
                    <a:pt x="19" y="1769"/>
                  </a:lnTo>
                  <a:lnTo>
                    <a:pt x="19" y="1769"/>
                  </a:lnTo>
                  <a:lnTo>
                    <a:pt x="18" y="1769"/>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7"/>
                  </a:lnTo>
                  <a:lnTo>
                    <a:pt x="18" y="1777"/>
                  </a:lnTo>
                  <a:lnTo>
                    <a:pt x="18" y="1777"/>
                  </a:lnTo>
                  <a:lnTo>
                    <a:pt x="18" y="1777"/>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899"/>
                  </a:lnTo>
                  <a:lnTo>
                    <a:pt x="15" y="899"/>
                  </a:lnTo>
                  <a:lnTo>
                    <a:pt x="15" y="899"/>
                  </a:lnTo>
                  <a:lnTo>
                    <a:pt x="15" y="899"/>
                  </a:lnTo>
                  <a:lnTo>
                    <a:pt x="15" y="1785"/>
                  </a:lnTo>
                  <a:lnTo>
                    <a:pt x="12" y="1785"/>
                  </a:lnTo>
                  <a:lnTo>
                    <a:pt x="12" y="1785"/>
                  </a:lnTo>
                  <a:lnTo>
                    <a:pt x="11" y="1785"/>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9"/>
                  </a:lnTo>
                  <a:lnTo>
                    <a:pt x="10" y="1789"/>
                  </a:lnTo>
                  <a:lnTo>
                    <a:pt x="10" y="1789"/>
                  </a:lnTo>
                  <a:lnTo>
                    <a:pt x="10" y="178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899"/>
                  </a:lnTo>
                  <a:lnTo>
                    <a:pt x="5" y="899"/>
                  </a:lnTo>
                  <a:lnTo>
                    <a:pt x="5" y="899"/>
                  </a:lnTo>
                  <a:lnTo>
                    <a:pt x="5" y="899"/>
                  </a:lnTo>
                  <a:lnTo>
                    <a:pt x="5"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3" y="899"/>
                  </a:lnTo>
                  <a:lnTo>
                    <a:pt x="3" y="899"/>
                  </a:lnTo>
                  <a:lnTo>
                    <a:pt x="3" y="899"/>
                  </a:lnTo>
                  <a:lnTo>
                    <a:pt x="3" y="899"/>
                  </a:lnTo>
                  <a:lnTo>
                    <a:pt x="3" y="899"/>
                  </a:lnTo>
                  <a:lnTo>
                    <a:pt x="3" y="1800"/>
                  </a:lnTo>
                  <a:lnTo>
                    <a:pt x="3" y="1800"/>
                  </a:lnTo>
                  <a:lnTo>
                    <a:pt x="3" y="899"/>
                  </a:lnTo>
                  <a:lnTo>
                    <a:pt x="3" y="899"/>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1"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1800"/>
                  </a:lnTo>
                  <a:lnTo>
                    <a:pt x="0" y="1800"/>
                  </a:lnTo>
                  <a:lnTo>
                    <a:pt x="0" y="1800"/>
                  </a:lnTo>
                  <a:lnTo>
                    <a:pt x="0" y="1800"/>
                  </a:lnTo>
                  <a:lnTo>
                    <a:pt x="0" y="899"/>
                  </a:lnTo>
                  <a:lnTo>
                    <a:pt x="0" y="899"/>
                  </a:lnTo>
                  <a:lnTo>
                    <a:pt x="0" y="1800"/>
                  </a:lnTo>
                  <a:lnTo>
                    <a:pt x="0" y="1800"/>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lnTo>
                    <a:pt x="0" y="899"/>
                  </a:lnTo>
                  <a:close/>
                </a:path>
              </a:pathLst>
            </a:custGeom>
            <a:solidFill>
              <a:srgbClr val="CFB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76">
              <a:extLst>
                <a:ext uri="{FF2B5EF4-FFF2-40B4-BE49-F238E27FC236}">
                  <a16:creationId xmlns:a16="http://schemas.microsoft.com/office/drawing/2014/main" id="{0BEE0595-977D-430A-A068-CCE1FE2CD0DE}"/>
                </a:ext>
              </a:extLst>
            </p:cNvPr>
            <p:cNvSpPr>
              <a:spLocks/>
            </p:cNvSpPr>
            <p:nvPr/>
          </p:nvSpPr>
          <p:spPr bwMode="auto">
            <a:xfrm>
              <a:off x="1077913" y="1011238"/>
              <a:ext cx="5370513" cy="2857500"/>
            </a:xfrm>
            <a:custGeom>
              <a:avLst/>
              <a:gdLst>
                <a:gd name="T0" fmla="*/ 20 w 3383"/>
                <a:gd name="T1" fmla="*/ 1769 h 1800"/>
                <a:gd name="T2" fmla="*/ 44 w 3383"/>
                <a:gd name="T3" fmla="*/ 899 h 1800"/>
                <a:gd name="T4" fmla="*/ 116 w 3383"/>
                <a:gd name="T5" fmla="*/ 899 h 1800"/>
                <a:gd name="T6" fmla="*/ 136 w 3383"/>
                <a:gd name="T7" fmla="*/ 1486 h 1800"/>
                <a:gd name="T8" fmla="*/ 160 w 3383"/>
                <a:gd name="T9" fmla="*/ 1431 h 1800"/>
                <a:gd name="T10" fmla="*/ 309 w 3383"/>
                <a:gd name="T11" fmla="*/ 1380 h 1800"/>
                <a:gd name="T12" fmla="*/ 345 w 3383"/>
                <a:gd name="T13" fmla="*/ 899 h 1800"/>
                <a:gd name="T14" fmla="*/ 456 w 3383"/>
                <a:gd name="T15" fmla="*/ 1322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1131 h 1800"/>
                <a:gd name="T28" fmla="*/ 1337 w 3383"/>
                <a:gd name="T29" fmla="*/ 1106 h 1800"/>
                <a:gd name="T30" fmla="*/ 1390 w 3383"/>
                <a:gd name="T31" fmla="*/ 1061 h 1800"/>
                <a:gd name="T32" fmla="*/ 1484 w 3383"/>
                <a:gd name="T33" fmla="*/ 1021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20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598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77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960 h 1800"/>
                <a:gd name="T92" fmla="*/ 1482 w 3383"/>
                <a:gd name="T93" fmla="*/ 1026 h 1800"/>
                <a:gd name="T94" fmla="*/ 1388 w 3383"/>
                <a:gd name="T95" fmla="*/ 1063 h 1800"/>
                <a:gd name="T96" fmla="*/ 1337 w 3383"/>
                <a:gd name="T97" fmla="*/ 1106 h 1800"/>
                <a:gd name="T98" fmla="*/ 1223 w 3383"/>
                <a:gd name="T99" fmla="*/ 899 h 1800"/>
                <a:gd name="T100" fmla="*/ 1002 w 3383"/>
                <a:gd name="T101" fmla="*/ 1169 h 1800"/>
                <a:gd name="T102" fmla="*/ 912 w 3383"/>
                <a:gd name="T103" fmla="*/ 1204 h 1800"/>
                <a:gd name="T104" fmla="*/ 835 w 3383"/>
                <a:gd name="T105" fmla="*/ 899 h 1800"/>
                <a:gd name="T106" fmla="*/ 732 w 3383"/>
                <a:gd name="T107" fmla="*/ 1265 h 1800"/>
                <a:gd name="T108" fmla="*/ 548 w 3383"/>
                <a:gd name="T109" fmla="*/ 1294 h 1800"/>
                <a:gd name="T110" fmla="*/ 453 w 3383"/>
                <a:gd name="T111" fmla="*/ 1324 h 1800"/>
                <a:gd name="T112" fmla="*/ 344 w 3383"/>
                <a:gd name="T113" fmla="*/ 899 h 1800"/>
                <a:gd name="T114" fmla="*/ 301 w 3383"/>
                <a:gd name="T115" fmla="*/ 1385 h 1800"/>
                <a:gd name="T116" fmla="*/ 151 w 3383"/>
                <a:gd name="T117" fmla="*/ 899 h 1800"/>
                <a:gd name="T118" fmla="*/ 136 w 3383"/>
                <a:gd name="T119" fmla="*/ 1486 h 1800"/>
                <a:gd name="T120" fmla="*/ 107 w 3383"/>
                <a:gd name="T121" fmla="*/ 1532 h 1800"/>
                <a:gd name="T122" fmla="*/ 43 w 3383"/>
                <a:gd name="T123" fmla="*/ 1669 h 1800"/>
                <a:gd name="T124" fmla="*/ 18 w 3383"/>
                <a:gd name="T125" fmla="*/ 899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899"/>
                  </a:moveTo>
                  <a:lnTo>
                    <a:pt x="0" y="899"/>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4" y="899"/>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7"/>
                  </a:lnTo>
                  <a:lnTo>
                    <a:pt x="11" y="1787"/>
                  </a:lnTo>
                  <a:lnTo>
                    <a:pt x="11" y="1785"/>
                  </a:lnTo>
                  <a:lnTo>
                    <a:pt x="12" y="1785"/>
                  </a:lnTo>
                  <a:lnTo>
                    <a:pt x="12" y="1785"/>
                  </a:lnTo>
                  <a:lnTo>
                    <a:pt x="15" y="1785"/>
                  </a:lnTo>
                  <a:lnTo>
                    <a:pt x="15" y="1784"/>
                  </a:lnTo>
                  <a:lnTo>
                    <a:pt x="15" y="1784"/>
                  </a:lnTo>
                  <a:lnTo>
                    <a:pt x="15" y="1784"/>
                  </a:lnTo>
                  <a:lnTo>
                    <a:pt x="15" y="1784"/>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4"/>
                  </a:lnTo>
                  <a:lnTo>
                    <a:pt x="18" y="1774"/>
                  </a:lnTo>
                  <a:lnTo>
                    <a:pt x="18" y="1774"/>
                  </a:lnTo>
                  <a:lnTo>
                    <a:pt x="18" y="1774"/>
                  </a:lnTo>
                  <a:lnTo>
                    <a:pt x="18" y="1774"/>
                  </a:lnTo>
                  <a:lnTo>
                    <a:pt x="18" y="1774"/>
                  </a:lnTo>
                  <a:lnTo>
                    <a:pt x="18" y="1774"/>
                  </a:lnTo>
                  <a:lnTo>
                    <a:pt x="18" y="1774"/>
                  </a:lnTo>
                  <a:lnTo>
                    <a:pt x="18" y="1771"/>
                  </a:lnTo>
                  <a:lnTo>
                    <a:pt x="18" y="1771"/>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1763"/>
                  </a:lnTo>
                  <a:lnTo>
                    <a:pt x="20" y="1763"/>
                  </a:lnTo>
                  <a:lnTo>
                    <a:pt x="20" y="1763"/>
                  </a:lnTo>
                  <a:lnTo>
                    <a:pt x="21" y="1763"/>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1748"/>
                  </a:lnTo>
                  <a:lnTo>
                    <a:pt x="30" y="1748"/>
                  </a:lnTo>
                  <a:lnTo>
                    <a:pt x="30" y="1748"/>
                  </a:lnTo>
                  <a:lnTo>
                    <a:pt x="30" y="1748"/>
                  </a:lnTo>
                  <a:lnTo>
                    <a:pt x="30" y="1748"/>
                  </a:lnTo>
                  <a:lnTo>
                    <a:pt x="30" y="1748"/>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899"/>
                  </a:lnTo>
                  <a:lnTo>
                    <a:pt x="34" y="899"/>
                  </a:lnTo>
                  <a:lnTo>
                    <a:pt x="34" y="899"/>
                  </a:lnTo>
                  <a:lnTo>
                    <a:pt x="34" y="899"/>
                  </a:lnTo>
                  <a:lnTo>
                    <a:pt x="34" y="899"/>
                  </a:lnTo>
                  <a:lnTo>
                    <a:pt x="34" y="899"/>
                  </a:lnTo>
                  <a:lnTo>
                    <a:pt x="34" y="899"/>
                  </a:lnTo>
                  <a:lnTo>
                    <a:pt x="34" y="899"/>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899"/>
                  </a:lnTo>
                  <a:lnTo>
                    <a:pt x="38" y="899"/>
                  </a:lnTo>
                  <a:lnTo>
                    <a:pt x="38" y="899"/>
                  </a:lnTo>
                  <a:lnTo>
                    <a:pt x="39" y="899"/>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899"/>
                  </a:lnTo>
                  <a:lnTo>
                    <a:pt x="39" y="899"/>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899"/>
                  </a:lnTo>
                  <a:lnTo>
                    <a:pt x="40" y="899"/>
                  </a:lnTo>
                  <a:lnTo>
                    <a:pt x="40" y="899"/>
                  </a:lnTo>
                  <a:lnTo>
                    <a:pt x="40" y="899"/>
                  </a:lnTo>
                  <a:lnTo>
                    <a:pt x="40" y="899"/>
                  </a:lnTo>
                  <a:lnTo>
                    <a:pt x="40" y="899"/>
                  </a:lnTo>
                  <a:lnTo>
                    <a:pt x="40" y="1685"/>
                  </a:lnTo>
                  <a:lnTo>
                    <a:pt x="40" y="1685"/>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1669"/>
                  </a:lnTo>
                  <a:lnTo>
                    <a:pt x="43" y="1669"/>
                  </a:lnTo>
                  <a:lnTo>
                    <a:pt x="43" y="1669"/>
                  </a:lnTo>
                  <a:lnTo>
                    <a:pt x="43" y="1669"/>
                  </a:lnTo>
                  <a:lnTo>
                    <a:pt x="43" y="1669"/>
                  </a:lnTo>
                  <a:lnTo>
                    <a:pt x="43" y="1669"/>
                  </a:lnTo>
                  <a:lnTo>
                    <a:pt x="43" y="1669"/>
                  </a:lnTo>
                  <a:lnTo>
                    <a:pt x="43" y="1669"/>
                  </a:lnTo>
                  <a:lnTo>
                    <a:pt x="43" y="1669"/>
                  </a:lnTo>
                  <a:lnTo>
                    <a:pt x="44" y="1669"/>
                  </a:lnTo>
                  <a:lnTo>
                    <a:pt x="44" y="1669"/>
                  </a:lnTo>
                  <a:lnTo>
                    <a:pt x="44" y="1669"/>
                  </a:lnTo>
                  <a:lnTo>
                    <a:pt x="44" y="899"/>
                  </a:lnTo>
                  <a:lnTo>
                    <a:pt x="44" y="899"/>
                  </a:lnTo>
                  <a:lnTo>
                    <a:pt x="44" y="1661"/>
                  </a:lnTo>
                  <a:lnTo>
                    <a:pt x="44" y="1661"/>
                  </a:lnTo>
                  <a:lnTo>
                    <a:pt x="44" y="1661"/>
                  </a:lnTo>
                  <a:lnTo>
                    <a:pt x="44" y="1661"/>
                  </a:lnTo>
                  <a:lnTo>
                    <a:pt x="44" y="1656"/>
                  </a:lnTo>
                  <a:lnTo>
                    <a:pt x="44" y="1656"/>
                  </a:lnTo>
                  <a:lnTo>
                    <a:pt x="44" y="1650"/>
                  </a:lnTo>
                  <a:lnTo>
                    <a:pt x="44" y="1650"/>
                  </a:lnTo>
                  <a:lnTo>
                    <a:pt x="44" y="1650"/>
                  </a:lnTo>
                  <a:lnTo>
                    <a:pt x="44" y="1650"/>
                  </a:lnTo>
                  <a:lnTo>
                    <a:pt x="44" y="1650"/>
                  </a:lnTo>
                  <a:lnTo>
                    <a:pt x="45" y="1650"/>
                  </a:lnTo>
                  <a:lnTo>
                    <a:pt x="45" y="1649"/>
                  </a:lnTo>
                  <a:lnTo>
                    <a:pt x="45" y="1649"/>
                  </a:lnTo>
                  <a:lnTo>
                    <a:pt x="45" y="1649"/>
                  </a:lnTo>
                  <a:lnTo>
                    <a:pt x="45" y="1649"/>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1640"/>
                  </a:lnTo>
                  <a:lnTo>
                    <a:pt x="55" y="1640"/>
                  </a:lnTo>
                  <a:lnTo>
                    <a:pt x="55" y="1640"/>
                  </a:lnTo>
                  <a:lnTo>
                    <a:pt x="55" y="1640"/>
                  </a:lnTo>
                  <a:lnTo>
                    <a:pt x="55" y="1640"/>
                  </a:lnTo>
                  <a:lnTo>
                    <a:pt x="55" y="1640"/>
                  </a:lnTo>
                  <a:lnTo>
                    <a:pt x="55" y="1640"/>
                  </a:lnTo>
                  <a:lnTo>
                    <a:pt x="55" y="1640"/>
                  </a:lnTo>
                  <a:lnTo>
                    <a:pt x="55" y="1639"/>
                  </a:lnTo>
                  <a:lnTo>
                    <a:pt x="55" y="1639"/>
                  </a:lnTo>
                  <a:lnTo>
                    <a:pt x="55" y="1639"/>
                  </a:lnTo>
                  <a:lnTo>
                    <a:pt x="55" y="163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1605"/>
                  </a:lnTo>
                  <a:lnTo>
                    <a:pt x="67" y="1605"/>
                  </a:lnTo>
                  <a:lnTo>
                    <a:pt x="67" y="1605"/>
                  </a:lnTo>
                  <a:lnTo>
                    <a:pt x="67" y="1605"/>
                  </a:lnTo>
                  <a:lnTo>
                    <a:pt x="67" y="1605"/>
                  </a:lnTo>
                  <a:lnTo>
                    <a:pt x="67" y="1605"/>
                  </a:lnTo>
                  <a:lnTo>
                    <a:pt x="67" y="1605"/>
                  </a:lnTo>
                  <a:lnTo>
                    <a:pt x="67" y="1605"/>
                  </a:lnTo>
                  <a:lnTo>
                    <a:pt x="67" y="1598"/>
                  </a:lnTo>
                  <a:lnTo>
                    <a:pt x="67" y="1598"/>
                  </a:lnTo>
                  <a:lnTo>
                    <a:pt x="67" y="1598"/>
                  </a:lnTo>
                  <a:lnTo>
                    <a:pt x="68" y="1598"/>
                  </a:lnTo>
                  <a:lnTo>
                    <a:pt x="68" y="1598"/>
                  </a:lnTo>
                  <a:lnTo>
                    <a:pt x="68" y="1598"/>
                  </a:lnTo>
                  <a:lnTo>
                    <a:pt x="68" y="899"/>
                  </a:lnTo>
                  <a:lnTo>
                    <a:pt x="69" y="899"/>
                  </a:lnTo>
                  <a:lnTo>
                    <a:pt x="69" y="899"/>
                  </a:lnTo>
                  <a:lnTo>
                    <a:pt x="70" y="899"/>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1580"/>
                  </a:lnTo>
                  <a:lnTo>
                    <a:pt x="81" y="1580"/>
                  </a:lnTo>
                  <a:lnTo>
                    <a:pt x="81" y="1580"/>
                  </a:lnTo>
                  <a:lnTo>
                    <a:pt x="81" y="1580"/>
                  </a:lnTo>
                  <a:lnTo>
                    <a:pt x="81" y="1580"/>
                  </a:lnTo>
                  <a:lnTo>
                    <a:pt x="81" y="1580"/>
                  </a:lnTo>
                  <a:lnTo>
                    <a:pt x="81" y="1580"/>
                  </a:lnTo>
                  <a:lnTo>
                    <a:pt x="83" y="1580"/>
                  </a:lnTo>
                  <a:lnTo>
                    <a:pt x="83" y="1580"/>
                  </a:lnTo>
                  <a:lnTo>
                    <a:pt x="85" y="1580"/>
                  </a:lnTo>
                  <a:lnTo>
                    <a:pt x="85" y="1579"/>
                  </a:lnTo>
                  <a:lnTo>
                    <a:pt x="86" y="1579"/>
                  </a:lnTo>
                  <a:lnTo>
                    <a:pt x="86" y="1579"/>
                  </a:lnTo>
                  <a:lnTo>
                    <a:pt x="86" y="1579"/>
                  </a:lnTo>
                  <a:lnTo>
                    <a:pt x="86" y="899"/>
                  </a:lnTo>
                  <a:lnTo>
                    <a:pt x="86" y="899"/>
                  </a:lnTo>
                  <a:lnTo>
                    <a:pt x="86" y="1571"/>
                  </a:lnTo>
                  <a:lnTo>
                    <a:pt x="86" y="1571"/>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899"/>
                  </a:lnTo>
                  <a:lnTo>
                    <a:pt x="87" y="899"/>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899"/>
                  </a:lnTo>
                  <a:lnTo>
                    <a:pt x="88" y="899"/>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1537"/>
                  </a:lnTo>
                  <a:lnTo>
                    <a:pt x="103" y="1537"/>
                  </a:lnTo>
                  <a:lnTo>
                    <a:pt x="103" y="1537"/>
                  </a:lnTo>
                  <a:lnTo>
                    <a:pt x="103" y="1537"/>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1530"/>
                  </a:lnTo>
                  <a:lnTo>
                    <a:pt x="116" y="1530"/>
                  </a:lnTo>
                  <a:lnTo>
                    <a:pt x="116" y="899"/>
                  </a:lnTo>
                  <a:lnTo>
                    <a:pt x="116" y="899"/>
                  </a:lnTo>
                  <a:lnTo>
                    <a:pt x="116" y="899"/>
                  </a:lnTo>
                  <a:lnTo>
                    <a:pt x="116" y="899"/>
                  </a:lnTo>
                  <a:lnTo>
                    <a:pt x="116" y="1529"/>
                  </a:lnTo>
                  <a:lnTo>
                    <a:pt x="116" y="1529"/>
                  </a:lnTo>
                  <a:lnTo>
                    <a:pt x="116" y="1529"/>
                  </a:lnTo>
                  <a:lnTo>
                    <a:pt x="116" y="152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17"/>
                  </a:lnTo>
                  <a:lnTo>
                    <a:pt x="116" y="1517"/>
                  </a:lnTo>
                  <a:lnTo>
                    <a:pt x="116" y="899"/>
                  </a:lnTo>
                  <a:lnTo>
                    <a:pt x="116" y="899"/>
                  </a:lnTo>
                  <a:lnTo>
                    <a:pt x="116" y="899"/>
                  </a:lnTo>
                  <a:lnTo>
                    <a:pt x="116" y="899"/>
                  </a:lnTo>
                  <a:lnTo>
                    <a:pt x="116" y="1517"/>
                  </a:lnTo>
                  <a:lnTo>
                    <a:pt x="117" y="1517"/>
                  </a:lnTo>
                  <a:lnTo>
                    <a:pt x="117"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21" y="1516"/>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899"/>
                  </a:lnTo>
                  <a:lnTo>
                    <a:pt x="121" y="899"/>
                  </a:lnTo>
                  <a:lnTo>
                    <a:pt x="121" y="899"/>
                  </a:lnTo>
                  <a:lnTo>
                    <a:pt x="121" y="899"/>
                  </a:lnTo>
                  <a:lnTo>
                    <a:pt x="121" y="1514"/>
                  </a:lnTo>
                  <a:lnTo>
                    <a:pt x="121" y="1514"/>
                  </a:lnTo>
                  <a:lnTo>
                    <a:pt x="121" y="1514"/>
                  </a:lnTo>
                  <a:lnTo>
                    <a:pt x="121" y="1514"/>
                  </a:lnTo>
                  <a:lnTo>
                    <a:pt x="121" y="1514"/>
                  </a:lnTo>
                  <a:lnTo>
                    <a:pt x="123" y="1514"/>
                  </a:lnTo>
                  <a:lnTo>
                    <a:pt x="123" y="1513"/>
                  </a:lnTo>
                  <a:lnTo>
                    <a:pt x="123" y="1513"/>
                  </a:lnTo>
                  <a:lnTo>
                    <a:pt x="123" y="1513"/>
                  </a:lnTo>
                  <a:lnTo>
                    <a:pt x="123" y="1513"/>
                  </a:lnTo>
                  <a:lnTo>
                    <a:pt x="123" y="1513"/>
                  </a:lnTo>
                  <a:lnTo>
                    <a:pt x="123" y="1513"/>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6" y="899"/>
                  </a:lnTo>
                  <a:lnTo>
                    <a:pt x="126" y="899"/>
                  </a:lnTo>
                  <a:lnTo>
                    <a:pt x="126" y="899"/>
                  </a:lnTo>
                  <a:lnTo>
                    <a:pt x="126" y="899"/>
                  </a:lnTo>
                  <a:lnTo>
                    <a:pt x="127" y="899"/>
                  </a:lnTo>
                  <a:lnTo>
                    <a:pt x="127" y="899"/>
                  </a:lnTo>
                  <a:lnTo>
                    <a:pt x="127" y="899"/>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1488"/>
                  </a:lnTo>
                  <a:lnTo>
                    <a:pt x="136" y="1488"/>
                  </a:lnTo>
                  <a:lnTo>
                    <a:pt x="136" y="1488"/>
                  </a:lnTo>
                  <a:lnTo>
                    <a:pt x="136" y="1488"/>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7" y="1486"/>
                  </a:lnTo>
                  <a:lnTo>
                    <a:pt x="137" y="1486"/>
                  </a:lnTo>
                  <a:lnTo>
                    <a:pt x="137" y="1486"/>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1463"/>
                  </a:lnTo>
                  <a:lnTo>
                    <a:pt x="140" y="1463"/>
                  </a:lnTo>
                  <a:lnTo>
                    <a:pt x="140" y="1463"/>
                  </a:lnTo>
                  <a:lnTo>
                    <a:pt x="140" y="1463"/>
                  </a:lnTo>
                  <a:lnTo>
                    <a:pt x="140" y="1463"/>
                  </a:lnTo>
                  <a:lnTo>
                    <a:pt x="140" y="1463"/>
                  </a:lnTo>
                  <a:lnTo>
                    <a:pt x="140" y="1463"/>
                  </a:lnTo>
                  <a:lnTo>
                    <a:pt x="140" y="1463"/>
                  </a:lnTo>
                  <a:lnTo>
                    <a:pt x="140" y="1461"/>
                  </a:lnTo>
                  <a:lnTo>
                    <a:pt x="140" y="1461"/>
                  </a:lnTo>
                  <a:lnTo>
                    <a:pt x="140" y="1461"/>
                  </a:lnTo>
                  <a:lnTo>
                    <a:pt x="140" y="1461"/>
                  </a:lnTo>
                  <a:lnTo>
                    <a:pt x="140" y="1461"/>
                  </a:lnTo>
                  <a:lnTo>
                    <a:pt x="140" y="1461"/>
                  </a:lnTo>
                  <a:lnTo>
                    <a:pt x="140" y="1461"/>
                  </a:lnTo>
                  <a:lnTo>
                    <a:pt x="140" y="1461"/>
                  </a:lnTo>
                  <a:lnTo>
                    <a:pt x="140" y="1460"/>
                  </a:lnTo>
                  <a:lnTo>
                    <a:pt x="140" y="1460"/>
                  </a:lnTo>
                  <a:lnTo>
                    <a:pt x="140" y="1460"/>
                  </a:lnTo>
                  <a:lnTo>
                    <a:pt x="140" y="1460"/>
                  </a:lnTo>
                  <a:lnTo>
                    <a:pt x="140" y="1460"/>
                  </a:lnTo>
                  <a:lnTo>
                    <a:pt x="140" y="1460"/>
                  </a:lnTo>
                  <a:lnTo>
                    <a:pt x="140" y="1458"/>
                  </a:lnTo>
                  <a:lnTo>
                    <a:pt x="140" y="1458"/>
                  </a:lnTo>
                  <a:lnTo>
                    <a:pt x="140" y="1458"/>
                  </a:lnTo>
                  <a:lnTo>
                    <a:pt x="140" y="1458"/>
                  </a:lnTo>
                  <a:lnTo>
                    <a:pt x="140" y="1458"/>
                  </a:lnTo>
                  <a:lnTo>
                    <a:pt x="141" y="1458"/>
                  </a:lnTo>
                  <a:lnTo>
                    <a:pt x="141" y="1458"/>
                  </a:lnTo>
                  <a:lnTo>
                    <a:pt x="141" y="1458"/>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1452"/>
                  </a:lnTo>
                  <a:lnTo>
                    <a:pt x="147" y="1452"/>
                  </a:lnTo>
                  <a:lnTo>
                    <a:pt x="147" y="1452"/>
                  </a:lnTo>
                  <a:lnTo>
                    <a:pt x="147" y="1452"/>
                  </a:lnTo>
                  <a:lnTo>
                    <a:pt x="147" y="1451"/>
                  </a:lnTo>
                  <a:lnTo>
                    <a:pt x="148" y="1451"/>
                  </a:lnTo>
                  <a:lnTo>
                    <a:pt x="148" y="899"/>
                  </a:lnTo>
                  <a:lnTo>
                    <a:pt x="148" y="899"/>
                  </a:lnTo>
                  <a:lnTo>
                    <a:pt x="148" y="899"/>
                  </a:lnTo>
                  <a:lnTo>
                    <a:pt x="148" y="899"/>
                  </a:lnTo>
                  <a:lnTo>
                    <a:pt x="148" y="1449"/>
                  </a:lnTo>
                  <a:lnTo>
                    <a:pt x="148" y="1449"/>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899"/>
                  </a:lnTo>
                  <a:lnTo>
                    <a:pt x="151" y="899"/>
                  </a:lnTo>
                  <a:lnTo>
                    <a:pt x="151" y="1443"/>
                  </a:lnTo>
                  <a:lnTo>
                    <a:pt x="151" y="1443"/>
                  </a:lnTo>
                  <a:lnTo>
                    <a:pt x="151" y="1443"/>
                  </a:lnTo>
                  <a:lnTo>
                    <a:pt x="151" y="1443"/>
                  </a:lnTo>
                  <a:lnTo>
                    <a:pt x="151" y="1443"/>
                  </a:lnTo>
                  <a:lnTo>
                    <a:pt x="151" y="1443"/>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1"/>
                  </a:lnTo>
                  <a:lnTo>
                    <a:pt x="151" y="1441"/>
                  </a:lnTo>
                  <a:lnTo>
                    <a:pt x="151" y="1441"/>
                  </a:lnTo>
                  <a:lnTo>
                    <a:pt x="151" y="1441"/>
                  </a:lnTo>
                  <a:lnTo>
                    <a:pt x="151" y="1439"/>
                  </a:lnTo>
                  <a:lnTo>
                    <a:pt x="152" y="1439"/>
                  </a:lnTo>
                  <a:lnTo>
                    <a:pt x="152" y="1439"/>
                  </a:lnTo>
                  <a:lnTo>
                    <a:pt x="152" y="1439"/>
                  </a:lnTo>
                  <a:lnTo>
                    <a:pt x="152" y="1439"/>
                  </a:lnTo>
                  <a:lnTo>
                    <a:pt x="152" y="1439"/>
                  </a:lnTo>
                  <a:lnTo>
                    <a:pt x="152" y="1434"/>
                  </a:lnTo>
                  <a:lnTo>
                    <a:pt x="160" y="1434"/>
                  </a:lnTo>
                  <a:lnTo>
                    <a:pt x="160" y="1431"/>
                  </a:lnTo>
                  <a:lnTo>
                    <a:pt x="160" y="1431"/>
                  </a:lnTo>
                  <a:lnTo>
                    <a:pt x="160" y="1431"/>
                  </a:lnTo>
                  <a:lnTo>
                    <a:pt x="160" y="1431"/>
                  </a:lnTo>
                  <a:lnTo>
                    <a:pt x="160" y="1431"/>
                  </a:lnTo>
                  <a:lnTo>
                    <a:pt x="160" y="1431"/>
                  </a:lnTo>
                  <a:lnTo>
                    <a:pt x="160" y="1430"/>
                  </a:lnTo>
                  <a:lnTo>
                    <a:pt x="160" y="1430"/>
                  </a:lnTo>
                  <a:lnTo>
                    <a:pt x="160" y="1430"/>
                  </a:lnTo>
                  <a:lnTo>
                    <a:pt x="160" y="1430"/>
                  </a:lnTo>
                  <a:lnTo>
                    <a:pt x="160" y="1430"/>
                  </a:lnTo>
                  <a:lnTo>
                    <a:pt x="167" y="1430"/>
                  </a:lnTo>
                  <a:lnTo>
                    <a:pt x="167" y="1430"/>
                  </a:lnTo>
                  <a:lnTo>
                    <a:pt x="204" y="1430"/>
                  </a:lnTo>
                  <a:lnTo>
                    <a:pt x="204" y="1430"/>
                  </a:lnTo>
                  <a:lnTo>
                    <a:pt x="204" y="1430"/>
                  </a:lnTo>
                  <a:lnTo>
                    <a:pt x="204" y="1429"/>
                  </a:lnTo>
                  <a:lnTo>
                    <a:pt x="204" y="142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1420"/>
                  </a:lnTo>
                  <a:lnTo>
                    <a:pt x="207" y="1420"/>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10" y="1420"/>
                  </a:lnTo>
                  <a:lnTo>
                    <a:pt x="210" y="1420"/>
                  </a:lnTo>
                  <a:lnTo>
                    <a:pt x="211" y="1420"/>
                  </a:lnTo>
                  <a:lnTo>
                    <a:pt x="211" y="1420"/>
                  </a:lnTo>
                  <a:lnTo>
                    <a:pt x="213" y="1420"/>
                  </a:lnTo>
                  <a:lnTo>
                    <a:pt x="213" y="1420"/>
                  </a:lnTo>
                  <a:lnTo>
                    <a:pt x="217" y="1420"/>
                  </a:lnTo>
                  <a:lnTo>
                    <a:pt x="217" y="899"/>
                  </a:lnTo>
                  <a:lnTo>
                    <a:pt x="219" y="899"/>
                  </a:lnTo>
                  <a:lnTo>
                    <a:pt x="219" y="899"/>
                  </a:lnTo>
                  <a:lnTo>
                    <a:pt x="219" y="899"/>
                  </a:lnTo>
                  <a:lnTo>
                    <a:pt x="219" y="899"/>
                  </a:lnTo>
                  <a:lnTo>
                    <a:pt x="219" y="89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21" y="1414"/>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1406"/>
                  </a:lnTo>
                  <a:lnTo>
                    <a:pt x="243" y="1406"/>
                  </a:lnTo>
                  <a:lnTo>
                    <a:pt x="243" y="1406"/>
                  </a:lnTo>
                  <a:lnTo>
                    <a:pt x="247" y="1406"/>
                  </a:lnTo>
                  <a:lnTo>
                    <a:pt x="247" y="1405"/>
                  </a:lnTo>
                  <a:lnTo>
                    <a:pt x="247" y="1405"/>
                  </a:lnTo>
                  <a:lnTo>
                    <a:pt x="247" y="1404"/>
                  </a:lnTo>
                  <a:lnTo>
                    <a:pt x="247" y="1404"/>
                  </a:lnTo>
                  <a:lnTo>
                    <a:pt x="247" y="1404"/>
                  </a:lnTo>
                  <a:lnTo>
                    <a:pt x="247" y="1404"/>
                  </a:lnTo>
                  <a:lnTo>
                    <a:pt x="247" y="1404"/>
                  </a:lnTo>
                  <a:lnTo>
                    <a:pt x="247" y="1404"/>
                  </a:lnTo>
                  <a:lnTo>
                    <a:pt x="247" y="899"/>
                  </a:lnTo>
                  <a:lnTo>
                    <a:pt x="247" y="899"/>
                  </a:lnTo>
                  <a:lnTo>
                    <a:pt x="247" y="1404"/>
                  </a:lnTo>
                  <a:lnTo>
                    <a:pt x="247" y="1404"/>
                  </a:lnTo>
                  <a:lnTo>
                    <a:pt x="247" y="1404"/>
                  </a:lnTo>
                  <a:lnTo>
                    <a:pt x="266" y="1404"/>
                  </a:lnTo>
                  <a:lnTo>
                    <a:pt x="266" y="1401"/>
                  </a:lnTo>
                  <a:lnTo>
                    <a:pt x="266" y="1401"/>
                  </a:lnTo>
                  <a:lnTo>
                    <a:pt x="266" y="1401"/>
                  </a:lnTo>
                  <a:lnTo>
                    <a:pt x="266" y="1401"/>
                  </a:lnTo>
                  <a:lnTo>
                    <a:pt x="266" y="1400"/>
                  </a:lnTo>
                  <a:lnTo>
                    <a:pt x="266" y="1400"/>
                  </a:lnTo>
                  <a:lnTo>
                    <a:pt x="266" y="1400"/>
                  </a:lnTo>
                  <a:lnTo>
                    <a:pt x="266" y="1400"/>
                  </a:lnTo>
                  <a:lnTo>
                    <a:pt x="266" y="1400"/>
                  </a:lnTo>
                  <a:lnTo>
                    <a:pt x="268" y="1400"/>
                  </a:lnTo>
                  <a:lnTo>
                    <a:pt x="268" y="1397"/>
                  </a:lnTo>
                  <a:lnTo>
                    <a:pt x="274" y="1397"/>
                  </a:lnTo>
                  <a:lnTo>
                    <a:pt x="274" y="1397"/>
                  </a:lnTo>
                  <a:lnTo>
                    <a:pt x="280" y="1397"/>
                  </a:lnTo>
                  <a:lnTo>
                    <a:pt x="280" y="1397"/>
                  </a:lnTo>
                  <a:lnTo>
                    <a:pt x="286" y="1397"/>
                  </a:lnTo>
                  <a:lnTo>
                    <a:pt x="286" y="1396"/>
                  </a:lnTo>
                  <a:lnTo>
                    <a:pt x="288" y="1396"/>
                  </a:lnTo>
                  <a:lnTo>
                    <a:pt x="288" y="899"/>
                  </a:lnTo>
                  <a:lnTo>
                    <a:pt x="288" y="899"/>
                  </a:lnTo>
                  <a:lnTo>
                    <a:pt x="288" y="1389"/>
                  </a:lnTo>
                  <a:lnTo>
                    <a:pt x="288" y="1389"/>
                  </a:lnTo>
                  <a:lnTo>
                    <a:pt x="288" y="1389"/>
                  </a:lnTo>
                  <a:lnTo>
                    <a:pt x="288" y="1389"/>
                  </a:lnTo>
                  <a:lnTo>
                    <a:pt x="288" y="899"/>
                  </a:lnTo>
                  <a:lnTo>
                    <a:pt x="288" y="899"/>
                  </a:lnTo>
                  <a:lnTo>
                    <a:pt x="288" y="899"/>
                  </a:lnTo>
                  <a:lnTo>
                    <a:pt x="289" y="899"/>
                  </a:lnTo>
                  <a:lnTo>
                    <a:pt x="289" y="899"/>
                  </a:lnTo>
                  <a:lnTo>
                    <a:pt x="290" y="899"/>
                  </a:lnTo>
                  <a:lnTo>
                    <a:pt x="290" y="899"/>
                  </a:lnTo>
                  <a:lnTo>
                    <a:pt x="295" y="899"/>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1374"/>
                  </a:lnTo>
                  <a:lnTo>
                    <a:pt x="310" y="1374"/>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9" y="1367"/>
                  </a:lnTo>
                  <a:lnTo>
                    <a:pt x="329" y="1367"/>
                  </a:lnTo>
                  <a:lnTo>
                    <a:pt x="330" y="1367"/>
                  </a:lnTo>
                  <a:lnTo>
                    <a:pt x="330" y="1367"/>
                  </a:lnTo>
                  <a:lnTo>
                    <a:pt x="331" y="1367"/>
                  </a:lnTo>
                  <a:lnTo>
                    <a:pt x="331" y="1367"/>
                  </a:lnTo>
                  <a:lnTo>
                    <a:pt x="332" y="1367"/>
                  </a:lnTo>
                  <a:lnTo>
                    <a:pt x="332" y="1367"/>
                  </a:lnTo>
                  <a:lnTo>
                    <a:pt x="333" y="1367"/>
                  </a:lnTo>
                  <a:lnTo>
                    <a:pt x="333" y="1367"/>
                  </a:lnTo>
                  <a:lnTo>
                    <a:pt x="335" y="1367"/>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7" y="1364"/>
                  </a:lnTo>
                  <a:lnTo>
                    <a:pt x="337" y="1364"/>
                  </a:lnTo>
                  <a:lnTo>
                    <a:pt x="337" y="1364"/>
                  </a:lnTo>
                  <a:lnTo>
                    <a:pt x="337" y="1364"/>
                  </a:lnTo>
                  <a:lnTo>
                    <a:pt x="337" y="1364"/>
                  </a:lnTo>
                  <a:lnTo>
                    <a:pt x="337" y="1364"/>
                  </a:lnTo>
                  <a:lnTo>
                    <a:pt x="337" y="1364"/>
                  </a:lnTo>
                  <a:lnTo>
                    <a:pt x="337" y="1364"/>
                  </a:lnTo>
                  <a:lnTo>
                    <a:pt x="338" y="1364"/>
                  </a:lnTo>
                  <a:lnTo>
                    <a:pt x="338" y="1364"/>
                  </a:lnTo>
                  <a:lnTo>
                    <a:pt x="338" y="1364"/>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40" y="1363"/>
                  </a:lnTo>
                  <a:lnTo>
                    <a:pt x="340" y="1363"/>
                  </a:lnTo>
                  <a:lnTo>
                    <a:pt x="341" y="1363"/>
                  </a:lnTo>
                  <a:lnTo>
                    <a:pt x="341" y="1363"/>
                  </a:lnTo>
                  <a:lnTo>
                    <a:pt x="342" y="1363"/>
                  </a:lnTo>
                  <a:lnTo>
                    <a:pt x="342" y="1363"/>
                  </a:lnTo>
                  <a:lnTo>
                    <a:pt x="342" y="1363"/>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899"/>
                  </a:lnTo>
                  <a:lnTo>
                    <a:pt x="344" y="899"/>
                  </a:lnTo>
                  <a:lnTo>
                    <a:pt x="344" y="899"/>
                  </a:lnTo>
                  <a:lnTo>
                    <a:pt x="344" y="899"/>
                  </a:lnTo>
                  <a:lnTo>
                    <a:pt x="344"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6" y="899"/>
                  </a:lnTo>
                  <a:lnTo>
                    <a:pt x="346" y="899"/>
                  </a:lnTo>
                  <a:lnTo>
                    <a:pt x="346" y="899"/>
                  </a:lnTo>
                  <a:lnTo>
                    <a:pt x="346" y="899"/>
                  </a:lnTo>
                  <a:lnTo>
                    <a:pt x="346" y="899"/>
                  </a:lnTo>
                  <a:lnTo>
                    <a:pt x="346" y="899"/>
                  </a:lnTo>
                  <a:lnTo>
                    <a:pt x="347" y="899"/>
                  </a:lnTo>
                  <a:lnTo>
                    <a:pt x="347" y="899"/>
                  </a:lnTo>
                  <a:lnTo>
                    <a:pt x="347" y="899"/>
                  </a:lnTo>
                  <a:lnTo>
                    <a:pt x="347" y="899"/>
                  </a:lnTo>
                  <a:lnTo>
                    <a:pt x="348" y="899"/>
                  </a:lnTo>
                  <a:lnTo>
                    <a:pt x="348" y="899"/>
                  </a:lnTo>
                  <a:lnTo>
                    <a:pt x="350" y="899"/>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899"/>
                  </a:lnTo>
                  <a:lnTo>
                    <a:pt x="378" y="899"/>
                  </a:lnTo>
                  <a:lnTo>
                    <a:pt x="378" y="899"/>
                  </a:lnTo>
                  <a:lnTo>
                    <a:pt x="379" y="899"/>
                  </a:lnTo>
                  <a:lnTo>
                    <a:pt x="379" y="1349"/>
                  </a:lnTo>
                  <a:lnTo>
                    <a:pt x="380" y="1349"/>
                  </a:lnTo>
                  <a:lnTo>
                    <a:pt x="380" y="1349"/>
                  </a:lnTo>
                  <a:lnTo>
                    <a:pt x="381" y="1349"/>
                  </a:lnTo>
                  <a:lnTo>
                    <a:pt x="381" y="899"/>
                  </a:lnTo>
                  <a:lnTo>
                    <a:pt x="382" y="89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1333"/>
                  </a:lnTo>
                  <a:lnTo>
                    <a:pt x="399" y="1333"/>
                  </a:lnTo>
                  <a:lnTo>
                    <a:pt x="399" y="1333"/>
                  </a:lnTo>
                  <a:lnTo>
                    <a:pt x="399" y="1333"/>
                  </a:lnTo>
                  <a:lnTo>
                    <a:pt x="399" y="1333"/>
                  </a:lnTo>
                  <a:lnTo>
                    <a:pt x="400" y="1333"/>
                  </a:lnTo>
                  <a:lnTo>
                    <a:pt x="400" y="1332"/>
                  </a:lnTo>
                  <a:lnTo>
                    <a:pt x="400" y="1332"/>
                  </a:lnTo>
                  <a:lnTo>
                    <a:pt x="400" y="1332"/>
                  </a:lnTo>
                  <a:lnTo>
                    <a:pt x="400" y="1332"/>
                  </a:lnTo>
                  <a:lnTo>
                    <a:pt x="400" y="1332"/>
                  </a:lnTo>
                  <a:lnTo>
                    <a:pt x="402" y="1332"/>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8" y="1322"/>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1314"/>
                  </a:lnTo>
                  <a:lnTo>
                    <a:pt x="477" y="1314"/>
                  </a:lnTo>
                  <a:lnTo>
                    <a:pt x="477" y="1314"/>
                  </a:lnTo>
                  <a:lnTo>
                    <a:pt x="510" y="1314"/>
                  </a:lnTo>
                  <a:lnTo>
                    <a:pt x="510" y="1314"/>
                  </a:lnTo>
                  <a:lnTo>
                    <a:pt x="510" y="1314"/>
                  </a:lnTo>
                  <a:lnTo>
                    <a:pt x="510" y="1314"/>
                  </a:lnTo>
                  <a:lnTo>
                    <a:pt x="510" y="1314"/>
                  </a:lnTo>
                  <a:lnTo>
                    <a:pt x="510" y="1312"/>
                  </a:lnTo>
                  <a:lnTo>
                    <a:pt x="511" y="1312"/>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899"/>
                  </a:lnTo>
                  <a:lnTo>
                    <a:pt x="519" y="899"/>
                  </a:lnTo>
                  <a:lnTo>
                    <a:pt x="519" y="899"/>
                  </a:lnTo>
                  <a:lnTo>
                    <a:pt x="520" y="899"/>
                  </a:lnTo>
                  <a:lnTo>
                    <a:pt x="520" y="899"/>
                  </a:lnTo>
                  <a:lnTo>
                    <a:pt x="520" y="899"/>
                  </a:lnTo>
                  <a:lnTo>
                    <a:pt x="520" y="899"/>
                  </a:lnTo>
                  <a:lnTo>
                    <a:pt x="521" y="899"/>
                  </a:lnTo>
                  <a:lnTo>
                    <a:pt x="521" y="1306"/>
                  </a:lnTo>
                  <a:lnTo>
                    <a:pt x="522" y="1306"/>
                  </a:lnTo>
                  <a:lnTo>
                    <a:pt x="522" y="899"/>
                  </a:lnTo>
                  <a:lnTo>
                    <a:pt x="525" y="899"/>
                  </a:lnTo>
                  <a:lnTo>
                    <a:pt x="525" y="899"/>
                  </a:lnTo>
                  <a:lnTo>
                    <a:pt x="525" y="899"/>
                  </a:lnTo>
                  <a:lnTo>
                    <a:pt x="525" y="899"/>
                  </a:lnTo>
                  <a:lnTo>
                    <a:pt x="525" y="899"/>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2"/>
                  </a:lnTo>
                  <a:lnTo>
                    <a:pt x="526" y="1302"/>
                  </a:lnTo>
                  <a:lnTo>
                    <a:pt x="526" y="1302"/>
                  </a:lnTo>
                  <a:lnTo>
                    <a:pt x="527" y="1302"/>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8" y="1300"/>
                  </a:lnTo>
                  <a:lnTo>
                    <a:pt x="528" y="1300"/>
                  </a:lnTo>
                  <a:lnTo>
                    <a:pt x="529" y="1300"/>
                  </a:lnTo>
                  <a:lnTo>
                    <a:pt x="529" y="1299"/>
                  </a:lnTo>
                  <a:lnTo>
                    <a:pt x="529" y="1299"/>
                  </a:lnTo>
                  <a:lnTo>
                    <a:pt x="529" y="1299"/>
                  </a:lnTo>
                  <a:lnTo>
                    <a:pt x="530" y="12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1290"/>
                  </a:lnTo>
                  <a:lnTo>
                    <a:pt x="592" y="1290"/>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1280"/>
                  </a:lnTo>
                  <a:lnTo>
                    <a:pt x="649" y="1280"/>
                  </a:lnTo>
                  <a:lnTo>
                    <a:pt x="649" y="1280"/>
                  </a:lnTo>
                  <a:lnTo>
                    <a:pt x="649" y="1280"/>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899"/>
                  </a:lnTo>
                  <a:lnTo>
                    <a:pt x="663" y="899"/>
                  </a:lnTo>
                  <a:lnTo>
                    <a:pt x="663" y="899"/>
                  </a:lnTo>
                  <a:lnTo>
                    <a:pt x="673" y="899"/>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1275"/>
                  </a:lnTo>
                  <a:lnTo>
                    <a:pt x="677" y="1275"/>
                  </a:lnTo>
                  <a:lnTo>
                    <a:pt x="677" y="1275"/>
                  </a:lnTo>
                  <a:lnTo>
                    <a:pt x="677" y="1275"/>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1265"/>
                  </a:lnTo>
                  <a:lnTo>
                    <a:pt x="732" y="1265"/>
                  </a:lnTo>
                  <a:lnTo>
                    <a:pt x="732" y="1265"/>
                  </a:lnTo>
                  <a:lnTo>
                    <a:pt x="736" y="1265"/>
                  </a:lnTo>
                  <a:lnTo>
                    <a:pt x="736" y="1265"/>
                  </a:lnTo>
                  <a:lnTo>
                    <a:pt x="736" y="1265"/>
                  </a:lnTo>
                  <a:lnTo>
                    <a:pt x="736" y="1265"/>
                  </a:lnTo>
                  <a:lnTo>
                    <a:pt x="736" y="1265"/>
                  </a:lnTo>
                  <a:lnTo>
                    <a:pt x="736" y="1264"/>
                  </a:lnTo>
                  <a:lnTo>
                    <a:pt x="736" y="1264"/>
                  </a:lnTo>
                  <a:lnTo>
                    <a:pt x="736" y="1264"/>
                  </a:lnTo>
                  <a:lnTo>
                    <a:pt x="736" y="1264"/>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8" y="1257"/>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899"/>
                  </a:lnTo>
                  <a:lnTo>
                    <a:pt x="792" y="899"/>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1247"/>
                  </a:lnTo>
                  <a:lnTo>
                    <a:pt x="800" y="1247"/>
                  </a:lnTo>
                  <a:lnTo>
                    <a:pt x="800" y="1247"/>
                  </a:lnTo>
                  <a:lnTo>
                    <a:pt x="800" y="1247"/>
                  </a:lnTo>
                  <a:lnTo>
                    <a:pt x="800" y="1246"/>
                  </a:lnTo>
                  <a:lnTo>
                    <a:pt x="800" y="1246"/>
                  </a:lnTo>
                  <a:lnTo>
                    <a:pt x="800" y="1246"/>
                  </a:lnTo>
                  <a:lnTo>
                    <a:pt x="800" y="1246"/>
                  </a:lnTo>
                  <a:lnTo>
                    <a:pt x="800" y="1246"/>
                  </a:lnTo>
                  <a:lnTo>
                    <a:pt x="800" y="1246"/>
                  </a:lnTo>
                  <a:lnTo>
                    <a:pt x="800" y="1246"/>
                  </a:lnTo>
                  <a:lnTo>
                    <a:pt x="801" y="1246"/>
                  </a:lnTo>
                  <a:lnTo>
                    <a:pt x="801" y="1246"/>
                  </a:lnTo>
                  <a:lnTo>
                    <a:pt x="801" y="1246"/>
                  </a:lnTo>
                  <a:lnTo>
                    <a:pt x="801" y="1245"/>
                  </a:lnTo>
                  <a:lnTo>
                    <a:pt x="801" y="1245"/>
                  </a:lnTo>
                  <a:lnTo>
                    <a:pt x="801" y="1245"/>
                  </a:lnTo>
                  <a:lnTo>
                    <a:pt x="801" y="1245"/>
                  </a:lnTo>
                  <a:lnTo>
                    <a:pt x="801" y="1245"/>
                  </a:lnTo>
                  <a:lnTo>
                    <a:pt x="801" y="1245"/>
                  </a:lnTo>
                  <a:lnTo>
                    <a:pt x="801" y="1245"/>
                  </a:lnTo>
                  <a:lnTo>
                    <a:pt x="801" y="1245"/>
                  </a:lnTo>
                  <a:lnTo>
                    <a:pt x="801" y="1245"/>
                  </a:lnTo>
                  <a:lnTo>
                    <a:pt x="802" y="1245"/>
                  </a:lnTo>
                  <a:lnTo>
                    <a:pt x="802" y="1245"/>
                  </a:lnTo>
                  <a:lnTo>
                    <a:pt x="802" y="1245"/>
                  </a:lnTo>
                  <a:lnTo>
                    <a:pt x="802" y="1245"/>
                  </a:lnTo>
                  <a:lnTo>
                    <a:pt x="802" y="1245"/>
                  </a:lnTo>
                  <a:lnTo>
                    <a:pt x="802" y="1245"/>
                  </a:lnTo>
                  <a:lnTo>
                    <a:pt x="802" y="1245"/>
                  </a:lnTo>
                  <a:lnTo>
                    <a:pt x="802" y="1245"/>
                  </a:lnTo>
                  <a:lnTo>
                    <a:pt x="803" y="1245"/>
                  </a:lnTo>
                  <a:lnTo>
                    <a:pt x="803" y="1245"/>
                  </a:lnTo>
                  <a:lnTo>
                    <a:pt x="804" y="1245"/>
                  </a:lnTo>
                  <a:lnTo>
                    <a:pt x="804" y="1245"/>
                  </a:lnTo>
                  <a:lnTo>
                    <a:pt x="805" y="1245"/>
                  </a:lnTo>
                  <a:lnTo>
                    <a:pt x="805" y="1245"/>
                  </a:lnTo>
                  <a:lnTo>
                    <a:pt x="806" y="1245"/>
                  </a:lnTo>
                  <a:lnTo>
                    <a:pt x="806" y="1245"/>
                  </a:lnTo>
                  <a:lnTo>
                    <a:pt x="808" y="1245"/>
                  </a:lnTo>
                  <a:lnTo>
                    <a:pt x="808" y="1245"/>
                  </a:lnTo>
                  <a:lnTo>
                    <a:pt x="810" y="1245"/>
                  </a:lnTo>
                  <a:lnTo>
                    <a:pt x="810" y="1245"/>
                  </a:lnTo>
                  <a:lnTo>
                    <a:pt x="811" y="1245"/>
                  </a:lnTo>
                  <a:lnTo>
                    <a:pt x="811" y="1245"/>
                  </a:lnTo>
                  <a:lnTo>
                    <a:pt x="813" y="1245"/>
                  </a:lnTo>
                  <a:lnTo>
                    <a:pt x="813" y="1245"/>
                  </a:lnTo>
                  <a:lnTo>
                    <a:pt x="819" y="1245"/>
                  </a:lnTo>
                  <a:lnTo>
                    <a:pt x="819" y="1245"/>
                  </a:lnTo>
                  <a:lnTo>
                    <a:pt x="827" y="1245"/>
                  </a:lnTo>
                  <a:lnTo>
                    <a:pt x="827" y="1243"/>
                  </a:lnTo>
                  <a:lnTo>
                    <a:pt x="827" y="1243"/>
                  </a:lnTo>
                  <a:lnTo>
                    <a:pt x="827" y="1243"/>
                  </a:lnTo>
                  <a:lnTo>
                    <a:pt x="827" y="1243"/>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9" y="1240"/>
                  </a:lnTo>
                  <a:lnTo>
                    <a:pt x="829" y="1236"/>
                  </a:lnTo>
                  <a:lnTo>
                    <a:pt x="835" y="1236"/>
                  </a:lnTo>
                  <a:lnTo>
                    <a:pt x="835" y="899"/>
                  </a:lnTo>
                  <a:lnTo>
                    <a:pt x="835" y="899"/>
                  </a:lnTo>
                  <a:lnTo>
                    <a:pt x="835" y="899"/>
                  </a:lnTo>
                  <a:lnTo>
                    <a:pt x="835" y="899"/>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6"/>
                  </a:lnTo>
                  <a:lnTo>
                    <a:pt x="846" y="1226"/>
                  </a:lnTo>
                  <a:lnTo>
                    <a:pt x="846" y="1226"/>
                  </a:lnTo>
                  <a:lnTo>
                    <a:pt x="847" y="1226"/>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8" y="1220"/>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1220"/>
                  </a:lnTo>
                  <a:lnTo>
                    <a:pt x="851" y="1220"/>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1211"/>
                  </a:lnTo>
                  <a:lnTo>
                    <a:pt x="887" y="1211"/>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899"/>
                  </a:lnTo>
                  <a:lnTo>
                    <a:pt x="899" y="899"/>
                  </a:lnTo>
                  <a:lnTo>
                    <a:pt x="899" y="899"/>
                  </a:lnTo>
                  <a:lnTo>
                    <a:pt x="899" y="899"/>
                  </a:lnTo>
                  <a:lnTo>
                    <a:pt x="899" y="1207"/>
                  </a:lnTo>
                  <a:lnTo>
                    <a:pt x="899" y="1207"/>
                  </a:lnTo>
                  <a:lnTo>
                    <a:pt x="899" y="899"/>
                  </a:lnTo>
                  <a:lnTo>
                    <a:pt x="900" y="899"/>
                  </a:lnTo>
                  <a:lnTo>
                    <a:pt x="900" y="899"/>
                  </a:lnTo>
                  <a:lnTo>
                    <a:pt x="900" y="899"/>
                  </a:lnTo>
                  <a:lnTo>
                    <a:pt x="900" y="899"/>
                  </a:lnTo>
                  <a:lnTo>
                    <a:pt x="902" y="899"/>
                  </a:lnTo>
                  <a:lnTo>
                    <a:pt x="902" y="899"/>
                  </a:lnTo>
                  <a:lnTo>
                    <a:pt x="907" y="899"/>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899"/>
                  </a:lnTo>
                  <a:lnTo>
                    <a:pt x="934" y="899"/>
                  </a:lnTo>
                  <a:lnTo>
                    <a:pt x="934" y="899"/>
                  </a:lnTo>
                  <a:lnTo>
                    <a:pt x="935" y="899"/>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9" y="1186"/>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1175"/>
                  </a:lnTo>
                  <a:lnTo>
                    <a:pt x="957" y="1175"/>
                  </a:lnTo>
                  <a:lnTo>
                    <a:pt x="957" y="1175"/>
                  </a:lnTo>
                  <a:lnTo>
                    <a:pt x="958" y="1175"/>
                  </a:lnTo>
                  <a:lnTo>
                    <a:pt x="958" y="1175"/>
                  </a:lnTo>
                  <a:lnTo>
                    <a:pt x="965" y="1175"/>
                  </a:lnTo>
                  <a:lnTo>
                    <a:pt x="965" y="1175"/>
                  </a:lnTo>
                  <a:lnTo>
                    <a:pt x="989" y="1175"/>
                  </a:lnTo>
                  <a:lnTo>
                    <a:pt x="989" y="1175"/>
                  </a:lnTo>
                  <a:lnTo>
                    <a:pt x="989" y="1175"/>
                  </a:lnTo>
                  <a:lnTo>
                    <a:pt x="989" y="1173"/>
                  </a:lnTo>
                  <a:lnTo>
                    <a:pt x="989" y="1173"/>
                  </a:lnTo>
                  <a:lnTo>
                    <a:pt x="989" y="1173"/>
                  </a:lnTo>
                  <a:lnTo>
                    <a:pt x="989" y="1173"/>
                  </a:lnTo>
                  <a:lnTo>
                    <a:pt x="989" y="1173"/>
                  </a:lnTo>
                  <a:lnTo>
                    <a:pt x="989" y="1173"/>
                  </a:lnTo>
                  <a:lnTo>
                    <a:pt x="989" y="1173"/>
                  </a:lnTo>
                  <a:lnTo>
                    <a:pt x="989" y="1173"/>
                  </a:lnTo>
                  <a:lnTo>
                    <a:pt x="989" y="899"/>
                  </a:lnTo>
                  <a:lnTo>
                    <a:pt x="990" y="899"/>
                  </a:lnTo>
                  <a:lnTo>
                    <a:pt x="990" y="1173"/>
                  </a:lnTo>
                  <a:lnTo>
                    <a:pt x="991" y="1173"/>
                  </a:lnTo>
                  <a:lnTo>
                    <a:pt x="991" y="899"/>
                  </a:lnTo>
                  <a:lnTo>
                    <a:pt x="1002" y="899"/>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1167"/>
                  </a:lnTo>
                  <a:lnTo>
                    <a:pt x="1003" y="1167"/>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6" y="1155"/>
                  </a:lnTo>
                  <a:lnTo>
                    <a:pt x="1006" y="1155"/>
                  </a:lnTo>
                  <a:lnTo>
                    <a:pt x="1006" y="1155"/>
                  </a:lnTo>
                  <a:lnTo>
                    <a:pt x="1006" y="1155"/>
                  </a:lnTo>
                  <a:lnTo>
                    <a:pt x="1007" y="1155"/>
                  </a:lnTo>
                  <a:lnTo>
                    <a:pt x="1007" y="1155"/>
                  </a:lnTo>
                  <a:lnTo>
                    <a:pt x="1008" y="1155"/>
                  </a:lnTo>
                  <a:lnTo>
                    <a:pt x="1008" y="1155"/>
                  </a:lnTo>
                  <a:lnTo>
                    <a:pt x="1009" y="1155"/>
                  </a:lnTo>
                  <a:lnTo>
                    <a:pt x="1009" y="1155"/>
                  </a:lnTo>
                  <a:lnTo>
                    <a:pt x="1010" y="1155"/>
                  </a:lnTo>
                  <a:lnTo>
                    <a:pt x="1010" y="1155"/>
                  </a:lnTo>
                  <a:lnTo>
                    <a:pt x="1011" y="1155"/>
                  </a:lnTo>
                  <a:lnTo>
                    <a:pt x="1011" y="1155"/>
                  </a:lnTo>
                  <a:lnTo>
                    <a:pt x="1013" y="1155"/>
                  </a:lnTo>
                  <a:lnTo>
                    <a:pt x="1013" y="1155"/>
                  </a:lnTo>
                  <a:lnTo>
                    <a:pt x="1015" y="1155"/>
                  </a:lnTo>
                  <a:lnTo>
                    <a:pt x="1015" y="1155"/>
                  </a:lnTo>
                  <a:lnTo>
                    <a:pt x="1017" y="1155"/>
                  </a:lnTo>
                  <a:lnTo>
                    <a:pt x="1017" y="1155"/>
                  </a:lnTo>
                  <a:lnTo>
                    <a:pt x="1020" y="1155"/>
                  </a:lnTo>
                  <a:lnTo>
                    <a:pt x="1020" y="1155"/>
                  </a:lnTo>
                  <a:lnTo>
                    <a:pt x="1023" y="1155"/>
                  </a:lnTo>
                  <a:lnTo>
                    <a:pt x="1023" y="1155"/>
                  </a:lnTo>
                  <a:lnTo>
                    <a:pt x="1028" y="1155"/>
                  </a:lnTo>
                  <a:lnTo>
                    <a:pt x="1028" y="1155"/>
                  </a:lnTo>
                  <a:lnTo>
                    <a:pt x="1037" y="1155"/>
                  </a:lnTo>
                  <a:lnTo>
                    <a:pt x="1037" y="1155"/>
                  </a:lnTo>
                  <a:lnTo>
                    <a:pt x="1037" y="1155"/>
                  </a:lnTo>
                  <a:lnTo>
                    <a:pt x="1037" y="1155"/>
                  </a:lnTo>
                  <a:lnTo>
                    <a:pt x="1037" y="1155"/>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1150"/>
                  </a:lnTo>
                  <a:lnTo>
                    <a:pt x="1062" y="1150"/>
                  </a:lnTo>
                  <a:lnTo>
                    <a:pt x="1062" y="1150"/>
                  </a:lnTo>
                  <a:lnTo>
                    <a:pt x="1067" y="1150"/>
                  </a:lnTo>
                  <a:lnTo>
                    <a:pt x="1067" y="1148"/>
                  </a:lnTo>
                  <a:lnTo>
                    <a:pt x="1067" y="1148"/>
                  </a:lnTo>
                  <a:lnTo>
                    <a:pt x="1067" y="1148"/>
                  </a:lnTo>
                  <a:lnTo>
                    <a:pt x="1067" y="1148"/>
                  </a:lnTo>
                  <a:lnTo>
                    <a:pt x="1067" y="1148"/>
                  </a:lnTo>
                  <a:lnTo>
                    <a:pt x="1069" y="1148"/>
                  </a:lnTo>
                  <a:lnTo>
                    <a:pt x="1069" y="1146"/>
                  </a:lnTo>
                  <a:lnTo>
                    <a:pt x="1069" y="1146"/>
                  </a:lnTo>
                  <a:lnTo>
                    <a:pt x="1069" y="1146"/>
                  </a:lnTo>
                  <a:lnTo>
                    <a:pt x="1069" y="1146"/>
                  </a:lnTo>
                  <a:lnTo>
                    <a:pt x="1069" y="1143"/>
                  </a:lnTo>
                  <a:lnTo>
                    <a:pt x="1069" y="1143"/>
                  </a:lnTo>
                  <a:lnTo>
                    <a:pt x="1069" y="1143"/>
                  </a:lnTo>
                  <a:lnTo>
                    <a:pt x="1069" y="1143"/>
                  </a:lnTo>
                  <a:lnTo>
                    <a:pt x="1069" y="1143"/>
                  </a:lnTo>
                  <a:lnTo>
                    <a:pt x="1069" y="1143"/>
                  </a:lnTo>
                  <a:lnTo>
                    <a:pt x="1069" y="1143"/>
                  </a:lnTo>
                  <a:lnTo>
                    <a:pt x="1069" y="1143"/>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1134"/>
                  </a:lnTo>
                  <a:lnTo>
                    <a:pt x="1181" y="1134"/>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2" y="1133"/>
                  </a:lnTo>
                  <a:lnTo>
                    <a:pt x="1182" y="1133"/>
                  </a:lnTo>
                  <a:lnTo>
                    <a:pt x="1182" y="1133"/>
                  </a:lnTo>
                  <a:lnTo>
                    <a:pt x="1182" y="1133"/>
                  </a:lnTo>
                  <a:lnTo>
                    <a:pt x="1182" y="1133"/>
                  </a:lnTo>
                  <a:lnTo>
                    <a:pt x="1182" y="1133"/>
                  </a:lnTo>
                  <a:lnTo>
                    <a:pt x="1183" y="1133"/>
                  </a:lnTo>
                  <a:lnTo>
                    <a:pt x="1183" y="1133"/>
                  </a:lnTo>
                  <a:lnTo>
                    <a:pt x="1184" y="1133"/>
                  </a:lnTo>
                  <a:lnTo>
                    <a:pt x="1184" y="1133"/>
                  </a:lnTo>
                  <a:lnTo>
                    <a:pt x="1185" y="1133"/>
                  </a:lnTo>
                  <a:lnTo>
                    <a:pt x="1185" y="1133"/>
                  </a:lnTo>
                  <a:lnTo>
                    <a:pt x="1186" y="1133"/>
                  </a:lnTo>
                  <a:lnTo>
                    <a:pt x="1186" y="1133"/>
                  </a:lnTo>
                  <a:lnTo>
                    <a:pt x="1190" y="1133"/>
                  </a:lnTo>
                  <a:lnTo>
                    <a:pt x="1190" y="1133"/>
                  </a:lnTo>
                  <a:lnTo>
                    <a:pt x="1195" y="1133"/>
                  </a:lnTo>
                  <a:lnTo>
                    <a:pt x="1195" y="1133"/>
                  </a:lnTo>
                  <a:lnTo>
                    <a:pt x="1202" y="1133"/>
                  </a:lnTo>
                  <a:lnTo>
                    <a:pt x="1202" y="1133"/>
                  </a:lnTo>
                  <a:lnTo>
                    <a:pt x="1213" y="1133"/>
                  </a:lnTo>
                  <a:lnTo>
                    <a:pt x="1213" y="1133"/>
                  </a:lnTo>
                  <a:lnTo>
                    <a:pt x="1223" y="1133"/>
                  </a:lnTo>
                  <a:lnTo>
                    <a:pt x="1223" y="1132"/>
                  </a:lnTo>
                  <a:lnTo>
                    <a:pt x="1223" y="1132"/>
                  </a:lnTo>
                  <a:lnTo>
                    <a:pt x="1223" y="1132"/>
                  </a:lnTo>
                  <a:lnTo>
                    <a:pt x="1223" y="1132"/>
                  </a:lnTo>
                  <a:lnTo>
                    <a:pt x="1223" y="1132"/>
                  </a:lnTo>
                  <a:lnTo>
                    <a:pt x="1223" y="1132"/>
                  </a:lnTo>
                  <a:lnTo>
                    <a:pt x="1223" y="1132"/>
                  </a:lnTo>
                  <a:lnTo>
                    <a:pt x="1223" y="1132"/>
                  </a:lnTo>
                  <a:lnTo>
                    <a:pt x="1223" y="1131"/>
                  </a:lnTo>
                  <a:lnTo>
                    <a:pt x="1223" y="1131"/>
                  </a:lnTo>
                  <a:lnTo>
                    <a:pt x="1223" y="1131"/>
                  </a:lnTo>
                  <a:lnTo>
                    <a:pt x="1224" y="1131"/>
                  </a:lnTo>
                  <a:lnTo>
                    <a:pt x="1224" y="1131"/>
                  </a:lnTo>
                  <a:lnTo>
                    <a:pt x="1224" y="1131"/>
                  </a:lnTo>
                  <a:lnTo>
                    <a:pt x="1224" y="1131"/>
                  </a:lnTo>
                  <a:lnTo>
                    <a:pt x="1224" y="1131"/>
                  </a:lnTo>
                  <a:lnTo>
                    <a:pt x="1224" y="1129"/>
                  </a:lnTo>
                  <a:lnTo>
                    <a:pt x="1225" y="1129"/>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1124"/>
                  </a:lnTo>
                  <a:lnTo>
                    <a:pt x="1249" y="1124"/>
                  </a:lnTo>
                  <a:lnTo>
                    <a:pt x="1249" y="1123"/>
                  </a:lnTo>
                  <a:lnTo>
                    <a:pt x="1249" y="1123"/>
                  </a:lnTo>
                  <a:lnTo>
                    <a:pt x="1249" y="1123"/>
                  </a:lnTo>
                  <a:lnTo>
                    <a:pt x="1249" y="1123"/>
                  </a:lnTo>
                  <a:lnTo>
                    <a:pt x="1249" y="1123"/>
                  </a:lnTo>
                  <a:lnTo>
                    <a:pt x="1249" y="1123"/>
                  </a:lnTo>
                  <a:lnTo>
                    <a:pt x="1249" y="1123"/>
                  </a:lnTo>
                  <a:lnTo>
                    <a:pt x="1250" y="1123"/>
                  </a:lnTo>
                  <a:lnTo>
                    <a:pt x="1250" y="1123"/>
                  </a:lnTo>
                  <a:lnTo>
                    <a:pt x="1250" y="1123"/>
                  </a:lnTo>
                  <a:lnTo>
                    <a:pt x="1250" y="1123"/>
                  </a:lnTo>
                  <a:lnTo>
                    <a:pt x="1250" y="1123"/>
                  </a:lnTo>
                  <a:lnTo>
                    <a:pt x="1250" y="1123"/>
                  </a:lnTo>
                  <a:lnTo>
                    <a:pt x="1250" y="1123"/>
                  </a:lnTo>
                  <a:lnTo>
                    <a:pt x="1250" y="1123"/>
                  </a:lnTo>
                  <a:lnTo>
                    <a:pt x="1251" y="1123"/>
                  </a:lnTo>
                  <a:lnTo>
                    <a:pt x="1251" y="1123"/>
                  </a:lnTo>
                  <a:lnTo>
                    <a:pt x="1251" y="1123"/>
                  </a:lnTo>
                  <a:lnTo>
                    <a:pt x="1251" y="1123"/>
                  </a:lnTo>
                  <a:lnTo>
                    <a:pt x="1252" y="1123"/>
                  </a:lnTo>
                  <a:lnTo>
                    <a:pt x="1252" y="1123"/>
                  </a:lnTo>
                  <a:lnTo>
                    <a:pt x="1253" y="1123"/>
                  </a:lnTo>
                  <a:lnTo>
                    <a:pt x="1253" y="1123"/>
                  </a:lnTo>
                  <a:lnTo>
                    <a:pt x="1255" y="1123"/>
                  </a:lnTo>
                  <a:lnTo>
                    <a:pt x="1255" y="1123"/>
                  </a:lnTo>
                  <a:lnTo>
                    <a:pt x="1259" y="1123"/>
                  </a:lnTo>
                  <a:lnTo>
                    <a:pt x="1259" y="1123"/>
                  </a:lnTo>
                  <a:lnTo>
                    <a:pt x="1263" y="1123"/>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1114"/>
                  </a:lnTo>
                  <a:lnTo>
                    <a:pt x="1333" y="1114"/>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1110"/>
                  </a:lnTo>
                  <a:lnTo>
                    <a:pt x="1337" y="1110"/>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1"/>
                  </a:lnTo>
                  <a:lnTo>
                    <a:pt x="1354" y="1101"/>
                  </a:lnTo>
                  <a:lnTo>
                    <a:pt x="1354" y="1100"/>
                  </a:lnTo>
                  <a:lnTo>
                    <a:pt x="1354" y="1100"/>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1088"/>
                  </a:lnTo>
                  <a:lnTo>
                    <a:pt x="1366" y="1088"/>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7" y="1083"/>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899"/>
                  </a:lnTo>
                  <a:lnTo>
                    <a:pt x="1369" y="899"/>
                  </a:lnTo>
                  <a:lnTo>
                    <a:pt x="1369" y="899"/>
                  </a:lnTo>
                  <a:lnTo>
                    <a:pt x="1369" y="899"/>
                  </a:lnTo>
                  <a:lnTo>
                    <a:pt x="1369" y="899"/>
                  </a:lnTo>
                  <a:lnTo>
                    <a:pt x="1369" y="899"/>
                  </a:lnTo>
                  <a:lnTo>
                    <a:pt x="1369" y="1076"/>
                  </a:lnTo>
                  <a:lnTo>
                    <a:pt x="1369" y="1076"/>
                  </a:lnTo>
                  <a:lnTo>
                    <a:pt x="1369" y="1074"/>
                  </a:lnTo>
                  <a:lnTo>
                    <a:pt x="1369" y="1074"/>
                  </a:lnTo>
                  <a:lnTo>
                    <a:pt x="1369" y="1074"/>
                  </a:lnTo>
                  <a:lnTo>
                    <a:pt x="1370" y="1074"/>
                  </a:lnTo>
                  <a:lnTo>
                    <a:pt x="1370" y="1074"/>
                  </a:lnTo>
                  <a:lnTo>
                    <a:pt x="1375" y="1074"/>
                  </a:lnTo>
                  <a:lnTo>
                    <a:pt x="1375" y="1074"/>
                  </a:lnTo>
                  <a:lnTo>
                    <a:pt x="1375" y="1074"/>
                  </a:lnTo>
                  <a:lnTo>
                    <a:pt x="1375" y="1073"/>
                  </a:lnTo>
                  <a:lnTo>
                    <a:pt x="1375" y="1073"/>
                  </a:lnTo>
                  <a:lnTo>
                    <a:pt x="1375" y="1072"/>
                  </a:lnTo>
                  <a:lnTo>
                    <a:pt x="1380" y="1072"/>
                  </a:lnTo>
                  <a:lnTo>
                    <a:pt x="1380" y="1069"/>
                  </a:lnTo>
                  <a:lnTo>
                    <a:pt x="1381" y="1069"/>
                  </a:lnTo>
                  <a:lnTo>
                    <a:pt x="1381" y="1069"/>
                  </a:lnTo>
                  <a:lnTo>
                    <a:pt x="1382" y="1069"/>
                  </a:lnTo>
                  <a:lnTo>
                    <a:pt x="1382" y="1069"/>
                  </a:lnTo>
                  <a:lnTo>
                    <a:pt x="1385" y="1069"/>
                  </a:lnTo>
                  <a:lnTo>
                    <a:pt x="1385" y="1068"/>
                  </a:lnTo>
                  <a:lnTo>
                    <a:pt x="1385" y="1068"/>
                  </a:lnTo>
                  <a:lnTo>
                    <a:pt x="1385" y="1064"/>
                  </a:lnTo>
                  <a:lnTo>
                    <a:pt x="1385" y="1064"/>
                  </a:lnTo>
                  <a:lnTo>
                    <a:pt x="1385" y="1064"/>
                  </a:lnTo>
                  <a:lnTo>
                    <a:pt x="1386" y="1064"/>
                  </a:lnTo>
                  <a:lnTo>
                    <a:pt x="1386" y="1064"/>
                  </a:lnTo>
                  <a:lnTo>
                    <a:pt x="1387" y="1064"/>
                  </a:lnTo>
                  <a:lnTo>
                    <a:pt x="1387" y="1064"/>
                  </a:lnTo>
                  <a:lnTo>
                    <a:pt x="1387" y="1064"/>
                  </a:lnTo>
                  <a:lnTo>
                    <a:pt x="1387" y="1064"/>
                  </a:lnTo>
                  <a:lnTo>
                    <a:pt x="1387" y="1064"/>
                  </a:lnTo>
                  <a:lnTo>
                    <a:pt x="1387" y="1064"/>
                  </a:lnTo>
                  <a:lnTo>
                    <a:pt x="1387" y="1064"/>
                  </a:lnTo>
                  <a:lnTo>
                    <a:pt x="1387" y="1064"/>
                  </a:lnTo>
                  <a:lnTo>
                    <a:pt x="1388" y="1064"/>
                  </a:lnTo>
                  <a:lnTo>
                    <a:pt x="1388" y="1064"/>
                  </a:lnTo>
                  <a:lnTo>
                    <a:pt x="1388" y="1064"/>
                  </a:lnTo>
                  <a:lnTo>
                    <a:pt x="1388" y="1063"/>
                  </a:lnTo>
                  <a:lnTo>
                    <a:pt x="1388" y="1063"/>
                  </a:lnTo>
                  <a:lnTo>
                    <a:pt x="1388" y="1063"/>
                  </a:lnTo>
                  <a:lnTo>
                    <a:pt x="1388" y="1063"/>
                  </a:lnTo>
                  <a:lnTo>
                    <a:pt x="1388" y="1062"/>
                  </a:lnTo>
                  <a:lnTo>
                    <a:pt x="1388" y="1062"/>
                  </a:lnTo>
                  <a:lnTo>
                    <a:pt x="1388" y="1061"/>
                  </a:lnTo>
                  <a:lnTo>
                    <a:pt x="1388" y="1061"/>
                  </a:lnTo>
                  <a:lnTo>
                    <a:pt x="1388" y="1061"/>
                  </a:lnTo>
                  <a:lnTo>
                    <a:pt x="1389" y="1061"/>
                  </a:lnTo>
                  <a:lnTo>
                    <a:pt x="1389" y="1061"/>
                  </a:lnTo>
                  <a:lnTo>
                    <a:pt x="1389" y="1061"/>
                  </a:lnTo>
                  <a:lnTo>
                    <a:pt x="1389" y="1061"/>
                  </a:lnTo>
                  <a:lnTo>
                    <a:pt x="1390" y="1061"/>
                  </a:lnTo>
                  <a:lnTo>
                    <a:pt x="1390" y="1060"/>
                  </a:lnTo>
                  <a:lnTo>
                    <a:pt x="1390" y="1060"/>
                  </a:lnTo>
                  <a:lnTo>
                    <a:pt x="1390" y="1060"/>
                  </a:lnTo>
                  <a:lnTo>
                    <a:pt x="1390" y="1060"/>
                  </a:lnTo>
                  <a:lnTo>
                    <a:pt x="1390" y="1060"/>
                  </a:lnTo>
                  <a:lnTo>
                    <a:pt x="1390" y="1060"/>
                  </a:lnTo>
                  <a:lnTo>
                    <a:pt x="1390" y="1060"/>
                  </a:lnTo>
                  <a:lnTo>
                    <a:pt x="1390" y="1060"/>
                  </a:lnTo>
                  <a:lnTo>
                    <a:pt x="1390"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2" y="1060"/>
                  </a:lnTo>
                  <a:lnTo>
                    <a:pt x="1392" y="1060"/>
                  </a:lnTo>
                  <a:lnTo>
                    <a:pt x="1396" y="1060"/>
                  </a:lnTo>
                  <a:lnTo>
                    <a:pt x="1396" y="1059"/>
                  </a:lnTo>
                  <a:lnTo>
                    <a:pt x="1396" y="1059"/>
                  </a:lnTo>
                  <a:lnTo>
                    <a:pt x="1396" y="1059"/>
                  </a:lnTo>
                  <a:lnTo>
                    <a:pt x="1397" y="1059"/>
                  </a:lnTo>
                  <a:lnTo>
                    <a:pt x="1397" y="1059"/>
                  </a:lnTo>
                  <a:lnTo>
                    <a:pt x="1399" y="1059"/>
                  </a:lnTo>
                  <a:lnTo>
                    <a:pt x="1399" y="1059"/>
                  </a:lnTo>
                  <a:lnTo>
                    <a:pt x="1399" y="1059"/>
                  </a:lnTo>
                  <a:lnTo>
                    <a:pt x="1399" y="1057"/>
                  </a:lnTo>
                  <a:lnTo>
                    <a:pt x="1399" y="1057"/>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1049"/>
                  </a:lnTo>
                  <a:lnTo>
                    <a:pt x="1408" y="104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1046"/>
                  </a:lnTo>
                  <a:lnTo>
                    <a:pt x="1410" y="1046"/>
                  </a:lnTo>
                  <a:lnTo>
                    <a:pt x="1410" y="1046"/>
                  </a:lnTo>
                  <a:lnTo>
                    <a:pt x="1410" y="1046"/>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1043"/>
                  </a:lnTo>
                  <a:lnTo>
                    <a:pt x="1413" y="1043"/>
                  </a:lnTo>
                  <a:lnTo>
                    <a:pt x="1413" y="1043"/>
                  </a:lnTo>
                  <a:lnTo>
                    <a:pt x="1413" y="1043"/>
                  </a:lnTo>
                  <a:lnTo>
                    <a:pt x="1413" y="1043"/>
                  </a:lnTo>
                  <a:lnTo>
                    <a:pt x="1414" y="1043"/>
                  </a:lnTo>
                  <a:lnTo>
                    <a:pt x="1414" y="1043"/>
                  </a:lnTo>
                  <a:lnTo>
                    <a:pt x="1421" y="1043"/>
                  </a:lnTo>
                  <a:lnTo>
                    <a:pt x="1421" y="1042"/>
                  </a:lnTo>
                  <a:lnTo>
                    <a:pt x="1422" y="1042"/>
                  </a:lnTo>
                  <a:lnTo>
                    <a:pt x="1422" y="1042"/>
                  </a:lnTo>
                  <a:lnTo>
                    <a:pt x="1423" y="1042"/>
                  </a:lnTo>
                  <a:lnTo>
                    <a:pt x="1423" y="1042"/>
                  </a:lnTo>
                  <a:lnTo>
                    <a:pt x="1425" y="1042"/>
                  </a:lnTo>
                  <a:lnTo>
                    <a:pt x="1425" y="1042"/>
                  </a:lnTo>
                  <a:lnTo>
                    <a:pt x="1432" y="1042"/>
                  </a:lnTo>
                  <a:lnTo>
                    <a:pt x="1432" y="1042"/>
                  </a:lnTo>
                  <a:lnTo>
                    <a:pt x="1432" y="1042"/>
                  </a:lnTo>
                  <a:lnTo>
                    <a:pt x="1432" y="1042"/>
                  </a:lnTo>
                  <a:lnTo>
                    <a:pt x="1432" y="1042"/>
                  </a:lnTo>
                  <a:lnTo>
                    <a:pt x="1432" y="1042"/>
                  </a:lnTo>
                  <a:lnTo>
                    <a:pt x="1434" y="1042"/>
                  </a:lnTo>
                  <a:lnTo>
                    <a:pt x="1434" y="1041"/>
                  </a:lnTo>
                  <a:lnTo>
                    <a:pt x="1434" y="1041"/>
                  </a:lnTo>
                  <a:lnTo>
                    <a:pt x="1434"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6" y="1040"/>
                  </a:lnTo>
                  <a:lnTo>
                    <a:pt x="1436" y="899"/>
                  </a:lnTo>
                  <a:lnTo>
                    <a:pt x="1437" y="899"/>
                  </a:lnTo>
                  <a:lnTo>
                    <a:pt x="1437" y="899"/>
                  </a:lnTo>
                  <a:lnTo>
                    <a:pt x="1438" y="899"/>
                  </a:lnTo>
                  <a:lnTo>
                    <a:pt x="1438" y="1039"/>
                  </a:lnTo>
                  <a:lnTo>
                    <a:pt x="1438" y="1039"/>
                  </a:lnTo>
                  <a:lnTo>
                    <a:pt x="1438" y="1039"/>
                  </a:lnTo>
                  <a:lnTo>
                    <a:pt x="1438" y="1039"/>
                  </a:lnTo>
                  <a:lnTo>
                    <a:pt x="1438" y="1038"/>
                  </a:lnTo>
                  <a:lnTo>
                    <a:pt x="1438" y="1038"/>
                  </a:lnTo>
                  <a:lnTo>
                    <a:pt x="1438" y="1038"/>
                  </a:lnTo>
                  <a:lnTo>
                    <a:pt x="1439" y="1038"/>
                  </a:lnTo>
                  <a:lnTo>
                    <a:pt x="1439" y="1038"/>
                  </a:lnTo>
                  <a:lnTo>
                    <a:pt x="1441" y="1038"/>
                  </a:lnTo>
                  <a:lnTo>
                    <a:pt x="1441" y="1038"/>
                  </a:lnTo>
                  <a:lnTo>
                    <a:pt x="1453" y="1038"/>
                  </a:lnTo>
                  <a:lnTo>
                    <a:pt x="1453" y="1038"/>
                  </a:lnTo>
                  <a:lnTo>
                    <a:pt x="1453" y="1038"/>
                  </a:lnTo>
                  <a:lnTo>
                    <a:pt x="1453" y="1037"/>
                  </a:lnTo>
                  <a:lnTo>
                    <a:pt x="1453" y="1037"/>
                  </a:lnTo>
                  <a:lnTo>
                    <a:pt x="1453" y="1037"/>
                  </a:lnTo>
                  <a:lnTo>
                    <a:pt x="1454" y="1037"/>
                  </a:lnTo>
                  <a:lnTo>
                    <a:pt x="1454" y="1036"/>
                  </a:lnTo>
                  <a:lnTo>
                    <a:pt x="1455" y="1036"/>
                  </a:lnTo>
                  <a:lnTo>
                    <a:pt x="1455" y="899"/>
                  </a:lnTo>
                  <a:lnTo>
                    <a:pt x="1455" y="899"/>
                  </a:lnTo>
                  <a:lnTo>
                    <a:pt x="1455" y="899"/>
                  </a:lnTo>
                  <a:lnTo>
                    <a:pt x="1455" y="899"/>
                  </a:lnTo>
                  <a:lnTo>
                    <a:pt x="1455" y="1036"/>
                  </a:lnTo>
                  <a:lnTo>
                    <a:pt x="1455" y="1036"/>
                  </a:lnTo>
                  <a:lnTo>
                    <a:pt x="1455" y="1036"/>
                  </a:lnTo>
                  <a:lnTo>
                    <a:pt x="1456" y="1036"/>
                  </a:lnTo>
                  <a:lnTo>
                    <a:pt x="1456" y="1036"/>
                  </a:lnTo>
                  <a:lnTo>
                    <a:pt x="1457" y="1036"/>
                  </a:lnTo>
                  <a:lnTo>
                    <a:pt x="1457" y="1035"/>
                  </a:lnTo>
                  <a:lnTo>
                    <a:pt x="1457" y="1035"/>
                  </a:lnTo>
                  <a:lnTo>
                    <a:pt x="1457" y="1035"/>
                  </a:lnTo>
                  <a:lnTo>
                    <a:pt x="1474" y="1035"/>
                  </a:lnTo>
                  <a:lnTo>
                    <a:pt x="1474" y="1034"/>
                  </a:lnTo>
                  <a:lnTo>
                    <a:pt x="1474" y="1034"/>
                  </a:lnTo>
                  <a:lnTo>
                    <a:pt x="1474" y="1034"/>
                  </a:lnTo>
                  <a:lnTo>
                    <a:pt x="1474" y="1034"/>
                  </a:lnTo>
                  <a:lnTo>
                    <a:pt x="1474" y="1033"/>
                  </a:lnTo>
                  <a:lnTo>
                    <a:pt x="1475" y="1033"/>
                  </a:lnTo>
                  <a:lnTo>
                    <a:pt x="1475" y="1033"/>
                  </a:lnTo>
                  <a:lnTo>
                    <a:pt x="1475" y="1033"/>
                  </a:lnTo>
                  <a:lnTo>
                    <a:pt x="1475" y="1032"/>
                  </a:lnTo>
                  <a:lnTo>
                    <a:pt x="1475" y="1032"/>
                  </a:lnTo>
                  <a:lnTo>
                    <a:pt x="1475" y="1032"/>
                  </a:lnTo>
                  <a:lnTo>
                    <a:pt x="1476" y="1032"/>
                  </a:lnTo>
                  <a:lnTo>
                    <a:pt x="1476" y="1032"/>
                  </a:lnTo>
                  <a:lnTo>
                    <a:pt x="1476" y="1032"/>
                  </a:lnTo>
                  <a:lnTo>
                    <a:pt x="1476" y="1031"/>
                  </a:lnTo>
                  <a:lnTo>
                    <a:pt x="1478" y="1031"/>
                  </a:lnTo>
                  <a:lnTo>
                    <a:pt x="1478" y="1029"/>
                  </a:lnTo>
                  <a:lnTo>
                    <a:pt x="1478" y="1029"/>
                  </a:lnTo>
                  <a:lnTo>
                    <a:pt x="1478" y="1029"/>
                  </a:lnTo>
                  <a:lnTo>
                    <a:pt x="1478" y="1029"/>
                  </a:lnTo>
                  <a:lnTo>
                    <a:pt x="1478" y="1029"/>
                  </a:lnTo>
                  <a:lnTo>
                    <a:pt x="1478" y="1029"/>
                  </a:lnTo>
                  <a:lnTo>
                    <a:pt x="1478" y="1029"/>
                  </a:lnTo>
                  <a:lnTo>
                    <a:pt x="1478" y="1029"/>
                  </a:lnTo>
                  <a:lnTo>
                    <a:pt x="1478" y="1028"/>
                  </a:lnTo>
                  <a:lnTo>
                    <a:pt x="1479" y="1028"/>
                  </a:lnTo>
                  <a:lnTo>
                    <a:pt x="1479" y="1027"/>
                  </a:lnTo>
                  <a:lnTo>
                    <a:pt x="1482" y="1027"/>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3" y="1026"/>
                  </a:lnTo>
                  <a:lnTo>
                    <a:pt x="1483" y="1026"/>
                  </a:lnTo>
                  <a:lnTo>
                    <a:pt x="1483" y="1026"/>
                  </a:lnTo>
                  <a:lnTo>
                    <a:pt x="1483" y="1026"/>
                  </a:lnTo>
                  <a:lnTo>
                    <a:pt x="1483" y="1026"/>
                  </a:lnTo>
                  <a:lnTo>
                    <a:pt x="1483" y="1025"/>
                  </a:lnTo>
                  <a:lnTo>
                    <a:pt x="1483" y="1025"/>
                  </a:lnTo>
                  <a:lnTo>
                    <a:pt x="1483" y="1024"/>
                  </a:lnTo>
                  <a:lnTo>
                    <a:pt x="1483" y="1024"/>
                  </a:lnTo>
                  <a:lnTo>
                    <a:pt x="1483" y="1024"/>
                  </a:lnTo>
                  <a:lnTo>
                    <a:pt x="1484" y="1024"/>
                  </a:lnTo>
                  <a:lnTo>
                    <a:pt x="1484" y="1021"/>
                  </a:lnTo>
                  <a:lnTo>
                    <a:pt x="1484" y="1021"/>
                  </a:lnTo>
                  <a:lnTo>
                    <a:pt x="1484" y="1020"/>
                  </a:lnTo>
                  <a:lnTo>
                    <a:pt x="1484" y="1020"/>
                  </a:lnTo>
                  <a:lnTo>
                    <a:pt x="1484" y="1020"/>
                  </a:lnTo>
                  <a:lnTo>
                    <a:pt x="1484" y="1020"/>
                  </a:lnTo>
                  <a:lnTo>
                    <a:pt x="1484" y="1020"/>
                  </a:lnTo>
                  <a:lnTo>
                    <a:pt x="1484" y="1020"/>
                  </a:lnTo>
                  <a:lnTo>
                    <a:pt x="1484" y="1019"/>
                  </a:lnTo>
                  <a:lnTo>
                    <a:pt x="1484" y="1019"/>
                  </a:lnTo>
                  <a:lnTo>
                    <a:pt x="1484" y="1017"/>
                  </a:lnTo>
                  <a:lnTo>
                    <a:pt x="1484" y="1017"/>
                  </a:lnTo>
                  <a:lnTo>
                    <a:pt x="1484" y="1017"/>
                  </a:lnTo>
                  <a:lnTo>
                    <a:pt x="1484" y="1017"/>
                  </a:lnTo>
                  <a:lnTo>
                    <a:pt x="1484" y="1017"/>
                  </a:lnTo>
                  <a:lnTo>
                    <a:pt x="1485" y="1017"/>
                  </a:lnTo>
                  <a:lnTo>
                    <a:pt x="1485" y="1016"/>
                  </a:lnTo>
                  <a:lnTo>
                    <a:pt x="1485" y="1016"/>
                  </a:lnTo>
                  <a:lnTo>
                    <a:pt x="1485" y="1016"/>
                  </a:lnTo>
                  <a:lnTo>
                    <a:pt x="1485" y="1016"/>
                  </a:lnTo>
                  <a:lnTo>
                    <a:pt x="1485" y="1014"/>
                  </a:lnTo>
                  <a:lnTo>
                    <a:pt x="1486" y="1014"/>
                  </a:lnTo>
                  <a:lnTo>
                    <a:pt x="1486" y="1014"/>
                  </a:lnTo>
                  <a:lnTo>
                    <a:pt x="1487" y="1014"/>
                  </a:lnTo>
                  <a:lnTo>
                    <a:pt x="1487" y="1014"/>
                  </a:lnTo>
                  <a:lnTo>
                    <a:pt x="1489" y="1014"/>
                  </a:lnTo>
                  <a:lnTo>
                    <a:pt x="1489" y="1014"/>
                  </a:lnTo>
                  <a:lnTo>
                    <a:pt x="1495" y="1014"/>
                  </a:lnTo>
                  <a:lnTo>
                    <a:pt x="1495" y="1012"/>
                  </a:lnTo>
                  <a:lnTo>
                    <a:pt x="1507" y="1012"/>
                  </a:lnTo>
                  <a:lnTo>
                    <a:pt x="1507" y="1012"/>
                  </a:lnTo>
                  <a:lnTo>
                    <a:pt x="1535" y="1012"/>
                  </a:lnTo>
                  <a:lnTo>
                    <a:pt x="1535" y="899"/>
                  </a:lnTo>
                  <a:lnTo>
                    <a:pt x="1535" y="899"/>
                  </a:lnTo>
                  <a:lnTo>
                    <a:pt x="1535" y="899"/>
                  </a:lnTo>
                  <a:lnTo>
                    <a:pt x="1535" y="899"/>
                  </a:lnTo>
                  <a:lnTo>
                    <a:pt x="1535" y="1011"/>
                  </a:lnTo>
                  <a:lnTo>
                    <a:pt x="1536" y="1011"/>
                  </a:lnTo>
                  <a:lnTo>
                    <a:pt x="1536" y="899"/>
                  </a:lnTo>
                  <a:lnTo>
                    <a:pt x="1536" y="899"/>
                  </a:lnTo>
                  <a:lnTo>
                    <a:pt x="1536" y="899"/>
                  </a:lnTo>
                  <a:lnTo>
                    <a:pt x="1537" y="899"/>
                  </a:lnTo>
                  <a:lnTo>
                    <a:pt x="1537" y="1011"/>
                  </a:lnTo>
                  <a:lnTo>
                    <a:pt x="1538" y="1011"/>
                  </a:lnTo>
                  <a:lnTo>
                    <a:pt x="1538" y="899"/>
                  </a:lnTo>
                  <a:lnTo>
                    <a:pt x="1539" y="899"/>
                  </a:lnTo>
                  <a:lnTo>
                    <a:pt x="1539" y="899"/>
                  </a:lnTo>
                  <a:lnTo>
                    <a:pt x="1541" y="899"/>
                  </a:lnTo>
                  <a:lnTo>
                    <a:pt x="1541" y="899"/>
                  </a:lnTo>
                  <a:lnTo>
                    <a:pt x="1544" y="899"/>
                  </a:lnTo>
                  <a:lnTo>
                    <a:pt x="1544" y="899"/>
                  </a:lnTo>
                  <a:lnTo>
                    <a:pt x="1549" y="899"/>
                  </a:lnTo>
                  <a:lnTo>
                    <a:pt x="1549" y="1011"/>
                  </a:lnTo>
                  <a:lnTo>
                    <a:pt x="1558" y="1011"/>
                  </a:lnTo>
                  <a:lnTo>
                    <a:pt x="1558" y="899"/>
                  </a:lnTo>
                  <a:lnTo>
                    <a:pt x="1576" y="899"/>
                  </a:lnTo>
                  <a:lnTo>
                    <a:pt x="1576" y="899"/>
                  </a:lnTo>
                  <a:lnTo>
                    <a:pt x="1626" y="899"/>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899"/>
                  </a:lnTo>
                  <a:lnTo>
                    <a:pt x="1687" y="899"/>
                  </a:lnTo>
                  <a:lnTo>
                    <a:pt x="1687" y="899"/>
                  </a:lnTo>
                  <a:lnTo>
                    <a:pt x="1695" y="899"/>
                  </a:lnTo>
                  <a:lnTo>
                    <a:pt x="1695" y="1006"/>
                  </a:lnTo>
                  <a:lnTo>
                    <a:pt x="1695" y="1006"/>
                  </a:lnTo>
                  <a:lnTo>
                    <a:pt x="1695" y="1006"/>
                  </a:lnTo>
                  <a:lnTo>
                    <a:pt x="1698" y="1006"/>
                  </a:lnTo>
                  <a:lnTo>
                    <a:pt x="1698" y="1005"/>
                  </a:lnTo>
                  <a:lnTo>
                    <a:pt x="1698" y="1005"/>
                  </a:lnTo>
                  <a:lnTo>
                    <a:pt x="1698" y="1005"/>
                  </a:lnTo>
                  <a:lnTo>
                    <a:pt x="1699" y="1005"/>
                  </a:lnTo>
                  <a:lnTo>
                    <a:pt x="1699" y="1004"/>
                  </a:lnTo>
                  <a:lnTo>
                    <a:pt x="1699" y="1004"/>
                  </a:lnTo>
                  <a:lnTo>
                    <a:pt x="1699" y="1004"/>
                  </a:lnTo>
                  <a:lnTo>
                    <a:pt x="1699" y="1004"/>
                  </a:lnTo>
                  <a:lnTo>
                    <a:pt x="1699" y="1003"/>
                  </a:lnTo>
                  <a:lnTo>
                    <a:pt x="1699" y="1003"/>
                  </a:lnTo>
                  <a:lnTo>
                    <a:pt x="1699" y="999"/>
                  </a:lnTo>
                  <a:lnTo>
                    <a:pt x="1699" y="999"/>
                  </a:lnTo>
                  <a:lnTo>
                    <a:pt x="1699" y="999"/>
                  </a:lnTo>
                  <a:lnTo>
                    <a:pt x="1699" y="999"/>
                  </a:lnTo>
                  <a:lnTo>
                    <a:pt x="1699" y="999"/>
                  </a:lnTo>
                  <a:lnTo>
                    <a:pt x="1699" y="999"/>
                  </a:lnTo>
                  <a:lnTo>
                    <a:pt x="1699" y="998"/>
                  </a:lnTo>
                  <a:lnTo>
                    <a:pt x="1699" y="998"/>
                  </a:lnTo>
                  <a:lnTo>
                    <a:pt x="1699" y="997"/>
                  </a:lnTo>
                  <a:lnTo>
                    <a:pt x="1700" y="997"/>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993"/>
                  </a:lnTo>
                  <a:lnTo>
                    <a:pt x="1702" y="993"/>
                  </a:lnTo>
                  <a:lnTo>
                    <a:pt x="1702" y="993"/>
                  </a:lnTo>
                  <a:lnTo>
                    <a:pt x="1703" y="993"/>
                  </a:lnTo>
                  <a:lnTo>
                    <a:pt x="1703" y="993"/>
                  </a:lnTo>
                  <a:lnTo>
                    <a:pt x="1703" y="993"/>
                  </a:lnTo>
                  <a:lnTo>
                    <a:pt x="1703" y="993"/>
                  </a:lnTo>
                  <a:lnTo>
                    <a:pt x="1706" y="993"/>
                  </a:lnTo>
                  <a:lnTo>
                    <a:pt x="1706" y="992"/>
                  </a:lnTo>
                  <a:lnTo>
                    <a:pt x="1706" y="992"/>
                  </a:lnTo>
                  <a:lnTo>
                    <a:pt x="1706" y="992"/>
                  </a:lnTo>
                  <a:lnTo>
                    <a:pt x="1737" y="992"/>
                  </a:lnTo>
                  <a:lnTo>
                    <a:pt x="1737" y="992"/>
                  </a:lnTo>
                  <a:lnTo>
                    <a:pt x="1799" y="992"/>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899"/>
                  </a:lnTo>
                  <a:lnTo>
                    <a:pt x="1801" y="899"/>
                  </a:lnTo>
                  <a:lnTo>
                    <a:pt x="1801" y="899"/>
                  </a:lnTo>
                  <a:lnTo>
                    <a:pt x="1802" y="899"/>
                  </a:lnTo>
                  <a:lnTo>
                    <a:pt x="1802" y="899"/>
                  </a:lnTo>
                  <a:lnTo>
                    <a:pt x="1802" y="899"/>
                  </a:lnTo>
                  <a:lnTo>
                    <a:pt x="1802" y="899"/>
                  </a:lnTo>
                  <a:lnTo>
                    <a:pt x="1803" y="899"/>
                  </a:lnTo>
                  <a:lnTo>
                    <a:pt x="1803" y="899"/>
                  </a:lnTo>
                  <a:lnTo>
                    <a:pt x="1804" y="899"/>
                  </a:lnTo>
                  <a:lnTo>
                    <a:pt x="1804" y="899"/>
                  </a:lnTo>
                  <a:lnTo>
                    <a:pt x="1808" y="899"/>
                  </a:lnTo>
                  <a:lnTo>
                    <a:pt x="1808" y="899"/>
                  </a:lnTo>
                  <a:lnTo>
                    <a:pt x="1814" y="899"/>
                  </a:lnTo>
                  <a:lnTo>
                    <a:pt x="1814" y="974"/>
                  </a:lnTo>
                  <a:lnTo>
                    <a:pt x="1814" y="974"/>
                  </a:lnTo>
                  <a:lnTo>
                    <a:pt x="1814" y="970"/>
                  </a:lnTo>
                  <a:lnTo>
                    <a:pt x="1814" y="970"/>
                  </a:lnTo>
                  <a:lnTo>
                    <a:pt x="1814" y="970"/>
                  </a:lnTo>
                  <a:lnTo>
                    <a:pt x="1814" y="970"/>
                  </a:lnTo>
                  <a:lnTo>
                    <a:pt x="1814" y="970"/>
                  </a:lnTo>
                  <a:lnTo>
                    <a:pt x="1815" y="970"/>
                  </a:lnTo>
                  <a:lnTo>
                    <a:pt x="1815" y="968"/>
                  </a:lnTo>
                  <a:lnTo>
                    <a:pt x="1817" y="968"/>
                  </a:lnTo>
                  <a:lnTo>
                    <a:pt x="1817" y="966"/>
                  </a:lnTo>
                  <a:lnTo>
                    <a:pt x="1817" y="966"/>
                  </a:lnTo>
                  <a:lnTo>
                    <a:pt x="1817" y="966"/>
                  </a:lnTo>
                  <a:lnTo>
                    <a:pt x="1820" y="966"/>
                  </a:lnTo>
                  <a:lnTo>
                    <a:pt x="1820" y="966"/>
                  </a:lnTo>
                  <a:lnTo>
                    <a:pt x="1844" y="966"/>
                  </a:lnTo>
                  <a:lnTo>
                    <a:pt x="1844" y="964"/>
                  </a:lnTo>
                  <a:lnTo>
                    <a:pt x="1845" y="964"/>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899"/>
                  </a:lnTo>
                  <a:lnTo>
                    <a:pt x="1852" y="899"/>
                  </a:lnTo>
                  <a:lnTo>
                    <a:pt x="1852" y="899"/>
                  </a:lnTo>
                  <a:lnTo>
                    <a:pt x="1852" y="899"/>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938"/>
                  </a:lnTo>
                  <a:lnTo>
                    <a:pt x="1901" y="938"/>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936"/>
                  </a:lnTo>
                  <a:lnTo>
                    <a:pt x="1903" y="936"/>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929"/>
                  </a:lnTo>
                  <a:lnTo>
                    <a:pt x="1927" y="929"/>
                  </a:lnTo>
                  <a:lnTo>
                    <a:pt x="1927" y="929"/>
                  </a:lnTo>
                  <a:lnTo>
                    <a:pt x="1929" y="929"/>
                  </a:lnTo>
                  <a:lnTo>
                    <a:pt x="1929" y="929"/>
                  </a:lnTo>
                  <a:lnTo>
                    <a:pt x="1936" y="929"/>
                  </a:lnTo>
                  <a:lnTo>
                    <a:pt x="1936" y="929"/>
                  </a:lnTo>
                  <a:lnTo>
                    <a:pt x="1943" y="92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899"/>
                  </a:lnTo>
                  <a:lnTo>
                    <a:pt x="1945" y="899"/>
                  </a:lnTo>
                  <a:lnTo>
                    <a:pt x="1945" y="899"/>
                  </a:lnTo>
                  <a:lnTo>
                    <a:pt x="1945" y="899"/>
                  </a:lnTo>
                  <a:lnTo>
                    <a:pt x="1945" y="899"/>
                  </a:lnTo>
                  <a:lnTo>
                    <a:pt x="1945" y="89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910"/>
                  </a:lnTo>
                  <a:lnTo>
                    <a:pt x="1963" y="910"/>
                  </a:lnTo>
                  <a:lnTo>
                    <a:pt x="1963" y="910"/>
                  </a:lnTo>
                  <a:lnTo>
                    <a:pt x="1968" y="910"/>
                  </a:lnTo>
                  <a:lnTo>
                    <a:pt x="1968" y="910"/>
                  </a:lnTo>
                  <a:lnTo>
                    <a:pt x="2021" y="910"/>
                  </a:lnTo>
                  <a:lnTo>
                    <a:pt x="2021" y="910"/>
                  </a:lnTo>
                  <a:lnTo>
                    <a:pt x="2032" y="910"/>
                  </a:lnTo>
                  <a:lnTo>
                    <a:pt x="2032" y="910"/>
                  </a:lnTo>
                  <a:lnTo>
                    <a:pt x="2055" y="910"/>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6"/>
                  </a:lnTo>
                  <a:lnTo>
                    <a:pt x="2059" y="896"/>
                  </a:lnTo>
                  <a:lnTo>
                    <a:pt x="2059" y="894"/>
                  </a:lnTo>
                  <a:lnTo>
                    <a:pt x="2059" y="894"/>
                  </a:lnTo>
                  <a:lnTo>
                    <a:pt x="2059" y="894"/>
                  </a:lnTo>
                  <a:lnTo>
                    <a:pt x="2059" y="894"/>
                  </a:lnTo>
                  <a:lnTo>
                    <a:pt x="2059" y="893"/>
                  </a:lnTo>
                  <a:lnTo>
                    <a:pt x="2059" y="893"/>
                  </a:lnTo>
                  <a:lnTo>
                    <a:pt x="2059" y="893"/>
                  </a:lnTo>
                  <a:lnTo>
                    <a:pt x="2059" y="893"/>
                  </a:lnTo>
                  <a:lnTo>
                    <a:pt x="2059" y="892"/>
                  </a:lnTo>
                  <a:lnTo>
                    <a:pt x="2059" y="892"/>
                  </a:lnTo>
                  <a:lnTo>
                    <a:pt x="2059" y="892"/>
                  </a:lnTo>
                  <a:lnTo>
                    <a:pt x="2059" y="892"/>
                  </a:lnTo>
                  <a:lnTo>
                    <a:pt x="2059" y="892"/>
                  </a:lnTo>
                  <a:lnTo>
                    <a:pt x="2060" y="892"/>
                  </a:lnTo>
                  <a:lnTo>
                    <a:pt x="2060" y="892"/>
                  </a:lnTo>
                  <a:lnTo>
                    <a:pt x="2060" y="892"/>
                  </a:lnTo>
                  <a:lnTo>
                    <a:pt x="2060" y="892"/>
                  </a:lnTo>
                  <a:lnTo>
                    <a:pt x="2061" y="892"/>
                  </a:lnTo>
                  <a:lnTo>
                    <a:pt x="2061" y="892"/>
                  </a:lnTo>
                  <a:lnTo>
                    <a:pt x="2064" y="892"/>
                  </a:lnTo>
                  <a:lnTo>
                    <a:pt x="2064" y="892"/>
                  </a:lnTo>
                  <a:lnTo>
                    <a:pt x="2077" y="892"/>
                  </a:lnTo>
                  <a:lnTo>
                    <a:pt x="2077" y="899"/>
                  </a:lnTo>
                  <a:lnTo>
                    <a:pt x="2077" y="899"/>
                  </a:lnTo>
                  <a:lnTo>
                    <a:pt x="2077" y="899"/>
                  </a:lnTo>
                  <a:lnTo>
                    <a:pt x="2077" y="899"/>
                  </a:lnTo>
                  <a:lnTo>
                    <a:pt x="2077" y="899"/>
                  </a:lnTo>
                  <a:lnTo>
                    <a:pt x="2077" y="899"/>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87"/>
                  </a:lnTo>
                  <a:lnTo>
                    <a:pt x="2079" y="887"/>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70"/>
                  </a:lnTo>
                  <a:lnTo>
                    <a:pt x="2152" y="870"/>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44"/>
                  </a:lnTo>
                  <a:lnTo>
                    <a:pt x="2185" y="844"/>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4"/>
                  </a:lnTo>
                  <a:lnTo>
                    <a:pt x="2215" y="834"/>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29"/>
                  </a:lnTo>
                  <a:lnTo>
                    <a:pt x="2217" y="829"/>
                  </a:lnTo>
                  <a:lnTo>
                    <a:pt x="2217" y="829"/>
                  </a:lnTo>
                  <a:lnTo>
                    <a:pt x="2217" y="82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20"/>
                  </a:lnTo>
                  <a:lnTo>
                    <a:pt x="2231" y="820"/>
                  </a:lnTo>
                  <a:lnTo>
                    <a:pt x="2231" y="818"/>
                  </a:lnTo>
                  <a:lnTo>
                    <a:pt x="2231" y="818"/>
                  </a:lnTo>
                  <a:lnTo>
                    <a:pt x="2231" y="818"/>
                  </a:lnTo>
                  <a:lnTo>
                    <a:pt x="2231" y="818"/>
                  </a:lnTo>
                  <a:lnTo>
                    <a:pt x="2231" y="818"/>
                  </a:lnTo>
                  <a:lnTo>
                    <a:pt x="2231" y="818"/>
                  </a:lnTo>
                  <a:lnTo>
                    <a:pt x="2231" y="818"/>
                  </a:lnTo>
                  <a:lnTo>
                    <a:pt x="2231" y="818"/>
                  </a:lnTo>
                  <a:lnTo>
                    <a:pt x="2231" y="818"/>
                  </a:lnTo>
                  <a:lnTo>
                    <a:pt x="2233" y="818"/>
                  </a:lnTo>
                  <a:lnTo>
                    <a:pt x="2233" y="818"/>
                  </a:lnTo>
                  <a:lnTo>
                    <a:pt x="2239" y="818"/>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07"/>
                  </a:lnTo>
                  <a:lnTo>
                    <a:pt x="2293" y="807"/>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799"/>
                  </a:lnTo>
                  <a:lnTo>
                    <a:pt x="2311" y="799"/>
                  </a:lnTo>
                  <a:lnTo>
                    <a:pt x="2311" y="799"/>
                  </a:lnTo>
                  <a:lnTo>
                    <a:pt x="2350" y="799"/>
                  </a:lnTo>
                  <a:lnTo>
                    <a:pt x="2350" y="798"/>
                  </a:lnTo>
                  <a:lnTo>
                    <a:pt x="2350" y="798"/>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782"/>
                  </a:lnTo>
                  <a:lnTo>
                    <a:pt x="2526" y="782"/>
                  </a:lnTo>
                  <a:lnTo>
                    <a:pt x="2526" y="780"/>
                  </a:lnTo>
                  <a:lnTo>
                    <a:pt x="2526" y="780"/>
                  </a:lnTo>
                  <a:lnTo>
                    <a:pt x="2526" y="780"/>
                  </a:lnTo>
                  <a:lnTo>
                    <a:pt x="2526" y="780"/>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760"/>
                  </a:lnTo>
                  <a:lnTo>
                    <a:pt x="2630" y="760"/>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743"/>
                  </a:lnTo>
                  <a:lnTo>
                    <a:pt x="2649" y="743"/>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723"/>
                  </a:lnTo>
                  <a:lnTo>
                    <a:pt x="2662" y="723"/>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678"/>
                  </a:lnTo>
                  <a:lnTo>
                    <a:pt x="2690" y="678"/>
                  </a:lnTo>
                  <a:lnTo>
                    <a:pt x="2690" y="678"/>
                  </a:lnTo>
                  <a:lnTo>
                    <a:pt x="2690" y="678"/>
                  </a:lnTo>
                  <a:lnTo>
                    <a:pt x="2690" y="678"/>
                  </a:lnTo>
                  <a:lnTo>
                    <a:pt x="2690" y="678"/>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899"/>
                  </a:lnTo>
                  <a:lnTo>
                    <a:pt x="2707" y="899"/>
                  </a:lnTo>
                  <a:lnTo>
                    <a:pt x="2707" y="899"/>
                  </a:lnTo>
                  <a:lnTo>
                    <a:pt x="2712" y="899"/>
                  </a:lnTo>
                  <a:lnTo>
                    <a:pt x="2712" y="660"/>
                  </a:lnTo>
                  <a:lnTo>
                    <a:pt x="2712" y="660"/>
                  </a:lnTo>
                  <a:lnTo>
                    <a:pt x="2712" y="660"/>
                  </a:lnTo>
                  <a:lnTo>
                    <a:pt x="2713" y="660"/>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658"/>
                  </a:lnTo>
                  <a:lnTo>
                    <a:pt x="2735" y="658"/>
                  </a:lnTo>
                  <a:lnTo>
                    <a:pt x="2735" y="658"/>
                  </a:lnTo>
                  <a:lnTo>
                    <a:pt x="2735" y="658"/>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654"/>
                  </a:lnTo>
                  <a:lnTo>
                    <a:pt x="2735" y="654"/>
                  </a:lnTo>
                  <a:lnTo>
                    <a:pt x="2735" y="654"/>
                  </a:lnTo>
                  <a:lnTo>
                    <a:pt x="2736" y="654"/>
                  </a:lnTo>
                  <a:lnTo>
                    <a:pt x="2736" y="654"/>
                  </a:lnTo>
                  <a:lnTo>
                    <a:pt x="2748" y="654"/>
                  </a:lnTo>
                  <a:lnTo>
                    <a:pt x="2748" y="653"/>
                  </a:lnTo>
                  <a:lnTo>
                    <a:pt x="2752" y="653"/>
                  </a:lnTo>
                  <a:lnTo>
                    <a:pt x="2752" y="653"/>
                  </a:lnTo>
                  <a:lnTo>
                    <a:pt x="2775" y="653"/>
                  </a:lnTo>
                  <a:lnTo>
                    <a:pt x="2775" y="652"/>
                  </a:lnTo>
                  <a:lnTo>
                    <a:pt x="2775" y="652"/>
                  </a:lnTo>
                  <a:lnTo>
                    <a:pt x="2775" y="652"/>
                  </a:lnTo>
                  <a:lnTo>
                    <a:pt x="2775" y="652"/>
                  </a:lnTo>
                  <a:lnTo>
                    <a:pt x="2775" y="652"/>
                  </a:lnTo>
                  <a:lnTo>
                    <a:pt x="2775" y="652"/>
                  </a:lnTo>
                  <a:lnTo>
                    <a:pt x="2775" y="651"/>
                  </a:lnTo>
                  <a:lnTo>
                    <a:pt x="2782" y="651"/>
                  </a:lnTo>
                  <a:lnTo>
                    <a:pt x="2782" y="649"/>
                  </a:lnTo>
                  <a:lnTo>
                    <a:pt x="2782" y="64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647"/>
                  </a:lnTo>
                  <a:lnTo>
                    <a:pt x="2783" y="647"/>
                  </a:lnTo>
                  <a:lnTo>
                    <a:pt x="2783" y="647"/>
                  </a:lnTo>
                  <a:lnTo>
                    <a:pt x="2783" y="647"/>
                  </a:lnTo>
                  <a:lnTo>
                    <a:pt x="2783" y="643"/>
                  </a:lnTo>
                  <a:lnTo>
                    <a:pt x="2791" y="643"/>
                  </a:lnTo>
                  <a:lnTo>
                    <a:pt x="2791" y="642"/>
                  </a:lnTo>
                  <a:lnTo>
                    <a:pt x="2792" y="642"/>
                  </a:lnTo>
                  <a:lnTo>
                    <a:pt x="2792" y="638"/>
                  </a:lnTo>
                  <a:lnTo>
                    <a:pt x="2794" y="638"/>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631"/>
                  </a:lnTo>
                  <a:lnTo>
                    <a:pt x="2794" y="631"/>
                  </a:lnTo>
                  <a:lnTo>
                    <a:pt x="2794" y="631"/>
                  </a:lnTo>
                  <a:lnTo>
                    <a:pt x="2795" y="631"/>
                  </a:lnTo>
                  <a:lnTo>
                    <a:pt x="2795" y="628"/>
                  </a:lnTo>
                  <a:lnTo>
                    <a:pt x="2798" y="628"/>
                  </a:lnTo>
                  <a:lnTo>
                    <a:pt x="2798" y="626"/>
                  </a:lnTo>
                  <a:lnTo>
                    <a:pt x="2799" y="626"/>
                  </a:lnTo>
                  <a:lnTo>
                    <a:pt x="2799" y="626"/>
                  </a:lnTo>
                  <a:lnTo>
                    <a:pt x="2837" y="626"/>
                  </a:lnTo>
                  <a:lnTo>
                    <a:pt x="2837" y="625"/>
                  </a:lnTo>
                  <a:lnTo>
                    <a:pt x="2837" y="625"/>
                  </a:lnTo>
                  <a:lnTo>
                    <a:pt x="2837" y="623"/>
                  </a:lnTo>
                  <a:lnTo>
                    <a:pt x="2837" y="623"/>
                  </a:lnTo>
                  <a:lnTo>
                    <a:pt x="2837" y="623"/>
                  </a:lnTo>
                  <a:lnTo>
                    <a:pt x="2840" y="623"/>
                  </a:lnTo>
                  <a:lnTo>
                    <a:pt x="2840" y="619"/>
                  </a:lnTo>
                  <a:lnTo>
                    <a:pt x="2842" y="619"/>
                  </a:lnTo>
                  <a:lnTo>
                    <a:pt x="2842" y="619"/>
                  </a:lnTo>
                  <a:lnTo>
                    <a:pt x="2842" y="619"/>
                  </a:lnTo>
                  <a:lnTo>
                    <a:pt x="2842" y="619"/>
                  </a:lnTo>
                  <a:lnTo>
                    <a:pt x="2842" y="619"/>
                  </a:lnTo>
                  <a:lnTo>
                    <a:pt x="2842" y="899"/>
                  </a:lnTo>
                  <a:lnTo>
                    <a:pt x="2843" y="899"/>
                  </a:lnTo>
                  <a:lnTo>
                    <a:pt x="2843" y="899"/>
                  </a:lnTo>
                  <a:lnTo>
                    <a:pt x="2844" y="899"/>
                  </a:lnTo>
                  <a:lnTo>
                    <a:pt x="2844" y="899"/>
                  </a:lnTo>
                  <a:lnTo>
                    <a:pt x="2848" y="899"/>
                  </a:lnTo>
                  <a:lnTo>
                    <a:pt x="2848" y="899"/>
                  </a:lnTo>
                  <a:lnTo>
                    <a:pt x="2853" y="899"/>
                  </a:lnTo>
                  <a:lnTo>
                    <a:pt x="2853" y="612"/>
                  </a:lnTo>
                  <a:lnTo>
                    <a:pt x="2855" y="612"/>
                  </a:lnTo>
                  <a:lnTo>
                    <a:pt x="2855" y="611"/>
                  </a:lnTo>
                  <a:lnTo>
                    <a:pt x="2856" y="611"/>
                  </a:lnTo>
                  <a:lnTo>
                    <a:pt x="2856" y="611"/>
                  </a:lnTo>
                  <a:lnTo>
                    <a:pt x="2866" y="611"/>
                  </a:lnTo>
                  <a:lnTo>
                    <a:pt x="2866" y="611"/>
                  </a:lnTo>
                  <a:lnTo>
                    <a:pt x="2891" y="611"/>
                  </a:lnTo>
                  <a:lnTo>
                    <a:pt x="2891" y="610"/>
                  </a:lnTo>
                  <a:lnTo>
                    <a:pt x="2895" y="610"/>
                  </a:lnTo>
                  <a:lnTo>
                    <a:pt x="2895" y="599"/>
                  </a:lnTo>
                  <a:lnTo>
                    <a:pt x="2896" y="5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590"/>
                  </a:lnTo>
                  <a:lnTo>
                    <a:pt x="2903" y="590"/>
                  </a:lnTo>
                  <a:lnTo>
                    <a:pt x="2903" y="582"/>
                  </a:lnTo>
                  <a:lnTo>
                    <a:pt x="2904" y="582"/>
                  </a:lnTo>
                  <a:lnTo>
                    <a:pt x="2904" y="579"/>
                  </a:lnTo>
                  <a:lnTo>
                    <a:pt x="2904" y="57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568"/>
                  </a:lnTo>
                  <a:lnTo>
                    <a:pt x="2938" y="568"/>
                  </a:lnTo>
                  <a:lnTo>
                    <a:pt x="2938" y="567"/>
                  </a:lnTo>
                  <a:lnTo>
                    <a:pt x="2938" y="567"/>
                  </a:lnTo>
                  <a:lnTo>
                    <a:pt x="2938" y="567"/>
                  </a:lnTo>
                  <a:lnTo>
                    <a:pt x="2939" y="567"/>
                  </a:lnTo>
                  <a:lnTo>
                    <a:pt x="2939" y="567"/>
                  </a:lnTo>
                  <a:lnTo>
                    <a:pt x="2943" y="567"/>
                  </a:lnTo>
                  <a:lnTo>
                    <a:pt x="2943" y="567"/>
                  </a:lnTo>
                  <a:lnTo>
                    <a:pt x="2943" y="567"/>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561"/>
                  </a:lnTo>
                  <a:lnTo>
                    <a:pt x="2947" y="561"/>
                  </a:lnTo>
                  <a:lnTo>
                    <a:pt x="2947" y="561"/>
                  </a:lnTo>
                  <a:lnTo>
                    <a:pt x="2950" y="561"/>
                  </a:lnTo>
                  <a:lnTo>
                    <a:pt x="2950" y="552"/>
                  </a:lnTo>
                  <a:lnTo>
                    <a:pt x="2950" y="552"/>
                  </a:lnTo>
                  <a:lnTo>
                    <a:pt x="2950" y="552"/>
                  </a:lnTo>
                  <a:lnTo>
                    <a:pt x="2950" y="552"/>
                  </a:lnTo>
                  <a:lnTo>
                    <a:pt x="2950" y="551"/>
                  </a:lnTo>
                  <a:lnTo>
                    <a:pt x="2950" y="551"/>
                  </a:lnTo>
                  <a:lnTo>
                    <a:pt x="2950" y="551"/>
                  </a:lnTo>
                  <a:lnTo>
                    <a:pt x="2950" y="551"/>
                  </a:lnTo>
                  <a:lnTo>
                    <a:pt x="2950" y="551"/>
                  </a:lnTo>
                  <a:lnTo>
                    <a:pt x="2951" y="551"/>
                  </a:lnTo>
                  <a:lnTo>
                    <a:pt x="2951" y="547"/>
                  </a:lnTo>
                  <a:lnTo>
                    <a:pt x="2951" y="547"/>
                  </a:lnTo>
                  <a:lnTo>
                    <a:pt x="2951" y="547"/>
                  </a:lnTo>
                  <a:lnTo>
                    <a:pt x="2951" y="547"/>
                  </a:lnTo>
                  <a:lnTo>
                    <a:pt x="2951" y="545"/>
                  </a:lnTo>
                  <a:lnTo>
                    <a:pt x="2952" y="545"/>
                  </a:lnTo>
                  <a:lnTo>
                    <a:pt x="2952" y="543"/>
                  </a:lnTo>
                  <a:lnTo>
                    <a:pt x="2953" y="543"/>
                  </a:lnTo>
                  <a:lnTo>
                    <a:pt x="2953" y="540"/>
                  </a:lnTo>
                  <a:lnTo>
                    <a:pt x="2962" y="540"/>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528"/>
                  </a:lnTo>
                  <a:lnTo>
                    <a:pt x="2972" y="528"/>
                  </a:lnTo>
                  <a:lnTo>
                    <a:pt x="2972" y="527"/>
                  </a:lnTo>
                  <a:lnTo>
                    <a:pt x="3045" y="527"/>
                  </a:lnTo>
                  <a:lnTo>
                    <a:pt x="3045" y="899"/>
                  </a:lnTo>
                  <a:lnTo>
                    <a:pt x="3045" y="899"/>
                  </a:lnTo>
                  <a:lnTo>
                    <a:pt x="3045" y="899"/>
                  </a:lnTo>
                  <a:lnTo>
                    <a:pt x="3046" y="899"/>
                  </a:lnTo>
                  <a:lnTo>
                    <a:pt x="3046" y="523"/>
                  </a:lnTo>
                  <a:lnTo>
                    <a:pt x="3046" y="523"/>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511"/>
                  </a:lnTo>
                  <a:lnTo>
                    <a:pt x="3058" y="511"/>
                  </a:lnTo>
                  <a:lnTo>
                    <a:pt x="3058" y="510"/>
                  </a:lnTo>
                  <a:lnTo>
                    <a:pt x="3060" y="510"/>
                  </a:lnTo>
                  <a:lnTo>
                    <a:pt x="3060" y="510"/>
                  </a:lnTo>
                  <a:lnTo>
                    <a:pt x="3075" y="510"/>
                  </a:lnTo>
                  <a:lnTo>
                    <a:pt x="3075" y="500"/>
                  </a:lnTo>
                  <a:lnTo>
                    <a:pt x="3075" y="500"/>
                  </a:lnTo>
                  <a:lnTo>
                    <a:pt x="3075" y="492"/>
                  </a:lnTo>
                  <a:lnTo>
                    <a:pt x="3075" y="492"/>
                  </a:lnTo>
                  <a:lnTo>
                    <a:pt x="3075" y="492"/>
                  </a:lnTo>
                  <a:lnTo>
                    <a:pt x="3075" y="492"/>
                  </a:lnTo>
                  <a:lnTo>
                    <a:pt x="3075" y="492"/>
                  </a:lnTo>
                  <a:lnTo>
                    <a:pt x="3075" y="492"/>
                  </a:lnTo>
                  <a:lnTo>
                    <a:pt x="3075" y="492"/>
                  </a:lnTo>
                  <a:lnTo>
                    <a:pt x="3076" y="492"/>
                  </a:lnTo>
                  <a:lnTo>
                    <a:pt x="3076" y="490"/>
                  </a:lnTo>
                  <a:lnTo>
                    <a:pt x="3101" y="490"/>
                  </a:lnTo>
                  <a:lnTo>
                    <a:pt x="3101" y="490"/>
                  </a:lnTo>
                  <a:lnTo>
                    <a:pt x="3156" y="490"/>
                  </a:lnTo>
                  <a:lnTo>
                    <a:pt x="3156" y="488"/>
                  </a:lnTo>
                  <a:lnTo>
                    <a:pt x="3156" y="488"/>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377"/>
                  </a:lnTo>
                  <a:lnTo>
                    <a:pt x="3216" y="377"/>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377"/>
                  </a:lnTo>
                  <a:lnTo>
                    <a:pt x="3203" y="377"/>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488"/>
                  </a:lnTo>
                  <a:lnTo>
                    <a:pt x="3156" y="488"/>
                  </a:lnTo>
                  <a:lnTo>
                    <a:pt x="3156" y="490"/>
                  </a:lnTo>
                  <a:lnTo>
                    <a:pt x="3101" y="490"/>
                  </a:lnTo>
                  <a:lnTo>
                    <a:pt x="3101" y="490"/>
                  </a:lnTo>
                  <a:lnTo>
                    <a:pt x="3076" y="490"/>
                  </a:lnTo>
                  <a:lnTo>
                    <a:pt x="3076" y="492"/>
                  </a:lnTo>
                  <a:lnTo>
                    <a:pt x="3075" y="492"/>
                  </a:lnTo>
                  <a:lnTo>
                    <a:pt x="3075" y="492"/>
                  </a:lnTo>
                  <a:lnTo>
                    <a:pt x="3075" y="492"/>
                  </a:lnTo>
                  <a:lnTo>
                    <a:pt x="3075" y="492"/>
                  </a:lnTo>
                  <a:lnTo>
                    <a:pt x="3075" y="492"/>
                  </a:lnTo>
                  <a:lnTo>
                    <a:pt x="3075" y="492"/>
                  </a:lnTo>
                  <a:lnTo>
                    <a:pt x="3075" y="492"/>
                  </a:lnTo>
                  <a:lnTo>
                    <a:pt x="3075" y="500"/>
                  </a:lnTo>
                  <a:lnTo>
                    <a:pt x="3075" y="500"/>
                  </a:lnTo>
                  <a:lnTo>
                    <a:pt x="3075" y="510"/>
                  </a:lnTo>
                  <a:lnTo>
                    <a:pt x="3060" y="510"/>
                  </a:lnTo>
                  <a:lnTo>
                    <a:pt x="3060" y="510"/>
                  </a:lnTo>
                  <a:lnTo>
                    <a:pt x="3058" y="510"/>
                  </a:lnTo>
                  <a:lnTo>
                    <a:pt x="3058" y="511"/>
                  </a:lnTo>
                  <a:lnTo>
                    <a:pt x="3058" y="511"/>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523"/>
                  </a:lnTo>
                  <a:lnTo>
                    <a:pt x="3046" y="523"/>
                  </a:lnTo>
                  <a:lnTo>
                    <a:pt x="3046" y="899"/>
                  </a:lnTo>
                  <a:lnTo>
                    <a:pt x="3045" y="899"/>
                  </a:lnTo>
                  <a:lnTo>
                    <a:pt x="3045" y="899"/>
                  </a:lnTo>
                  <a:lnTo>
                    <a:pt x="3045" y="899"/>
                  </a:lnTo>
                  <a:lnTo>
                    <a:pt x="3045" y="527"/>
                  </a:lnTo>
                  <a:lnTo>
                    <a:pt x="2972" y="527"/>
                  </a:lnTo>
                  <a:lnTo>
                    <a:pt x="2972" y="528"/>
                  </a:lnTo>
                  <a:lnTo>
                    <a:pt x="2972" y="528"/>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540"/>
                  </a:lnTo>
                  <a:lnTo>
                    <a:pt x="2953" y="540"/>
                  </a:lnTo>
                  <a:lnTo>
                    <a:pt x="2953" y="543"/>
                  </a:lnTo>
                  <a:lnTo>
                    <a:pt x="2952" y="543"/>
                  </a:lnTo>
                  <a:lnTo>
                    <a:pt x="2952" y="545"/>
                  </a:lnTo>
                  <a:lnTo>
                    <a:pt x="2951" y="545"/>
                  </a:lnTo>
                  <a:lnTo>
                    <a:pt x="2951" y="547"/>
                  </a:lnTo>
                  <a:lnTo>
                    <a:pt x="2951" y="547"/>
                  </a:lnTo>
                  <a:lnTo>
                    <a:pt x="2951" y="547"/>
                  </a:lnTo>
                  <a:lnTo>
                    <a:pt x="2951" y="547"/>
                  </a:lnTo>
                  <a:lnTo>
                    <a:pt x="2951" y="551"/>
                  </a:lnTo>
                  <a:lnTo>
                    <a:pt x="2950" y="551"/>
                  </a:lnTo>
                  <a:lnTo>
                    <a:pt x="2950" y="551"/>
                  </a:lnTo>
                  <a:lnTo>
                    <a:pt x="2950" y="551"/>
                  </a:lnTo>
                  <a:lnTo>
                    <a:pt x="2950" y="551"/>
                  </a:lnTo>
                  <a:lnTo>
                    <a:pt x="2950" y="551"/>
                  </a:lnTo>
                  <a:lnTo>
                    <a:pt x="2950" y="552"/>
                  </a:lnTo>
                  <a:lnTo>
                    <a:pt x="2950" y="552"/>
                  </a:lnTo>
                  <a:lnTo>
                    <a:pt x="2950" y="552"/>
                  </a:lnTo>
                  <a:lnTo>
                    <a:pt x="2950" y="552"/>
                  </a:lnTo>
                  <a:lnTo>
                    <a:pt x="2950" y="561"/>
                  </a:lnTo>
                  <a:lnTo>
                    <a:pt x="2947" y="561"/>
                  </a:lnTo>
                  <a:lnTo>
                    <a:pt x="2947" y="561"/>
                  </a:lnTo>
                  <a:lnTo>
                    <a:pt x="2945" y="561"/>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567"/>
                  </a:lnTo>
                  <a:lnTo>
                    <a:pt x="2943" y="567"/>
                  </a:lnTo>
                  <a:lnTo>
                    <a:pt x="2943" y="567"/>
                  </a:lnTo>
                  <a:lnTo>
                    <a:pt x="2939" y="567"/>
                  </a:lnTo>
                  <a:lnTo>
                    <a:pt x="2939" y="567"/>
                  </a:lnTo>
                  <a:lnTo>
                    <a:pt x="2938" y="567"/>
                  </a:lnTo>
                  <a:lnTo>
                    <a:pt x="2938" y="567"/>
                  </a:lnTo>
                  <a:lnTo>
                    <a:pt x="2938" y="567"/>
                  </a:lnTo>
                  <a:lnTo>
                    <a:pt x="2938" y="568"/>
                  </a:lnTo>
                  <a:lnTo>
                    <a:pt x="2918" y="568"/>
                  </a:lnTo>
                  <a:lnTo>
                    <a:pt x="2918" y="568"/>
                  </a:lnTo>
                  <a:lnTo>
                    <a:pt x="2917" y="568"/>
                  </a:lnTo>
                  <a:lnTo>
                    <a:pt x="2917" y="568"/>
                  </a:lnTo>
                  <a:lnTo>
                    <a:pt x="2917" y="568"/>
                  </a:lnTo>
                  <a:lnTo>
                    <a:pt x="2917" y="577"/>
                  </a:lnTo>
                  <a:lnTo>
                    <a:pt x="2913" y="577"/>
                  </a:lnTo>
                  <a:lnTo>
                    <a:pt x="2913" y="577"/>
                  </a:lnTo>
                  <a:lnTo>
                    <a:pt x="2909" y="577"/>
                  </a:lnTo>
                  <a:lnTo>
                    <a:pt x="2909" y="577"/>
                  </a:lnTo>
                  <a:lnTo>
                    <a:pt x="2906" y="577"/>
                  </a:lnTo>
                  <a:lnTo>
                    <a:pt x="2906" y="577"/>
                  </a:lnTo>
                  <a:lnTo>
                    <a:pt x="2904" y="577"/>
                  </a:lnTo>
                  <a:lnTo>
                    <a:pt x="2904" y="577"/>
                  </a:lnTo>
                  <a:lnTo>
                    <a:pt x="2904" y="577"/>
                  </a:lnTo>
                  <a:lnTo>
                    <a:pt x="2904" y="577"/>
                  </a:lnTo>
                  <a:lnTo>
                    <a:pt x="2904" y="577"/>
                  </a:lnTo>
                  <a:lnTo>
                    <a:pt x="2904" y="577"/>
                  </a:lnTo>
                  <a:lnTo>
                    <a:pt x="2904" y="577"/>
                  </a:lnTo>
                  <a:lnTo>
                    <a:pt x="2904" y="579"/>
                  </a:lnTo>
                  <a:lnTo>
                    <a:pt x="2904" y="579"/>
                  </a:lnTo>
                  <a:lnTo>
                    <a:pt x="2904" y="582"/>
                  </a:lnTo>
                  <a:lnTo>
                    <a:pt x="2903" y="582"/>
                  </a:lnTo>
                  <a:lnTo>
                    <a:pt x="2903" y="590"/>
                  </a:lnTo>
                  <a:lnTo>
                    <a:pt x="2902" y="590"/>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9"/>
                  </a:lnTo>
                  <a:lnTo>
                    <a:pt x="2895" y="599"/>
                  </a:lnTo>
                  <a:lnTo>
                    <a:pt x="2895" y="610"/>
                  </a:lnTo>
                  <a:lnTo>
                    <a:pt x="2891" y="610"/>
                  </a:lnTo>
                  <a:lnTo>
                    <a:pt x="2891" y="611"/>
                  </a:lnTo>
                  <a:lnTo>
                    <a:pt x="2866" y="611"/>
                  </a:lnTo>
                  <a:lnTo>
                    <a:pt x="2866" y="611"/>
                  </a:lnTo>
                  <a:lnTo>
                    <a:pt x="2856" y="611"/>
                  </a:lnTo>
                  <a:lnTo>
                    <a:pt x="2856" y="611"/>
                  </a:lnTo>
                  <a:lnTo>
                    <a:pt x="2855" y="611"/>
                  </a:lnTo>
                  <a:lnTo>
                    <a:pt x="2855" y="612"/>
                  </a:lnTo>
                  <a:lnTo>
                    <a:pt x="2853" y="612"/>
                  </a:lnTo>
                  <a:lnTo>
                    <a:pt x="2853" y="899"/>
                  </a:lnTo>
                  <a:lnTo>
                    <a:pt x="2848" y="899"/>
                  </a:lnTo>
                  <a:lnTo>
                    <a:pt x="2848" y="899"/>
                  </a:lnTo>
                  <a:lnTo>
                    <a:pt x="2844" y="899"/>
                  </a:lnTo>
                  <a:lnTo>
                    <a:pt x="2844" y="899"/>
                  </a:lnTo>
                  <a:lnTo>
                    <a:pt x="2843" y="899"/>
                  </a:lnTo>
                  <a:lnTo>
                    <a:pt x="2843" y="899"/>
                  </a:lnTo>
                  <a:lnTo>
                    <a:pt x="2842" y="899"/>
                  </a:lnTo>
                  <a:lnTo>
                    <a:pt x="2842" y="619"/>
                  </a:lnTo>
                  <a:lnTo>
                    <a:pt x="2842" y="619"/>
                  </a:lnTo>
                  <a:lnTo>
                    <a:pt x="2842" y="619"/>
                  </a:lnTo>
                  <a:lnTo>
                    <a:pt x="2842" y="619"/>
                  </a:lnTo>
                  <a:lnTo>
                    <a:pt x="2842" y="619"/>
                  </a:lnTo>
                  <a:lnTo>
                    <a:pt x="2840" y="619"/>
                  </a:lnTo>
                  <a:lnTo>
                    <a:pt x="2840" y="623"/>
                  </a:lnTo>
                  <a:lnTo>
                    <a:pt x="2837" y="623"/>
                  </a:lnTo>
                  <a:lnTo>
                    <a:pt x="2837" y="623"/>
                  </a:lnTo>
                  <a:lnTo>
                    <a:pt x="2837" y="623"/>
                  </a:lnTo>
                  <a:lnTo>
                    <a:pt x="2837" y="625"/>
                  </a:lnTo>
                  <a:lnTo>
                    <a:pt x="2837" y="625"/>
                  </a:lnTo>
                  <a:lnTo>
                    <a:pt x="2837" y="626"/>
                  </a:lnTo>
                  <a:lnTo>
                    <a:pt x="2799" y="626"/>
                  </a:lnTo>
                  <a:lnTo>
                    <a:pt x="2799" y="626"/>
                  </a:lnTo>
                  <a:lnTo>
                    <a:pt x="2798" y="626"/>
                  </a:lnTo>
                  <a:lnTo>
                    <a:pt x="2798" y="628"/>
                  </a:lnTo>
                  <a:lnTo>
                    <a:pt x="2795" y="628"/>
                  </a:lnTo>
                  <a:lnTo>
                    <a:pt x="2795" y="631"/>
                  </a:lnTo>
                  <a:lnTo>
                    <a:pt x="2794" y="631"/>
                  </a:lnTo>
                  <a:lnTo>
                    <a:pt x="2794" y="631"/>
                  </a:lnTo>
                  <a:lnTo>
                    <a:pt x="2794" y="631"/>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638"/>
                  </a:lnTo>
                  <a:lnTo>
                    <a:pt x="2792" y="638"/>
                  </a:lnTo>
                  <a:lnTo>
                    <a:pt x="2792" y="642"/>
                  </a:lnTo>
                  <a:lnTo>
                    <a:pt x="2791" y="642"/>
                  </a:lnTo>
                  <a:lnTo>
                    <a:pt x="2791" y="643"/>
                  </a:lnTo>
                  <a:lnTo>
                    <a:pt x="2783" y="643"/>
                  </a:lnTo>
                  <a:lnTo>
                    <a:pt x="2783" y="647"/>
                  </a:lnTo>
                  <a:lnTo>
                    <a:pt x="2783" y="647"/>
                  </a:lnTo>
                  <a:lnTo>
                    <a:pt x="2783" y="647"/>
                  </a:lnTo>
                  <a:lnTo>
                    <a:pt x="2783" y="647"/>
                  </a:lnTo>
                  <a:lnTo>
                    <a:pt x="2783" y="647"/>
                  </a:lnTo>
                  <a:lnTo>
                    <a:pt x="2783" y="647"/>
                  </a:lnTo>
                  <a:lnTo>
                    <a:pt x="2783" y="647"/>
                  </a:lnTo>
                  <a:lnTo>
                    <a:pt x="2783" y="647"/>
                  </a:lnTo>
                  <a:lnTo>
                    <a:pt x="2783"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9"/>
                  </a:lnTo>
                  <a:lnTo>
                    <a:pt x="2782" y="649"/>
                  </a:lnTo>
                  <a:lnTo>
                    <a:pt x="2782" y="651"/>
                  </a:lnTo>
                  <a:lnTo>
                    <a:pt x="2775" y="651"/>
                  </a:lnTo>
                  <a:lnTo>
                    <a:pt x="2775" y="652"/>
                  </a:lnTo>
                  <a:lnTo>
                    <a:pt x="2775" y="652"/>
                  </a:lnTo>
                  <a:lnTo>
                    <a:pt x="2775" y="652"/>
                  </a:lnTo>
                  <a:lnTo>
                    <a:pt x="2775" y="652"/>
                  </a:lnTo>
                  <a:lnTo>
                    <a:pt x="2775" y="652"/>
                  </a:lnTo>
                  <a:lnTo>
                    <a:pt x="2775" y="652"/>
                  </a:lnTo>
                  <a:lnTo>
                    <a:pt x="2775" y="653"/>
                  </a:lnTo>
                  <a:lnTo>
                    <a:pt x="2752" y="653"/>
                  </a:lnTo>
                  <a:lnTo>
                    <a:pt x="2752" y="653"/>
                  </a:lnTo>
                  <a:lnTo>
                    <a:pt x="2748" y="653"/>
                  </a:lnTo>
                  <a:lnTo>
                    <a:pt x="2748" y="654"/>
                  </a:lnTo>
                  <a:lnTo>
                    <a:pt x="2736" y="654"/>
                  </a:lnTo>
                  <a:lnTo>
                    <a:pt x="2736" y="654"/>
                  </a:lnTo>
                  <a:lnTo>
                    <a:pt x="2735" y="654"/>
                  </a:lnTo>
                  <a:lnTo>
                    <a:pt x="2735" y="654"/>
                  </a:lnTo>
                  <a:lnTo>
                    <a:pt x="2735" y="654"/>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658"/>
                  </a:lnTo>
                  <a:lnTo>
                    <a:pt x="2735" y="658"/>
                  </a:lnTo>
                  <a:lnTo>
                    <a:pt x="2735" y="658"/>
                  </a:lnTo>
                  <a:lnTo>
                    <a:pt x="2716" y="658"/>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660"/>
                  </a:lnTo>
                  <a:lnTo>
                    <a:pt x="2712" y="660"/>
                  </a:lnTo>
                  <a:lnTo>
                    <a:pt x="2712" y="660"/>
                  </a:lnTo>
                  <a:lnTo>
                    <a:pt x="2712" y="660"/>
                  </a:lnTo>
                  <a:lnTo>
                    <a:pt x="2712" y="899"/>
                  </a:lnTo>
                  <a:lnTo>
                    <a:pt x="2707" y="899"/>
                  </a:lnTo>
                  <a:lnTo>
                    <a:pt x="2707" y="899"/>
                  </a:lnTo>
                  <a:lnTo>
                    <a:pt x="2702" y="899"/>
                  </a:lnTo>
                  <a:lnTo>
                    <a:pt x="2702" y="671"/>
                  </a:lnTo>
                  <a:lnTo>
                    <a:pt x="2702" y="671"/>
                  </a:lnTo>
                  <a:lnTo>
                    <a:pt x="2702" y="671"/>
                  </a:lnTo>
                  <a:lnTo>
                    <a:pt x="2697" y="671"/>
                  </a:lnTo>
                  <a:lnTo>
                    <a:pt x="2697" y="671"/>
                  </a:lnTo>
                  <a:lnTo>
                    <a:pt x="2694" y="671"/>
                  </a:lnTo>
                  <a:lnTo>
                    <a:pt x="2694"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678"/>
                  </a:lnTo>
                  <a:lnTo>
                    <a:pt x="2690" y="678"/>
                  </a:lnTo>
                  <a:lnTo>
                    <a:pt x="2690" y="678"/>
                  </a:lnTo>
                  <a:lnTo>
                    <a:pt x="2690" y="678"/>
                  </a:lnTo>
                  <a:lnTo>
                    <a:pt x="2690" y="678"/>
                  </a:lnTo>
                  <a:lnTo>
                    <a:pt x="2689" y="678"/>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717"/>
                  </a:lnTo>
                  <a:lnTo>
                    <a:pt x="2683" y="717"/>
                  </a:lnTo>
                  <a:lnTo>
                    <a:pt x="2683" y="717"/>
                  </a:lnTo>
                  <a:lnTo>
                    <a:pt x="2683" y="717"/>
                  </a:lnTo>
                  <a:lnTo>
                    <a:pt x="2683" y="717"/>
                  </a:lnTo>
                  <a:lnTo>
                    <a:pt x="2683" y="717"/>
                  </a:lnTo>
                  <a:lnTo>
                    <a:pt x="2683" y="717"/>
                  </a:lnTo>
                  <a:lnTo>
                    <a:pt x="2683" y="717"/>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723"/>
                  </a:lnTo>
                  <a:lnTo>
                    <a:pt x="2661" y="723"/>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743"/>
                  </a:lnTo>
                  <a:lnTo>
                    <a:pt x="2648" y="743"/>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60"/>
                  </a:lnTo>
                  <a:lnTo>
                    <a:pt x="2613" y="760"/>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768"/>
                  </a:lnTo>
                  <a:lnTo>
                    <a:pt x="2531" y="768"/>
                  </a:lnTo>
                  <a:lnTo>
                    <a:pt x="2531" y="768"/>
                  </a:lnTo>
                  <a:lnTo>
                    <a:pt x="2531" y="768"/>
                  </a:lnTo>
                  <a:lnTo>
                    <a:pt x="2531" y="769"/>
                  </a:lnTo>
                  <a:lnTo>
                    <a:pt x="2531" y="769"/>
                  </a:lnTo>
                  <a:lnTo>
                    <a:pt x="2531" y="769"/>
                  </a:lnTo>
                  <a:lnTo>
                    <a:pt x="2531" y="769"/>
                  </a:lnTo>
                  <a:lnTo>
                    <a:pt x="2531" y="769"/>
                  </a:lnTo>
                  <a:lnTo>
                    <a:pt x="2531" y="769"/>
                  </a:lnTo>
                  <a:lnTo>
                    <a:pt x="2531" y="769"/>
                  </a:lnTo>
                  <a:lnTo>
                    <a:pt x="2531" y="76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772"/>
                  </a:lnTo>
                  <a:lnTo>
                    <a:pt x="2526" y="772"/>
                  </a:lnTo>
                  <a:lnTo>
                    <a:pt x="2526" y="772"/>
                  </a:lnTo>
                  <a:lnTo>
                    <a:pt x="2526" y="772"/>
                  </a:lnTo>
                  <a:lnTo>
                    <a:pt x="2526" y="772"/>
                  </a:lnTo>
                  <a:lnTo>
                    <a:pt x="2526" y="772"/>
                  </a:lnTo>
                  <a:lnTo>
                    <a:pt x="2526" y="772"/>
                  </a:lnTo>
                  <a:lnTo>
                    <a:pt x="2526" y="772"/>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80"/>
                  </a:lnTo>
                  <a:lnTo>
                    <a:pt x="2526" y="780"/>
                  </a:lnTo>
                  <a:lnTo>
                    <a:pt x="2526" y="780"/>
                  </a:lnTo>
                  <a:lnTo>
                    <a:pt x="2526" y="780"/>
                  </a:lnTo>
                  <a:lnTo>
                    <a:pt x="2526" y="782"/>
                  </a:lnTo>
                  <a:lnTo>
                    <a:pt x="2524" y="782"/>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798"/>
                  </a:lnTo>
                  <a:lnTo>
                    <a:pt x="2350" y="798"/>
                  </a:lnTo>
                  <a:lnTo>
                    <a:pt x="2350" y="799"/>
                  </a:lnTo>
                  <a:lnTo>
                    <a:pt x="2311" y="799"/>
                  </a:lnTo>
                  <a:lnTo>
                    <a:pt x="2311" y="799"/>
                  </a:lnTo>
                  <a:lnTo>
                    <a:pt x="2308" y="7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6"/>
                  </a:lnTo>
                  <a:lnTo>
                    <a:pt x="2298" y="806"/>
                  </a:lnTo>
                  <a:lnTo>
                    <a:pt x="2298" y="806"/>
                  </a:lnTo>
                  <a:lnTo>
                    <a:pt x="2298" y="806"/>
                  </a:lnTo>
                  <a:lnTo>
                    <a:pt x="2298" y="806"/>
                  </a:lnTo>
                  <a:lnTo>
                    <a:pt x="2294" y="806"/>
                  </a:lnTo>
                  <a:lnTo>
                    <a:pt x="2294" y="806"/>
                  </a:lnTo>
                  <a:lnTo>
                    <a:pt x="2293" y="806"/>
                  </a:lnTo>
                  <a:lnTo>
                    <a:pt x="2293" y="807"/>
                  </a:lnTo>
                  <a:lnTo>
                    <a:pt x="2292" y="807"/>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10"/>
                  </a:lnTo>
                  <a:lnTo>
                    <a:pt x="2273" y="810"/>
                  </a:lnTo>
                  <a:lnTo>
                    <a:pt x="2273" y="810"/>
                  </a:lnTo>
                  <a:lnTo>
                    <a:pt x="2273" y="810"/>
                  </a:lnTo>
                  <a:lnTo>
                    <a:pt x="2273" y="810"/>
                  </a:lnTo>
                  <a:lnTo>
                    <a:pt x="2273" y="810"/>
                  </a:lnTo>
                  <a:lnTo>
                    <a:pt x="2273" y="810"/>
                  </a:lnTo>
                  <a:lnTo>
                    <a:pt x="2273" y="810"/>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14"/>
                  </a:lnTo>
                  <a:lnTo>
                    <a:pt x="2249" y="814"/>
                  </a:lnTo>
                  <a:lnTo>
                    <a:pt x="2249" y="814"/>
                  </a:lnTo>
                  <a:lnTo>
                    <a:pt x="2243" y="814"/>
                  </a:lnTo>
                  <a:lnTo>
                    <a:pt x="2243" y="814"/>
                  </a:lnTo>
                  <a:lnTo>
                    <a:pt x="2241" y="814"/>
                  </a:lnTo>
                  <a:lnTo>
                    <a:pt x="2241" y="814"/>
                  </a:lnTo>
                  <a:lnTo>
                    <a:pt x="2241" y="814"/>
                  </a:lnTo>
                  <a:lnTo>
                    <a:pt x="2241" y="814"/>
                  </a:lnTo>
                  <a:lnTo>
                    <a:pt x="2240" y="814"/>
                  </a:lnTo>
                  <a:lnTo>
                    <a:pt x="2240" y="814"/>
                  </a:lnTo>
                  <a:lnTo>
                    <a:pt x="2240" y="814"/>
                  </a:lnTo>
                  <a:lnTo>
                    <a:pt x="2240" y="814"/>
                  </a:lnTo>
                  <a:lnTo>
                    <a:pt x="2240" y="814"/>
                  </a:lnTo>
                  <a:lnTo>
                    <a:pt x="2240"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8"/>
                  </a:lnTo>
                  <a:lnTo>
                    <a:pt x="2233" y="818"/>
                  </a:lnTo>
                  <a:lnTo>
                    <a:pt x="2233" y="818"/>
                  </a:lnTo>
                  <a:lnTo>
                    <a:pt x="2231" y="818"/>
                  </a:lnTo>
                  <a:lnTo>
                    <a:pt x="2231" y="818"/>
                  </a:lnTo>
                  <a:lnTo>
                    <a:pt x="2231" y="818"/>
                  </a:lnTo>
                  <a:lnTo>
                    <a:pt x="2231" y="818"/>
                  </a:lnTo>
                  <a:lnTo>
                    <a:pt x="2231" y="818"/>
                  </a:lnTo>
                  <a:lnTo>
                    <a:pt x="2231" y="818"/>
                  </a:lnTo>
                  <a:lnTo>
                    <a:pt x="2231" y="818"/>
                  </a:lnTo>
                  <a:lnTo>
                    <a:pt x="2231" y="818"/>
                  </a:lnTo>
                  <a:lnTo>
                    <a:pt x="2231" y="818"/>
                  </a:lnTo>
                  <a:lnTo>
                    <a:pt x="2231" y="820"/>
                  </a:lnTo>
                  <a:lnTo>
                    <a:pt x="2221" y="820"/>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28"/>
                  </a:lnTo>
                  <a:lnTo>
                    <a:pt x="2217" y="828"/>
                  </a:lnTo>
                  <a:lnTo>
                    <a:pt x="2217" y="828"/>
                  </a:lnTo>
                  <a:lnTo>
                    <a:pt x="2217" y="828"/>
                  </a:lnTo>
                  <a:lnTo>
                    <a:pt x="2217" y="828"/>
                  </a:lnTo>
                  <a:lnTo>
                    <a:pt x="2217" y="828"/>
                  </a:lnTo>
                  <a:lnTo>
                    <a:pt x="2217" y="829"/>
                  </a:lnTo>
                  <a:lnTo>
                    <a:pt x="2217" y="829"/>
                  </a:lnTo>
                  <a:lnTo>
                    <a:pt x="2217" y="829"/>
                  </a:lnTo>
                  <a:lnTo>
                    <a:pt x="2217" y="829"/>
                  </a:lnTo>
                  <a:lnTo>
                    <a:pt x="2217" y="831"/>
                  </a:lnTo>
                  <a:lnTo>
                    <a:pt x="2217" y="831"/>
                  </a:lnTo>
                  <a:lnTo>
                    <a:pt x="2217" y="833"/>
                  </a:lnTo>
                  <a:lnTo>
                    <a:pt x="2217" y="833"/>
                  </a:lnTo>
                  <a:lnTo>
                    <a:pt x="2217" y="833"/>
                  </a:lnTo>
                  <a:lnTo>
                    <a:pt x="2216" y="833"/>
                  </a:lnTo>
                  <a:lnTo>
                    <a:pt x="2216" y="833"/>
                  </a:lnTo>
                  <a:lnTo>
                    <a:pt x="2215" y="833"/>
                  </a:lnTo>
                  <a:lnTo>
                    <a:pt x="2215" y="833"/>
                  </a:lnTo>
                  <a:lnTo>
                    <a:pt x="2215" y="833"/>
                  </a:lnTo>
                  <a:lnTo>
                    <a:pt x="2215" y="833"/>
                  </a:lnTo>
                  <a:lnTo>
                    <a:pt x="2215" y="833"/>
                  </a:lnTo>
                  <a:lnTo>
                    <a:pt x="2215" y="834"/>
                  </a:lnTo>
                  <a:lnTo>
                    <a:pt x="2214" y="834"/>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40"/>
                  </a:lnTo>
                  <a:lnTo>
                    <a:pt x="2187" y="840"/>
                  </a:lnTo>
                  <a:lnTo>
                    <a:pt x="2187" y="840"/>
                  </a:lnTo>
                  <a:lnTo>
                    <a:pt x="2187" y="840"/>
                  </a:lnTo>
                  <a:lnTo>
                    <a:pt x="2187" y="840"/>
                  </a:lnTo>
                  <a:lnTo>
                    <a:pt x="2187" y="840"/>
                  </a:lnTo>
                  <a:lnTo>
                    <a:pt x="2187" y="840"/>
                  </a:lnTo>
                  <a:lnTo>
                    <a:pt x="2186" y="840"/>
                  </a:lnTo>
                  <a:lnTo>
                    <a:pt x="2186" y="840"/>
                  </a:lnTo>
                  <a:lnTo>
                    <a:pt x="2186" y="840"/>
                  </a:lnTo>
                  <a:lnTo>
                    <a:pt x="2186" y="840"/>
                  </a:lnTo>
                  <a:lnTo>
                    <a:pt x="2186" y="840"/>
                  </a:lnTo>
                  <a:lnTo>
                    <a:pt x="2186" y="840"/>
                  </a:lnTo>
                  <a:lnTo>
                    <a:pt x="2186" y="840"/>
                  </a:lnTo>
                  <a:lnTo>
                    <a:pt x="2186" y="840"/>
                  </a:lnTo>
                  <a:lnTo>
                    <a:pt x="2186" y="840"/>
                  </a:lnTo>
                  <a:lnTo>
                    <a:pt x="2186" y="844"/>
                  </a:lnTo>
                  <a:lnTo>
                    <a:pt x="2185" y="844"/>
                  </a:lnTo>
                  <a:lnTo>
                    <a:pt x="2185" y="844"/>
                  </a:lnTo>
                  <a:lnTo>
                    <a:pt x="2185" y="844"/>
                  </a:lnTo>
                  <a:lnTo>
                    <a:pt x="2185" y="848"/>
                  </a:lnTo>
                  <a:lnTo>
                    <a:pt x="2185" y="848"/>
                  </a:lnTo>
                  <a:lnTo>
                    <a:pt x="2185" y="848"/>
                  </a:lnTo>
                  <a:lnTo>
                    <a:pt x="2185" y="848"/>
                  </a:lnTo>
                  <a:lnTo>
                    <a:pt x="2185" y="848"/>
                  </a:lnTo>
                  <a:lnTo>
                    <a:pt x="2185" y="848"/>
                  </a:lnTo>
                  <a:lnTo>
                    <a:pt x="2185" y="848"/>
                  </a:lnTo>
                  <a:lnTo>
                    <a:pt x="2185" y="848"/>
                  </a:lnTo>
                  <a:lnTo>
                    <a:pt x="2185" y="849"/>
                  </a:lnTo>
                  <a:lnTo>
                    <a:pt x="2185" y="849"/>
                  </a:lnTo>
                  <a:lnTo>
                    <a:pt x="2185"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51"/>
                  </a:lnTo>
                  <a:lnTo>
                    <a:pt x="2183" y="851"/>
                  </a:lnTo>
                  <a:lnTo>
                    <a:pt x="2183" y="851"/>
                  </a:lnTo>
                  <a:lnTo>
                    <a:pt x="2183" y="851"/>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6"/>
                  </a:lnTo>
                  <a:lnTo>
                    <a:pt x="2182" y="856"/>
                  </a:lnTo>
                  <a:lnTo>
                    <a:pt x="2182" y="856"/>
                  </a:lnTo>
                  <a:lnTo>
                    <a:pt x="2182" y="856"/>
                  </a:lnTo>
                  <a:lnTo>
                    <a:pt x="2182" y="856"/>
                  </a:lnTo>
                  <a:lnTo>
                    <a:pt x="2182" y="856"/>
                  </a:lnTo>
                  <a:lnTo>
                    <a:pt x="2182" y="856"/>
                  </a:lnTo>
                  <a:lnTo>
                    <a:pt x="2182" y="856"/>
                  </a:lnTo>
                  <a:lnTo>
                    <a:pt x="2182" y="861"/>
                  </a:lnTo>
                  <a:lnTo>
                    <a:pt x="2178" y="861"/>
                  </a:lnTo>
                  <a:lnTo>
                    <a:pt x="2178" y="862"/>
                  </a:lnTo>
                  <a:lnTo>
                    <a:pt x="2176" y="862"/>
                  </a:lnTo>
                  <a:lnTo>
                    <a:pt x="2176" y="862"/>
                  </a:lnTo>
                  <a:lnTo>
                    <a:pt x="2175" y="862"/>
                  </a:lnTo>
                  <a:lnTo>
                    <a:pt x="2175" y="862"/>
                  </a:lnTo>
                  <a:lnTo>
                    <a:pt x="2175" y="862"/>
                  </a:lnTo>
                  <a:lnTo>
                    <a:pt x="2175" y="862"/>
                  </a:lnTo>
                  <a:lnTo>
                    <a:pt x="2175" y="862"/>
                  </a:lnTo>
                  <a:lnTo>
                    <a:pt x="2175" y="862"/>
                  </a:lnTo>
                  <a:lnTo>
                    <a:pt x="2175" y="862"/>
                  </a:lnTo>
                  <a:lnTo>
                    <a:pt x="2175" y="862"/>
                  </a:lnTo>
                  <a:lnTo>
                    <a:pt x="2175" y="862"/>
                  </a:lnTo>
                  <a:lnTo>
                    <a:pt x="2175" y="863"/>
                  </a:lnTo>
                  <a:lnTo>
                    <a:pt x="2158" y="863"/>
                  </a:lnTo>
                  <a:lnTo>
                    <a:pt x="2158" y="863"/>
                  </a:lnTo>
                  <a:lnTo>
                    <a:pt x="2155" y="863"/>
                  </a:lnTo>
                  <a:lnTo>
                    <a:pt x="2155" y="863"/>
                  </a:lnTo>
                  <a:lnTo>
                    <a:pt x="2155" y="863"/>
                  </a:lnTo>
                  <a:lnTo>
                    <a:pt x="2155" y="867"/>
                  </a:lnTo>
                  <a:lnTo>
                    <a:pt x="2154" y="867"/>
                  </a:lnTo>
                  <a:lnTo>
                    <a:pt x="2154" y="867"/>
                  </a:lnTo>
                  <a:lnTo>
                    <a:pt x="2154" y="867"/>
                  </a:lnTo>
                  <a:lnTo>
                    <a:pt x="2154" y="867"/>
                  </a:lnTo>
                  <a:lnTo>
                    <a:pt x="2154" y="867"/>
                  </a:lnTo>
                  <a:lnTo>
                    <a:pt x="2154" y="867"/>
                  </a:lnTo>
                  <a:lnTo>
                    <a:pt x="2154" y="867"/>
                  </a:lnTo>
                  <a:lnTo>
                    <a:pt x="2154" y="867"/>
                  </a:lnTo>
                  <a:lnTo>
                    <a:pt x="2154" y="867"/>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69"/>
                  </a:lnTo>
                  <a:lnTo>
                    <a:pt x="2153" y="869"/>
                  </a:lnTo>
                  <a:lnTo>
                    <a:pt x="2153" y="869"/>
                  </a:lnTo>
                  <a:lnTo>
                    <a:pt x="2152" y="869"/>
                  </a:lnTo>
                  <a:lnTo>
                    <a:pt x="2152" y="869"/>
                  </a:lnTo>
                  <a:lnTo>
                    <a:pt x="2152" y="869"/>
                  </a:lnTo>
                  <a:lnTo>
                    <a:pt x="2152" y="869"/>
                  </a:lnTo>
                  <a:lnTo>
                    <a:pt x="2152" y="869"/>
                  </a:lnTo>
                  <a:lnTo>
                    <a:pt x="2152" y="869"/>
                  </a:lnTo>
                  <a:lnTo>
                    <a:pt x="2152" y="869"/>
                  </a:lnTo>
                  <a:lnTo>
                    <a:pt x="2152" y="869"/>
                  </a:lnTo>
                  <a:lnTo>
                    <a:pt x="2152" y="869"/>
                  </a:lnTo>
                  <a:lnTo>
                    <a:pt x="2152" y="870"/>
                  </a:lnTo>
                  <a:lnTo>
                    <a:pt x="2151" y="870"/>
                  </a:lnTo>
                  <a:lnTo>
                    <a:pt x="2151" y="870"/>
                  </a:lnTo>
                  <a:lnTo>
                    <a:pt x="2151" y="870"/>
                  </a:lnTo>
                  <a:lnTo>
                    <a:pt x="2151" y="870"/>
                  </a:lnTo>
                  <a:lnTo>
                    <a:pt x="2151" y="870"/>
                  </a:lnTo>
                  <a:lnTo>
                    <a:pt x="2151" y="870"/>
                  </a:lnTo>
                  <a:lnTo>
                    <a:pt x="2151" y="870"/>
                  </a:lnTo>
                  <a:lnTo>
                    <a:pt x="2151" y="870"/>
                  </a:lnTo>
                  <a:lnTo>
                    <a:pt x="2151" y="870"/>
                  </a:lnTo>
                  <a:lnTo>
                    <a:pt x="2151" y="871"/>
                  </a:lnTo>
                  <a:lnTo>
                    <a:pt x="2151" y="871"/>
                  </a:lnTo>
                  <a:lnTo>
                    <a:pt x="2151" y="871"/>
                  </a:lnTo>
                  <a:lnTo>
                    <a:pt x="2151" y="871"/>
                  </a:lnTo>
                  <a:lnTo>
                    <a:pt x="2151" y="871"/>
                  </a:lnTo>
                  <a:lnTo>
                    <a:pt x="2151" y="871"/>
                  </a:lnTo>
                  <a:lnTo>
                    <a:pt x="2151" y="871"/>
                  </a:lnTo>
                  <a:lnTo>
                    <a:pt x="2151" y="871"/>
                  </a:lnTo>
                  <a:lnTo>
                    <a:pt x="2151"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87"/>
                  </a:lnTo>
                  <a:lnTo>
                    <a:pt x="2078" y="887"/>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9"/>
                  </a:lnTo>
                  <a:lnTo>
                    <a:pt x="2077" y="889"/>
                  </a:lnTo>
                  <a:lnTo>
                    <a:pt x="2077" y="889"/>
                  </a:lnTo>
                  <a:lnTo>
                    <a:pt x="2077" y="889"/>
                  </a:lnTo>
                  <a:lnTo>
                    <a:pt x="2077" y="899"/>
                  </a:lnTo>
                  <a:lnTo>
                    <a:pt x="2077" y="899"/>
                  </a:lnTo>
                  <a:lnTo>
                    <a:pt x="2077" y="899"/>
                  </a:lnTo>
                  <a:lnTo>
                    <a:pt x="2077" y="899"/>
                  </a:lnTo>
                  <a:lnTo>
                    <a:pt x="2077" y="899"/>
                  </a:lnTo>
                  <a:lnTo>
                    <a:pt x="2077" y="899"/>
                  </a:lnTo>
                  <a:lnTo>
                    <a:pt x="2077" y="892"/>
                  </a:lnTo>
                  <a:lnTo>
                    <a:pt x="2064" y="892"/>
                  </a:lnTo>
                  <a:lnTo>
                    <a:pt x="2064" y="892"/>
                  </a:lnTo>
                  <a:lnTo>
                    <a:pt x="2061" y="892"/>
                  </a:lnTo>
                  <a:lnTo>
                    <a:pt x="2061" y="892"/>
                  </a:lnTo>
                  <a:lnTo>
                    <a:pt x="2060" y="892"/>
                  </a:lnTo>
                  <a:lnTo>
                    <a:pt x="2060" y="892"/>
                  </a:lnTo>
                  <a:lnTo>
                    <a:pt x="2060" y="892"/>
                  </a:lnTo>
                  <a:lnTo>
                    <a:pt x="2060" y="892"/>
                  </a:lnTo>
                  <a:lnTo>
                    <a:pt x="2059" y="892"/>
                  </a:lnTo>
                  <a:lnTo>
                    <a:pt x="2059" y="892"/>
                  </a:lnTo>
                  <a:lnTo>
                    <a:pt x="2059" y="892"/>
                  </a:lnTo>
                  <a:lnTo>
                    <a:pt x="2059" y="892"/>
                  </a:lnTo>
                  <a:lnTo>
                    <a:pt x="2059" y="892"/>
                  </a:lnTo>
                  <a:lnTo>
                    <a:pt x="2059" y="893"/>
                  </a:lnTo>
                  <a:lnTo>
                    <a:pt x="2059" y="893"/>
                  </a:lnTo>
                  <a:lnTo>
                    <a:pt x="2059" y="893"/>
                  </a:lnTo>
                  <a:lnTo>
                    <a:pt x="2059" y="893"/>
                  </a:lnTo>
                  <a:lnTo>
                    <a:pt x="2059" y="894"/>
                  </a:lnTo>
                  <a:lnTo>
                    <a:pt x="2059" y="894"/>
                  </a:lnTo>
                  <a:lnTo>
                    <a:pt x="2059" y="894"/>
                  </a:lnTo>
                  <a:lnTo>
                    <a:pt x="2059" y="894"/>
                  </a:lnTo>
                  <a:lnTo>
                    <a:pt x="2059" y="896"/>
                  </a:lnTo>
                  <a:lnTo>
                    <a:pt x="2058" y="896"/>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908"/>
                  </a:lnTo>
                  <a:lnTo>
                    <a:pt x="2055" y="908"/>
                  </a:lnTo>
                  <a:lnTo>
                    <a:pt x="2055" y="908"/>
                  </a:lnTo>
                  <a:lnTo>
                    <a:pt x="2055" y="908"/>
                  </a:lnTo>
                  <a:lnTo>
                    <a:pt x="2055" y="908"/>
                  </a:lnTo>
                  <a:lnTo>
                    <a:pt x="2055" y="908"/>
                  </a:lnTo>
                  <a:lnTo>
                    <a:pt x="2055" y="908"/>
                  </a:lnTo>
                  <a:lnTo>
                    <a:pt x="2055" y="908"/>
                  </a:lnTo>
                  <a:lnTo>
                    <a:pt x="2055" y="910"/>
                  </a:lnTo>
                  <a:lnTo>
                    <a:pt x="2032" y="910"/>
                  </a:lnTo>
                  <a:lnTo>
                    <a:pt x="2032" y="910"/>
                  </a:lnTo>
                  <a:lnTo>
                    <a:pt x="2021" y="910"/>
                  </a:lnTo>
                  <a:lnTo>
                    <a:pt x="2021" y="910"/>
                  </a:lnTo>
                  <a:lnTo>
                    <a:pt x="1968" y="910"/>
                  </a:lnTo>
                  <a:lnTo>
                    <a:pt x="1968" y="910"/>
                  </a:lnTo>
                  <a:lnTo>
                    <a:pt x="1963" y="910"/>
                  </a:lnTo>
                  <a:lnTo>
                    <a:pt x="1963" y="910"/>
                  </a:lnTo>
                  <a:lnTo>
                    <a:pt x="1958" y="910"/>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6"/>
                  </a:lnTo>
                  <a:lnTo>
                    <a:pt x="1948" y="916"/>
                  </a:lnTo>
                  <a:lnTo>
                    <a:pt x="1948" y="916"/>
                  </a:lnTo>
                  <a:lnTo>
                    <a:pt x="1948" y="916"/>
                  </a:lnTo>
                  <a:lnTo>
                    <a:pt x="1948" y="916"/>
                  </a:lnTo>
                  <a:lnTo>
                    <a:pt x="1948" y="916"/>
                  </a:lnTo>
                  <a:lnTo>
                    <a:pt x="1948" y="916"/>
                  </a:lnTo>
                  <a:lnTo>
                    <a:pt x="1945" y="916"/>
                  </a:lnTo>
                  <a:lnTo>
                    <a:pt x="1945" y="916"/>
                  </a:lnTo>
                  <a:lnTo>
                    <a:pt x="1945" y="916"/>
                  </a:lnTo>
                  <a:lnTo>
                    <a:pt x="1945" y="916"/>
                  </a:lnTo>
                  <a:lnTo>
                    <a:pt x="1945" y="916"/>
                  </a:lnTo>
                  <a:lnTo>
                    <a:pt x="1945" y="916"/>
                  </a:lnTo>
                  <a:lnTo>
                    <a:pt x="1945" y="916"/>
                  </a:lnTo>
                  <a:lnTo>
                    <a:pt x="1945" y="899"/>
                  </a:lnTo>
                  <a:lnTo>
                    <a:pt x="1945" y="899"/>
                  </a:lnTo>
                  <a:lnTo>
                    <a:pt x="1945" y="899"/>
                  </a:lnTo>
                  <a:lnTo>
                    <a:pt x="1945" y="899"/>
                  </a:lnTo>
                  <a:lnTo>
                    <a:pt x="1945" y="899"/>
                  </a:lnTo>
                  <a:lnTo>
                    <a:pt x="1945" y="899"/>
                  </a:lnTo>
                  <a:lnTo>
                    <a:pt x="1945" y="920"/>
                  </a:lnTo>
                  <a:lnTo>
                    <a:pt x="1945" y="920"/>
                  </a:lnTo>
                  <a:lnTo>
                    <a:pt x="1945" y="920"/>
                  </a:lnTo>
                  <a:lnTo>
                    <a:pt x="1945" y="920"/>
                  </a:lnTo>
                  <a:lnTo>
                    <a:pt x="1945" y="920"/>
                  </a:lnTo>
                  <a:lnTo>
                    <a:pt x="1945" y="920"/>
                  </a:lnTo>
                  <a:lnTo>
                    <a:pt x="1945" y="920"/>
                  </a:lnTo>
                  <a:lnTo>
                    <a:pt x="1945" y="920"/>
                  </a:lnTo>
                  <a:lnTo>
                    <a:pt x="1945" y="920"/>
                  </a:lnTo>
                  <a:lnTo>
                    <a:pt x="1944" y="920"/>
                  </a:lnTo>
                  <a:lnTo>
                    <a:pt x="1944" y="920"/>
                  </a:lnTo>
                  <a:lnTo>
                    <a:pt x="1944" y="920"/>
                  </a:lnTo>
                  <a:lnTo>
                    <a:pt x="1944" y="921"/>
                  </a:lnTo>
                  <a:lnTo>
                    <a:pt x="1944" y="921"/>
                  </a:lnTo>
                  <a:lnTo>
                    <a:pt x="1944" y="921"/>
                  </a:lnTo>
                  <a:lnTo>
                    <a:pt x="1944" y="921"/>
                  </a:lnTo>
                  <a:lnTo>
                    <a:pt x="1944" y="921"/>
                  </a:lnTo>
                  <a:lnTo>
                    <a:pt x="1944" y="921"/>
                  </a:lnTo>
                  <a:lnTo>
                    <a:pt x="1944" y="921"/>
                  </a:lnTo>
                  <a:lnTo>
                    <a:pt x="1944" y="921"/>
                  </a:lnTo>
                  <a:lnTo>
                    <a:pt x="1944" y="924"/>
                  </a:lnTo>
                  <a:lnTo>
                    <a:pt x="1944" y="924"/>
                  </a:lnTo>
                  <a:lnTo>
                    <a:pt x="1944" y="924"/>
                  </a:lnTo>
                  <a:lnTo>
                    <a:pt x="1944" y="924"/>
                  </a:lnTo>
                  <a:lnTo>
                    <a:pt x="1944" y="925"/>
                  </a:lnTo>
                  <a:lnTo>
                    <a:pt x="1943" y="925"/>
                  </a:lnTo>
                  <a:lnTo>
                    <a:pt x="1943" y="925"/>
                  </a:lnTo>
                  <a:lnTo>
                    <a:pt x="1943" y="925"/>
                  </a:lnTo>
                  <a:lnTo>
                    <a:pt x="1943" y="929"/>
                  </a:lnTo>
                  <a:lnTo>
                    <a:pt x="1936" y="929"/>
                  </a:lnTo>
                  <a:lnTo>
                    <a:pt x="1936" y="929"/>
                  </a:lnTo>
                  <a:lnTo>
                    <a:pt x="1929" y="929"/>
                  </a:lnTo>
                  <a:lnTo>
                    <a:pt x="1929" y="929"/>
                  </a:lnTo>
                  <a:lnTo>
                    <a:pt x="1927" y="929"/>
                  </a:lnTo>
                  <a:lnTo>
                    <a:pt x="1927" y="929"/>
                  </a:lnTo>
                  <a:lnTo>
                    <a:pt x="1926" y="92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936"/>
                  </a:lnTo>
                  <a:lnTo>
                    <a:pt x="1902" y="936"/>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938"/>
                  </a:lnTo>
                  <a:lnTo>
                    <a:pt x="1901" y="938"/>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952"/>
                  </a:lnTo>
                  <a:lnTo>
                    <a:pt x="1854" y="952"/>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958"/>
                  </a:lnTo>
                  <a:lnTo>
                    <a:pt x="1852" y="958"/>
                  </a:lnTo>
                  <a:lnTo>
                    <a:pt x="1852" y="958"/>
                  </a:lnTo>
                  <a:lnTo>
                    <a:pt x="1852" y="958"/>
                  </a:lnTo>
                  <a:lnTo>
                    <a:pt x="1852" y="958"/>
                  </a:lnTo>
                  <a:lnTo>
                    <a:pt x="1852" y="958"/>
                  </a:lnTo>
                  <a:lnTo>
                    <a:pt x="1852" y="958"/>
                  </a:lnTo>
                  <a:lnTo>
                    <a:pt x="1852" y="958"/>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899"/>
                  </a:lnTo>
                  <a:lnTo>
                    <a:pt x="1852" y="899"/>
                  </a:lnTo>
                  <a:lnTo>
                    <a:pt x="1852" y="899"/>
                  </a:lnTo>
                  <a:lnTo>
                    <a:pt x="1852" y="899"/>
                  </a:lnTo>
                  <a:lnTo>
                    <a:pt x="1852" y="960"/>
                  </a:lnTo>
                  <a:lnTo>
                    <a:pt x="1852" y="960"/>
                  </a:lnTo>
                  <a:lnTo>
                    <a:pt x="1852" y="963"/>
                  </a:lnTo>
                  <a:lnTo>
                    <a:pt x="1847" y="963"/>
                  </a:lnTo>
                  <a:lnTo>
                    <a:pt x="1847" y="963"/>
                  </a:lnTo>
                  <a:lnTo>
                    <a:pt x="1846" y="963"/>
                  </a:lnTo>
                  <a:lnTo>
                    <a:pt x="1846" y="963"/>
                  </a:lnTo>
                  <a:lnTo>
                    <a:pt x="1845" y="963"/>
                  </a:lnTo>
                  <a:lnTo>
                    <a:pt x="1845" y="963"/>
                  </a:lnTo>
                  <a:lnTo>
                    <a:pt x="1845" y="963"/>
                  </a:lnTo>
                  <a:lnTo>
                    <a:pt x="1845" y="964"/>
                  </a:lnTo>
                  <a:lnTo>
                    <a:pt x="1844" y="964"/>
                  </a:lnTo>
                  <a:lnTo>
                    <a:pt x="1844" y="966"/>
                  </a:lnTo>
                  <a:lnTo>
                    <a:pt x="1820" y="966"/>
                  </a:lnTo>
                  <a:lnTo>
                    <a:pt x="1820" y="966"/>
                  </a:lnTo>
                  <a:lnTo>
                    <a:pt x="1817" y="966"/>
                  </a:lnTo>
                  <a:lnTo>
                    <a:pt x="1817" y="966"/>
                  </a:lnTo>
                  <a:lnTo>
                    <a:pt x="1817" y="966"/>
                  </a:lnTo>
                  <a:lnTo>
                    <a:pt x="1817" y="968"/>
                  </a:lnTo>
                  <a:lnTo>
                    <a:pt x="1815" y="968"/>
                  </a:lnTo>
                  <a:lnTo>
                    <a:pt x="1815" y="970"/>
                  </a:lnTo>
                  <a:lnTo>
                    <a:pt x="1814" y="970"/>
                  </a:lnTo>
                  <a:lnTo>
                    <a:pt x="1814" y="970"/>
                  </a:lnTo>
                  <a:lnTo>
                    <a:pt x="1814" y="970"/>
                  </a:lnTo>
                  <a:lnTo>
                    <a:pt x="1814" y="970"/>
                  </a:lnTo>
                  <a:lnTo>
                    <a:pt x="1814" y="970"/>
                  </a:lnTo>
                  <a:lnTo>
                    <a:pt x="1814" y="974"/>
                  </a:lnTo>
                  <a:lnTo>
                    <a:pt x="1814" y="974"/>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92"/>
                  </a:lnTo>
                  <a:lnTo>
                    <a:pt x="1737" y="992"/>
                  </a:lnTo>
                  <a:lnTo>
                    <a:pt x="1737" y="992"/>
                  </a:lnTo>
                  <a:lnTo>
                    <a:pt x="1706" y="992"/>
                  </a:lnTo>
                  <a:lnTo>
                    <a:pt x="1706" y="992"/>
                  </a:lnTo>
                  <a:lnTo>
                    <a:pt x="1706" y="992"/>
                  </a:lnTo>
                  <a:lnTo>
                    <a:pt x="1706" y="993"/>
                  </a:lnTo>
                  <a:lnTo>
                    <a:pt x="1703" y="993"/>
                  </a:lnTo>
                  <a:lnTo>
                    <a:pt x="1703" y="993"/>
                  </a:lnTo>
                  <a:lnTo>
                    <a:pt x="1703" y="993"/>
                  </a:lnTo>
                  <a:lnTo>
                    <a:pt x="1703" y="993"/>
                  </a:lnTo>
                  <a:lnTo>
                    <a:pt x="1702" y="993"/>
                  </a:lnTo>
                  <a:lnTo>
                    <a:pt x="1702" y="993"/>
                  </a:lnTo>
                  <a:lnTo>
                    <a:pt x="1702" y="993"/>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997"/>
                  </a:lnTo>
                  <a:lnTo>
                    <a:pt x="1699" y="997"/>
                  </a:lnTo>
                  <a:lnTo>
                    <a:pt x="1699" y="998"/>
                  </a:lnTo>
                  <a:lnTo>
                    <a:pt x="1699" y="998"/>
                  </a:lnTo>
                  <a:lnTo>
                    <a:pt x="1699" y="999"/>
                  </a:lnTo>
                  <a:lnTo>
                    <a:pt x="1699" y="999"/>
                  </a:lnTo>
                  <a:lnTo>
                    <a:pt x="1699" y="999"/>
                  </a:lnTo>
                  <a:lnTo>
                    <a:pt x="1699" y="999"/>
                  </a:lnTo>
                  <a:lnTo>
                    <a:pt x="1699" y="999"/>
                  </a:lnTo>
                  <a:lnTo>
                    <a:pt x="1699" y="999"/>
                  </a:lnTo>
                  <a:lnTo>
                    <a:pt x="1699" y="1003"/>
                  </a:lnTo>
                  <a:lnTo>
                    <a:pt x="1699" y="1003"/>
                  </a:lnTo>
                  <a:lnTo>
                    <a:pt x="1699" y="1004"/>
                  </a:lnTo>
                  <a:lnTo>
                    <a:pt x="1699" y="1004"/>
                  </a:lnTo>
                  <a:lnTo>
                    <a:pt x="1699" y="1004"/>
                  </a:lnTo>
                  <a:lnTo>
                    <a:pt x="1699" y="1004"/>
                  </a:lnTo>
                  <a:lnTo>
                    <a:pt x="1699" y="1005"/>
                  </a:lnTo>
                  <a:lnTo>
                    <a:pt x="1698" y="1005"/>
                  </a:lnTo>
                  <a:lnTo>
                    <a:pt x="1698" y="1005"/>
                  </a:lnTo>
                  <a:lnTo>
                    <a:pt x="1698" y="1005"/>
                  </a:lnTo>
                  <a:lnTo>
                    <a:pt x="1698" y="1006"/>
                  </a:lnTo>
                  <a:lnTo>
                    <a:pt x="1695" y="1006"/>
                  </a:lnTo>
                  <a:lnTo>
                    <a:pt x="1695" y="1006"/>
                  </a:lnTo>
                  <a:lnTo>
                    <a:pt x="1695" y="1006"/>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1011"/>
                  </a:lnTo>
                  <a:lnTo>
                    <a:pt x="1549" y="1011"/>
                  </a:lnTo>
                  <a:lnTo>
                    <a:pt x="1549" y="899"/>
                  </a:lnTo>
                  <a:lnTo>
                    <a:pt x="1544" y="899"/>
                  </a:lnTo>
                  <a:lnTo>
                    <a:pt x="1544" y="899"/>
                  </a:lnTo>
                  <a:lnTo>
                    <a:pt x="1541" y="899"/>
                  </a:lnTo>
                  <a:lnTo>
                    <a:pt x="1541" y="899"/>
                  </a:lnTo>
                  <a:lnTo>
                    <a:pt x="1539" y="899"/>
                  </a:lnTo>
                  <a:lnTo>
                    <a:pt x="1539" y="899"/>
                  </a:lnTo>
                  <a:lnTo>
                    <a:pt x="1538" y="899"/>
                  </a:lnTo>
                  <a:lnTo>
                    <a:pt x="1538" y="1011"/>
                  </a:lnTo>
                  <a:lnTo>
                    <a:pt x="1537" y="1011"/>
                  </a:lnTo>
                  <a:lnTo>
                    <a:pt x="1537" y="899"/>
                  </a:lnTo>
                  <a:lnTo>
                    <a:pt x="1536" y="899"/>
                  </a:lnTo>
                  <a:lnTo>
                    <a:pt x="1536" y="899"/>
                  </a:lnTo>
                  <a:lnTo>
                    <a:pt x="1536" y="899"/>
                  </a:lnTo>
                  <a:lnTo>
                    <a:pt x="1536" y="1011"/>
                  </a:lnTo>
                  <a:lnTo>
                    <a:pt x="1535" y="1011"/>
                  </a:lnTo>
                  <a:lnTo>
                    <a:pt x="1535" y="899"/>
                  </a:lnTo>
                  <a:lnTo>
                    <a:pt x="1535" y="899"/>
                  </a:lnTo>
                  <a:lnTo>
                    <a:pt x="1535" y="899"/>
                  </a:lnTo>
                  <a:lnTo>
                    <a:pt x="1535" y="899"/>
                  </a:lnTo>
                  <a:lnTo>
                    <a:pt x="1535" y="1012"/>
                  </a:lnTo>
                  <a:lnTo>
                    <a:pt x="1507" y="1012"/>
                  </a:lnTo>
                  <a:lnTo>
                    <a:pt x="1507" y="1012"/>
                  </a:lnTo>
                  <a:lnTo>
                    <a:pt x="1495" y="1012"/>
                  </a:lnTo>
                  <a:lnTo>
                    <a:pt x="1495" y="1014"/>
                  </a:lnTo>
                  <a:lnTo>
                    <a:pt x="1489" y="1014"/>
                  </a:lnTo>
                  <a:lnTo>
                    <a:pt x="1489" y="1014"/>
                  </a:lnTo>
                  <a:lnTo>
                    <a:pt x="1487" y="1014"/>
                  </a:lnTo>
                  <a:lnTo>
                    <a:pt x="1487" y="1014"/>
                  </a:lnTo>
                  <a:lnTo>
                    <a:pt x="1486" y="1014"/>
                  </a:lnTo>
                  <a:lnTo>
                    <a:pt x="1486" y="1014"/>
                  </a:lnTo>
                  <a:lnTo>
                    <a:pt x="1485" y="1014"/>
                  </a:lnTo>
                  <a:lnTo>
                    <a:pt x="1485" y="1016"/>
                  </a:lnTo>
                  <a:lnTo>
                    <a:pt x="1485" y="1016"/>
                  </a:lnTo>
                  <a:lnTo>
                    <a:pt x="1485" y="1016"/>
                  </a:lnTo>
                  <a:lnTo>
                    <a:pt x="1485" y="1016"/>
                  </a:lnTo>
                  <a:lnTo>
                    <a:pt x="1485" y="1017"/>
                  </a:lnTo>
                  <a:lnTo>
                    <a:pt x="1484" y="1017"/>
                  </a:lnTo>
                  <a:lnTo>
                    <a:pt x="1484" y="1017"/>
                  </a:lnTo>
                  <a:lnTo>
                    <a:pt x="1484" y="1017"/>
                  </a:lnTo>
                  <a:lnTo>
                    <a:pt x="1484" y="1017"/>
                  </a:lnTo>
                  <a:lnTo>
                    <a:pt x="1484" y="1017"/>
                  </a:lnTo>
                  <a:lnTo>
                    <a:pt x="1484" y="1019"/>
                  </a:lnTo>
                  <a:lnTo>
                    <a:pt x="1484" y="1019"/>
                  </a:lnTo>
                  <a:lnTo>
                    <a:pt x="1484" y="1020"/>
                  </a:lnTo>
                  <a:lnTo>
                    <a:pt x="1484" y="1020"/>
                  </a:lnTo>
                  <a:lnTo>
                    <a:pt x="1484" y="1020"/>
                  </a:lnTo>
                  <a:lnTo>
                    <a:pt x="1484" y="1020"/>
                  </a:lnTo>
                  <a:lnTo>
                    <a:pt x="1484" y="1020"/>
                  </a:lnTo>
                  <a:lnTo>
                    <a:pt x="1484" y="1020"/>
                  </a:lnTo>
                  <a:lnTo>
                    <a:pt x="1484" y="1021"/>
                  </a:lnTo>
                  <a:lnTo>
                    <a:pt x="1484" y="1021"/>
                  </a:lnTo>
                  <a:lnTo>
                    <a:pt x="1484" y="1024"/>
                  </a:lnTo>
                  <a:lnTo>
                    <a:pt x="1483" y="1024"/>
                  </a:lnTo>
                  <a:lnTo>
                    <a:pt x="1483" y="1024"/>
                  </a:lnTo>
                  <a:lnTo>
                    <a:pt x="1483" y="1024"/>
                  </a:lnTo>
                  <a:lnTo>
                    <a:pt x="1483" y="1025"/>
                  </a:lnTo>
                  <a:lnTo>
                    <a:pt x="1483" y="1025"/>
                  </a:lnTo>
                  <a:lnTo>
                    <a:pt x="1483" y="1026"/>
                  </a:lnTo>
                  <a:lnTo>
                    <a:pt x="1483" y="1026"/>
                  </a:lnTo>
                  <a:lnTo>
                    <a:pt x="1483" y="1026"/>
                  </a:lnTo>
                  <a:lnTo>
                    <a:pt x="1483" y="1026"/>
                  </a:lnTo>
                  <a:lnTo>
                    <a:pt x="1483"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7"/>
                  </a:lnTo>
                  <a:lnTo>
                    <a:pt x="1479" y="1027"/>
                  </a:lnTo>
                  <a:lnTo>
                    <a:pt x="1479" y="1028"/>
                  </a:lnTo>
                  <a:lnTo>
                    <a:pt x="1478" y="1028"/>
                  </a:lnTo>
                  <a:lnTo>
                    <a:pt x="1478" y="1029"/>
                  </a:lnTo>
                  <a:lnTo>
                    <a:pt x="1478" y="1029"/>
                  </a:lnTo>
                  <a:lnTo>
                    <a:pt x="1478" y="1029"/>
                  </a:lnTo>
                  <a:lnTo>
                    <a:pt x="1478" y="1029"/>
                  </a:lnTo>
                  <a:lnTo>
                    <a:pt x="1478" y="1029"/>
                  </a:lnTo>
                  <a:lnTo>
                    <a:pt x="1478" y="1029"/>
                  </a:lnTo>
                  <a:lnTo>
                    <a:pt x="1478" y="1029"/>
                  </a:lnTo>
                  <a:lnTo>
                    <a:pt x="1478" y="1029"/>
                  </a:lnTo>
                  <a:lnTo>
                    <a:pt x="1478" y="1031"/>
                  </a:lnTo>
                  <a:lnTo>
                    <a:pt x="1476" y="1031"/>
                  </a:lnTo>
                  <a:lnTo>
                    <a:pt x="1476" y="1032"/>
                  </a:lnTo>
                  <a:lnTo>
                    <a:pt x="1476" y="1032"/>
                  </a:lnTo>
                  <a:lnTo>
                    <a:pt x="1476" y="1032"/>
                  </a:lnTo>
                  <a:lnTo>
                    <a:pt x="1475" y="1032"/>
                  </a:lnTo>
                  <a:lnTo>
                    <a:pt x="1475" y="1032"/>
                  </a:lnTo>
                  <a:lnTo>
                    <a:pt x="1475" y="1032"/>
                  </a:lnTo>
                  <a:lnTo>
                    <a:pt x="1475" y="1033"/>
                  </a:lnTo>
                  <a:lnTo>
                    <a:pt x="1475" y="1033"/>
                  </a:lnTo>
                  <a:lnTo>
                    <a:pt x="1475" y="1033"/>
                  </a:lnTo>
                  <a:lnTo>
                    <a:pt x="1474" y="1033"/>
                  </a:lnTo>
                  <a:lnTo>
                    <a:pt x="1474" y="1034"/>
                  </a:lnTo>
                  <a:lnTo>
                    <a:pt x="1474" y="1034"/>
                  </a:lnTo>
                  <a:lnTo>
                    <a:pt x="1474" y="1034"/>
                  </a:lnTo>
                  <a:lnTo>
                    <a:pt x="1474" y="1034"/>
                  </a:lnTo>
                  <a:lnTo>
                    <a:pt x="1474" y="1035"/>
                  </a:lnTo>
                  <a:lnTo>
                    <a:pt x="1457" y="1035"/>
                  </a:lnTo>
                  <a:lnTo>
                    <a:pt x="1457" y="1035"/>
                  </a:lnTo>
                  <a:lnTo>
                    <a:pt x="1457" y="1035"/>
                  </a:lnTo>
                  <a:lnTo>
                    <a:pt x="1457" y="1036"/>
                  </a:lnTo>
                  <a:lnTo>
                    <a:pt x="1456" y="1036"/>
                  </a:lnTo>
                  <a:lnTo>
                    <a:pt x="1456" y="1036"/>
                  </a:lnTo>
                  <a:lnTo>
                    <a:pt x="1455" y="1036"/>
                  </a:lnTo>
                  <a:lnTo>
                    <a:pt x="1455" y="1036"/>
                  </a:lnTo>
                  <a:lnTo>
                    <a:pt x="1455" y="1036"/>
                  </a:lnTo>
                  <a:lnTo>
                    <a:pt x="1455" y="899"/>
                  </a:lnTo>
                  <a:lnTo>
                    <a:pt x="1455" y="899"/>
                  </a:lnTo>
                  <a:lnTo>
                    <a:pt x="1455" y="899"/>
                  </a:lnTo>
                  <a:lnTo>
                    <a:pt x="1455" y="899"/>
                  </a:lnTo>
                  <a:lnTo>
                    <a:pt x="1455" y="1036"/>
                  </a:lnTo>
                  <a:lnTo>
                    <a:pt x="1454" y="1036"/>
                  </a:lnTo>
                  <a:lnTo>
                    <a:pt x="1454" y="1037"/>
                  </a:lnTo>
                  <a:lnTo>
                    <a:pt x="1453" y="1037"/>
                  </a:lnTo>
                  <a:lnTo>
                    <a:pt x="1453" y="1037"/>
                  </a:lnTo>
                  <a:lnTo>
                    <a:pt x="1453" y="1037"/>
                  </a:lnTo>
                  <a:lnTo>
                    <a:pt x="1453" y="1038"/>
                  </a:lnTo>
                  <a:lnTo>
                    <a:pt x="1453" y="1038"/>
                  </a:lnTo>
                  <a:lnTo>
                    <a:pt x="1453" y="1038"/>
                  </a:lnTo>
                  <a:lnTo>
                    <a:pt x="1441" y="1038"/>
                  </a:lnTo>
                  <a:lnTo>
                    <a:pt x="1441" y="1038"/>
                  </a:lnTo>
                  <a:lnTo>
                    <a:pt x="1439" y="1038"/>
                  </a:lnTo>
                  <a:lnTo>
                    <a:pt x="1439" y="1038"/>
                  </a:lnTo>
                  <a:lnTo>
                    <a:pt x="1438" y="1038"/>
                  </a:lnTo>
                  <a:lnTo>
                    <a:pt x="1438" y="1038"/>
                  </a:lnTo>
                  <a:lnTo>
                    <a:pt x="1438" y="1038"/>
                  </a:lnTo>
                  <a:lnTo>
                    <a:pt x="1438" y="1039"/>
                  </a:lnTo>
                  <a:lnTo>
                    <a:pt x="1438" y="1039"/>
                  </a:lnTo>
                  <a:lnTo>
                    <a:pt x="1438" y="1039"/>
                  </a:lnTo>
                  <a:lnTo>
                    <a:pt x="1438" y="103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1041"/>
                  </a:lnTo>
                  <a:lnTo>
                    <a:pt x="1434" y="1041"/>
                  </a:lnTo>
                  <a:lnTo>
                    <a:pt x="1434" y="1042"/>
                  </a:lnTo>
                  <a:lnTo>
                    <a:pt x="1432" y="1042"/>
                  </a:lnTo>
                  <a:lnTo>
                    <a:pt x="1432" y="1042"/>
                  </a:lnTo>
                  <a:lnTo>
                    <a:pt x="1432" y="1042"/>
                  </a:lnTo>
                  <a:lnTo>
                    <a:pt x="1432" y="1042"/>
                  </a:lnTo>
                  <a:lnTo>
                    <a:pt x="1432" y="1042"/>
                  </a:lnTo>
                  <a:lnTo>
                    <a:pt x="1432" y="1042"/>
                  </a:lnTo>
                  <a:lnTo>
                    <a:pt x="1425" y="1042"/>
                  </a:lnTo>
                  <a:lnTo>
                    <a:pt x="1425" y="1042"/>
                  </a:lnTo>
                  <a:lnTo>
                    <a:pt x="1423" y="1042"/>
                  </a:lnTo>
                  <a:lnTo>
                    <a:pt x="1423" y="1042"/>
                  </a:lnTo>
                  <a:lnTo>
                    <a:pt x="1422" y="1042"/>
                  </a:lnTo>
                  <a:lnTo>
                    <a:pt x="1422" y="1042"/>
                  </a:lnTo>
                  <a:lnTo>
                    <a:pt x="1421" y="1042"/>
                  </a:lnTo>
                  <a:lnTo>
                    <a:pt x="1421" y="1043"/>
                  </a:lnTo>
                  <a:lnTo>
                    <a:pt x="1414" y="1043"/>
                  </a:lnTo>
                  <a:lnTo>
                    <a:pt x="1414" y="1043"/>
                  </a:lnTo>
                  <a:lnTo>
                    <a:pt x="1413" y="1043"/>
                  </a:lnTo>
                  <a:lnTo>
                    <a:pt x="1413" y="1043"/>
                  </a:lnTo>
                  <a:lnTo>
                    <a:pt x="1413" y="1043"/>
                  </a:lnTo>
                  <a:lnTo>
                    <a:pt x="1413" y="1043"/>
                  </a:lnTo>
                  <a:lnTo>
                    <a:pt x="1413" y="1043"/>
                  </a:lnTo>
                  <a:lnTo>
                    <a:pt x="1413"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6"/>
                  </a:lnTo>
                  <a:lnTo>
                    <a:pt x="1410" y="1046"/>
                  </a:lnTo>
                  <a:lnTo>
                    <a:pt x="1410" y="1046"/>
                  </a:lnTo>
                  <a:lnTo>
                    <a:pt x="1410" y="1046"/>
                  </a:lnTo>
                  <a:lnTo>
                    <a:pt x="1410" y="1047"/>
                  </a:lnTo>
                  <a:lnTo>
                    <a:pt x="1408" y="1047"/>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9"/>
                  </a:lnTo>
                  <a:lnTo>
                    <a:pt x="1408" y="104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1054"/>
                  </a:lnTo>
                  <a:lnTo>
                    <a:pt x="1404" y="1054"/>
                  </a:lnTo>
                  <a:lnTo>
                    <a:pt x="1404" y="1054"/>
                  </a:lnTo>
                  <a:lnTo>
                    <a:pt x="1404" y="1054"/>
                  </a:lnTo>
                  <a:lnTo>
                    <a:pt x="1404" y="1054"/>
                  </a:lnTo>
                  <a:lnTo>
                    <a:pt x="1404" y="1054"/>
                  </a:lnTo>
                  <a:lnTo>
                    <a:pt x="1404" y="1054"/>
                  </a:lnTo>
                  <a:lnTo>
                    <a:pt x="1404" y="1054"/>
                  </a:lnTo>
                  <a:lnTo>
                    <a:pt x="1404" y="1054"/>
                  </a:lnTo>
                  <a:lnTo>
                    <a:pt x="1403" y="1054"/>
                  </a:lnTo>
                  <a:lnTo>
                    <a:pt x="1403" y="1056"/>
                  </a:lnTo>
                  <a:lnTo>
                    <a:pt x="1403" y="1056"/>
                  </a:lnTo>
                  <a:lnTo>
                    <a:pt x="1403" y="1056"/>
                  </a:lnTo>
                  <a:lnTo>
                    <a:pt x="1399" y="1056"/>
                  </a:lnTo>
                  <a:lnTo>
                    <a:pt x="1399" y="1056"/>
                  </a:lnTo>
                  <a:lnTo>
                    <a:pt x="1399" y="1056"/>
                  </a:lnTo>
                  <a:lnTo>
                    <a:pt x="1399" y="1057"/>
                  </a:lnTo>
                  <a:lnTo>
                    <a:pt x="1399" y="1057"/>
                  </a:lnTo>
                  <a:lnTo>
                    <a:pt x="1399" y="1059"/>
                  </a:lnTo>
                  <a:lnTo>
                    <a:pt x="1399" y="1059"/>
                  </a:lnTo>
                  <a:lnTo>
                    <a:pt x="1399" y="1059"/>
                  </a:lnTo>
                  <a:lnTo>
                    <a:pt x="1397" y="1059"/>
                  </a:lnTo>
                  <a:lnTo>
                    <a:pt x="1397" y="1059"/>
                  </a:lnTo>
                  <a:lnTo>
                    <a:pt x="1396" y="1059"/>
                  </a:lnTo>
                  <a:lnTo>
                    <a:pt x="1396" y="1059"/>
                  </a:lnTo>
                  <a:lnTo>
                    <a:pt x="1396" y="1059"/>
                  </a:lnTo>
                  <a:lnTo>
                    <a:pt x="1396" y="1060"/>
                  </a:lnTo>
                  <a:lnTo>
                    <a:pt x="1392" y="1060"/>
                  </a:lnTo>
                  <a:lnTo>
                    <a:pt x="1392"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0" y="1060"/>
                  </a:lnTo>
                  <a:lnTo>
                    <a:pt x="1390" y="1060"/>
                  </a:lnTo>
                  <a:lnTo>
                    <a:pt x="1390" y="1060"/>
                  </a:lnTo>
                  <a:lnTo>
                    <a:pt x="1390" y="1060"/>
                  </a:lnTo>
                  <a:lnTo>
                    <a:pt x="1390" y="1060"/>
                  </a:lnTo>
                  <a:lnTo>
                    <a:pt x="1390" y="1060"/>
                  </a:lnTo>
                  <a:lnTo>
                    <a:pt x="1390" y="1060"/>
                  </a:lnTo>
                  <a:lnTo>
                    <a:pt x="1390" y="1060"/>
                  </a:lnTo>
                  <a:lnTo>
                    <a:pt x="1390" y="1060"/>
                  </a:lnTo>
                  <a:lnTo>
                    <a:pt x="1390" y="1061"/>
                  </a:lnTo>
                  <a:lnTo>
                    <a:pt x="1389" y="1061"/>
                  </a:lnTo>
                  <a:lnTo>
                    <a:pt x="1389" y="1061"/>
                  </a:lnTo>
                  <a:lnTo>
                    <a:pt x="1389" y="1061"/>
                  </a:lnTo>
                  <a:lnTo>
                    <a:pt x="1389" y="1061"/>
                  </a:lnTo>
                  <a:lnTo>
                    <a:pt x="1388" y="1061"/>
                  </a:lnTo>
                  <a:lnTo>
                    <a:pt x="1388" y="1061"/>
                  </a:lnTo>
                  <a:lnTo>
                    <a:pt x="1388" y="1061"/>
                  </a:lnTo>
                  <a:lnTo>
                    <a:pt x="1388" y="1062"/>
                  </a:lnTo>
                  <a:lnTo>
                    <a:pt x="1388" y="1062"/>
                  </a:lnTo>
                  <a:lnTo>
                    <a:pt x="1388" y="1063"/>
                  </a:lnTo>
                  <a:lnTo>
                    <a:pt x="1388" y="1063"/>
                  </a:lnTo>
                  <a:lnTo>
                    <a:pt x="1388" y="1063"/>
                  </a:lnTo>
                  <a:lnTo>
                    <a:pt x="1388" y="1063"/>
                  </a:lnTo>
                  <a:lnTo>
                    <a:pt x="1388" y="1064"/>
                  </a:lnTo>
                  <a:lnTo>
                    <a:pt x="1388" y="1064"/>
                  </a:lnTo>
                  <a:lnTo>
                    <a:pt x="1388" y="1064"/>
                  </a:lnTo>
                  <a:lnTo>
                    <a:pt x="1387" y="1064"/>
                  </a:lnTo>
                  <a:lnTo>
                    <a:pt x="1387" y="1064"/>
                  </a:lnTo>
                  <a:lnTo>
                    <a:pt x="1387" y="1064"/>
                  </a:lnTo>
                  <a:lnTo>
                    <a:pt x="1387" y="1064"/>
                  </a:lnTo>
                  <a:lnTo>
                    <a:pt x="1387" y="1064"/>
                  </a:lnTo>
                  <a:lnTo>
                    <a:pt x="1387" y="1064"/>
                  </a:lnTo>
                  <a:lnTo>
                    <a:pt x="1387" y="1064"/>
                  </a:lnTo>
                  <a:lnTo>
                    <a:pt x="1387" y="1064"/>
                  </a:lnTo>
                  <a:lnTo>
                    <a:pt x="1386" y="1064"/>
                  </a:lnTo>
                  <a:lnTo>
                    <a:pt x="1386" y="1064"/>
                  </a:lnTo>
                  <a:lnTo>
                    <a:pt x="1385" y="1064"/>
                  </a:lnTo>
                  <a:lnTo>
                    <a:pt x="1385" y="1064"/>
                  </a:lnTo>
                  <a:lnTo>
                    <a:pt x="1385" y="1064"/>
                  </a:lnTo>
                  <a:lnTo>
                    <a:pt x="1385" y="1068"/>
                  </a:lnTo>
                  <a:lnTo>
                    <a:pt x="1385" y="1068"/>
                  </a:lnTo>
                  <a:lnTo>
                    <a:pt x="1385" y="1069"/>
                  </a:lnTo>
                  <a:lnTo>
                    <a:pt x="1382" y="1069"/>
                  </a:lnTo>
                  <a:lnTo>
                    <a:pt x="1382" y="1069"/>
                  </a:lnTo>
                  <a:lnTo>
                    <a:pt x="1381" y="1069"/>
                  </a:lnTo>
                  <a:lnTo>
                    <a:pt x="1381" y="1069"/>
                  </a:lnTo>
                  <a:lnTo>
                    <a:pt x="1380" y="1069"/>
                  </a:lnTo>
                  <a:lnTo>
                    <a:pt x="1380" y="1072"/>
                  </a:lnTo>
                  <a:lnTo>
                    <a:pt x="1375" y="1072"/>
                  </a:lnTo>
                  <a:lnTo>
                    <a:pt x="1375" y="1073"/>
                  </a:lnTo>
                  <a:lnTo>
                    <a:pt x="1375" y="1073"/>
                  </a:lnTo>
                  <a:lnTo>
                    <a:pt x="1375" y="1074"/>
                  </a:lnTo>
                  <a:lnTo>
                    <a:pt x="1375" y="1074"/>
                  </a:lnTo>
                  <a:lnTo>
                    <a:pt x="1375" y="1074"/>
                  </a:lnTo>
                  <a:lnTo>
                    <a:pt x="1370" y="1074"/>
                  </a:lnTo>
                  <a:lnTo>
                    <a:pt x="1370" y="1074"/>
                  </a:lnTo>
                  <a:lnTo>
                    <a:pt x="1369" y="1074"/>
                  </a:lnTo>
                  <a:lnTo>
                    <a:pt x="1369" y="1074"/>
                  </a:lnTo>
                  <a:lnTo>
                    <a:pt x="1369" y="1074"/>
                  </a:lnTo>
                  <a:lnTo>
                    <a:pt x="1369" y="1076"/>
                  </a:lnTo>
                  <a:lnTo>
                    <a:pt x="1369" y="1076"/>
                  </a:lnTo>
                  <a:lnTo>
                    <a:pt x="1369" y="899"/>
                  </a:lnTo>
                  <a:lnTo>
                    <a:pt x="1369" y="899"/>
                  </a:lnTo>
                  <a:lnTo>
                    <a:pt x="1369" y="899"/>
                  </a:lnTo>
                  <a:lnTo>
                    <a:pt x="1369" y="899"/>
                  </a:lnTo>
                  <a:lnTo>
                    <a:pt x="1369" y="899"/>
                  </a:lnTo>
                  <a:lnTo>
                    <a:pt x="1369" y="899"/>
                  </a:lnTo>
                  <a:lnTo>
                    <a:pt x="1369" y="1077"/>
                  </a:lnTo>
                  <a:lnTo>
                    <a:pt x="1369" y="1077"/>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1088"/>
                  </a:lnTo>
                  <a:lnTo>
                    <a:pt x="1366" y="1088"/>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100"/>
                  </a:lnTo>
                  <a:lnTo>
                    <a:pt x="1354" y="1100"/>
                  </a:lnTo>
                  <a:lnTo>
                    <a:pt x="1354" y="1101"/>
                  </a:lnTo>
                  <a:lnTo>
                    <a:pt x="1354" y="1101"/>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10"/>
                  </a:lnTo>
                  <a:lnTo>
                    <a:pt x="1337" y="1110"/>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1114"/>
                  </a:lnTo>
                  <a:lnTo>
                    <a:pt x="1332" y="1114"/>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1116"/>
                  </a:lnTo>
                  <a:lnTo>
                    <a:pt x="1326" y="1116"/>
                  </a:lnTo>
                  <a:lnTo>
                    <a:pt x="1326" y="1116"/>
                  </a:lnTo>
                  <a:lnTo>
                    <a:pt x="1326" y="1116"/>
                  </a:lnTo>
                  <a:lnTo>
                    <a:pt x="1326" y="1116"/>
                  </a:lnTo>
                  <a:lnTo>
                    <a:pt x="1326" y="1116"/>
                  </a:lnTo>
                  <a:lnTo>
                    <a:pt x="1326" y="1116"/>
                  </a:lnTo>
                  <a:lnTo>
                    <a:pt x="1326" y="1116"/>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1"/>
                  </a:lnTo>
                  <a:lnTo>
                    <a:pt x="1319" y="1121"/>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1123"/>
                  </a:lnTo>
                  <a:lnTo>
                    <a:pt x="1259" y="1123"/>
                  </a:lnTo>
                  <a:lnTo>
                    <a:pt x="1259" y="1123"/>
                  </a:lnTo>
                  <a:lnTo>
                    <a:pt x="1255" y="1123"/>
                  </a:lnTo>
                  <a:lnTo>
                    <a:pt x="1255" y="1123"/>
                  </a:lnTo>
                  <a:lnTo>
                    <a:pt x="1253" y="1123"/>
                  </a:lnTo>
                  <a:lnTo>
                    <a:pt x="1253" y="1123"/>
                  </a:lnTo>
                  <a:lnTo>
                    <a:pt x="1252" y="1123"/>
                  </a:lnTo>
                  <a:lnTo>
                    <a:pt x="1252" y="1123"/>
                  </a:lnTo>
                  <a:lnTo>
                    <a:pt x="1251" y="1123"/>
                  </a:lnTo>
                  <a:lnTo>
                    <a:pt x="1251" y="1123"/>
                  </a:lnTo>
                  <a:lnTo>
                    <a:pt x="1251" y="1123"/>
                  </a:lnTo>
                  <a:lnTo>
                    <a:pt x="1251" y="1123"/>
                  </a:lnTo>
                  <a:lnTo>
                    <a:pt x="1250" y="1123"/>
                  </a:lnTo>
                  <a:lnTo>
                    <a:pt x="1250" y="1123"/>
                  </a:lnTo>
                  <a:lnTo>
                    <a:pt x="1250" y="1123"/>
                  </a:lnTo>
                  <a:lnTo>
                    <a:pt x="1250" y="1123"/>
                  </a:lnTo>
                  <a:lnTo>
                    <a:pt x="1250" y="1123"/>
                  </a:lnTo>
                  <a:lnTo>
                    <a:pt x="1250" y="1123"/>
                  </a:lnTo>
                  <a:lnTo>
                    <a:pt x="1250" y="1123"/>
                  </a:lnTo>
                  <a:lnTo>
                    <a:pt x="1250" y="1123"/>
                  </a:lnTo>
                  <a:lnTo>
                    <a:pt x="1249" y="1123"/>
                  </a:lnTo>
                  <a:lnTo>
                    <a:pt x="1249" y="1123"/>
                  </a:lnTo>
                  <a:lnTo>
                    <a:pt x="1249" y="1123"/>
                  </a:lnTo>
                  <a:lnTo>
                    <a:pt x="1249" y="1123"/>
                  </a:lnTo>
                  <a:lnTo>
                    <a:pt x="1249" y="1123"/>
                  </a:lnTo>
                  <a:lnTo>
                    <a:pt x="1249" y="1123"/>
                  </a:lnTo>
                  <a:lnTo>
                    <a:pt x="1249" y="1123"/>
                  </a:lnTo>
                  <a:lnTo>
                    <a:pt x="1249" y="1124"/>
                  </a:lnTo>
                  <a:lnTo>
                    <a:pt x="1249" y="1124"/>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9"/>
                  </a:lnTo>
                  <a:lnTo>
                    <a:pt x="1224" y="1129"/>
                  </a:lnTo>
                  <a:lnTo>
                    <a:pt x="1224" y="1131"/>
                  </a:lnTo>
                  <a:lnTo>
                    <a:pt x="1224" y="1131"/>
                  </a:lnTo>
                  <a:lnTo>
                    <a:pt x="1224" y="1131"/>
                  </a:lnTo>
                  <a:lnTo>
                    <a:pt x="1224" y="1131"/>
                  </a:lnTo>
                  <a:lnTo>
                    <a:pt x="1224" y="1131"/>
                  </a:lnTo>
                  <a:lnTo>
                    <a:pt x="1223" y="1131"/>
                  </a:lnTo>
                  <a:lnTo>
                    <a:pt x="1223" y="1131"/>
                  </a:lnTo>
                  <a:lnTo>
                    <a:pt x="1223" y="1131"/>
                  </a:lnTo>
                  <a:lnTo>
                    <a:pt x="1223" y="1132"/>
                  </a:lnTo>
                  <a:lnTo>
                    <a:pt x="1223" y="1132"/>
                  </a:lnTo>
                  <a:lnTo>
                    <a:pt x="1223" y="1132"/>
                  </a:lnTo>
                  <a:lnTo>
                    <a:pt x="1223" y="1132"/>
                  </a:lnTo>
                  <a:lnTo>
                    <a:pt x="1223" y="899"/>
                  </a:lnTo>
                  <a:lnTo>
                    <a:pt x="1223" y="899"/>
                  </a:lnTo>
                  <a:lnTo>
                    <a:pt x="1223" y="899"/>
                  </a:lnTo>
                  <a:lnTo>
                    <a:pt x="1223" y="899"/>
                  </a:lnTo>
                  <a:lnTo>
                    <a:pt x="1223" y="1133"/>
                  </a:lnTo>
                  <a:lnTo>
                    <a:pt x="1213" y="1133"/>
                  </a:lnTo>
                  <a:lnTo>
                    <a:pt x="1213" y="1133"/>
                  </a:lnTo>
                  <a:lnTo>
                    <a:pt x="1202" y="1133"/>
                  </a:lnTo>
                  <a:lnTo>
                    <a:pt x="1202" y="1133"/>
                  </a:lnTo>
                  <a:lnTo>
                    <a:pt x="1195" y="1133"/>
                  </a:lnTo>
                  <a:lnTo>
                    <a:pt x="1195" y="1133"/>
                  </a:lnTo>
                  <a:lnTo>
                    <a:pt x="1190" y="1133"/>
                  </a:lnTo>
                  <a:lnTo>
                    <a:pt x="1190" y="1133"/>
                  </a:lnTo>
                  <a:lnTo>
                    <a:pt x="1186" y="1133"/>
                  </a:lnTo>
                  <a:lnTo>
                    <a:pt x="1186" y="1133"/>
                  </a:lnTo>
                  <a:lnTo>
                    <a:pt x="1185" y="1133"/>
                  </a:lnTo>
                  <a:lnTo>
                    <a:pt x="1185" y="1133"/>
                  </a:lnTo>
                  <a:lnTo>
                    <a:pt x="1184" y="1133"/>
                  </a:lnTo>
                  <a:lnTo>
                    <a:pt x="1184" y="1133"/>
                  </a:lnTo>
                  <a:lnTo>
                    <a:pt x="1183" y="1133"/>
                  </a:lnTo>
                  <a:lnTo>
                    <a:pt x="1183" y="1133"/>
                  </a:lnTo>
                  <a:lnTo>
                    <a:pt x="1182" y="1133"/>
                  </a:lnTo>
                  <a:lnTo>
                    <a:pt x="1182" y="1133"/>
                  </a:lnTo>
                  <a:lnTo>
                    <a:pt x="1182" y="1133"/>
                  </a:lnTo>
                  <a:lnTo>
                    <a:pt x="1182" y="1133"/>
                  </a:lnTo>
                  <a:lnTo>
                    <a:pt x="1182" y="1133"/>
                  </a:lnTo>
                  <a:lnTo>
                    <a:pt x="1182"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1134"/>
                  </a:lnTo>
                  <a:lnTo>
                    <a:pt x="1181" y="1134"/>
                  </a:lnTo>
                  <a:lnTo>
                    <a:pt x="1181" y="1135"/>
                  </a:lnTo>
                  <a:lnTo>
                    <a:pt x="1180" y="1135"/>
                  </a:lnTo>
                  <a:lnTo>
                    <a:pt x="1180" y="1135"/>
                  </a:lnTo>
                  <a:lnTo>
                    <a:pt x="1179" y="1135"/>
                  </a:lnTo>
                  <a:lnTo>
                    <a:pt x="1179" y="1135"/>
                  </a:lnTo>
                  <a:lnTo>
                    <a:pt x="1179" y="1135"/>
                  </a:lnTo>
                  <a:lnTo>
                    <a:pt x="1179" y="1135"/>
                  </a:lnTo>
                  <a:lnTo>
                    <a:pt x="1179" y="1135"/>
                  </a:lnTo>
                  <a:lnTo>
                    <a:pt x="1179" y="1135"/>
                  </a:lnTo>
                  <a:lnTo>
                    <a:pt x="1179" y="1135"/>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04" y="1136"/>
                  </a:lnTo>
                  <a:lnTo>
                    <a:pt x="1104" y="1136"/>
                  </a:lnTo>
                  <a:lnTo>
                    <a:pt x="1102" y="1136"/>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1143"/>
                  </a:lnTo>
                  <a:lnTo>
                    <a:pt x="1069" y="1143"/>
                  </a:lnTo>
                  <a:lnTo>
                    <a:pt x="1069" y="1143"/>
                  </a:lnTo>
                  <a:lnTo>
                    <a:pt x="1069" y="1143"/>
                  </a:lnTo>
                  <a:lnTo>
                    <a:pt x="1069" y="1143"/>
                  </a:lnTo>
                  <a:lnTo>
                    <a:pt x="1069" y="1143"/>
                  </a:lnTo>
                  <a:lnTo>
                    <a:pt x="1069" y="1143"/>
                  </a:lnTo>
                  <a:lnTo>
                    <a:pt x="1069" y="1143"/>
                  </a:lnTo>
                  <a:lnTo>
                    <a:pt x="1069" y="1146"/>
                  </a:lnTo>
                  <a:lnTo>
                    <a:pt x="1069" y="1146"/>
                  </a:lnTo>
                  <a:lnTo>
                    <a:pt x="1069" y="1146"/>
                  </a:lnTo>
                  <a:lnTo>
                    <a:pt x="1069" y="1146"/>
                  </a:lnTo>
                  <a:lnTo>
                    <a:pt x="1069" y="1148"/>
                  </a:lnTo>
                  <a:lnTo>
                    <a:pt x="1067" y="1148"/>
                  </a:lnTo>
                  <a:lnTo>
                    <a:pt x="1067" y="1148"/>
                  </a:lnTo>
                  <a:lnTo>
                    <a:pt x="1067" y="1148"/>
                  </a:lnTo>
                  <a:lnTo>
                    <a:pt x="1067" y="1148"/>
                  </a:lnTo>
                  <a:lnTo>
                    <a:pt x="1067" y="1148"/>
                  </a:lnTo>
                  <a:lnTo>
                    <a:pt x="1067" y="1150"/>
                  </a:lnTo>
                  <a:lnTo>
                    <a:pt x="1062" y="1150"/>
                  </a:lnTo>
                  <a:lnTo>
                    <a:pt x="1062" y="1150"/>
                  </a:lnTo>
                  <a:lnTo>
                    <a:pt x="1061" y="1150"/>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5"/>
                  </a:lnTo>
                  <a:lnTo>
                    <a:pt x="1037" y="1155"/>
                  </a:lnTo>
                  <a:lnTo>
                    <a:pt x="1037" y="1155"/>
                  </a:lnTo>
                  <a:lnTo>
                    <a:pt x="1037" y="1155"/>
                  </a:lnTo>
                  <a:lnTo>
                    <a:pt x="1037" y="1155"/>
                  </a:lnTo>
                  <a:lnTo>
                    <a:pt x="1028" y="1155"/>
                  </a:lnTo>
                  <a:lnTo>
                    <a:pt x="1028" y="1155"/>
                  </a:lnTo>
                  <a:lnTo>
                    <a:pt x="1023" y="1155"/>
                  </a:lnTo>
                  <a:lnTo>
                    <a:pt x="1023" y="1155"/>
                  </a:lnTo>
                  <a:lnTo>
                    <a:pt x="1020" y="1155"/>
                  </a:lnTo>
                  <a:lnTo>
                    <a:pt x="1020" y="1155"/>
                  </a:lnTo>
                  <a:lnTo>
                    <a:pt x="1017" y="1155"/>
                  </a:lnTo>
                  <a:lnTo>
                    <a:pt x="1017" y="1155"/>
                  </a:lnTo>
                  <a:lnTo>
                    <a:pt x="1015" y="1155"/>
                  </a:lnTo>
                  <a:lnTo>
                    <a:pt x="1015" y="1155"/>
                  </a:lnTo>
                  <a:lnTo>
                    <a:pt x="1013" y="1155"/>
                  </a:lnTo>
                  <a:lnTo>
                    <a:pt x="1013" y="1155"/>
                  </a:lnTo>
                  <a:lnTo>
                    <a:pt x="1011" y="1155"/>
                  </a:lnTo>
                  <a:lnTo>
                    <a:pt x="1011" y="1155"/>
                  </a:lnTo>
                  <a:lnTo>
                    <a:pt x="1010" y="1155"/>
                  </a:lnTo>
                  <a:lnTo>
                    <a:pt x="1010" y="1155"/>
                  </a:lnTo>
                  <a:lnTo>
                    <a:pt x="1009" y="1155"/>
                  </a:lnTo>
                  <a:lnTo>
                    <a:pt x="1009" y="1155"/>
                  </a:lnTo>
                  <a:lnTo>
                    <a:pt x="1008" y="1155"/>
                  </a:lnTo>
                  <a:lnTo>
                    <a:pt x="1008" y="1155"/>
                  </a:lnTo>
                  <a:lnTo>
                    <a:pt x="1007" y="1155"/>
                  </a:lnTo>
                  <a:lnTo>
                    <a:pt x="1007" y="1155"/>
                  </a:lnTo>
                  <a:lnTo>
                    <a:pt x="1006" y="1155"/>
                  </a:lnTo>
                  <a:lnTo>
                    <a:pt x="1006" y="1155"/>
                  </a:lnTo>
                  <a:lnTo>
                    <a:pt x="1006" y="1155"/>
                  </a:lnTo>
                  <a:lnTo>
                    <a:pt x="1006"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899"/>
                  </a:lnTo>
                  <a:lnTo>
                    <a:pt x="1004" y="899"/>
                  </a:lnTo>
                  <a:lnTo>
                    <a:pt x="1004" y="899"/>
                  </a:lnTo>
                  <a:lnTo>
                    <a:pt x="1004" y="899"/>
                  </a:lnTo>
                  <a:lnTo>
                    <a:pt x="1004" y="1157"/>
                  </a:lnTo>
                  <a:lnTo>
                    <a:pt x="1004" y="1157"/>
                  </a:lnTo>
                  <a:lnTo>
                    <a:pt x="1004" y="1158"/>
                  </a:lnTo>
                  <a:lnTo>
                    <a:pt x="1004" y="1158"/>
                  </a:lnTo>
                  <a:lnTo>
                    <a:pt x="1004" y="1164"/>
                  </a:lnTo>
                  <a:lnTo>
                    <a:pt x="1004" y="1164"/>
                  </a:lnTo>
                  <a:lnTo>
                    <a:pt x="1004" y="1164"/>
                  </a:lnTo>
                  <a:lnTo>
                    <a:pt x="1004" y="1164"/>
                  </a:lnTo>
                  <a:lnTo>
                    <a:pt x="1004" y="1167"/>
                  </a:lnTo>
                  <a:lnTo>
                    <a:pt x="1003" y="1167"/>
                  </a:lnTo>
                  <a:lnTo>
                    <a:pt x="1003" y="1167"/>
                  </a:lnTo>
                  <a:lnTo>
                    <a:pt x="1002" y="1167"/>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1175"/>
                  </a:lnTo>
                  <a:lnTo>
                    <a:pt x="989" y="1175"/>
                  </a:lnTo>
                  <a:lnTo>
                    <a:pt x="989" y="1175"/>
                  </a:lnTo>
                  <a:lnTo>
                    <a:pt x="965" y="1175"/>
                  </a:lnTo>
                  <a:lnTo>
                    <a:pt x="965" y="1175"/>
                  </a:lnTo>
                  <a:lnTo>
                    <a:pt x="958" y="1175"/>
                  </a:lnTo>
                  <a:lnTo>
                    <a:pt x="958" y="1175"/>
                  </a:lnTo>
                  <a:lnTo>
                    <a:pt x="957" y="1175"/>
                  </a:lnTo>
                  <a:lnTo>
                    <a:pt x="957" y="1175"/>
                  </a:lnTo>
                  <a:lnTo>
                    <a:pt x="957" y="1175"/>
                  </a:lnTo>
                  <a:lnTo>
                    <a:pt x="957" y="1176"/>
                  </a:lnTo>
                  <a:lnTo>
                    <a:pt x="955" y="1176"/>
                  </a:lnTo>
                  <a:lnTo>
                    <a:pt x="955" y="1176"/>
                  </a:lnTo>
                  <a:lnTo>
                    <a:pt x="955" y="1176"/>
                  </a:lnTo>
                  <a:lnTo>
                    <a:pt x="955" y="1176"/>
                  </a:lnTo>
                  <a:lnTo>
                    <a:pt x="955" y="1176"/>
                  </a:lnTo>
                  <a:lnTo>
                    <a:pt x="955" y="1177"/>
                  </a:lnTo>
                  <a:lnTo>
                    <a:pt x="955" y="1177"/>
                  </a:lnTo>
                  <a:lnTo>
                    <a:pt x="955" y="1177"/>
                  </a:lnTo>
                  <a:lnTo>
                    <a:pt x="955" y="1177"/>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3"/>
                  </a:lnTo>
                  <a:lnTo>
                    <a:pt x="955" y="1183"/>
                  </a:lnTo>
                  <a:lnTo>
                    <a:pt x="955" y="1183"/>
                  </a:lnTo>
                  <a:lnTo>
                    <a:pt x="955" y="1183"/>
                  </a:lnTo>
                  <a:lnTo>
                    <a:pt x="955" y="1183"/>
                  </a:lnTo>
                  <a:lnTo>
                    <a:pt x="952" y="1183"/>
                  </a:lnTo>
                  <a:lnTo>
                    <a:pt x="952" y="1183"/>
                  </a:lnTo>
                  <a:lnTo>
                    <a:pt x="952" y="1183"/>
                  </a:lnTo>
                  <a:lnTo>
                    <a:pt x="952" y="1183"/>
                  </a:lnTo>
                  <a:lnTo>
                    <a:pt x="951" y="1183"/>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1192"/>
                  </a:lnTo>
                  <a:lnTo>
                    <a:pt x="938" y="1192"/>
                  </a:lnTo>
                  <a:lnTo>
                    <a:pt x="938" y="1192"/>
                  </a:lnTo>
                  <a:lnTo>
                    <a:pt x="936" y="1192"/>
                  </a:lnTo>
                  <a:lnTo>
                    <a:pt x="936" y="1192"/>
                  </a:lnTo>
                  <a:lnTo>
                    <a:pt x="936" y="1192"/>
                  </a:lnTo>
                  <a:lnTo>
                    <a:pt x="936" y="1192"/>
                  </a:lnTo>
                  <a:lnTo>
                    <a:pt x="935" y="1192"/>
                  </a:lnTo>
                  <a:lnTo>
                    <a:pt x="935" y="1192"/>
                  </a:lnTo>
                  <a:lnTo>
                    <a:pt x="935" y="1192"/>
                  </a:lnTo>
                  <a:lnTo>
                    <a:pt x="935" y="1192"/>
                  </a:lnTo>
                  <a:lnTo>
                    <a:pt x="935" y="1192"/>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7"/>
                  </a:lnTo>
                  <a:lnTo>
                    <a:pt x="932" y="1197"/>
                  </a:lnTo>
                  <a:lnTo>
                    <a:pt x="932" y="1198"/>
                  </a:lnTo>
                  <a:lnTo>
                    <a:pt x="931" y="1198"/>
                  </a:lnTo>
                  <a:lnTo>
                    <a:pt x="931" y="1199"/>
                  </a:lnTo>
                  <a:lnTo>
                    <a:pt x="929" y="1199"/>
                  </a:lnTo>
                  <a:lnTo>
                    <a:pt x="929" y="1199"/>
                  </a:lnTo>
                  <a:lnTo>
                    <a:pt x="928" y="11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2"/>
                  </a:lnTo>
                  <a:lnTo>
                    <a:pt x="913" y="1202"/>
                  </a:lnTo>
                  <a:lnTo>
                    <a:pt x="913" y="1202"/>
                  </a:lnTo>
                  <a:lnTo>
                    <a:pt x="912" y="1202"/>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0" y="1204"/>
                  </a:lnTo>
                  <a:lnTo>
                    <a:pt x="910" y="1204"/>
                  </a:lnTo>
                  <a:lnTo>
                    <a:pt x="910" y="1204"/>
                  </a:lnTo>
                  <a:lnTo>
                    <a:pt x="910" y="1204"/>
                  </a:lnTo>
                  <a:lnTo>
                    <a:pt x="909" y="1204"/>
                  </a:lnTo>
                  <a:lnTo>
                    <a:pt x="909" y="1205"/>
                  </a:lnTo>
                  <a:lnTo>
                    <a:pt x="907" y="1205"/>
                  </a:lnTo>
                  <a:lnTo>
                    <a:pt x="907" y="899"/>
                  </a:lnTo>
                  <a:lnTo>
                    <a:pt x="902" y="899"/>
                  </a:lnTo>
                  <a:lnTo>
                    <a:pt x="902" y="899"/>
                  </a:lnTo>
                  <a:lnTo>
                    <a:pt x="900" y="899"/>
                  </a:lnTo>
                  <a:lnTo>
                    <a:pt x="900" y="899"/>
                  </a:lnTo>
                  <a:lnTo>
                    <a:pt x="900" y="899"/>
                  </a:lnTo>
                  <a:lnTo>
                    <a:pt x="900" y="899"/>
                  </a:lnTo>
                  <a:lnTo>
                    <a:pt x="899" y="899"/>
                  </a:lnTo>
                  <a:lnTo>
                    <a:pt x="899" y="1207"/>
                  </a:lnTo>
                  <a:lnTo>
                    <a:pt x="899" y="1207"/>
                  </a:lnTo>
                  <a:lnTo>
                    <a:pt x="899" y="899"/>
                  </a:lnTo>
                  <a:lnTo>
                    <a:pt x="899" y="899"/>
                  </a:lnTo>
                  <a:lnTo>
                    <a:pt x="899" y="899"/>
                  </a:lnTo>
                  <a:lnTo>
                    <a:pt x="899" y="899"/>
                  </a:lnTo>
                  <a:lnTo>
                    <a:pt x="899" y="1208"/>
                  </a:lnTo>
                  <a:lnTo>
                    <a:pt x="899" y="1208"/>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1"/>
                  </a:lnTo>
                  <a:lnTo>
                    <a:pt x="887" y="1211"/>
                  </a:lnTo>
                  <a:lnTo>
                    <a:pt x="887" y="1211"/>
                  </a:lnTo>
                  <a:lnTo>
                    <a:pt x="887" y="1211"/>
                  </a:lnTo>
                  <a:lnTo>
                    <a:pt x="887" y="1211"/>
                  </a:lnTo>
                  <a:lnTo>
                    <a:pt x="887" y="1211"/>
                  </a:lnTo>
                  <a:lnTo>
                    <a:pt x="887" y="1212"/>
                  </a:lnTo>
                  <a:lnTo>
                    <a:pt x="887" y="1212"/>
                  </a:lnTo>
                  <a:lnTo>
                    <a:pt x="887"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899"/>
                  </a:lnTo>
                  <a:lnTo>
                    <a:pt x="882" y="899"/>
                  </a:lnTo>
                  <a:lnTo>
                    <a:pt x="882" y="899"/>
                  </a:lnTo>
                  <a:lnTo>
                    <a:pt x="882" y="899"/>
                  </a:lnTo>
                  <a:lnTo>
                    <a:pt x="882" y="899"/>
                  </a:lnTo>
                  <a:lnTo>
                    <a:pt x="882" y="899"/>
                  </a:lnTo>
                  <a:lnTo>
                    <a:pt x="882" y="1216"/>
                  </a:lnTo>
                  <a:lnTo>
                    <a:pt x="882" y="1216"/>
                  </a:lnTo>
                  <a:lnTo>
                    <a:pt x="882" y="1216"/>
                  </a:lnTo>
                  <a:lnTo>
                    <a:pt x="881" y="1216"/>
                  </a:lnTo>
                  <a:lnTo>
                    <a:pt x="881" y="1216"/>
                  </a:lnTo>
                  <a:lnTo>
                    <a:pt x="881" y="1216"/>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1220"/>
                  </a:lnTo>
                  <a:lnTo>
                    <a:pt x="850" y="1220"/>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4"/>
                  </a:lnTo>
                  <a:lnTo>
                    <a:pt x="847" y="1224"/>
                  </a:lnTo>
                  <a:lnTo>
                    <a:pt x="847" y="1226"/>
                  </a:lnTo>
                  <a:lnTo>
                    <a:pt x="846" y="1226"/>
                  </a:lnTo>
                  <a:lnTo>
                    <a:pt x="846" y="1226"/>
                  </a:lnTo>
                  <a:lnTo>
                    <a:pt x="845" y="1226"/>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9"/>
                  </a:lnTo>
                  <a:lnTo>
                    <a:pt x="845" y="122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3"/>
                  </a:lnTo>
                  <a:lnTo>
                    <a:pt x="836" y="1233"/>
                  </a:lnTo>
                  <a:lnTo>
                    <a:pt x="836" y="1233"/>
                  </a:lnTo>
                  <a:lnTo>
                    <a:pt x="836" y="1233"/>
                  </a:lnTo>
                  <a:lnTo>
                    <a:pt x="836" y="1236"/>
                  </a:lnTo>
                  <a:lnTo>
                    <a:pt x="835" y="1236"/>
                  </a:lnTo>
                  <a:lnTo>
                    <a:pt x="835" y="899"/>
                  </a:lnTo>
                  <a:lnTo>
                    <a:pt x="835" y="899"/>
                  </a:lnTo>
                  <a:lnTo>
                    <a:pt x="835" y="899"/>
                  </a:lnTo>
                  <a:lnTo>
                    <a:pt x="835" y="899"/>
                  </a:lnTo>
                  <a:lnTo>
                    <a:pt x="835" y="1236"/>
                  </a:lnTo>
                  <a:lnTo>
                    <a:pt x="829" y="1236"/>
                  </a:lnTo>
                  <a:lnTo>
                    <a:pt x="829"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1"/>
                  </a:lnTo>
                  <a:lnTo>
                    <a:pt x="828" y="1241"/>
                  </a:lnTo>
                  <a:lnTo>
                    <a:pt x="828" y="1242"/>
                  </a:lnTo>
                  <a:lnTo>
                    <a:pt x="828" y="1242"/>
                  </a:lnTo>
                  <a:lnTo>
                    <a:pt x="828" y="1242"/>
                  </a:lnTo>
                  <a:lnTo>
                    <a:pt x="828" y="1242"/>
                  </a:lnTo>
                  <a:lnTo>
                    <a:pt x="828" y="1242"/>
                  </a:lnTo>
                  <a:lnTo>
                    <a:pt x="828" y="1242"/>
                  </a:lnTo>
                  <a:lnTo>
                    <a:pt x="828" y="1242"/>
                  </a:lnTo>
                  <a:lnTo>
                    <a:pt x="827" y="1242"/>
                  </a:lnTo>
                  <a:lnTo>
                    <a:pt x="827" y="1243"/>
                  </a:lnTo>
                  <a:lnTo>
                    <a:pt x="827" y="1243"/>
                  </a:lnTo>
                  <a:lnTo>
                    <a:pt x="827" y="1243"/>
                  </a:lnTo>
                  <a:lnTo>
                    <a:pt x="827" y="1243"/>
                  </a:lnTo>
                  <a:lnTo>
                    <a:pt x="827" y="1245"/>
                  </a:lnTo>
                  <a:lnTo>
                    <a:pt x="819" y="1245"/>
                  </a:lnTo>
                  <a:lnTo>
                    <a:pt x="819" y="1245"/>
                  </a:lnTo>
                  <a:lnTo>
                    <a:pt x="813" y="1245"/>
                  </a:lnTo>
                  <a:lnTo>
                    <a:pt x="813" y="1245"/>
                  </a:lnTo>
                  <a:lnTo>
                    <a:pt x="811" y="1245"/>
                  </a:lnTo>
                  <a:lnTo>
                    <a:pt x="811" y="1245"/>
                  </a:lnTo>
                  <a:lnTo>
                    <a:pt x="810" y="1245"/>
                  </a:lnTo>
                  <a:lnTo>
                    <a:pt x="810" y="1245"/>
                  </a:lnTo>
                  <a:lnTo>
                    <a:pt x="808" y="1245"/>
                  </a:lnTo>
                  <a:lnTo>
                    <a:pt x="808" y="1245"/>
                  </a:lnTo>
                  <a:lnTo>
                    <a:pt x="806" y="1245"/>
                  </a:lnTo>
                  <a:lnTo>
                    <a:pt x="806" y="1245"/>
                  </a:lnTo>
                  <a:lnTo>
                    <a:pt x="805" y="1245"/>
                  </a:lnTo>
                  <a:lnTo>
                    <a:pt x="805" y="1245"/>
                  </a:lnTo>
                  <a:lnTo>
                    <a:pt x="804" y="1245"/>
                  </a:lnTo>
                  <a:lnTo>
                    <a:pt x="804" y="1245"/>
                  </a:lnTo>
                  <a:lnTo>
                    <a:pt x="803" y="1245"/>
                  </a:lnTo>
                  <a:lnTo>
                    <a:pt x="803" y="1245"/>
                  </a:lnTo>
                  <a:lnTo>
                    <a:pt x="802" y="1245"/>
                  </a:lnTo>
                  <a:lnTo>
                    <a:pt x="802" y="1245"/>
                  </a:lnTo>
                  <a:lnTo>
                    <a:pt x="802" y="1245"/>
                  </a:lnTo>
                  <a:lnTo>
                    <a:pt x="802" y="1245"/>
                  </a:lnTo>
                  <a:lnTo>
                    <a:pt x="802" y="1245"/>
                  </a:lnTo>
                  <a:lnTo>
                    <a:pt x="802" y="1245"/>
                  </a:lnTo>
                  <a:lnTo>
                    <a:pt x="802" y="1245"/>
                  </a:lnTo>
                  <a:lnTo>
                    <a:pt x="802" y="1245"/>
                  </a:lnTo>
                  <a:lnTo>
                    <a:pt x="801" y="1245"/>
                  </a:lnTo>
                  <a:lnTo>
                    <a:pt x="801" y="1245"/>
                  </a:lnTo>
                  <a:lnTo>
                    <a:pt x="801" y="1245"/>
                  </a:lnTo>
                  <a:lnTo>
                    <a:pt x="801" y="1245"/>
                  </a:lnTo>
                  <a:lnTo>
                    <a:pt x="801" y="1245"/>
                  </a:lnTo>
                  <a:lnTo>
                    <a:pt x="801" y="1245"/>
                  </a:lnTo>
                  <a:lnTo>
                    <a:pt x="801" y="1245"/>
                  </a:lnTo>
                  <a:lnTo>
                    <a:pt x="801" y="1245"/>
                  </a:lnTo>
                  <a:lnTo>
                    <a:pt x="801" y="1245"/>
                  </a:lnTo>
                  <a:lnTo>
                    <a:pt x="801" y="1246"/>
                  </a:lnTo>
                  <a:lnTo>
                    <a:pt x="801" y="1246"/>
                  </a:lnTo>
                  <a:lnTo>
                    <a:pt x="801" y="1246"/>
                  </a:lnTo>
                  <a:lnTo>
                    <a:pt x="800" y="1246"/>
                  </a:lnTo>
                  <a:lnTo>
                    <a:pt x="800" y="1246"/>
                  </a:lnTo>
                  <a:lnTo>
                    <a:pt x="800" y="1246"/>
                  </a:lnTo>
                  <a:lnTo>
                    <a:pt x="800" y="1246"/>
                  </a:lnTo>
                  <a:lnTo>
                    <a:pt x="800" y="1246"/>
                  </a:lnTo>
                  <a:lnTo>
                    <a:pt x="800" y="1246"/>
                  </a:lnTo>
                  <a:lnTo>
                    <a:pt x="800" y="1246"/>
                  </a:lnTo>
                  <a:lnTo>
                    <a:pt x="800" y="1247"/>
                  </a:lnTo>
                  <a:lnTo>
                    <a:pt x="800" y="1247"/>
                  </a:lnTo>
                  <a:lnTo>
                    <a:pt x="800" y="1247"/>
                  </a:lnTo>
                  <a:lnTo>
                    <a:pt x="800" y="1247"/>
                  </a:lnTo>
                  <a:lnTo>
                    <a:pt x="800" y="1248"/>
                  </a:lnTo>
                  <a:lnTo>
                    <a:pt x="795" y="1248"/>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2" y="1248"/>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1252"/>
                  </a:lnTo>
                  <a:lnTo>
                    <a:pt x="777" y="1252"/>
                  </a:lnTo>
                  <a:lnTo>
                    <a:pt x="777" y="1252"/>
                  </a:lnTo>
                  <a:lnTo>
                    <a:pt x="777" y="1252"/>
                  </a:lnTo>
                  <a:lnTo>
                    <a:pt x="777" y="1252"/>
                  </a:lnTo>
                  <a:lnTo>
                    <a:pt x="777" y="1252"/>
                  </a:lnTo>
                  <a:lnTo>
                    <a:pt x="777" y="1253"/>
                  </a:lnTo>
                  <a:lnTo>
                    <a:pt x="768" y="1253"/>
                  </a:lnTo>
                  <a:lnTo>
                    <a:pt x="768" y="1253"/>
                  </a:lnTo>
                  <a:lnTo>
                    <a:pt x="768" y="1253"/>
                  </a:lnTo>
                  <a:lnTo>
                    <a:pt x="768" y="1256"/>
                  </a:lnTo>
                  <a:lnTo>
                    <a:pt x="768" y="1256"/>
                  </a:lnTo>
                  <a:lnTo>
                    <a:pt x="768"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899"/>
                  </a:lnTo>
                  <a:lnTo>
                    <a:pt x="752" y="899"/>
                  </a:lnTo>
                  <a:lnTo>
                    <a:pt x="752" y="1259"/>
                  </a:lnTo>
                  <a:lnTo>
                    <a:pt x="752" y="1259"/>
                  </a:lnTo>
                  <a:lnTo>
                    <a:pt x="752" y="1259"/>
                  </a:lnTo>
                  <a:lnTo>
                    <a:pt x="752" y="1259"/>
                  </a:lnTo>
                  <a:lnTo>
                    <a:pt x="752" y="1259"/>
                  </a:lnTo>
                  <a:lnTo>
                    <a:pt x="752" y="1259"/>
                  </a:lnTo>
                  <a:lnTo>
                    <a:pt x="752" y="1261"/>
                  </a:lnTo>
                  <a:lnTo>
                    <a:pt x="743" y="1261"/>
                  </a:lnTo>
                  <a:lnTo>
                    <a:pt x="743" y="1261"/>
                  </a:lnTo>
                  <a:lnTo>
                    <a:pt x="737" y="1261"/>
                  </a:lnTo>
                  <a:lnTo>
                    <a:pt x="737" y="1261"/>
                  </a:lnTo>
                  <a:lnTo>
                    <a:pt x="737" y="1261"/>
                  </a:lnTo>
                  <a:lnTo>
                    <a:pt x="737" y="1261"/>
                  </a:lnTo>
                  <a:lnTo>
                    <a:pt x="737" y="1261"/>
                  </a:lnTo>
                  <a:lnTo>
                    <a:pt x="737" y="1262"/>
                  </a:lnTo>
                  <a:lnTo>
                    <a:pt x="737" y="1262"/>
                  </a:lnTo>
                  <a:lnTo>
                    <a:pt x="737" y="1262"/>
                  </a:lnTo>
                  <a:lnTo>
                    <a:pt x="736" y="1262"/>
                  </a:lnTo>
                  <a:lnTo>
                    <a:pt x="736" y="1262"/>
                  </a:lnTo>
                  <a:lnTo>
                    <a:pt x="736" y="1262"/>
                  </a:lnTo>
                  <a:lnTo>
                    <a:pt x="736" y="1264"/>
                  </a:lnTo>
                  <a:lnTo>
                    <a:pt x="736" y="1264"/>
                  </a:lnTo>
                  <a:lnTo>
                    <a:pt x="736" y="1264"/>
                  </a:lnTo>
                  <a:lnTo>
                    <a:pt x="736" y="1264"/>
                  </a:lnTo>
                  <a:lnTo>
                    <a:pt x="736" y="1265"/>
                  </a:lnTo>
                  <a:lnTo>
                    <a:pt x="736" y="1265"/>
                  </a:lnTo>
                  <a:lnTo>
                    <a:pt x="736" y="1265"/>
                  </a:lnTo>
                  <a:lnTo>
                    <a:pt x="736" y="1265"/>
                  </a:lnTo>
                  <a:lnTo>
                    <a:pt x="736" y="1265"/>
                  </a:lnTo>
                  <a:lnTo>
                    <a:pt x="732" y="1265"/>
                  </a:lnTo>
                  <a:lnTo>
                    <a:pt x="732" y="1265"/>
                  </a:lnTo>
                  <a:lnTo>
                    <a:pt x="728" y="1265"/>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1270"/>
                  </a:lnTo>
                  <a:lnTo>
                    <a:pt x="680" y="1270"/>
                  </a:lnTo>
                  <a:lnTo>
                    <a:pt x="680" y="1270"/>
                  </a:lnTo>
                  <a:lnTo>
                    <a:pt x="680" y="1270"/>
                  </a:lnTo>
                  <a:lnTo>
                    <a:pt x="680" y="1270"/>
                  </a:lnTo>
                  <a:lnTo>
                    <a:pt x="680" y="1270"/>
                  </a:lnTo>
                  <a:lnTo>
                    <a:pt x="680" y="1271"/>
                  </a:lnTo>
                  <a:lnTo>
                    <a:pt x="680" y="1271"/>
                  </a:lnTo>
                  <a:lnTo>
                    <a:pt x="680" y="1271"/>
                  </a:lnTo>
                  <a:lnTo>
                    <a:pt x="680" y="1271"/>
                  </a:lnTo>
                  <a:lnTo>
                    <a:pt x="680" y="1271"/>
                  </a:lnTo>
                  <a:lnTo>
                    <a:pt x="679" y="1271"/>
                  </a:lnTo>
                  <a:lnTo>
                    <a:pt x="679" y="1273"/>
                  </a:lnTo>
                  <a:lnTo>
                    <a:pt x="677" y="1273"/>
                  </a:lnTo>
                  <a:lnTo>
                    <a:pt x="677" y="1273"/>
                  </a:lnTo>
                  <a:lnTo>
                    <a:pt x="677" y="1273"/>
                  </a:lnTo>
                  <a:lnTo>
                    <a:pt x="677" y="1274"/>
                  </a:lnTo>
                  <a:lnTo>
                    <a:pt x="677" y="1274"/>
                  </a:lnTo>
                  <a:lnTo>
                    <a:pt x="677" y="1275"/>
                  </a:lnTo>
                  <a:lnTo>
                    <a:pt x="677" y="1275"/>
                  </a:lnTo>
                  <a:lnTo>
                    <a:pt x="677" y="1275"/>
                  </a:lnTo>
                  <a:lnTo>
                    <a:pt x="677" y="1275"/>
                  </a:lnTo>
                  <a:lnTo>
                    <a:pt x="677" y="1275"/>
                  </a:lnTo>
                  <a:lnTo>
                    <a:pt x="677" y="1275"/>
                  </a:lnTo>
                  <a:lnTo>
                    <a:pt x="677" y="899"/>
                  </a:lnTo>
                  <a:lnTo>
                    <a:pt x="677" y="899"/>
                  </a:lnTo>
                  <a:lnTo>
                    <a:pt x="677" y="899"/>
                  </a:lnTo>
                  <a:lnTo>
                    <a:pt x="677" y="899"/>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1276"/>
                  </a:lnTo>
                  <a:lnTo>
                    <a:pt x="674" y="1276"/>
                  </a:lnTo>
                  <a:lnTo>
                    <a:pt x="674" y="1276"/>
                  </a:lnTo>
                  <a:lnTo>
                    <a:pt x="673" y="1276"/>
                  </a:lnTo>
                  <a:lnTo>
                    <a:pt x="673" y="1276"/>
                  </a:lnTo>
                  <a:lnTo>
                    <a:pt x="673" y="1276"/>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1280"/>
                  </a:lnTo>
                  <a:lnTo>
                    <a:pt x="649" y="1280"/>
                  </a:lnTo>
                  <a:lnTo>
                    <a:pt x="649" y="1280"/>
                  </a:lnTo>
                  <a:lnTo>
                    <a:pt x="649" y="1280"/>
                  </a:lnTo>
                  <a:lnTo>
                    <a:pt x="649" y="1281"/>
                  </a:lnTo>
                  <a:lnTo>
                    <a:pt x="629" y="1281"/>
                  </a:lnTo>
                  <a:lnTo>
                    <a:pt x="629" y="1281"/>
                  </a:lnTo>
                  <a:lnTo>
                    <a:pt x="616" y="1281"/>
                  </a:lnTo>
                  <a:lnTo>
                    <a:pt x="616" y="1281"/>
                  </a:lnTo>
                  <a:lnTo>
                    <a:pt x="612" y="1281"/>
                  </a:lnTo>
                  <a:lnTo>
                    <a:pt x="612" y="1281"/>
                  </a:lnTo>
                  <a:lnTo>
                    <a:pt x="610" y="1281"/>
                  </a:lnTo>
                  <a:lnTo>
                    <a:pt x="610" y="1281"/>
                  </a:lnTo>
                  <a:lnTo>
                    <a:pt x="608" y="1281"/>
                  </a:lnTo>
                  <a:lnTo>
                    <a:pt x="608" y="1281"/>
                  </a:lnTo>
                  <a:lnTo>
                    <a:pt x="607" y="1281"/>
                  </a:lnTo>
                  <a:lnTo>
                    <a:pt x="607" y="1281"/>
                  </a:lnTo>
                  <a:lnTo>
                    <a:pt x="607" y="1281"/>
                  </a:lnTo>
                  <a:lnTo>
                    <a:pt x="607" y="1281"/>
                  </a:lnTo>
                  <a:lnTo>
                    <a:pt x="607" y="1281"/>
                  </a:lnTo>
                  <a:lnTo>
                    <a:pt x="607" y="1281"/>
                  </a:lnTo>
                  <a:lnTo>
                    <a:pt x="607" y="1281"/>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3"/>
                  </a:lnTo>
                  <a:lnTo>
                    <a:pt x="605" y="1283"/>
                  </a:lnTo>
                  <a:lnTo>
                    <a:pt x="605" y="1284"/>
                  </a:lnTo>
                  <a:lnTo>
                    <a:pt x="605" y="1284"/>
                  </a:lnTo>
                  <a:lnTo>
                    <a:pt x="605" y="1284"/>
                  </a:lnTo>
                  <a:lnTo>
                    <a:pt x="605" y="1284"/>
                  </a:lnTo>
                  <a:lnTo>
                    <a:pt x="605" y="1285"/>
                  </a:lnTo>
                  <a:lnTo>
                    <a:pt x="602" y="1285"/>
                  </a:lnTo>
                  <a:lnTo>
                    <a:pt x="602" y="1285"/>
                  </a:lnTo>
                  <a:lnTo>
                    <a:pt x="600" y="1285"/>
                  </a:lnTo>
                  <a:lnTo>
                    <a:pt x="600"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7"/>
                  </a:lnTo>
                  <a:lnTo>
                    <a:pt x="598" y="1287"/>
                  </a:lnTo>
                  <a:lnTo>
                    <a:pt x="598" y="1287"/>
                  </a:lnTo>
                  <a:lnTo>
                    <a:pt x="597" y="1287"/>
                  </a:lnTo>
                  <a:lnTo>
                    <a:pt x="597" y="1288"/>
                  </a:lnTo>
                  <a:lnTo>
                    <a:pt x="596" y="1288"/>
                  </a:lnTo>
                  <a:lnTo>
                    <a:pt x="596" y="1288"/>
                  </a:lnTo>
                  <a:lnTo>
                    <a:pt x="595" y="1288"/>
                  </a:lnTo>
                  <a:lnTo>
                    <a:pt x="595" y="1289"/>
                  </a:lnTo>
                  <a:lnTo>
                    <a:pt x="595" y="1289"/>
                  </a:lnTo>
                  <a:lnTo>
                    <a:pt x="595" y="1289"/>
                  </a:lnTo>
                  <a:lnTo>
                    <a:pt x="594" y="1289"/>
                  </a:lnTo>
                  <a:lnTo>
                    <a:pt x="594" y="1290"/>
                  </a:lnTo>
                  <a:lnTo>
                    <a:pt x="592" y="1290"/>
                  </a:lnTo>
                  <a:lnTo>
                    <a:pt x="592" y="1290"/>
                  </a:lnTo>
                  <a:lnTo>
                    <a:pt x="591" y="1290"/>
                  </a:lnTo>
                  <a:lnTo>
                    <a:pt x="591" y="1290"/>
                  </a:lnTo>
                  <a:lnTo>
                    <a:pt x="590" y="1290"/>
                  </a:lnTo>
                  <a:lnTo>
                    <a:pt x="590" y="1290"/>
                  </a:lnTo>
                  <a:lnTo>
                    <a:pt x="589" y="1290"/>
                  </a:lnTo>
                  <a:lnTo>
                    <a:pt x="589" y="1290"/>
                  </a:lnTo>
                  <a:lnTo>
                    <a:pt x="588" y="1290"/>
                  </a:lnTo>
                  <a:lnTo>
                    <a:pt x="588" y="1290"/>
                  </a:lnTo>
                  <a:lnTo>
                    <a:pt x="588" y="1290"/>
                  </a:lnTo>
                  <a:lnTo>
                    <a:pt x="588" y="1290"/>
                  </a:lnTo>
                  <a:lnTo>
                    <a:pt x="587" y="1290"/>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1"/>
                  </a:lnTo>
                  <a:lnTo>
                    <a:pt x="582" y="1291"/>
                  </a:lnTo>
                  <a:lnTo>
                    <a:pt x="582" y="1291"/>
                  </a:lnTo>
                  <a:lnTo>
                    <a:pt x="582" y="1291"/>
                  </a:lnTo>
                  <a:lnTo>
                    <a:pt x="582" y="1292"/>
                  </a:lnTo>
                  <a:lnTo>
                    <a:pt x="582" y="1292"/>
                  </a:lnTo>
                  <a:lnTo>
                    <a:pt x="582" y="1292"/>
                  </a:lnTo>
                  <a:lnTo>
                    <a:pt x="582" y="1292"/>
                  </a:lnTo>
                  <a:lnTo>
                    <a:pt x="582" y="1292"/>
                  </a:lnTo>
                  <a:lnTo>
                    <a:pt x="581" y="1292"/>
                  </a:lnTo>
                  <a:lnTo>
                    <a:pt x="581" y="1292"/>
                  </a:lnTo>
                  <a:lnTo>
                    <a:pt x="580" y="1292"/>
                  </a:lnTo>
                  <a:lnTo>
                    <a:pt x="580" y="1292"/>
                  </a:lnTo>
                  <a:lnTo>
                    <a:pt x="579" y="1292"/>
                  </a:lnTo>
                  <a:lnTo>
                    <a:pt x="579" y="1292"/>
                  </a:lnTo>
                  <a:lnTo>
                    <a:pt x="576" y="1292"/>
                  </a:lnTo>
                  <a:lnTo>
                    <a:pt x="576" y="1292"/>
                  </a:lnTo>
                  <a:lnTo>
                    <a:pt x="574" y="1292"/>
                  </a:lnTo>
                  <a:lnTo>
                    <a:pt x="574"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3"/>
                  </a:lnTo>
                  <a:lnTo>
                    <a:pt x="554" y="1293"/>
                  </a:lnTo>
                  <a:lnTo>
                    <a:pt x="554" y="1293"/>
                  </a:lnTo>
                  <a:lnTo>
                    <a:pt x="554" y="1293"/>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899"/>
                  </a:lnTo>
                  <a:lnTo>
                    <a:pt x="548" y="899"/>
                  </a:lnTo>
                  <a:lnTo>
                    <a:pt x="548" y="899"/>
                  </a:lnTo>
                  <a:lnTo>
                    <a:pt x="548" y="899"/>
                  </a:lnTo>
                  <a:lnTo>
                    <a:pt x="548" y="899"/>
                  </a:lnTo>
                  <a:lnTo>
                    <a:pt x="548" y="899"/>
                  </a:lnTo>
                  <a:lnTo>
                    <a:pt x="548" y="1295"/>
                  </a:lnTo>
                  <a:lnTo>
                    <a:pt x="548" y="1295"/>
                  </a:lnTo>
                  <a:lnTo>
                    <a:pt x="548" y="899"/>
                  </a:lnTo>
                  <a:lnTo>
                    <a:pt x="548" y="899"/>
                  </a:lnTo>
                  <a:lnTo>
                    <a:pt x="548" y="899"/>
                  </a:lnTo>
                  <a:lnTo>
                    <a:pt x="548" y="899"/>
                  </a:lnTo>
                  <a:lnTo>
                    <a:pt x="548" y="1295"/>
                  </a:lnTo>
                  <a:lnTo>
                    <a:pt x="548" y="1295"/>
                  </a:lnTo>
                  <a:lnTo>
                    <a:pt x="548" y="1295"/>
                  </a:lnTo>
                  <a:lnTo>
                    <a:pt x="548" y="1295"/>
                  </a:lnTo>
                  <a:lnTo>
                    <a:pt x="548" y="899"/>
                  </a:lnTo>
                  <a:lnTo>
                    <a:pt x="548" y="899"/>
                  </a:lnTo>
                  <a:lnTo>
                    <a:pt x="548" y="899"/>
                  </a:lnTo>
                  <a:lnTo>
                    <a:pt x="548" y="899"/>
                  </a:lnTo>
                  <a:lnTo>
                    <a:pt x="548" y="899"/>
                  </a:lnTo>
                  <a:lnTo>
                    <a:pt x="548" y="899"/>
                  </a:lnTo>
                  <a:lnTo>
                    <a:pt x="548" y="1297"/>
                  </a:lnTo>
                  <a:lnTo>
                    <a:pt x="548" y="1297"/>
                  </a:lnTo>
                  <a:lnTo>
                    <a:pt x="548" y="1297"/>
                  </a:lnTo>
                  <a:lnTo>
                    <a:pt x="548" y="1297"/>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1299"/>
                  </a:lnTo>
                  <a:lnTo>
                    <a:pt x="529" y="1299"/>
                  </a:lnTo>
                  <a:lnTo>
                    <a:pt x="529" y="1299"/>
                  </a:lnTo>
                  <a:lnTo>
                    <a:pt x="529" y="1299"/>
                  </a:lnTo>
                  <a:lnTo>
                    <a:pt x="529" y="1300"/>
                  </a:lnTo>
                  <a:lnTo>
                    <a:pt x="528" y="1300"/>
                  </a:lnTo>
                  <a:lnTo>
                    <a:pt x="528" y="1300"/>
                  </a:lnTo>
                  <a:lnTo>
                    <a:pt x="527" y="1300"/>
                  </a:lnTo>
                  <a:lnTo>
                    <a:pt x="527" y="1300"/>
                  </a:lnTo>
                  <a:lnTo>
                    <a:pt x="527" y="1300"/>
                  </a:lnTo>
                  <a:lnTo>
                    <a:pt x="527" y="899"/>
                  </a:lnTo>
                  <a:lnTo>
                    <a:pt x="527" y="899"/>
                  </a:lnTo>
                  <a:lnTo>
                    <a:pt x="527" y="1300"/>
                  </a:lnTo>
                  <a:lnTo>
                    <a:pt x="527" y="1300"/>
                  </a:lnTo>
                  <a:lnTo>
                    <a:pt x="527" y="899"/>
                  </a:lnTo>
                  <a:lnTo>
                    <a:pt x="527" y="899"/>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2"/>
                  </a:lnTo>
                  <a:lnTo>
                    <a:pt x="526" y="1302"/>
                  </a:lnTo>
                  <a:lnTo>
                    <a:pt x="526" y="1302"/>
                  </a:lnTo>
                  <a:lnTo>
                    <a:pt x="526" y="1302"/>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899"/>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899"/>
                  </a:lnTo>
                  <a:lnTo>
                    <a:pt x="525" y="899"/>
                  </a:lnTo>
                  <a:lnTo>
                    <a:pt x="525" y="899"/>
                  </a:lnTo>
                  <a:lnTo>
                    <a:pt x="525" y="899"/>
                  </a:lnTo>
                  <a:lnTo>
                    <a:pt x="525" y="899"/>
                  </a:lnTo>
                  <a:lnTo>
                    <a:pt x="522" y="899"/>
                  </a:lnTo>
                  <a:lnTo>
                    <a:pt x="522" y="1306"/>
                  </a:lnTo>
                  <a:lnTo>
                    <a:pt x="521" y="1306"/>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899"/>
                  </a:lnTo>
                  <a:lnTo>
                    <a:pt x="519" y="899"/>
                  </a:lnTo>
                  <a:lnTo>
                    <a:pt x="519" y="899"/>
                  </a:lnTo>
                  <a:lnTo>
                    <a:pt x="519" y="899"/>
                  </a:lnTo>
                  <a:lnTo>
                    <a:pt x="519" y="899"/>
                  </a:lnTo>
                  <a:lnTo>
                    <a:pt x="519" y="899"/>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1312"/>
                  </a:lnTo>
                  <a:lnTo>
                    <a:pt x="510" y="1312"/>
                  </a:lnTo>
                  <a:lnTo>
                    <a:pt x="510" y="1314"/>
                  </a:lnTo>
                  <a:lnTo>
                    <a:pt x="510" y="1314"/>
                  </a:lnTo>
                  <a:lnTo>
                    <a:pt x="510" y="1314"/>
                  </a:lnTo>
                  <a:lnTo>
                    <a:pt x="510" y="1314"/>
                  </a:lnTo>
                  <a:lnTo>
                    <a:pt x="510" y="1314"/>
                  </a:lnTo>
                  <a:lnTo>
                    <a:pt x="477" y="1314"/>
                  </a:lnTo>
                  <a:lnTo>
                    <a:pt x="477" y="899"/>
                  </a:lnTo>
                  <a:lnTo>
                    <a:pt x="477" y="899"/>
                  </a:lnTo>
                  <a:lnTo>
                    <a:pt x="477" y="1315"/>
                  </a:lnTo>
                  <a:lnTo>
                    <a:pt x="477" y="1315"/>
                  </a:lnTo>
                  <a:lnTo>
                    <a:pt x="477" y="1315"/>
                  </a:lnTo>
                  <a:lnTo>
                    <a:pt x="475" y="1315"/>
                  </a:lnTo>
                  <a:lnTo>
                    <a:pt x="475" y="1316"/>
                  </a:lnTo>
                  <a:lnTo>
                    <a:pt x="474" y="1316"/>
                  </a:lnTo>
                  <a:lnTo>
                    <a:pt x="474" y="1317"/>
                  </a:lnTo>
                  <a:lnTo>
                    <a:pt x="472" y="1317"/>
                  </a:lnTo>
                  <a:lnTo>
                    <a:pt x="472" y="1317"/>
                  </a:lnTo>
                  <a:lnTo>
                    <a:pt x="472" y="1317"/>
                  </a:lnTo>
                  <a:lnTo>
                    <a:pt x="472" y="1317"/>
                  </a:lnTo>
                  <a:lnTo>
                    <a:pt x="471" y="1317"/>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1317"/>
                  </a:lnTo>
                  <a:lnTo>
                    <a:pt x="470" y="1317"/>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9"/>
                  </a:lnTo>
                  <a:lnTo>
                    <a:pt x="430" y="1329"/>
                  </a:lnTo>
                  <a:lnTo>
                    <a:pt x="430" y="1330"/>
                  </a:lnTo>
                  <a:lnTo>
                    <a:pt x="430" y="1330"/>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2"/>
                  </a:lnTo>
                  <a:lnTo>
                    <a:pt x="400" y="1332"/>
                  </a:lnTo>
                  <a:lnTo>
                    <a:pt x="400" y="899"/>
                  </a:lnTo>
                  <a:lnTo>
                    <a:pt x="400" y="899"/>
                  </a:lnTo>
                  <a:lnTo>
                    <a:pt x="400" y="899"/>
                  </a:lnTo>
                  <a:lnTo>
                    <a:pt x="400" y="899"/>
                  </a:lnTo>
                  <a:lnTo>
                    <a:pt x="400" y="1333"/>
                  </a:lnTo>
                  <a:lnTo>
                    <a:pt x="399" y="1333"/>
                  </a:lnTo>
                  <a:lnTo>
                    <a:pt x="399" y="899"/>
                  </a:lnTo>
                  <a:lnTo>
                    <a:pt x="399" y="899"/>
                  </a:lnTo>
                  <a:lnTo>
                    <a:pt x="399" y="899"/>
                  </a:lnTo>
                  <a:lnTo>
                    <a:pt x="399" y="899"/>
                  </a:lnTo>
                  <a:lnTo>
                    <a:pt x="399" y="1334"/>
                  </a:lnTo>
                  <a:lnTo>
                    <a:pt x="398" y="1334"/>
                  </a:lnTo>
                  <a:lnTo>
                    <a:pt x="398" y="1334"/>
                  </a:lnTo>
                  <a:lnTo>
                    <a:pt x="398" y="1334"/>
                  </a:lnTo>
                  <a:lnTo>
                    <a:pt x="398" y="1334"/>
                  </a:lnTo>
                  <a:lnTo>
                    <a:pt x="398" y="1334"/>
                  </a:lnTo>
                  <a:lnTo>
                    <a:pt x="398" y="1335"/>
                  </a:lnTo>
                  <a:lnTo>
                    <a:pt x="398" y="1335"/>
                  </a:lnTo>
                  <a:lnTo>
                    <a:pt x="398" y="1335"/>
                  </a:lnTo>
                  <a:lnTo>
                    <a:pt x="398" y="1335"/>
                  </a:lnTo>
                  <a:lnTo>
                    <a:pt x="398" y="1336"/>
                  </a:lnTo>
                  <a:lnTo>
                    <a:pt x="398" y="1336"/>
                  </a:lnTo>
                  <a:lnTo>
                    <a:pt x="398" y="1336"/>
                  </a:lnTo>
                  <a:lnTo>
                    <a:pt x="398" y="1336"/>
                  </a:lnTo>
                  <a:lnTo>
                    <a:pt x="398" y="1336"/>
                  </a:lnTo>
                  <a:lnTo>
                    <a:pt x="398" y="1336"/>
                  </a:lnTo>
                  <a:lnTo>
                    <a:pt x="398" y="1336"/>
                  </a:lnTo>
                  <a:lnTo>
                    <a:pt x="398" y="1336"/>
                  </a:lnTo>
                  <a:lnTo>
                    <a:pt x="398" y="1336"/>
                  </a:lnTo>
                  <a:lnTo>
                    <a:pt x="387" y="1336"/>
                  </a:lnTo>
                  <a:lnTo>
                    <a:pt x="387" y="1336"/>
                  </a:lnTo>
                  <a:lnTo>
                    <a:pt x="384" y="1336"/>
                  </a:lnTo>
                  <a:lnTo>
                    <a:pt x="384" y="1336"/>
                  </a:lnTo>
                  <a:lnTo>
                    <a:pt x="383" y="1336"/>
                  </a:lnTo>
                  <a:lnTo>
                    <a:pt x="383" y="1336"/>
                  </a:lnTo>
                  <a:lnTo>
                    <a:pt x="383" y="1336"/>
                  </a:lnTo>
                  <a:lnTo>
                    <a:pt x="383" y="1337"/>
                  </a:lnTo>
                  <a:lnTo>
                    <a:pt x="383" y="1337"/>
                  </a:lnTo>
                  <a:lnTo>
                    <a:pt x="383" y="1341"/>
                  </a:lnTo>
                  <a:lnTo>
                    <a:pt x="383" y="1341"/>
                  </a:lnTo>
                  <a:lnTo>
                    <a:pt x="383" y="1341"/>
                  </a:lnTo>
                  <a:lnTo>
                    <a:pt x="383" y="1341"/>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1348"/>
                  </a:lnTo>
                  <a:lnTo>
                    <a:pt x="382" y="1348"/>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60"/>
                  </a:lnTo>
                  <a:lnTo>
                    <a:pt x="342" y="1360"/>
                  </a:lnTo>
                  <a:lnTo>
                    <a:pt x="342" y="1360"/>
                  </a:lnTo>
                  <a:lnTo>
                    <a:pt x="342" y="1360"/>
                  </a:lnTo>
                  <a:lnTo>
                    <a:pt x="342" y="1360"/>
                  </a:lnTo>
                  <a:lnTo>
                    <a:pt x="342" y="1360"/>
                  </a:lnTo>
                  <a:lnTo>
                    <a:pt x="342" y="1362"/>
                  </a:lnTo>
                  <a:lnTo>
                    <a:pt x="342" y="1362"/>
                  </a:lnTo>
                  <a:lnTo>
                    <a:pt x="342" y="1362"/>
                  </a:lnTo>
                  <a:lnTo>
                    <a:pt x="342" y="1362"/>
                  </a:lnTo>
                  <a:lnTo>
                    <a:pt x="342" y="1362"/>
                  </a:lnTo>
                  <a:lnTo>
                    <a:pt x="342" y="1362"/>
                  </a:lnTo>
                  <a:lnTo>
                    <a:pt x="342" y="1363"/>
                  </a:lnTo>
                  <a:lnTo>
                    <a:pt x="342" y="1363"/>
                  </a:lnTo>
                  <a:lnTo>
                    <a:pt x="342" y="1363"/>
                  </a:lnTo>
                  <a:lnTo>
                    <a:pt x="341" y="1363"/>
                  </a:lnTo>
                  <a:lnTo>
                    <a:pt x="341" y="1363"/>
                  </a:lnTo>
                  <a:lnTo>
                    <a:pt x="340" y="1363"/>
                  </a:lnTo>
                  <a:lnTo>
                    <a:pt x="340"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4"/>
                  </a:lnTo>
                  <a:lnTo>
                    <a:pt x="338" y="1364"/>
                  </a:lnTo>
                  <a:lnTo>
                    <a:pt x="338" y="1364"/>
                  </a:lnTo>
                  <a:lnTo>
                    <a:pt x="337" y="1364"/>
                  </a:lnTo>
                  <a:lnTo>
                    <a:pt x="337" y="1364"/>
                  </a:lnTo>
                  <a:lnTo>
                    <a:pt x="337" y="1364"/>
                  </a:lnTo>
                  <a:lnTo>
                    <a:pt x="337" y="1364"/>
                  </a:lnTo>
                  <a:lnTo>
                    <a:pt x="337" y="1364"/>
                  </a:lnTo>
                  <a:lnTo>
                    <a:pt x="337" y="1364"/>
                  </a:lnTo>
                  <a:lnTo>
                    <a:pt x="337" y="1364"/>
                  </a:lnTo>
                  <a:lnTo>
                    <a:pt x="337"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5"/>
                  </a:lnTo>
                  <a:lnTo>
                    <a:pt x="335" y="1365"/>
                  </a:lnTo>
                  <a:lnTo>
                    <a:pt x="335" y="1365"/>
                  </a:lnTo>
                  <a:lnTo>
                    <a:pt x="335" y="1365"/>
                  </a:lnTo>
                  <a:lnTo>
                    <a:pt x="335" y="1365"/>
                  </a:lnTo>
                  <a:lnTo>
                    <a:pt x="335" y="1365"/>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7"/>
                  </a:lnTo>
                  <a:lnTo>
                    <a:pt x="333" y="1367"/>
                  </a:lnTo>
                  <a:lnTo>
                    <a:pt x="333" y="1367"/>
                  </a:lnTo>
                  <a:lnTo>
                    <a:pt x="332" y="1367"/>
                  </a:lnTo>
                  <a:lnTo>
                    <a:pt x="332" y="1367"/>
                  </a:lnTo>
                  <a:lnTo>
                    <a:pt x="331" y="1367"/>
                  </a:lnTo>
                  <a:lnTo>
                    <a:pt x="331" y="1367"/>
                  </a:lnTo>
                  <a:lnTo>
                    <a:pt x="330" y="1367"/>
                  </a:lnTo>
                  <a:lnTo>
                    <a:pt x="330" y="1367"/>
                  </a:lnTo>
                  <a:lnTo>
                    <a:pt x="329" y="1367"/>
                  </a:lnTo>
                  <a:lnTo>
                    <a:pt x="329"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8"/>
                  </a:lnTo>
                  <a:lnTo>
                    <a:pt x="328" y="1368"/>
                  </a:lnTo>
                  <a:lnTo>
                    <a:pt x="328"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1374"/>
                  </a:lnTo>
                  <a:lnTo>
                    <a:pt x="309" y="1374"/>
                  </a:lnTo>
                  <a:lnTo>
                    <a:pt x="309" y="1378"/>
                  </a:lnTo>
                  <a:lnTo>
                    <a:pt x="309" y="1378"/>
                  </a:lnTo>
                  <a:lnTo>
                    <a:pt x="309" y="1380"/>
                  </a:lnTo>
                  <a:lnTo>
                    <a:pt x="309" y="1380"/>
                  </a:lnTo>
                  <a:lnTo>
                    <a:pt x="309" y="1380"/>
                  </a:lnTo>
                  <a:lnTo>
                    <a:pt x="309" y="1380"/>
                  </a:lnTo>
                  <a:lnTo>
                    <a:pt x="309" y="1380"/>
                  </a:lnTo>
                  <a:lnTo>
                    <a:pt x="309" y="1380"/>
                  </a:lnTo>
                  <a:lnTo>
                    <a:pt x="309" y="1383"/>
                  </a:lnTo>
                  <a:lnTo>
                    <a:pt x="308" y="1383"/>
                  </a:lnTo>
                  <a:lnTo>
                    <a:pt x="308" y="1383"/>
                  </a:lnTo>
                  <a:lnTo>
                    <a:pt x="307" y="1383"/>
                  </a:lnTo>
                  <a:lnTo>
                    <a:pt x="307" y="1383"/>
                  </a:lnTo>
                  <a:lnTo>
                    <a:pt x="307" y="1383"/>
                  </a:lnTo>
                  <a:lnTo>
                    <a:pt x="307" y="1385"/>
                  </a:lnTo>
                  <a:lnTo>
                    <a:pt x="301" y="1385"/>
                  </a:lnTo>
                  <a:lnTo>
                    <a:pt x="301" y="1385"/>
                  </a:lnTo>
                  <a:lnTo>
                    <a:pt x="299" y="1385"/>
                  </a:lnTo>
                  <a:lnTo>
                    <a:pt x="299" y="1385"/>
                  </a:lnTo>
                  <a:lnTo>
                    <a:pt x="297" y="1385"/>
                  </a:lnTo>
                  <a:lnTo>
                    <a:pt x="297" y="1385"/>
                  </a:lnTo>
                  <a:lnTo>
                    <a:pt x="296" y="1385"/>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899"/>
                  </a:lnTo>
                  <a:lnTo>
                    <a:pt x="290" y="899"/>
                  </a:lnTo>
                  <a:lnTo>
                    <a:pt x="290" y="899"/>
                  </a:lnTo>
                  <a:lnTo>
                    <a:pt x="289" y="899"/>
                  </a:lnTo>
                  <a:lnTo>
                    <a:pt x="289" y="899"/>
                  </a:lnTo>
                  <a:lnTo>
                    <a:pt x="288" y="899"/>
                  </a:lnTo>
                  <a:lnTo>
                    <a:pt x="288" y="899"/>
                  </a:lnTo>
                  <a:lnTo>
                    <a:pt x="288" y="899"/>
                  </a:lnTo>
                  <a:lnTo>
                    <a:pt x="288" y="1389"/>
                  </a:lnTo>
                  <a:lnTo>
                    <a:pt x="288" y="1389"/>
                  </a:lnTo>
                  <a:lnTo>
                    <a:pt x="288" y="1389"/>
                  </a:lnTo>
                  <a:lnTo>
                    <a:pt x="288" y="1389"/>
                  </a:lnTo>
                  <a:lnTo>
                    <a:pt x="288" y="899"/>
                  </a:lnTo>
                  <a:lnTo>
                    <a:pt x="288" y="899"/>
                  </a:lnTo>
                  <a:lnTo>
                    <a:pt x="288" y="1396"/>
                  </a:lnTo>
                  <a:lnTo>
                    <a:pt x="286" y="1396"/>
                  </a:lnTo>
                  <a:lnTo>
                    <a:pt x="286" y="1397"/>
                  </a:lnTo>
                  <a:lnTo>
                    <a:pt x="280" y="1397"/>
                  </a:lnTo>
                  <a:lnTo>
                    <a:pt x="280" y="1397"/>
                  </a:lnTo>
                  <a:lnTo>
                    <a:pt x="274" y="1397"/>
                  </a:lnTo>
                  <a:lnTo>
                    <a:pt x="274" y="1397"/>
                  </a:lnTo>
                  <a:lnTo>
                    <a:pt x="268" y="1397"/>
                  </a:lnTo>
                  <a:lnTo>
                    <a:pt x="268" y="1400"/>
                  </a:lnTo>
                  <a:lnTo>
                    <a:pt x="266" y="1400"/>
                  </a:lnTo>
                  <a:lnTo>
                    <a:pt x="266" y="1400"/>
                  </a:lnTo>
                  <a:lnTo>
                    <a:pt x="266" y="1400"/>
                  </a:lnTo>
                  <a:lnTo>
                    <a:pt x="266" y="1400"/>
                  </a:lnTo>
                  <a:lnTo>
                    <a:pt x="266" y="1400"/>
                  </a:lnTo>
                  <a:lnTo>
                    <a:pt x="266" y="1401"/>
                  </a:lnTo>
                  <a:lnTo>
                    <a:pt x="266" y="1401"/>
                  </a:lnTo>
                  <a:lnTo>
                    <a:pt x="266" y="1401"/>
                  </a:lnTo>
                  <a:lnTo>
                    <a:pt x="266" y="1401"/>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1405"/>
                  </a:lnTo>
                  <a:lnTo>
                    <a:pt x="247" y="1405"/>
                  </a:lnTo>
                  <a:lnTo>
                    <a:pt x="247" y="1406"/>
                  </a:lnTo>
                  <a:lnTo>
                    <a:pt x="243" y="1406"/>
                  </a:lnTo>
                  <a:lnTo>
                    <a:pt x="243" y="1406"/>
                  </a:lnTo>
                  <a:lnTo>
                    <a:pt x="241" y="1406"/>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1420"/>
                  </a:lnTo>
                  <a:lnTo>
                    <a:pt x="210" y="1420"/>
                  </a:lnTo>
                  <a:lnTo>
                    <a:pt x="210"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07" y="1420"/>
                  </a:lnTo>
                  <a:lnTo>
                    <a:pt x="207" y="1420"/>
                  </a:lnTo>
                  <a:lnTo>
                    <a:pt x="207" y="1420"/>
                  </a:lnTo>
                  <a:lnTo>
                    <a:pt x="207" y="1420"/>
                  </a:lnTo>
                  <a:lnTo>
                    <a:pt x="207" y="1420"/>
                  </a:lnTo>
                  <a:lnTo>
                    <a:pt x="207" y="1425"/>
                  </a:lnTo>
                  <a:lnTo>
                    <a:pt x="206" y="1425"/>
                  </a:lnTo>
                  <a:lnTo>
                    <a:pt x="206" y="1425"/>
                  </a:lnTo>
                  <a:lnTo>
                    <a:pt x="205" y="1425"/>
                  </a:lnTo>
                  <a:lnTo>
                    <a:pt x="205" y="1425"/>
                  </a:lnTo>
                  <a:lnTo>
                    <a:pt x="204" y="1425"/>
                  </a:lnTo>
                  <a:lnTo>
                    <a:pt x="204" y="1426"/>
                  </a:lnTo>
                  <a:lnTo>
                    <a:pt x="204" y="1426"/>
                  </a:lnTo>
                  <a:lnTo>
                    <a:pt x="204" y="1426"/>
                  </a:lnTo>
                  <a:lnTo>
                    <a:pt x="204" y="1426"/>
                  </a:lnTo>
                  <a:lnTo>
                    <a:pt x="204" y="1426"/>
                  </a:lnTo>
                  <a:lnTo>
                    <a:pt x="204" y="1426"/>
                  </a:lnTo>
                  <a:lnTo>
                    <a:pt x="204" y="899"/>
                  </a:lnTo>
                  <a:lnTo>
                    <a:pt x="204" y="899"/>
                  </a:lnTo>
                  <a:lnTo>
                    <a:pt x="204" y="1430"/>
                  </a:lnTo>
                  <a:lnTo>
                    <a:pt x="204" y="1430"/>
                  </a:lnTo>
                  <a:lnTo>
                    <a:pt x="204" y="1430"/>
                  </a:lnTo>
                  <a:lnTo>
                    <a:pt x="167" y="1430"/>
                  </a:lnTo>
                  <a:lnTo>
                    <a:pt x="167" y="1430"/>
                  </a:lnTo>
                  <a:lnTo>
                    <a:pt x="160" y="1430"/>
                  </a:lnTo>
                  <a:lnTo>
                    <a:pt x="160" y="899"/>
                  </a:lnTo>
                  <a:lnTo>
                    <a:pt x="160" y="899"/>
                  </a:lnTo>
                  <a:lnTo>
                    <a:pt x="160" y="899"/>
                  </a:lnTo>
                  <a:lnTo>
                    <a:pt x="160" y="899"/>
                  </a:lnTo>
                  <a:lnTo>
                    <a:pt x="160" y="899"/>
                  </a:lnTo>
                  <a:lnTo>
                    <a:pt x="160" y="899"/>
                  </a:lnTo>
                  <a:lnTo>
                    <a:pt x="160" y="899"/>
                  </a:lnTo>
                  <a:lnTo>
                    <a:pt x="160" y="899"/>
                  </a:lnTo>
                  <a:lnTo>
                    <a:pt x="160" y="899"/>
                  </a:lnTo>
                  <a:lnTo>
                    <a:pt x="160" y="899"/>
                  </a:lnTo>
                  <a:lnTo>
                    <a:pt x="160" y="1434"/>
                  </a:lnTo>
                  <a:lnTo>
                    <a:pt x="152" y="1434"/>
                  </a:lnTo>
                  <a:lnTo>
                    <a:pt x="152" y="1439"/>
                  </a:lnTo>
                  <a:lnTo>
                    <a:pt x="152" y="1439"/>
                  </a:lnTo>
                  <a:lnTo>
                    <a:pt x="152" y="1439"/>
                  </a:lnTo>
                  <a:lnTo>
                    <a:pt x="152" y="1439"/>
                  </a:lnTo>
                  <a:lnTo>
                    <a:pt x="152" y="1439"/>
                  </a:lnTo>
                  <a:lnTo>
                    <a:pt x="151" y="1439"/>
                  </a:lnTo>
                  <a:lnTo>
                    <a:pt x="151" y="899"/>
                  </a:lnTo>
                  <a:lnTo>
                    <a:pt x="151" y="899"/>
                  </a:lnTo>
                  <a:lnTo>
                    <a:pt x="151" y="899"/>
                  </a:lnTo>
                  <a:lnTo>
                    <a:pt x="151" y="899"/>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3"/>
                  </a:lnTo>
                  <a:lnTo>
                    <a:pt x="151" y="1443"/>
                  </a:lnTo>
                  <a:lnTo>
                    <a:pt x="151" y="1443"/>
                  </a:lnTo>
                  <a:lnTo>
                    <a:pt x="151" y="1443"/>
                  </a:lnTo>
                  <a:lnTo>
                    <a:pt x="151" y="1443"/>
                  </a:lnTo>
                  <a:lnTo>
                    <a:pt x="151" y="1443"/>
                  </a:lnTo>
                  <a:lnTo>
                    <a:pt x="151" y="899"/>
                  </a:lnTo>
                  <a:lnTo>
                    <a:pt x="150" y="899"/>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9"/>
                  </a:lnTo>
                  <a:lnTo>
                    <a:pt x="148" y="1449"/>
                  </a:lnTo>
                  <a:lnTo>
                    <a:pt x="148" y="899"/>
                  </a:lnTo>
                  <a:lnTo>
                    <a:pt x="148" y="899"/>
                  </a:lnTo>
                  <a:lnTo>
                    <a:pt x="148" y="899"/>
                  </a:lnTo>
                  <a:lnTo>
                    <a:pt x="148" y="899"/>
                  </a:lnTo>
                  <a:lnTo>
                    <a:pt x="148" y="1451"/>
                  </a:lnTo>
                  <a:lnTo>
                    <a:pt x="147" y="1451"/>
                  </a:lnTo>
                  <a:lnTo>
                    <a:pt x="147" y="1452"/>
                  </a:lnTo>
                  <a:lnTo>
                    <a:pt x="147" y="1452"/>
                  </a:lnTo>
                  <a:lnTo>
                    <a:pt x="147" y="1452"/>
                  </a:lnTo>
                  <a:lnTo>
                    <a:pt x="147" y="1452"/>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8"/>
                  </a:lnTo>
                  <a:lnTo>
                    <a:pt x="141" y="1458"/>
                  </a:lnTo>
                  <a:lnTo>
                    <a:pt x="141" y="1458"/>
                  </a:lnTo>
                  <a:lnTo>
                    <a:pt x="140" y="1458"/>
                  </a:lnTo>
                  <a:lnTo>
                    <a:pt x="140" y="1458"/>
                  </a:lnTo>
                  <a:lnTo>
                    <a:pt x="140" y="1458"/>
                  </a:lnTo>
                  <a:lnTo>
                    <a:pt x="140" y="1458"/>
                  </a:lnTo>
                  <a:lnTo>
                    <a:pt x="140" y="1458"/>
                  </a:lnTo>
                  <a:lnTo>
                    <a:pt x="140" y="1460"/>
                  </a:lnTo>
                  <a:lnTo>
                    <a:pt x="140" y="1460"/>
                  </a:lnTo>
                  <a:lnTo>
                    <a:pt x="140" y="1460"/>
                  </a:lnTo>
                  <a:lnTo>
                    <a:pt x="140" y="1460"/>
                  </a:lnTo>
                  <a:lnTo>
                    <a:pt x="140" y="1460"/>
                  </a:lnTo>
                  <a:lnTo>
                    <a:pt x="140" y="1460"/>
                  </a:lnTo>
                  <a:lnTo>
                    <a:pt x="140" y="1461"/>
                  </a:lnTo>
                  <a:lnTo>
                    <a:pt x="140" y="1461"/>
                  </a:lnTo>
                  <a:lnTo>
                    <a:pt x="140" y="1461"/>
                  </a:lnTo>
                  <a:lnTo>
                    <a:pt x="140" y="1461"/>
                  </a:lnTo>
                  <a:lnTo>
                    <a:pt x="140" y="1461"/>
                  </a:lnTo>
                  <a:lnTo>
                    <a:pt x="140" y="1461"/>
                  </a:lnTo>
                  <a:lnTo>
                    <a:pt x="140" y="1461"/>
                  </a:lnTo>
                  <a:lnTo>
                    <a:pt x="140" y="1461"/>
                  </a:lnTo>
                  <a:lnTo>
                    <a:pt x="140" y="1463"/>
                  </a:lnTo>
                  <a:lnTo>
                    <a:pt x="140" y="1463"/>
                  </a:lnTo>
                  <a:lnTo>
                    <a:pt x="140" y="1463"/>
                  </a:lnTo>
                  <a:lnTo>
                    <a:pt x="140" y="1463"/>
                  </a:lnTo>
                  <a:lnTo>
                    <a:pt x="140" y="1463"/>
                  </a:lnTo>
                  <a:lnTo>
                    <a:pt x="140" y="1463"/>
                  </a:lnTo>
                  <a:lnTo>
                    <a:pt x="140" y="1463"/>
                  </a:lnTo>
                  <a:lnTo>
                    <a:pt x="140" y="1463"/>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3"/>
                  </a:lnTo>
                  <a:lnTo>
                    <a:pt x="137" y="1483"/>
                  </a:lnTo>
                  <a:lnTo>
                    <a:pt x="137" y="1486"/>
                  </a:lnTo>
                  <a:lnTo>
                    <a:pt x="137" y="1486"/>
                  </a:lnTo>
                  <a:lnTo>
                    <a:pt x="137"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8"/>
                  </a:lnTo>
                  <a:lnTo>
                    <a:pt x="136" y="1488"/>
                  </a:lnTo>
                  <a:lnTo>
                    <a:pt x="136" y="1488"/>
                  </a:lnTo>
                  <a:lnTo>
                    <a:pt x="136" y="1488"/>
                  </a:lnTo>
                  <a:lnTo>
                    <a:pt x="136" y="1492"/>
                  </a:lnTo>
                  <a:lnTo>
                    <a:pt x="136" y="1492"/>
                  </a:lnTo>
                  <a:lnTo>
                    <a:pt x="136" y="1492"/>
                  </a:lnTo>
                  <a:lnTo>
                    <a:pt x="135" y="1492"/>
                  </a:lnTo>
                  <a:lnTo>
                    <a:pt x="135" y="1492"/>
                  </a:lnTo>
                  <a:lnTo>
                    <a:pt x="135" y="1492"/>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1513"/>
                  </a:lnTo>
                  <a:lnTo>
                    <a:pt x="123" y="1513"/>
                  </a:lnTo>
                  <a:lnTo>
                    <a:pt x="123" y="1513"/>
                  </a:lnTo>
                  <a:lnTo>
                    <a:pt x="123" y="1513"/>
                  </a:lnTo>
                  <a:lnTo>
                    <a:pt x="123" y="1513"/>
                  </a:lnTo>
                  <a:lnTo>
                    <a:pt x="123" y="1513"/>
                  </a:lnTo>
                  <a:lnTo>
                    <a:pt x="123" y="1514"/>
                  </a:lnTo>
                  <a:lnTo>
                    <a:pt x="121" y="1514"/>
                  </a:lnTo>
                  <a:lnTo>
                    <a:pt x="121" y="1514"/>
                  </a:lnTo>
                  <a:lnTo>
                    <a:pt x="121" y="1514"/>
                  </a:lnTo>
                  <a:lnTo>
                    <a:pt x="121" y="1514"/>
                  </a:lnTo>
                  <a:lnTo>
                    <a:pt x="121" y="1514"/>
                  </a:lnTo>
                  <a:lnTo>
                    <a:pt x="121" y="899"/>
                  </a:lnTo>
                  <a:lnTo>
                    <a:pt x="121" y="899"/>
                  </a:lnTo>
                  <a:lnTo>
                    <a:pt x="121" y="899"/>
                  </a:lnTo>
                  <a:lnTo>
                    <a:pt x="121" y="899"/>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19" y="1516"/>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7" y="1517"/>
                  </a:lnTo>
                  <a:lnTo>
                    <a:pt x="117" y="1517"/>
                  </a:lnTo>
                  <a:lnTo>
                    <a:pt x="116" y="1517"/>
                  </a:lnTo>
                  <a:lnTo>
                    <a:pt x="116" y="899"/>
                  </a:lnTo>
                  <a:lnTo>
                    <a:pt x="116" y="899"/>
                  </a:lnTo>
                  <a:lnTo>
                    <a:pt x="116" y="899"/>
                  </a:lnTo>
                  <a:lnTo>
                    <a:pt x="116" y="899"/>
                  </a:lnTo>
                  <a:lnTo>
                    <a:pt x="116" y="1517"/>
                  </a:lnTo>
                  <a:lnTo>
                    <a:pt x="116" y="1517"/>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1530"/>
                  </a:lnTo>
                  <a:lnTo>
                    <a:pt x="115" y="1530"/>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1535"/>
                  </a:lnTo>
                  <a:lnTo>
                    <a:pt x="106" y="1535"/>
                  </a:lnTo>
                  <a:lnTo>
                    <a:pt x="106" y="1536"/>
                  </a:lnTo>
                  <a:lnTo>
                    <a:pt x="104" y="1536"/>
                  </a:lnTo>
                  <a:lnTo>
                    <a:pt x="104" y="1536"/>
                  </a:lnTo>
                  <a:lnTo>
                    <a:pt x="103" y="1536"/>
                  </a:lnTo>
                  <a:lnTo>
                    <a:pt x="103" y="1536"/>
                  </a:lnTo>
                  <a:lnTo>
                    <a:pt x="103" y="1536"/>
                  </a:lnTo>
                  <a:lnTo>
                    <a:pt x="103" y="899"/>
                  </a:lnTo>
                  <a:lnTo>
                    <a:pt x="103" y="899"/>
                  </a:lnTo>
                  <a:lnTo>
                    <a:pt x="103" y="899"/>
                  </a:lnTo>
                  <a:lnTo>
                    <a:pt x="103" y="899"/>
                  </a:lnTo>
                  <a:lnTo>
                    <a:pt x="103" y="1543"/>
                  </a:lnTo>
                  <a:lnTo>
                    <a:pt x="102" y="1543"/>
                  </a:lnTo>
                  <a:lnTo>
                    <a:pt x="102" y="1543"/>
                  </a:lnTo>
                  <a:lnTo>
                    <a:pt x="101" y="1543"/>
                  </a:lnTo>
                  <a:lnTo>
                    <a:pt x="101" y="1544"/>
                  </a:lnTo>
                  <a:lnTo>
                    <a:pt x="94" y="1544"/>
                  </a:lnTo>
                  <a:lnTo>
                    <a:pt x="94" y="1544"/>
                  </a:lnTo>
                  <a:lnTo>
                    <a:pt x="93" y="1544"/>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1571"/>
                  </a:lnTo>
                  <a:lnTo>
                    <a:pt x="86" y="1571"/>
                  </a:lnTo>
                  <a:lnTo>
                    <a:pt x="86" y="899"/>
                  </a:lnTo>
                  <a:lnTo>
                    <a:pt x="86" y="899"/>
                  </a:lnTo>
                  <a:lnTo>
                    <a:pt x="86" y="1579"/>
                  </a:lnTo>
                  <a:lnTo>
                    <a:pt x="86" y="1579"/>
                  </a:lnTo>
                  <a:lnTo>
                    <a:pt x="86" y="1579"/>
                  </a:lnTo>
                  <a:lnTo>
                    <a:pt x="85" y="1579"/>
                  </a:lnTo>
                  <a:lnTo>
                    <a:pt x="85" y="1580"/>
                  </a:lnTo>
                  <a:lnTo>
                    <a:pt x="83" y="1580"/>
                  </a:lnTo>
                  <a:lnTo>
                    <a:pt x="83" y="1580"/>
                  </a:lnTo>
                  <a:lnTo>
                    <a:pt x="81" y="1580"/>
                  </a:lnTo>
                  <a:lnTo>
                    <a:pt x="81" y="1580"/>
                  </a:lnTo>
                  <a:lnTo>
                    <a:pt x="81" y="1580"/>
                  </a:lnTo>
                  <a:lnTo>
                    <a:pt x="81" y="1580"/>
                  </a:lnTo>
                  <a:lnTo>
                    <a:pt x="81" y="1580"/>
                  </a:lnTo>
                  <a:lnTo>
                    <a:pt x="81" y="1580"/>
                  </a:lnTo>
                  <a:lnTo>
                    <a:pt x="81" y="1580"/>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899"/>
                  </a:lnTo>
                  <a:lnTo>
                    <a:pt x="69" y="899"/>
                  </a:lnTo>
                  <a:lnTo>
                    <a:pt x="69" y="899"/>
                  </a:lnTo>
                  <a:lnTo>
                    <a:pt x="68" y="899"/>
                  </a:lnTo>
                  <a:lnTo>
                    <a:pt x="68" y="1598"/>
                  </a:lnTo>
                  <a:lnTo>
                    <a:pt x="68" y="1598"/>
                  </a:lnTo>
                  <a:lnTo>
                    <a:pt x="68" y="1598"/>
                  </a:lnTo>
                  <a:lnTo>
                    <a:pt x="67" y="1598"/>
                  </a:lnTo>
                  <a:lnTo>
                    <a:pt x="67" y="1598"/>
                  </a:lnTo>
                  <a:lnTo>
                    <a:pt x="67" y="1598"/>
                  </a:lnTo>
                  <a:lnTo>
                    <a:pt x="67" y="1605"/>
                  </a:lnTo>
                  <a:lnTo>
                    <a:pt x="67" y="1605"/>
                  </a:lnTo>
                  <a:lnTo>
                    <a:pt x="67" y="1605"/>
                  </a:lnTo>
                  <a:lnTo>
                    <a:pt x="67" y="1605"/>
                  </a:lnTo>
                  <a:lnTo>
                    <a:pt x="67" y="1605"/>
                  </a:lnTo>
                  <a:lnTo>
                    <a:pt x="67" y="1605"/>
                  </a:lnTo>
                  <a:lnTo>
                    <a:pt x="67" y="1605"/>
                  </a:lnTo>
                  <a:lnTo>
                    <a:pt x="66" y="1605"/>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899"/>
                  </a:lnTo>
                  <a:lnTo>
                    <a:pt x="55" y="899"/>
                  </a:lnTo>
                  <a:lnTo>
                    <a:pt x="55" y="899"/>
                  </a:lnTo>
                  <a:lnTo>
                    <a:pt x="55" y="899"/>
                  </a:lnTo>
                  <a:lnTo>
                    <a:pt x="55" y="1640"/>
                  </a:lnTo>
                  <a:lnTo>
                    <a:pt x="55" y="1640"/>
                  </a:lnTo>
                  <a:lnTo>
                    <a:pt x="55" y="1640"/>
                  </a:lnTo>
                  <a:lnTo>
                    <a:pt x="55" y="1640"/>
                  </a:lnTo>
                  <a:lnTo>
                    <a:pt x="55" y="1640"/>
                  </a:lnTo>
                  <a:lnTo>
                    <a:pt x="55" y="1640"/>
                  </a:lnTo>
                  <a:lnTo>
                    <a:pt x="55" y="1640"/>
                  </a:lnTo>
                  <a:lnTo>
                    <a:pt x="55" y="1640"/>
                  </a:lnTo>
                  <a:lnTo>
                    <a:pt x="55" y="1644"/>
                  </a:lnTo>
                  <a:lnTo>
                    <a:pt x="50" y="1644"/>
                  </a:lnTo>
                  <a:lnTo>
                    <a:pt x="50" y="1644"/>
                  </a:lnTo>
                  <a:lnTo>
                    <a:pt x="47" y="1644"/>
                  </a:lnTo>
                  <a:lnTo>
                    <a:pt x="47" y="1644"/>
                  </a:lnTo>
                  <a:lnTo>
                    <a:pt x="46" y="1644"/>
                  </a:lnTo>
                  <a:lnTo>
                    <a:pt x="46" y="1644"/>
                  </a:lnTo>
                  <a:lnTo>
                    <a:pt x="46" y="1644"/>
                  </a:lnTo>
                  <a:lnTo>
                    <a:pt x="46" y="1644"/>
                  </a:lnTo>
                  <a:lnTo>
                    <a:pt x="46" y="1644"/>
                  </a:lnTo>
                  <a:lnTo>
                    <a:pt x="46" y="1644"/>
                  </a:lnTo>
                  <a:lnTo>
                    <a:pt x="46" y="1644"/>
                  </a:lnTo>
                  <a:lnTo>
                    <a:pt x="46" y="1646"/>
                  </a:lnTo>
                  <a:lnTo>
                    <a:pt x="46" y="1646"/>
                  </a:lnTo>
                  <a:lnTo>
                    <a:pt x="46" y="1647"/>
                  </a:lnTo>
                  <a:lnTo>
                    <a:pt x="45" y="1647"/>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9"/>
                  </a:lnTo>
                  <a:lnTo>
                    <a:pt x="45" y="1649"/>
                  </a:lnTo>
                  <a:lnTo>
                    <a:pt x="45" y="1649"/>
                  </a:lnTo>
                  <a:lnTo>
                    <a:pt x="45" y="1649"/>
                  </a:lnTo>
                  <a:lnTo>
                    <a:pt x="45" y="1650"/>
                  </a:lnTo>
                  <a:lnTo>
                    <a:pt x="44" y="1650"/>
                  </a:lnTo>
                  <a:lnTo>
                    <a:pt x="44" y="1650"/>
                  </a:lnTo>
                  <a:lnTo>
                    <a:pt x="44" y="1650"/>
                  </a:lnTo>
                  <a:lnTo>
                    <a:pt x="44" y="1650"/>
                  </a:lnTo>
                  <a:lnTo>
                    <a:pt x="44" y="1650"/>
                  </a:lnTo>
                  <a:lnTo>
                    <a:pt x="44" y="1656"/>
                  </a:lnTo>
                  <a:lnTo>
                    <a:pt x="44" y="1656"/>
                  </a:lnTo>
                  <a:lnTo>
                    <a:pt x="44" y="1661"/>
                  </a:lnTo>
                  <a:lnTo>
                    <a:pt x="44" y="1661"/>
                  </a:lnTo>
                  <a:lnTo>
                    <a:pt x="44" y="1661"/>
                  </a:lnTo>
                  <a:lnTo>
                    <a:pt x="44" y="1661"/>
                  </a:lnTo>
                  <a:lnTo>
                    <a:pt x="44" y="899"/>
                  </a:lnTo>
                  <a:lnTo>
                    <a:pt x="44" y="899"/>
                  </a:lnTo>
                  <a:lnTo>
                    <a:pt x="44" y="1669"/>
                  </a:lnTo>
                  <a:lnTo>
                    <a:pt x="44" y="1669"/>
                  </a:lnTo>
                  <a:lnTo>
                    <a:pt x="44" y="1669"/>
                  </a:lnTo>
                  <a:lnTo>
                    <a:pt x="43" y="1669"/>
                  </a:lnTo>
                  <a:lnTo>
                    <a:pt x="43" y="1669"/>
                  </a:lnTo>
                  <a:lnTo>
                    <a:pt x="43" y="1669"/>
                  </a:lnTo>
                  <a:lnTo>
                    <a:pt x="43" y="1669"/>
                  </a:lnTo>
                  <a:lnTo>
                    <a:pt x="43" y="1669"/>
                  </a:lnTo>
                  <a:lnTo>
                    <a:pt x="43" y="1669"/>
                  </a:lnTo>
                  <a:lnTo>
                    <a:pt x="43" y="1669"/>
                  </a:lnTo>
                  <a:lnTo>
                    <a:pt x="43" y="1669"/>
                  </a:lnTo>
                  <a:lnTo>
                    <a:pt x="43" y="1669"/>
                  </a:lnTo>
                  <a:lnTo>
                    <a:pt x="43" y="1671"/>
                  </a:lnTo>
                  <a:lnTo>
                    <a:pt x="43" y="1671"/>
                  </a:lnTo>
                  <a:lnTo>
                    <a:pt x="43" y="1671"/>
                  </a:lnTo>
                  <a:lnTo>
                    <a:pt x="43" y="1671"/>
                  </a:lnTo>
                  <a:lnTo>
                    <a:pt x="43" y="1671"/>
                  </a:lnTo>
                  <a:lnTo>
                    <a:pt x="43" y="1671"/>
                  </a:lnTo>
                  <a:lnTo>
                    <a:pt x="43" y="1671"/>
                  </a:lnTo>
                  <a:lnTo>
                    <a:pt x="43" y="1671"/>
                  </a:lnTo>
                  <a:lnTo>
                    <a:pt x="43" y="1677"/>
                  </a:lnTo>
                  <a:lnTo>
                    <a:pt x="43" y="1677"/>
                  </a:lnTo>
                  <a:lnTo>
                    <a:pt x="43" y="1677"/>
                  </a:lnTo>
                  <a:lnTo>
                    <a:pt x="43" y="1677"/>
                  </a:lnTo>
                  <a:lnTo>
                    <a:pt x="43" y="1678"/>
                  </a:lnTo>
                  <a:lnTo>
                    <a:pt x="42" y="1678"/>
                  </a:lnTo>
                  <a:lnTo>
                    <a:pt x="42" y="1678"/>
                  </a:lnTo>
                  <a:lnTo>
                    <a:pt x="42" y="1678"/>
                  </a:lnTo>
                  <a:lnTo>
                    <a:pt x="42" y="1681"/>
                  </a:lnTo>
                  <a:lnTo>
                    <a:pt x="41" y="1681"/>
                  </a:lnTo>
                  <a:lnTo>
                    <a:pt x="41" y="1681"/>
                  </a:lnTo>
                  <a:lnTo>
                    <a:pt x="41" y="1681"/>
                  </a:lnTo>
                  <a:lnTo>
                    <a:pt x="41" y="1681"/>
                  </a:lnTo>
                  <a:lnTo>
                    <a:pt x="41" y="1681"/>
                  </a:lnTo>
                  <a:lnTo>
                    <a:pt x="41" y="1683"/>
                  </a:lnTo>
                  <a:lnTo>
                    <a:pt x="41" y="1683"/>
                  </a:lnTo>
                  <a:lnTo>
                    <a:pt x="41" y="1684"/>
                  </a:lnTo>
                  <a:lnTo>
                    <a:pt x="41" y="1684"/>
                  </a:lnTo>
                  <a:lnTo>
                    <a:pt x="41" y="1685"/>
                  </a:lnTo>
                  <a:lnTo>
                    <a:pt x="40" y="1685"/>
                  </a:lnTo>
                  <a:lnTo>
                    <a:pt x="40" y="899"/>
                  </a:lnTo>
                  <a:lnTo>
                    <a:pt x="40" y="899"/>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90"/>
                  </a:lnTo>
                  <a:lnTo>
                    <a:pt x="39" y="1690"/>
                  </a:lnTo>
                  <a:lnTo>
                    <a:pt x="39" y="1691"/>
                  </a:lnTo>
                  <a:lnTo>
                    <a:pt x="39" y="1691"/>
                  </a:lnTo>
                  <a:lnTo>
                    <a:pt x="39" y="1693"/>
                  </a:lnTo>
                  <a:lnTo>
                    <a:pt x="39" y="1693"/>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1701"/>
                  </a:lnTo>
                  <a:lnTo>
                    <a:pt x="38" y="1701"/>
                  </a:lnTo>
                  <a:lnTo>
                    <a:pt x="38" y="1705"/>
                  </a:lnTo>
                  <a:lnTo>
                    <a:pt x="38" y="1705"/>
                  </a:lnTo>
                  <a:lnTo>
                    <a:pt x="38" y="1707"/>
                  </a:lnTo>
                  <a:lnTo>
                    <a:pt x="37" y="1707"/>
                  </a:lnTo>
                  <a:lnTo>
                    <a:pt x="37" y="1708"/>
                  </a:lnTo>
                  <a:lnTo>
                    <a:pt x="37" y="1708"/>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13"/>
                  </a:lnTo>
                  <a:lnTo>
                    <a:pt x="35" y="1713"/>
                  </a:lnTo>
                  <a:lnTo>
                    <a:pt x="35" y="1714"/>
                  </a:lnTo>
                  <a:lnTo>
                    <a:pt x="34" y="1714"/>
                  </a:lnTo>
                  <a:lnTo>
                    <a:pt x="34" y="1714"/>
                  </a:lnTo>
                  <a:lnTo>
                    <a:pt x="34" y="1714"/>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1748"/>
                  </a:lnTo>
                  <a:lnTo>
                    <a:pt x="30" y="1748"/>
                  </a:lnTo>
                  <a:lnTo>
                    <a:pt x="30" y="1748"/>
                  </a:lnTo>
                  <a:lnTo>
                    <a:pt x="30" y="1748"/>
                  </a:lnTo>
                  <a:lnTo>
                    <a:pt x="30" y="1748"/>
                  </a:lnTo>
                  <a:lnTo>
                    <a:pt x="30" y="1748"/>
                  </a:lnTo>
                  <a:lnTo>
                    <a:pt x="30" y="1750"/>
                  </a:lnTo>
                  <a:lnTo>
                    <a:pt x="29" y="1750"/>
                  </a:lnTo>
                  <a:lnTo>
                    <a:pt x="29" y="1750"/>
                  </a:lnTo>
                  <a:lnTo>
                    <a:pt x="28" y="1750"/>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1763"/>
                  </a:lnTo>
                  <a:lnTo>
                    <a:pt x="20" y="1763"/>
                  </a:lnTo>
                  <a:lnTo>
                    <a:pt x="20" y="1763"/>
                  </a:lnTo>
                  <a:lnTo>
                    <a:pt x="20" y="1763"/>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899"/>
                  </a:lnTo>
                  <a:lnTo>
                    <a:pt x="20" y="899"/>
                  </a:lnTo>
                  <a:lnTo>
                    <a:pt x="20" y="899"/>
                  </a:lnTo>
                  <a:lnTo>
                    <a:pt x="20" y="899"/>
                  </a:lnTo>
                  <a:lnTo>
                    <a:pt x="20" y="899"/>
                  </a:lnTo>
                  <a:lnTo>
                    <a:pt x="20" y="899"/>
                  </a:lnTo>
                  <a:lnTo>
                    <a:pt x="20" y="1767"/>
                  </a:lnTo>
                  <a:lnTo>
                    <a:pt x="20" y="1767"/>
                  </a:lnTo>
                  <a:lnTo>
                    <a:pt x="20" y="1767"/>
                  </a:lnTo>
                  <a:lnTo>
                    <a:pt x="20" y="1767"/>
                  </a:lnTo>
                  <a:lnTo>
                    <a:pt x="20" y="1769"/>
                  </a:lnTo>
                  <a:lnTo>
                    <a:pt x="20" y="1769"/>
                  </a:lnTo>
                  <a:lnTo>
                    <a:pt x="20" y="1769"/>
                  </a:lnTo>
                  <a:lnTo>
                    <a:pt x="20" y="1769"/>
                  </a:lnTo>
                  <a:lnTo>
                    <a:pt x="20" y="1769"/>
                  </a:lnTo>
                  <a:lnTo>
                    <a:pt x="19" y="1769"/>
                  </a:lnTo>
                  <a:lnTo>
                    <a:pt x="19" y="1769"/>
                  </a:lnTo>
                  <a:lnTo>
                    <a:pt x="18" y="1769"/>
                  </a:lnTo>
                  <a:lnTo>
                    <a:pt x="18" y="899"/>
                  </a:lnTo>
                  <a:lnTo>
                    <a:pt x="18" y="899"/>
                  </a:lnTo>
                  <a:lnTo>
                    <a:pt x="18" y="1774"/>
                  </a:lnTo>
                  <a:lnTo>
                    <a:pt x="18" y="1774"/>
                  </a:lnTo>
                  <a:lnTo>
                    <a:pt x="18" y="1774"/>
                  </a:lnTo>
                  <a:lnTo>
                    <a:pt x="18" y="1774"/>
                  </a:lnTo>
                  <a:lnTo>
                    <a:pt x="18" y="1774"/>
                  </a:lnTo>
                  <a:lnTo>
                    <a:pt x="18" y="1774"/>
                  </a:lnTo>
                  <a:lnTo>
                    <a:pt x="18" y="899"/>
                  </a:lnTo>
                  <a:lnTo>
                    <a:pt x="18" y="899"/>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7"/>
                  </a:lnTo>
                  <a:lnTo>
                    <a:pt x="18" y="1777"/>
                  </a:lnTo>
                  <a:lnTo>
                    <a:pt x="18" y="1777"/>
                  </a:lnTo>
                  <a:lnTo>
                    <a:pt x="18" y="1777"/>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899"/>
                  </a:lnTo>
                  <a:lnTo>
                    <a:pt x="15" y="899"/>
                  </a:lnTo>
                  <a:lnTo>
                    <a:pt x="15" y="899"/>
                  </a:lnTo>
                  <a:lnTo>
                    <a:pt x="15" y="899"/>
                  </a:lnTo>
                  <a:lnTo>
                    <a:pt x="15" y="1785"/>
                  </a:lnTo>
                  <a:lnTo>
                    <a:pt x="12" y="1785"/>
                  </a:lnTo>
                  <a:lnTo>
                    <a:pt x="12" y="1785"/>
                  </a:lnTo>
                  <a:lnTo>
                    <a:pt x="11" y="1785"/>
                  </a:lnTo>
                  <a:lnTo>
                    <a:pt x="11" y="899"/>
                  </a:lnTo>
                  <a:lnTo>
                    <a:pt x="11" y="89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9"/>
                  </a:lnTo>
                  <a:lnTo>
                    <a:pt x="10" y="1789"/>
                  </a:lnTo>
                  <a:lnTo>
                    <a:pt x="10" y="1789"/>
                  </a:lnTo>
                  <a:lnTo>
                    <a:pt x="10" y="178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899"/>
                  </a:lnTo>
                  <a:lnTo>
                    <a:pt x="0" y="899"/>
                  </a:lnTo>
                  <a:close/>
                </a:path>
              </a:pathLst>
            </a:custGeom>
            <a:solidFill>
              <a:srgbClr val="3E7A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77">
              <a:extLst>
                <a:ext uri="{FF2B5EF4-FFF2-40B4-BE49-F238E27FC236}">
                  <a16:creationId xmlns:a16="http://schemas.microsoft.com/office/drawing/2014/main" id="{027905DC-C90E-4E33-ACF0-60BE8B6271A9}"/>
                </a:ext>
              </a:extLst>
            </p:cNvPr>
            <p:cNvSpPr>
              <a:spLocks/>
            </p:cNvSpPr>
            <p:nvPr/>
          </p:nvSpPr>
          <p:spPr bwMode="auto">
            <a:xfrm>
              <a:off x="1077913" y="1011238"/>
              <a:ext cx="5370513" cy="2857500"/>
            </a:xfrm>
            <a:custGeom>
              <a:avLst/>
              <a:gdLst>
                <a:gd name="T0" fmla="*/ 20 w 3383"/>
                <a:gd name="T1" fmla="*/ 1769 h 1800"/>
                <a:gd name="T2" fmla="*/ 44 w 3383"/>
                <a:gd name="T3" fmla="*/ 1667 h 1800"/>
                <a:gd name="T4" fmla="*/ 116 w 3383"/>
                <a:gd name="T5" fmla="*/ 1530 h 1800"/>
                <a:gd name="T6" fmla="*/ 136 w 3383"/>
                <a:gd name="T7" fmla="*/ 1486 h 1800"/>
                <a:gd name="T8" fmla="*/ 160 w 3383"/>
                <a:gd name="T9" fmla="*/ 1431 h 1800"/>
                <a:gd name="T10" fmla="*/ 309 w 3383"/>
                <a:gd name="T11" fmla="*/ 1380 h 1800"/>
                <a:gd name="T12" fmla="*/ 345 w 3383"/>
                <a:gd name="T13" fmla="*/ 1354 h 1800"/>
                <a:gd name="T14" fmla="*/ 456 w 3383"/>
                <a:gd name="T15" fmla="*/ 1322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1131 h 1800"/>
                <a:gd name="T28" fmla="*/ 1337 w 3383"/>
                <a:gd name="T29" fmla="*/ 1106 h 1800"/>
                <a:gd name="T30" fmla="*/ 1390 w 3383"/>
                <a:gd name="T31" fmla="*/ 1061 h 1800"/>
                <a:gd name="T32" fmla="*/ 1484 w 3383"/>
                <a:gd name="T33" fmla="*/ 1021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20 h 1800"/>
                <a:gd name="T48" fmla="*/ 2451 w 3383"/>
                <a:gd name="T49" fmla="*/ 795 h 1800"/>
                <a:gd name="T50" fmla="*/ 2613 w 3383"/>
                <a:gd name="T51" fmla="*/ 760 h 1800"/>
                <a:gd name="T52" fmla="*/ 2687 w 3383"/>
                <a:gd name="T53" fmla="*/ 694 h 1800"/>
                <a:gd name="T54" fmla="*/ 2898 w 3383"/>
                <a:gd name="T55" fmla="*/ 899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598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77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960 h 1800"/>
                <a:gd name="T92" fmla="*/ 1482 w 3383"/>
                <a:gd name="T93" fmla="*/ 1026 h 1800"/>
                <a:gd name="T94" fmla="*/ 1388 w 3383"/>
                <a:gd name="T95" fmla="*/ 1063 h 1800"/>
                <a:gd name="T96" fmla="*/ 1337 w 3383"/>
                <a:gd name="T97" fmla="*/ 1106 h 1800"/>
                <a:gd name="T98" fmla="*/ 1223 w 3383"/>
                <a:gd name="T99" fmla="*/ 1132 h 1800"/>
                <a:gd name="T100" fmla="*/ 1002 w 3383"/>
                <a:gd name="T101" fmla="*/ 1169 h 1800"/>
                <a:gd name="T102" fmla="*/ 912 w 3383"/>
                <a:gd name="T103" fmla="*/ 1204 h 1800"/>
                <a:gd name="T104" fmla="*/ 835 w 3383"/>
                <a:gd name="T105" fmla="*/ 899 h 1800"/>
                <a:gd name="T106" fmla="*/ 732 w 3383"/>
                <a:gd name="T107" fmla="*/ 1265 h 1800"/>
                <a:gd name="T108" fmla="*/ 548 w 3383"/>
                <a:gd name="T109" fmla="*/ 1294 h 1800"/>
                <a:gd name="T110" fmla="*/ 453 w 3383"/>
                <a:gd name="T111" fmla="*/ 1324 h 1800"/>
                <a:gd name="T112" fmla="*/ 344 w 3383"/>
                <a:gd name="T113" fmla="*/ 899 h 1800"/>
                <a:gd name="T114" fmla="*/ 301 w 3383"/>
                <a:gd name="T115" fmla="*/ 1385 h 1800"/>
                <a:gd name="T116" fmla="*/ 151 w 3383"/>
                <a:gd name="T117" fmla="*/ 1441 h 1800"/>
                <a:gd name="T118" fmla="*/ 136 w 3383"/>
                <a:gd name="T119" fmla="*/ 1486 h 1800"/>
                <a:gd name="T120" fmla="*/ 107 w 3383"/>
                <a:gd name="T121" fmla="*/ 1532 h 1800"/>
                <a:gd name="T122" fmla="*/ 43 w 3383"/>
                <a:gd name="T123" fmla="*/ 1669 h 1800"/>
                <a:gd name="T124" fmla="*/ 18 w 3383"/>
                <a:gd name="T125" fmla="*/ 1774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1800"/>
                  </a:move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7"/>
                  </a:lnTo>
                  <a:lnTo>
                    <a:pt x="11" y="1787"/>
                  </a:lnTo>
                  <a:lnTo>
                    <a:pt x="11" y="1785"/>
                  </a:lnTo>
                  <a:lnTo>
                    <a:pt x="12" y="1785"/>
                  </a:lnTo>
                  <a:lnTo>
                    <a:pt x="12" y="1785"/>
                  </a:lnTo>
                  <a:lnTo>
                    <a:pt x="15" y="1785"/>
                  </a:lnTo>
                  <a:lnTo>
                    <a:pt x="15" y="1784"/>
                  </a:lnTo>
                  <a:lnTo>
                    <a:pt x="15" y="1784"/>
                  </a:lnTo>
                  <a:lnTo>
                    <a:pt x="15" y="1784"/>
                  </a:lnTo>
                  <a:lnTo>
                    <a:pt x="15" y="1784"/>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4"/>
                  </a:lnTo>
                  <a:lnTo>
                    <a:pt x="18" y="1774"/>
                  </a:lnTo>
                  <a:lnTo>
                    <a:pt x="18" y="1774"/>
                  </a:lnTo>
                  <a:lnTo>
                    <a:pt x="18" y="1774"/>
                  </a:lnTo>
                  <a:lnTo>
                    <a:pt x="18" y="1774"/>
                  </a:lnTo>
                  <a:lnTo>
                    <a:pt x="18" y="1774"/>
                  </a:lnTo>
                  <a:lnTo>
                    <a:pt x="18" y="1774"/>
                  </a:lnTo>
                  <a:lnTo>
                    <a:pt x="18" y="1774"/>
                  </a:lnTo>
                  <a:lnTo>
                    <a:pt x="18" y="1771"/>
                  </a:lnTo>
                  <a:lnTo>
                    <a:pt x="18" y="1771"/>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3"/>
                  </a:lnTo>
                  <a:lnTo>
                    <a:pt x="20" y="1763"/>
                  </a:lnTo>
                  <a:lnTo>
                    <a:pt x="20" y="1763"/>
                  </a:lnTo>
                  <a:lnTo>
                    <a:pt x="20" y="1763"/>
                  </a:lnTo>
                  <a:lnTo>
                    <a:pt x="20" y="1763"/>
                  </a:lnTo>
                  <a:lnTo>
                    <a:pt x="20" y="1763"/>
                  </a:lnTo>
                  <a:lnTo>
                    <a:pt x="20" y="1763"/>
                  </a:lnTo>
                  <a:lnTo>
                    <a:pt x="21" y="1763"/>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1748"/>
                  </a:lnTo>
                  <a:lnTo>
                    <a:pt x="30" y="1748"/>
                  </a:lnTo>
                  <a:lnTo>
                    <a:pt x="30" y="1748"/>
                  </a:lnTo>
                  <a:lnTo>
                    <a:pt x="30" y="1748"/>
                  </a:lnTo>
                  <a:lnTo>
                    <a:pt x="30" y="1748"/>
                  </a:lnTo>
                  <a:lnTo>
                    <a:pt x="30" y="1748"/>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1723"/>
                  </a:lnTo>
                  <a:lnTo>
                    <a:pt x="34" y="1723"/>
                  </a:lnTo>
                  <a:lnTo>
                    <a:pt x="34" y="1723"/>
                  </a:lnTo>
                  <a:lnTo>
                    <a:pt x="34" y="1723"/>
                  </a:lnTo>
                  <a:lnTo>
                    <a:pt x="34" y="1723"/>
                  </a:lnTo>
                  <a:lnTo>
                    <a:pt x="34" y="1723"/>
                  </a:lnTo>
                  <a:lnTo>
                    <a:pt x="34" y="1723"/>
                  </a:lnTo>
                  <a:lnTo>
                    <a:pt x="34" y="1723"/>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1700"/>
                  </a:lnTo>
                  <a:lnTo>
                    <a:pt x="38" y="1700"/>
                  </a:lnTo>
                  <a:lnTo>
                    <a:pt x="38" y="1700"/>
                  </a:lnTo>
                  <a:lnTo>
                    <a:pt x="39" y="1700"/>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4"/>
                  </a:lnTo>
                  <a:lnTo>
                    <a:pt x="39" y="1694"/>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6"/>
                  </a:lnTo>
                  <a:lnTo>
                    <a:pt x="40" y="1686"/>
                  </a:lnTo>
                  <a:lnTo>
                    <a:pt x="40" y="1686"/>
                  </a:lnTo>
                  <a:lnTo>
                    <a:pt x="40" y="1686"/>
                  </a:lnTo>
                  <a:lnTo>
                    <a:pt x="40" y="1686"/>
                  </a:lnTo>
                  <a:lnTo>
                    <a:pt x="40" y="1686"/>
                  </a:lnTo>
                  <a:lnTo>
                    <a:pt x="40" y="1685"/>
                  </a:lnTo>
                  <a:lnTo>
                    <a:pt x="40" y="1685"/>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1669"/>
                  </a:lnTo>
                  <a:lnTo>
                    <a:pt x="43" y="1669"/>
                  </a:lnTo>
                  <a:lnTo>
                    <a:pt x="43" y="1669"/>
                  </a:lnTo>
                  <a:lnTo>
                    <a:pt x="43" y="1669"/>
                  </a:lnTo>
                  <a:lnTo>
                    <a:pt x="43" y="1669"/>
                  </a:lnTo>
                  <a:lnTo>
                    <a:pt x="43" y="1669"/>
                  </a:lnTo>
                  <a:lnTo>
                    <a:pt x="43" y="1669"/>
                  </a:lnTo>
                  <a:lnTo>
                    <a:pt x="43" y="1669"/>
                  </a:lnTo>
                  <a:lnTo>
                    <a:pt x="43" y="1669"/>
                  </a:lnTo>
                  <a:lnTo>
                    <a:pt x="44" y="1669"/>
                  </a:lnTo>
                  <a:lnTo>
                    <a:pt x="44" y="1669"/>
                  </a:lnTo>
                  <a:lnTo>
                    <a:pt x="44" y="1669"/>
                  </a:lnTo>
                  <a:lnTo>
                    <a:pt x="44" y="1667"/>
                  </a:lnTo>
                  <a:lnTo>
                    <a:pt x="44" y="1667"/>
                  </a:lnTo>
                  <a:lnTo>
                    <a:pt x="44" y="1661"/>
                  </a:lnTo>
                  <a:lnTo>
                    <a:pt x="44" y="1661"/>
                  </a:lnTo>
                  <a:lnTo>
                    <a:pt x="44" y="1661"/>
                  </a:lnTo>
                  <a:lnTo>
                    <a:pt x="44" y="1661"/>
                  </a:lnTo>
                  <a:lnTo>
                    <a:pt x="44" y="1656"/>
                  </a:lnTo>
                  <a:lnTo>
                    <a:pt x="44" y="1656"/>
                  </a:lnTo>
                  <a:lnTo>
                    <a:pt x="44" y="1650"/>
                  </a:lnTo>
                  <a:lnTo>
                    <a:pt x="44" y="1650"/>
                  </a:lnTo>
                  <a:lnTo>
                    <a:pt x="44" y="1650"/>
                  </a:lnTo>
                  <a:lnTo>
                    <a:pt x="44" y="1650"/>
                  </a:lnTo>
                  <a:lnTo>
                    <a:pt x="44" y="1650"/>
                  </a:lnTo>
                  <a:lnTo>
                    <a:pt x="45" y="1650"/>
                  </a:lnTo>
                  <a:lnTo>
                    <a:pt x="45" y="1649"/>
                  </a:lnTo>
                  <a:lnTo>
                    <a:pt x="45" y="1649"/>
                  </a:lnTo>
                  <a:lnTo>
                    <a:pt x="45" y="1649"/>
                  </a:lnTo>
                  <a:lnTo>
                    <a:pt x="45" y="1649"/>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1640"/>
                  </a:lnTo>
                  <a:lnTo>
                    <a:pt x="55" y="1640"/>
                  </a:lnTo>
                  <a:lnTo>
                    <a:pt x="55" y="1640"/>
                  </a:lnTo>
                  <a:lnTo>
                    <a:pt x="55" y="1640"/>
                  </a:lnTo>
                  <a:lnTo>
                    <a:pt x="55" y="1640"/>
                  </a:lnTo>
                  <a:lnTo>
                    <a:pt x="55" y="1640"/>
                  </a:lnTo>
                  <a:lnTo>
                    <a:pt x="55" y="1640"/>
                  </a:lnTo>
                  <a:lnTo>
                    <a:pt x="55" y="1640"/>
                  </a:lnTo>
                  <a:lnTo>
                    <a:pt x="55" y="1639"/>
                  </a:lnTo>
                  <a:lnTo>
                    <a:pt x="55" y="1639"/>
                  </a:lnTo>
                  <a:lnTo>
                    <a:pt x="55" y="1639"/>
                  </a:lnTo>
                  <a:lnTo>
                    <a:pt x="55" y="163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1605"/>
                  </a:lnTo>
                  <a:lnTo>
                    <a:pt x="67" y="1605"/>
                  </a:lnTo>
                  <a:lnTo>
                    <a:pt x="67" y="1605"/>
                  </a:lnTo>
                  <a:lnTo>
                    <a:pt x="67" y="1605"/>
                  </a:lnTo>
                  <a:lnTo>
                    <a:pt x="67" y="1605"/>
                  </a:lnTo>
                  <a:lnTo>
                    <a:pt x="67" y="1605"/>
                  </a:lnTo>
                  <a:lnTo>
                    <a:pt x="67" y="1605"/>
                  </a:lnTo>
                  <a:lnTo>
                    <a:pt x="67" y="1605"/>
                  </a:lnTo>
                  <a:lnTo>
                    <a:pt x="67" y="1598"/>
                  </a:lnTo>
                  <a:lnTo>
                    <a:pt x="67" y="1598"/>
                  </a:lnTo>
                  <a:lnTo>
                    <a:pt x="67" y="1598"/>
                  </a:lnTo>
                  <a:lnTo>
                    <a:pt x="68" y="1598"/>
                  </a:lnTo>
                  <a:lnTo>
                    <a:pt x="68" y="1598"/>
                  </a:lnTo>
                  <a:lnTo>
                    <a:pt x="68" y="1598"/>
                  </a:lnTo>
                  <a:lnTo>
                    <a:pt x="68" y="1598"/>
                  </a:lnTo>
                  <a:lnTo>
                    <a:pt x="69" y="1598"/>
                  </a:lnTo>
                  <a:lnTo>
                    <a:pt x="69" y="1598"/>
                  </a:lnTo>
                  <a:lnTo>
                    <a:pt x="70" y="1598"/>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1580"/>
                  </a:lnTo>
                  <a:lnTo>
                    <a:pt x="81" y="1580"/>
                  </a:lnTo>
                  <a:lnTo>
                    <a:pt x="81" y="1580"/>
                  </a:lnTo>
                  <a:lnTo>
                    <a:pt x="81" y="1580"/>
                  </a:lnTo>
                  <a:lnTo>
                    <a:pt x="81" y="1580"/>
                  </a:lnTo>
                  <a:lnTo>
                    <a:pt x="81" y="1580"/>
                  </a:lnTo>
                  <a:lnTo>
                    <a:pt x="81" y="1580"/>
                  </a:lnTo>
                  <a:lnTo>
                    <a:pt x="83" y="1580"/>
                  </a:lnTo>
                  <a:lnTo>
                    <a:pt x="83" y="1580"/>
                  </a:lnTo>
                  <a:lnTo>
                    <a:pt x="85" y="1580"/>
                  </a:lnTo>
                  <a:lnTo>
                    <a:pt x="85" y="1579"/>
                  </a:lnTo>
                  <a:lnTo>
                    <a:pt x="86" y="1579"/>
                  </a:lnTo>
                  <a:lnTo>
                    <a:pt x="86" y="1579"/>
                  </a:lnTo>
                  <a:lnTo>
                    <a:pt x="86" y="1579"/>
                  </a:lnTo>
                  <a:lnTo>
                    <a:pt x="86" y="1575"/>
                  </a:lnTo>
                  <a:lnTo>
                    <a:pt x="86" y="1575"/>
                  </a:lnTo>
                  <a:lnTo>
                    <a:pt x="86" y="1571"/>
                  </a:lnTo>
                  <a:lnTo>
                    <a:pt x="86" y="1571"/>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1567"/>
                  </a:lnTo>
                  <a:lnTo>
                    <a:pt x="87" y="1567"/>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1561"/>
                  </a:lnTo>
                  <a:lnTo>
                    <a:pt x="88" y="1561"/>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1537"/>
                  </a:lnTo>
                  <a:lnTo>
                    <a:pt x="103" y="1537"/>
                  </a:lnTo>
                  <a:lnTo>
                    <a:pt x="103" y="1537"/>
                  </a:lnTo>
                  <a:lnTo>
                    <a:pt x="103" y="1537"/>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1530"/>
                  </a:lnTo>
                  <a:lnTo>
                    <a:pt x="116" y="1530"/>
                  </a:lnTo>
                  <a:lnTo>
                    <a:pt x="116" y="1530"/>
                  </a:lnTo>
                  <a:lnTo>
                    <a:pt x="116" y="1530"/>
                  </a:lnTo>
                  <a:lnTo>
                    <a:pt x="116" y="1530"/>
                  </a:lnTo>
                  <a:lnTo>
                    <a:pt x="116" y="1530"/>
                  </a:lnTo>
                  <a:lnTo>
                    <a:pt x="116" y="1529"/>
                  </a:lnTo>
                  <a:lnTo>
                    <a:pt x="116" y="1529"/>
                  </a:lnTo>
                  <a:lnTo>
                    <a:pt x="116" y="1529"/>
                  </a:lnTo>
                  <a:lnTo>
                    <a:pt x="116" y="1529"/>
                  </a:lnTo>
                  <a:lnTo>
                    <a:pt x="116" y="1524"/>
                  </a:lnTo>
                  <a:lnTo>
                    <a:pt x="116" y="1524"/>
                  </a:lnTo>
                  <a:lnTo>
                    <a:pt x="116" y="1521"/>
                  </a:lnTo>
                  <a:lnTo>
                    <a:pt x="116" y="1521"/>
                  </a:lnTo>
                  <a:lnTo>
                    <a:pt x="116" y="1521"/>
                  </a:lnTo>
                  <a:lnTo>
                    <a:pt x="116" y="1521"/>
                  </a:lnTo>
                  <a:lnTo>
                    <a:pt x="116" y="1521"/>
                  </a:lnTo>
                  <a:lnTo>
                    <a:pt x="116" y="1521"/>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8"/>
                  </a:lnTo>
                  <a:lnTo>
                    <a:pt x="116" y="1518"/>
                  </a:lnTo>
                  <a:lnTo>
                    <a:pt x="116" y="1518"/>
                  </a:lnTo>
                  <a:lnTo>
                    <a:pt x="116" y="1518"/>
                  </a:lnTo>
                  <a:lnTo>
                    <a:pt x="116" y="1517"/>
                  </a:lnTo>
                  <a:lnTo>
                    <a:pt x="116" y="1517"/>
                  </a:lnTo>
                  <a:lnTo>
                    <a:pt x="116" y="1517"/>
                  </a:lnTo>
                  <a:lnTo>
                    <a:pt x="116" y="1517"/>
                  </a:lnTo>
                  <a:lnTo>
                    <a:pt x="116" y="1517"/>
                  </a:lnTo>
                  <a:lnTo>
                    <a:pt x="116" y="1517"/>
                  </a:lnTo>
                  <a:lnTo>
                    <a:pt x="116" y="1517"/>
                  </a:lnTo>
                  <a:lnTo>
                    <a:pt x="117" y="1517"/>
                  </a:lnTo>
                  <a:lnTo>
                    <a:pt x="117"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21" y="1516"/>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4"/>
                  </a:lnTo>
                  <a:lnTo>
                    <a:pt x="121" y="1514"/>
                  </a:lnTo>
                  <a:lnTo>
                    <a:pt x="121" y="1514"/>
                  </a:lnTo>
                  <a:lnTo>
                    <a:pt x="121" y="1514"/>
                  </a:lnTo>
                  <a:lnTo>
                    <a:pt x="121" y="1514"/>
                  </a:lnTo>
                  <a:lnTo>
                    <a:pt x="121" y="1514"/>
                  </a:lnTo>
                  <a:lnTo>
                    <a:pt x="121" y="1514"/>
                  </a:lnTo>
                  <a:lnTo>
                    <a:pt x="121" y="1514"/>
                  </a:lnTo>
                  <a:lnTo>
                    <a:pt x="121" y="1514"/>
                  </a:lnTo>
                  <a:lnTo>
                    <a:pt x="123" y="1514"/>
                  </a:lnTo>
                  <a:lnTo>
                    <a:pt x="123" y="1513"/>
                  </a:lnTo>
                  <a:lnTo>
                    <a:pt x="123" y="1513"/>
                  </a:lnTo>
                  <a:lnTo>
                    <a:pt x="123" y="1513"/>
                  </a:lnTo>
                  <a:lnTo>
                    <a:pt x="123" y="1513"/>
                  </a:lnTo>
                  <a:lnTo>
                    <a:pt x="123" y="1513"/>
                  </a:lnTo>
                  <a:lnTo>
                    <a:pt x="123" y="1513"/>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6" y="1503"/>
                  </a:lnTo>
                  <a:lnTo>
                    <a:pt x="126" y="1503"/>
                  </a:lnTo>
                  <a:lnTo>
                    <a:pt x="126" y="1503"/>
                  </a:lnTo>
                  <a:lnTo>
                    <a:pt x="126" y="1503"/>
                  </a:lnTo>
                  <a:lnTo>
                    <a:pt x="127" y="1503"/>
                  </a:lnTo>
                  <a:lnTo>
                    <a:pt x="127" y="1503"/>
                  </a:lnTo>
                  <a:lnTo>
                    <a:pt x="127" y="1503"/>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1488"/>
                  </a:lnTo>
                  <a:lnTo>
                    <a:pt x="136" y="1488"/>
                  </a:lnTo>
                  <a:lnTo>
                    <a:pt x="136" y="1488"/>
                  </a:lnTo>
                  <a:lnTo>
                    <a:pt x="136" y="1488"/>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7" y="1486"/>
                  </a:lnTo>
                  <a:lnTo>
                    <a:pt x="137" y="1486"/>
                  </a:lnTo>
                  <a:lnTo>
                    <a:pt x="137" y="1486"/>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1463"/>
                  </a:lnTo>
                  <a:lnTo>
                    <a:pt x="140" y="1463"/>
                  </a:lnTo>
                  <a:lnTo>
                    <a:pt x="140" y="1463"/>
                  </a:lnTo>
                  <a:lnTo>
                    <a:pt x="140" y="1463"/>
                  </a:lnTo>
                  <a:lnTo>
                    <a:pt x="140" y="1463"/>
                  </a:lnTo>
                  <a:lnTo>
                    <a:pt x="140" y="1463"/>
                  </a:lnTo>
                  <a:lnTo>
                    <a:pt x="140" y="1463"/>
                  </a:lnTo>
                  <a:lnTo>
                    <a:pt x="140" y="1463"/>
                  </a:lnTo>
                  <a:lnTo>
                    <a:pt x="140" y="1461"/>
                  </a:lnTo>
                  <a:lnTo>
                    <a:pt x="140" y="1461"/>
                  </a:lnTo>
                  <a:lnTo>
                    <a:pt x="140" y="1461"/>
                  </a:lnTo>
                  <a:lnTo>
                    <a:pt x="140" y="1461"/>
                  </a:lnTo>
                  <a:lnTo>
                    <a:pt x="140" y="1461"/>
                  </a:lnTo>
                  <a:lnTo>
                    <a:pt x="140" y="1461"/>
                  </a:lnTo>
                  <a:lnTo>
                    <a:pt x="140" y="1461"/>
                  </a:lnTo>
                  <a:lnTo>
                    <a:pt x="140" y="1461"/>
                  </a:lnTo>
                  <a:lnTo>
                    <a:pt x="140" y="1460"/>
                  </a:lnTo>
                  <a:lnTo>
                    <a:pt x="140" y="1460"/>
                  </a:lnTo>
                  <a:lnTo>
                    <a:pt x="140" y="1460"/>
                  </a:lnTo>
                  <a:lnTo>
                    <a:pt x="140" y="1460"/>
                  </a:lnTo>
                  <a:lnTo>
                    <a:pt x="140" y="1460"/>
                  </a:lnTo>
                  <a:lnTo>
                    <a:pt x="140" y="1460"/>
                  </a:lnTo>
                  <a:lnTo>
                    <a:pt x="140" y="1458"/>
                  </a:lnTo>
                  <a:lnTo>
                    <a:pt x="140" y="1458"/>
                  </a:lnTo>
                  <a:lnTo>
                    <a:pt x="140" y="1458"/>
                  </a:lnTo>
                  <a:lnTo>
                    <a:pt x="140" y="1458"/>
                  </a:lnTo>
                  <a:lnTo>
                    <a:pt x="140" y="1458"/>
                  </a:lnTo>
                  <a:lnTo>
                    <a:pt x="141" y="1458"/>
                  </a:lnTo>
                  <a:lnTo>
                    <a:pt x="141" y="1458"/>
                  </a:lnTo>
                  <a:lnTo>
                    <a:pt x="141" y="1458"/>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1452"/>
                  </a:lnTo>
                  <a:lnTo>
                    <a:pt x="147" y="1452"/>
                  </a:lnTo>
                  <a:lnTo>
                    <a:pt x="147" y="1452"/>
                  </a:lnTo>
                  <a:lnTo>
                    <a:pt x="147" y="1452"/>
                  </a:lnTo>
                  <a:lnTo>
                    <a:pt x="147" y="1451"/>
                  </a:lnTo>
                  <a:lnTo>
                    <a:pt x="148" y="1451"/>
                  </a:lnTo>
                  <a:lnTo>
                    <a:pt x="148" y="899"/>
                  </a:lnTo>
                  <a:lnTo>
                    <a:pt x="148" y="899"/>
                  </a:lnTo>
                  <a:lnTo>
                    <a:pt x="148" y="899"/>
                  </a:lnTo>
                  <a:lnTo>
                    <a:pt x="148" y="899"/>
                  </a:lnTo>
                  <a:lnTo>
                    <a:pt x="148" y="1449"/>
                  </a:lnTo>
                  <a:lnTo>
                    <a:pt x="148" y="1449"/>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3"/>
                  </a:lnTo>
                  <a:lnTo>
                    <a:pt x="151" y="1443"/>
                  </a:lnTo>
                  <a:lnTo>
                    <a:pt x="151" y="1443"/>
                  </a:lnTo>
                  <a:lnTo>
                    <a:pt x="151" y="1443"/>
                  </a:lnTo>
                  <a:lnTo>
                    <a:pt x="151" y="1443"/>
                  </a:lnTo>
                  <a:lnTo>
                    <a:pt x="151" y="1443"/>
                  </a:lnTo>
                  <a:lnTo>
                    <a:pt x="151" y="1443"/>
                  </a:lnTo>
                  <a:lnTo>
                    <a:pt x="151" y="1443"/>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1"/>
                  </a:lnTo>
                  <a:lnTo>
                    <a:pt x="151" y="1441"/>
                  </a:lnTo>
                  <a:lnTo>
                    <a:pt x="151" y="1441"/>
                  </a:lnTo>
                  <a:lnTo>
                    <a:pt x="151" y="1441"/>
                  </a:lnTo>
                  <a:lnTo>
                    <a:pt x="151" y="1439"/>
                  </a:lnTo>
                  <a:lnTo>
                    <a:pt x="152" y="1439"/>
                  </a:lnTo>
                  <a:lnTo>
                    <a:pt x="152" y="1439"/>
                  </a:lnTo>
                  <a:lnTo>
                    <a:pt x="152" y="1439"/>
                  </a:lnTo>
                  <a:lnTo>
                    <a:pt x="152" y="1439"/>
                  </a:lnTo>
                  <a:lnTo>
                    <a:pt x="152" y="1439"/>
                  </a:lnTo>
                  <a:lnTo>
                    <a:pt x="152" y="1434"/>
                  </a:lnTo>
                  <a:lnTo>
                    <a:pt x="160" y="1434"/>
                  </a:lnTo>
                  <a:lnTo>
                    <a:pt x="160" y="1431"/>
                  </a:lnTo>
                  <a:lnTo>
                    <a:pt x="160" y="1431"/>
                  </a:lnTo>
                  <a:lnTo>
                    <a:pt x="160" y="1431"/>
                  </a:lnTo>
                  <a:lnTo>
                    <a:pt x="160" y="1431"/>
                  </a:lnTo>
                  <a:lnTo>
                    <a:pt x="160" y="1431"/>
                  </a:lnTo>
                  <a:lnTo>
                    <a:pt x="160" y="1431"/>
                  </a:lnTo>
                  <a:lnTo>
                    <a:pt x="160" y="1430"/>
                  </a:lnTo>
                  <a:lnTo>
                    <a:pt x="160" y="1430"/>
                  </a:lnTo>
                  <a:lnTo>
                    <a:pt x="160" y="1430"/>
                  </a:lnTo>
                  <a:lnTo>
                    <a:pt x="160" y="1430"/>
                  </a:lnTo>
                  <a:lnTo>
                    <a:pt x="160" y="1430"/>
                  </a:lnTo>
                  <a:lnTo>
                    <a:pt x="167" y="1430"/>
                  </a:lnTo>
                  <a:lnTo>
                    <a:pt x="167" y="1430"/>
                  </a:lnTo>
                  <a:lnTo>
                    <a:pt x="204" y="1430"/>
                  </a:lnTo>
                  <a:lnTo>
                    <a:pt x="204" y="1430"/>
                  </a:lnTo>
                  <a:lnTo>
                    <a:pt x="204" y="1430"/>
                  </a:lnTo>
                  <a:lnTo>
                    <a:pt x="204" y="1429"/>
                  </a:lnTo>
                  <a:lnTo>
                    <a:pt x="204" y="142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1420"/>
                  </a:lnTo>
                  <a:lnTo>
                    <a:pt x="207" y="1420"/>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10" y="1420"/>
                  </a:lnTo>
                  <a:lnTo>
                    <a:pt x="210" y="1420"/>
                  </a:lnTo>
                  <a:lnTo>
                    <a:pt x="211" y="1420"/>
                  </a:lnTo>
                  <a:lnTo>
                    <a:pt x="211" y="1420"/>
                  </a:lnTo>
                  <a:lnTo>
                    <a:pt x="213" y="1420"/>
                  </a:lnTo>
                  <a:lnTo>
                    <a:pt x="213" y="1420"/>
                  </a:lnTo>
                  <a:lnTo>
                    <a:pt x="217" y="1420"/>
                  </a:lnTo>
                  <a:lnTo>
                    <a:pt x="217" y="1419"/>
                  </a:lnTo>
                  <a:lnTo>
                    <a:pt x="219" y="1419"/>
                  </a:lnTo>
                  <a:lnTo>
                    <a:pt x="219" y="1419"/>
                  </a:lnTo>
                  <a:lnTo>
                    <a:pt x="219" y="1419"/>
                  </a:lnTo>
                  <a:lnTo>
                    <a:pt x="219" y="1419"/>
                  </a:lnTo>
                  <a:lnTo>
                    <a:pt x="219" y="141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21" y="1414"/>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1406"/>
                  </a:lnTo>
                  <a:lnTo>
                    <a:pt x="243" y="1406"/>
                  </a:lnTo>
                  <a:lnTo>
                    <a:pt x="243" y="1406"/>
                  </a:lnTo>
                  <a:lnTo>
                    <a:pt x="247" y="1406"/>
                  </a:lnTo>
                  <a:lnTo>
                    <a:pt x="247" y="1405"/>
                  </a:lnTo>
                  <a:lnTo>
                    <a:pt x="247" y="1405"/>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66" y="1404"/>
                  </a:lnTo>
                  <a:lnTo>
                    <a:pt x="266" y="1401"/>
                  </a:lnTo>
                  <a:lnTo>
                    <a:pt x="266" y="1401"/>
                  </a:lnTo>
                  <a:lnTo>
                    <a:pt x="266" y="1401"/>
                  </a:lnTo>
                  <a:lnTo>
                    <a:pt x="266" y="1401"/>
                  </a:lnTo>
                  <a:lnTo>
                    <a:pt x="266" y="1400"/>
                  </a:lnTo>
                  <a:lnTo>
                    <a:pt x="266" y="1400"/>
                  </a:lnTo>
                  <a:lnTo>
                    <a:pt x="266" y="1400"/>
                  </a:lnTo>
                  <a:lnTo>
                    <a:pt x="266" y="1400"/>
                  </a:lnTo>
                  <a:lnTo>
                    <a:pt x="266" y="1400"/>
                  </a:lnTo>
                  <a:lnTo>
                    <a:pt x="268" y="1400"/>
                  </a:lnTo>
                  <a:lnTo>
                    <a:pt x="268" y="1397"/>
                  </a:lnTo>
                  <a:lnTo>
                    <a:pt x="274" y="1397"/>
                  </a:lnTo>
                  <a:lnTo>
                    <a:pt x="274" y="1397"/>
                  </a:lnTo>
                  <a:lnTo>
                    <a:pt x="280" y="1397"/>
                  </a:lnTo>
                  <a:lnTo>
                    <a:pt x="280" y="1397"/>
                  </a:lnTo>
                  <a:lnTo>
                    <a:pt x="286" y="1397"/>
                  </a:lnTo>
                  <a:lnTo>
                    <a:pt x="286" y="1396"/>
                  </a:lnTo>
                  <a:lnTo>
                    <a:pt x="288" y="1396"/>
                  </a:lnTo>
                  <a:lnTo>
                    <a:pt x="288" y="1390"/>
                  </a:lnTo>
                  <a:lnTo>
                    <a:pt x="288" y="1390"/>
                  </a:lnTo>
                  <a:lnTo>
                    <a:pt x="288" y="1389"/>
                  </a:lnTo>
                  <a:lnTo>
                    <a:pt x="288" y="1389"/>
                  </a:lnTo>
                  <a:lnTo>
                    <a:pt x="288" y="1389"/>
                  </a:lnTo>
                  <a:lnTo>
                    <a:pt x="288" y="1389"/>
                  </a:lnTo>
                  <a:lnTo>
                    <a:pt x="288" y="1387"/>
                  </a:lnTo>
                  <a:lnTo>
                    <a:pt x="288" y="1387"/>
                  </a:lnTo>
                  <a:lnTo>
                    <a:pt x="288" y="1387"/>
                  </a:lnTo>
                  <a:lnTo>
                    <a:pt x="289" y="1387"/>
                  </a:lnTo>
                  <a:lnTo>
                    <a:pt x="289" y="1387"/>
                  </a:lnTo>
                  <a:lnTo>
                    <a:pt x="290" y="1387"/>
                  </a:lnTo>
                  <a:lnTo>
                    <a:pt x="290" y="1387"/>
                  </a:lnTo>
                  <a:lnTo>
                    <a:pt x="295" y="1387"/>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1374"/>
                  </a:lnTo>
                  <a:lnTo>
                    <a:pt x="310" y="1374"/>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9" y="1367"/>
                  </a:lnTo>
                  <a:lnTo>
                    <a:pt x="329" y="1367"/>
                  </a:lnTo>
                  <a:lnTo>
                    <a:pt x="330" y="1367"/>
                  </a:lnTo>
                  <a:lnTo>
                    <a:pt x="330" y="1367"/>
                  </a:lnTo>
                  <a:lnTo>
                    <a:pt x="331" y="1367"/>
                  </a:lnTo>
                  <a:lnTo>
                    <a:pt x="331" y="1367"/>
                  </a:lnTo>
                  <a:lnTo>
                    <a:pt x="332" y="1367"/>
                  </a:lnTo>
                  <a:lnTo>
                    <a:pt x="332" y="1367"/>
                  </a:lnTo>
                  <a:lnTo>
                    <a:pt x="333" y="1367"/>
                  </a:lnTo>
                  <a:lnTo>
                    <a:pt x="333" y="1367"/>
                  </a:lnTo>
                  <a:lnTo>
                    <a:pt x="335" y="1367"/>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7" y="1364"/>
                  </a:lnTo>
                  <a:lnTo>
                    <a:pt x="337" y="1364"/>
                  </a:lnTo>
                  <a:lnTo>
                    <a:pt x="337" y="1364"/>
                  </a:lnTo>
                  <a:lnTo>
                    <a:pt x="337" y="1364"/>
                  </a:lnTo>
                  <a:lnTo>
                    <a:pt x="337" y="1364"/>
                  </a:lnTo>
                  <a:lnTo>
                    <a:pt x="337" y="1364"/>
                  </a:lnTo>
                  <a:lnTo>
                    <a:pt x="337" y="1364"/>
                  </a:lnTo>
                  <a:lnTo>
                    <a:pt x="337" y="1364"/>
                  </a:lnTo>
                  <a:lnTo>
                    <a:pt x="338" y="1364"/>
                  </a:lnTo>
                  <a:lnTo>
                    <a:pt x="338" y="1364"/>
                  </a:lnTo>
                  <a:lnTo>
                    <a:pt x="338" y="1364"/>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40" y="1363"/>
                  </a:lnTo>
                  <a:lnTo>
                    <a:pt x="340" y="1363"/>
                  </a:lnTo>
                  <a:lnTo>
                    <a:pt x="341" y="1363"/>
                  </a:lnTo>
                  <a:lnTo>
                    <a:pt x="341" y="1363"/>
                  </a:lnTo>
                  <a:lnTo>
                    <a:pt x="342" y="1363"/>
                  </a:lnTo>
                  <a:lnTo>
                    <a:pt x="342" y="1363"/>
                  </a:lnTo>
                  <a:lnTo>
                    <a:pt x="342" y="1363"/>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4"/>
                  </a:lnTo>
                  <a:lnTo>
                    <a:pt x="344" y="1354"/>
                  </a:lnTo>
                  <a:lnTo>
                    <a:pt x="344" y="1354"/>
                  </a:lnTo>
                  <a:lnTo>
                    <a:pt x="344" y="1354"/>
                  </a:lnTo>
                  <a:lnTo>
                    <a:pt x="344"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6" y="1354"/>
                  </a:lnTo>
                  <a:lnTo>
                    <a:pt x="346" y="1354"/>
                  </a:lnTo>
                  <a:lnTo>
                    <a:pt x="346" y="1354"/>
                  </a:lnTo>
                  <a:lnTo>
                    <a:pt x="346" y="1354"/>
                  </a:lnTo>
                  <a:lnTo>
                    <a:pt x="346" y="1354"/>
                  </a:lnTo>
                  <a:lnTo>
                    <a:pt x="346" y="1354"/>
                  </a:lnTo>
                  <a:lnTo>
                    <a:pt x="347" y="1354"/>
                  </a:lnTo>
                  <a:lnTo>
                    <a:pt x="347" y="1354"/>
                  </a:lnTo>
                  <a:lnTo>
                    <a:pt x="347" y="1354"/>
                  </a:lnTo>
                  <a:lnTo>
                    <a:pt x="347" y="1354"/>
                  </a:lnTo>
                  <a:lnTo>
                    <a:pt x="348" y="1354"/>
                  </a:lnTo>
                  <a:lnTo>
                    <a:pt x="348" y="1354"/>
                  </a:lnTo>
                  <a:lnTo>
                    <a:pt x="350" y="1354"/>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1349"/>
                  </a:lnTo>
                  <a:lnTo>
                    <a:pt x="378" y="1349"/>
                  </a:lnTo>
                  <a:lnTo>
                    <a:pt x="378" y="1349"/>
                  </a:lnTo>
                  <a:lnTo>
                    <a:pt x="379" y="1349"/>
                  </a:lnTo>
                  <a:lnTo>
                    <a:pt x="379" y="1349"/>
                  </a:lnTo>
                  <a:lnTo>
                    <a:pt x="380" y="1349"/>
                  </a:lnTo>
                  <a:lnTo>
                    <a:pt x="380" y="1349"/>
                  </a:lnTo>
                  <a:lnTo>
                    <a:pt x="381" y="1349"/>
                  </a:lnTo>
                  <a:lnTo>
                    <a:pt x="381" y="1349"/>
                  </a:lnTo>
                  <a:lnTo>
                    <a:pt x="382" y="134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1333"/>
                  </a:lnTo>
                  <a:lnTo>
                    <a:pt x="399" y="1333"/>
                  </a:lnTo>
                  <a:lnTo>
                    <a:pt x="399" y="1333"/>
                  </a:lnTo>
                  <a:lnTo>
                    <a:pt x="399" y="1333"/>
                  </a:lnTo>
                  <a:lnTo>
                    <a:pt x="399" y="1333"/>
                  </a:lnTo>
                  <a:lnTo>
                    <a:pt x="400" y="1333"/>
                  </a:lnTo>
                  <a:lnTo>
                    <a:pt x="400" y="1332"/>
                  </a:lnTo>
                  <a:lnTo>
                    <a:pt x="400" y="1332"/>
                  </a:lnTo>
                  <a:lnTo>
                    <a:pt x="400" y="1332"/>
                  </a:lnTo>
                  <a:lnTo>
                    <a:pt x="400" y="1332"/>
                  </a:lnTo>
                  <a:lnTo>
                    <a:pt x="400" y="1332"/>
                  </a:lnTo>
                  <a:lnTo>
                    <a:pt x="402" y="1332"/>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8" y="1322"/>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1314"/>
                  </a:lnTo>
                  <a:lnTo>
                    <a:pt x="477" y="1314"/>
                  </a:lnTo>
                  <a:lnTo>
                    <a:pt x="477" y="1314"/>
                  </a:lnTo>
                  <a:lnTo>
                    <a:pt x="510" y="1314"/>
                  </a:lnTo>
                  <a:lnTo>
                    <a:pt x="510" y="1314"/>
                  </a:lnTo>
                  <a:lnTo>
                    <a:pt x="510" y="1314"/>
                  </a:lnTo>
                  <a:lnTo>
                    <a:pt x="510" y="1314"/>
                  </a:lnTo>
                  <a:lnTo>
                    <a:pt x="510" y="1314"/>
                  </a:lnTo>
                  <a:lnTo>
                    <a:pt x="510" y="1312"/>
                  </a:lnTo>
                  <a:lnTo>
                    <a:pt x="511" y="1312"/>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20" y="1306"/>
                  </a:lnTo>
                  <a:lnTo>
                    <a:pt x="520" y="1306"/>
                  </a:lnTo>
                  <a:lnTo>
                    <a:pt x="520" y="1306"/>
                  </a:lnTo>
                  <a:lnTo>
                    <a:pt x="520" y="1306"/>
                  </a:lnTo>
                  <a:lnTo>
                    <a:pt x="521" y="1306"/>
                  </a:lnTo>
                  <a:lnTo>
                    <a:pt x="521" y="1306"/>
                  </a:lnTo>
                  <a:lnTo>
                    <a:pt x="522" y="1306"/>
                  </a:lnTo>
                  <a:lnTo>
                    <a:pt x="522" y="1306"/>
                  </a:lnTo>
                  <a:lnTo>
                    <a:pt x="525" y="1306"/>
                  </a:lnTo>
                  <a:lnTo>
                    <a:pt x="525" y="1306"/>
                  </a:lnTo>
                  <a:lnTo>
                    <a:pt x="525" y="1306"/>
                  </a:lnTo>
                  <a:lnTo>
                    <a:pt x="525" y="1306"/>
                  </a:lnTo>
                  <a:lnTo>
                    <a:pt x="525" y="1306"/>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2"/>
                  </a:lnTo>
                  <a:lnTo>
                    <a:pt x="526" y="1302"/>
                  </a:lnTo>
                  <a:lnTo>
                    <a:pt x="526" y="1302"/>
                  </a:lnTo>
                  <a:lnTo>
                    <a:pt x="527" y="1302"/>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8" y="1300"/>
                  </a:lnTo>
                  <a:lnTo>
                    <a:pt x="528" y="1300"/>
                  </a:lnTo>
                  <a:lnTo>
                    <a:pt x="529" y="1300"/>
                  </a:lnTo>
                  <a:lnTo>
                    <a:pt x="529" y="1299"/>
                  </a:lnTo>
                  <a:lnTo>
                    <a:pt x="529" y="1299"/>
                  </a:lnTo>
                  <a:lnTo>
                    <a:pt x="529" y="1299"/>
                  </a:lnTo>
                  <a:lnTo>
                    <a:pt x="530" y="12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1290"/>
                  </a:lnTo>
                  <a:lnTo>
                    <a:pt x="592" y="1290"/>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1280"/>
                  </a:lnTo>
                  <a:lnTo>
                    <a:pt x="649" y="1280"/>
                  </a:lnTo>
                  <a:lnTo>
                    <a:pt x="649" y="1280"/>
                  </a:lnTo>
                  <a:lnTo>
                    <a:pt x="649" y="1280"/>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1277"/>
                  </a:lnTo>
                  <a:lnTo>
                    <a:pt x="663" y="1277"/>
                  </a:lnTo>
                  <a:lnTo>
                    <a:pt x="663" y="1277"/>
                  </a:lnTo>
                  <a:lnTo>
                    <a:pt x="673" y="1277"/>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1275"/>
                  </a:lnTo>
                  <a:lnTo>
                    <a:pt x="677" y="1275"/>
                  </a:lnTo>
                  <a:lnTo>
                    <a:pt x="677" y="1275"/>
                  </a:lnTo>
                  <a:lnTo>
                    <a:pt x="677" y="1275"/>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1265"/>
                  </a:lnTo>
                  <a:lnTo>
                    <a:pt x="732" y="1265"/>
                  </a:lnTo>
                  <a:lnTo>
                    <a:pt x="732" y="1265"/>
                  </a:lnTo>
                  <a:lnTo>
                    <a:pt x="736" y="1265"/>
                  </a:lnTo>
                  <a:lnTo>
                    <a:pt x="736" y="1265"/>
                  </a:lnTo>
                  <a:lnTo>
                    <a:pt x="736" y="1265"/>
                  </a:lnTo>
                  <a:lnTo>
                    <a:pt x="736" y="1265"/>
                  </a:lnTo>
                  <a:lnTo>
                    <a:pt x="736" y="1265"/>
                  </a:lnTo>
                  <a:lnTo>
                    <a:pt x="736" y="1264"/>
                  </a:lnTo>
                  <a:lnTo>
                    <a:pt x="736" y="1264"/>
                  </a:lnTo>
                  <a:lnTo>
                    <a:pt x="736" y="1264"/>
                  </a:lnTo>
                  <a:lnTo>
                    <a:pt x="736" y="1264"/>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8" y="1257"/>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1251"/>
                  </a:lnTo>
                  <a:lnTo>
                    <a:pt x="792" y="1251"/>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1247"/>
                  </a:lnTo>
                  <a:lnTo>
                    <a:pt x="800" y="1247"/>
                  </a:lnTo>
                  <a:lnTo>
                    <a:pt x="800" y="1247"/>
                  </a:lnTo>
                  <a:lnTo>
                    <a:pt x="800" y="1247"/>
                  </a:lnTo>
                  <a:lnTo>
                    <a:pt x="800" y="1246"/>
                  </a:lnTo>
                  <a:lnTo>
                    <a:pt x="800" y="1246"/>
                  </a:lnTo>
                  <a:lnTo>
                    <a:pt x="800" y="1246"/>
                  </a:lnTo>
                  <a:lnTo>
                    <a:pt x="800" y="1246"/>
                  </a:lnTo>
                  <a:lnTo>
                    <a:pt x="800" y="1246"/>
                  </a:lnTo>
                  <a:lnTo>
                    <a:pt x="800" y="1246"/>
                  </a:lnTo>
                  <a:lnTo>
                    <a:pt x="800" y="1246"/>
                  </a:lnTo>
                  <a:lnTo>
                    <a:pt x="801" y="1246"/>
                  </a:lnTo>
                  <a:lnTo>
                    <a:pt x="801" y="1246"/>
                  </a:lnTo>
                  <a:lnTo>
                    <a:pt x="801" y="1246"/>
                  </a:lnTo>
                  <a:lnTo>
                    <a:pt x="801" y="1245"/>
                  </a:lnTo>
                  <a:lnTo>
                    <a:pt x="801" y="1245"/>
                  </a:lnTo>
                  <a:lnTo>
                    <a:pt x="801" y="1245"/>
                  </a:lnTo>
                  <a:lnTo>
                    <a:pt x="801" y="1245"/>
                  </a:lnTo>
                  <a:lnTo>
                    <a:pt x="801" y="1245"/>
                  </a:lnTo>
                  <a:lnTo>
                    <a:pt x="801" y="1245"/>
                  </a:lnTo>
                  <a:lnTo>
                    <a:pt x="801" y="1245"/>
                  </a:lnTo>
                  <a:lnTo>
                    <a:pt x="801" y="1245"/>
                  </a:lnTo>
                  <a:lnTo>
                    <a:pt x="801" y="1245"/>
                  </a:lnTo>
                  <a:lnTo>
                    <a:pt x="802" y="1245"/>
                  </a:lnTo>
                  <a:lnTo>
                    <a:pt x="802" y="1245"/>
                  </a:lnTo>
                  <a:lnTo>
                    <a:pt x="802" y="1245"/>
                  </a:lnTo>
                  <a:lnTo>
                    <a:pt x="802" y="1245"/>
                  </a:lnTo>
                  <a:lnTo>
                    <a:pt x="802" y="1245"/>
                  </a:lnTo>
                  <a:lnTo>
                    <a:pt x="802" y="1245"/>
                  </a:lnTo>
                  <a:lnTo>
                    <a:pt x="802" y="1245"/>
                  </a:lnTo>
                  <a:lnTo>
                    <a:pt x="802" y="1245"/>
                  </a:lnTo>
                  <a:lnTo>
                    <a:pt x="803" y="1245"/>
                  </a:lnTo>
                  <a:lnTo>
                    <a:pt x="803" y="1245"/>
                  </a:lnTo>
                  <a:lnTo>
                    <a:pt x="804" y="1245"/>
                  </a:lnTo>
                  <a:lnTo>
                    <a:pt x="804" y="1245"/>
                  </a:lnTo>
                  <a:lnTo>
                    <a:pt x="805" y="1245"/>
                  </a:lnTo>
                  <a:lnTo>
                    <a:pt x="805" y="1245"/>
                  </a:lnTo>
                  <a:lnTo>
                    <a:pt x="806" y="1245"/>
                  </a:lnTo>
                  <a:lnTo>
                    <a:pt x="806" y="1245"/>
                  </a:lnTo>
                  <a:lnTo>
                    <a:pt x="808" y="1245"/>
                  </a:lnTo>
                  <a:lnTo>
                    <a:pt x="808" y="1245"/>
                  </a:lnTo>
                  <a:lnTo>
                    <a:pt x="810" y="1245"/>
                  </a:lnTo>
                  <a:lnTo>
                    <a:pt x="810" y="1245"/>
                  </a:lnTo>
                  <a:lnTo>
                    <a:pt x="811" y="1245"/>
                  </a:lnTo>
                  <a:lnTo>
                    <a:pt x="811" y="1245"/>
                  </a:lnTo>
                  <a:lnTo>
                    <a:pt x="813" y="1245"/>
                  </a:lnTo>
                  <a:lnTo>
                    <a:pt x="813" y="1245"/>
                  </a:lnTo>
                  <a:lnTo>
                    <a:pt x="819" y="1245"/>
                  </a:lnTo>
                  <a:lnTo>
                    <a:pt x="819" y="1245"/>
                  </a:lnTo>
                  <a:lnTo>
                    <a:pt x="827" y="1245"/>
                  </a:lnTo>
                  <a:lnTo>
                    <a:pt x="827" y="1243"/>
                  </a:lnTo>
                  <a:lnTo>
                    <a:pt x="827" y="1243"/>
                  </a:lnTo>
                  <a:lnTo>
                    <a:pt x="827" y="1243"/>
                  </a:lnTo>
                  <a:lnTo>
                    <a:pt x="827" y="1243"/>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9" y="1240"/>
                  </a:lnTo>
                  <a:lnTo>
                    <a:pt x="829" y="1236"/>
                  </a:lnTo>
                  <a:lnTo>
                    <a:pt x="835" y="1236"/>
                  </a:lnTo>
                  <a:lnTo>
                    <a:pt x="835" y="1236"/>
                  </a:lnTo>
                  <a:lnTo>
                    <a:pt x="835" y="1236"/>
                  </a:lnTo>
                  <a:lnTo>
                    <a:pt x="835" y="1236"/>
                  </a:lnTo>
                  <a:lnTo>
                    <a:pt x="835" y="1236"/>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6"/>
                  </a:lnTo>
                  <a:lnTo>
                    <a:pt x="846" y="1226"/>
                  </a:lnTo>
                  <a:lnTo>
                    <a:pt x="846" y="1226"/>
                  </a:lnTo>
                  <a:lnTo>
                    <a:pt x="847" y="1226"/>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8" y="1220"/>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1220"/>
                  </a:lnTo>
                  <a:lnTo>
                    <a:pt x="851" y="1220"/>
                  </a:lnTo>
                  <a:lnTo>
                    <a:pt x="851" y="899"/>
                  </a:lnTo>
                  <a:lnTo>
                    <a:pt x="851" y="89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1211"/>
                  </a:lnTo>
                  <a:lnTo>
                    <a:pt x="887" y="1211"/>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1207"/>
                  </a:lnTo>
                  <a:lnTo>
                    <a:pt x="899" y="1207"/>
                  </a:lnTo>
                  <a:lnTo>
                    <a:pt x="899" y="1207"/>
                  </a:lnTo>
                  <a:lnTo>
                    <a:pt x="899" y="1207"/>
                  </a:lnTo>
                  <a:lnTo>
                    <a:pt x="899" y="1207"/>
                  </a:lnTo>
                  <a:lnTo>
                    <a:pt x="899" y="1207"/>
                  </a:lnTo>
                  <a:lnTo>
                    <a:pt x="899" y="1207"/>
                  </a:lnTo>
                  <a:lnTo>
                    <a:pt x="900" y="1207"/>
                  </a:lnTo>
                  <a:lnTo>
                    <a:pt x="900" y="1207"/>
                  </a:lnTo>
                  <a:lnTo>
                    <a:pt x="900" y="1207"/>
                  </a:lnTo>
                  <a:lnTo>
                    <a:pt x="900" y="1207"/>
                  </a:lnTo>
                  <a:lnTo>
                    <a:pt x="902" y="1207"/>
                  </a:lnTo>
                  <a:lnTo>
                    <a:pt x="902" y="1207"/>
                  </a:lnTo>
                  <a:lnTo>
                    <a:pt x="907" y="1207"/>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1192"/>
                  </a:lnTo>
                  <a:lnTo>
                    <a:pt x="934" y="1192"/>
                  </a:lnTo>
                  <a:lnTo>
                    <a:pt x="934" y="1192"/>
                  </a:lnTo>
                  <a:lnTo>
                    <a:pt x="935" y="1192"/>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9" y="1186"/>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1175"/>
                  </a:lnTo>
                  <a:lnTo>
                    <a:pt x="957" y="1175"/>
                  </a:lnTo>
                  <a:lnTo>
                    <a:pt x="957" y="1175"/>
                  </a:lnTo>
                  <a:lnTo>
                    <a:pt x="958" y="1175"/>
                  </a:lnTo>
                  <a:lnTo>
                    <a:pt x="958" y="1175"/>
                  </a:lnTo>
                  <a:lnTo>
                    <a:pt x="965" y="1175"/>
                  </a:lnTo>
                  <a:lnTo>
                    <a:pt x="965" y="1175"/>
                  </a:lnTo>
                  <a:lnTo>
                    <a:pt x="989" y="1175"/>
                  </a:lnTo>
                  <a:lnTo>
                    <a:pt x="989" y="1175"/>
                  </a:lnTo>
                  <a:lnTo>
                    <a:pt x="989" y="1175"/>
                  </a:lnTo>
                  <a:lnTo>
                    <a:pt x="989" y="1173"/>
                  </a:lnTo>
                  <a:lnTo>
                    <a:pt x="989" y="1173"/>
                  </a:lnTo>
                  <a:lnTo>
                    <a:pt x="989" y="1173"/>
                  </a:lnTo>
                  <a:lnTo>
                    <a:pt x="989" y="1173"/>
                  </a:lnTo>
                  <a:lnTo>
                    <a:pt x="989" y="1173"/>
                  </a:lnTo>
                  <a:lnTo>
                    <a:pt x="989" y="1173"/>
                  </a:lnTo>
                  <a:lnTo>
                    <a:pt x="989" y="1173"/>
                  </a:lnTo>
                  <a:lnTo>
                    <a:pt x="989" y="1173"/>
                  </a:lnTo>
                  <a:lnTo>
                    <a:pt x="989" y="1173"/>
                  </a:lnTo>
                  <a:lnTo>
                    <a:pt x="990" y="1173"/>
                  </a:lnTo>
                  <a:lnTo>
                    <a:pt x="990" y="1173"/>
                  </a:lnTo>
                  <a:lnTo>
                    <a:pt x="991" y="1173"/>
                  </a:lnTo>
                  <a:lnTo>
                    <a:pt x="991" y="1173"/>
                  </a:lnTo>
                  <a:lnTo>
                    <a:pt x="1002" y="1173"/>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1167"/>
                  </a:lnTo>
                  <a:lnTo>
                    <a:pt x="1003" y="1167"/>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6" y="1155"/>
                  </a:lnTo>
                  <a:lnTo>
                    <a:pt x="1006" y="1155"/>
                  </a:lnTo>
                  <a:lnTo>
                    <a:pt x="1006" y="1155"/>
                  </a:lnTo>
                  <a:lnTo>
                    <a:pt x="1006" y="1155"/>
                  </a:lnTo>
                  <a:lnTo>
                    <a:pt x="1007" y="1155"/>
                  </a:lnTo>
                  <a:lnTo>
                    <a:pt x="1007" y="1155"/>
                  </a:lnTo>
                  <a:lnTo>
                    <a:pt x="1008" y="1155"/>
                  </a:lnTo>
                  <a:lnTo>
                    <a:pt x="1008" y="1155"/>
                  </a:lnTo>
                  <a:lnTo>
                    <a:pt x="1009" y="1155"/>
                  </a:lnTo>
                  <a:lnTo>
                    <a:pt x="1009" y="1155"/>
                  </a:lnTo>
                  <a:lnTo>
                    <a:pt x="1010" y="1155"/>
                  </a:lnTo>
                  <a:lnTo>
                    <a:pt x="1010" y="1155"/>
                  </a:lnTo>
                  <a:lnTo>
                    <a:pt x="1011" y="1155"/>
                  </a:lnTo>
                  <a:lnTo>
                    <a:pt x="1011" y="1155"/>
                  </a:lnTo>
                  <a:lnTo>
                    <a:pt x="1013" y="1155"/>
                  </a:lnTo>
                  <a:lnTo>
                    <a:pt x="1013" y="1155"/>
                  </a:lnTo>
                  <a:lnTo>
                    <a:pt x="1015" y="1155"/>
                  </a:lnTo>
                  <a:lnTo>
                    <a:pt x="1015" y="1155"/>
                  </a:lnTo>
                  <a:lnTo>
                    <a:pt x="1017" y="1155"/>
                  </a:lnTo>
                  <a:lnTo>
                    <a:pt x="1017" y="1155"/>
                  </a:lnTo>
                  <a:lnTo>
                    <a:pt x="1020" y="1155"/>
                  </a:lnTo>
                  <a:lnTo>
                    <a:pt x="1020" y="1155"/>
                  </a:lnTo>
                  <a:lnTo>
                    <a:pt x="1023" y="1155"/>
                  </a:lnTo>
                  <a:lnTo>
                    <a:pt x="1023" y="1155"/>
                  </a:lnTo>
                  <a:lnTo>
                    <a:pt x="1028" y="1155"/>
                  </a:lnTo>
                  <a:lnTo>
                    <a:pt x="1028" y="1155"/>
                  </a:lnTo>
                  <a:lnTo>
                    <a:pt x="1037" y="1155"/>
                  </a:lnTo>
                  <a:lnTo>
                    <a:pt x="1037" y="1155"/>
                  </a:lnTo>
                  <a:lnTo>
                    <a:pt x="1037" y="1155"/>
                  </a:lnTo>
                  <a:lnTo>
                    <a:pt x="1037" y="1155"/>
                  </a:lnTo>
                  <a:lnTo>
                    <a:pt x="1037" y="1155"/>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899"/>
                  </a:lnTo>
                  <a:lnTo>
                    <a:pt x="1061" y="899"/>
                  </a:lnTo>
                  <a:lnTo>
                    <a:pt x="1061" y="899"/>
                  </a:lnTo>
                  <a:lnTo>
                    <a:pt x="1061" y="899"/>
                  </a:lnTo>
                  <a:lnTo>
                    <a:pt x="1061" y="1150"/>
                  </a:lnTo>
                  <a:lnTo>
                    <a:pt x="1062" y="1150"/>
                  </a:lnTo>
                  <a:lnTo>
                    <a:pt x="1062" y="1150"/>
                  </a:lnTo>
                  <a:lnTo>
                    <a:pt x="1067" y="1150"/>
                  </a:lnTo>
                  <a:lnTo>
                    <a:pt x="1067" y="1148"/>
                  </a:lnTo>
                  <a:lnTo>
                    <a:pt x="1067" y="1148"/>
                  </a:lnTo>
                  <a:lnTo>
                    <a:pt x="1067" y="1148"/>
                  </a:lnTo>
                  <a:lnTo>
                    <a:pt x="1067" y="1148"/>
                  </a:lnTo>
                  <a:lnTo>
                    <a:pt x="1067" y="1148"/>
                  </a:lnTo>
                  <a:lnTo>
                    <a:pt x="1069" y="1148"/>
                  </a:lnTo>
                  <a:lnTo>
                    <a:pt x="1069" y="1146"/>
                  </a:lnTo>
                  <a:lnTo>
                    <a:pt x="1069" y="1146"/>
                  </a:lnTo>
                  <a:lnTo>
                    <a:pt x="1069" y="1146"/>
                  </a:lnTo>
                  <a:lnTo>
                    <a:pt x="1069" y="1146"/>
                  </a:lnTo>
                  <a:lnTo>
                    <a:pt x="1069" y="1143"/>
                  </a:lnTo>
                  <a:lnTo>
                    <a:pt x="1069" y="1143"/>
                  </a:lnTo>
                  <a:lnTo>
                    <a:pt x="1069" y="1143"/>
                  </a:lnTo>
                  <a:lnTo>
                    <a:pt x="1069" y="1143"/>
                  </a:lnTo>
                  <a:lnTo>
                    <a:pt x="1069" y="1143"/>
                  </a:lnTo>
                  <a:lnTo>
                    <a:pt x="1069" y="1143"/>
                  </a:lnTo>
                  <a:lnTo>
                    <a:pt x="1069" y="1143"/>
                  </a:lnTo>
                  <a:lnTo>
                    <a:pt x="1069" y="1143"/>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1134"/>
                  </a:lnTo>
                  <a:lnTo>
                    <a:pt x="1181" y="1134"/>
                  </a:lnTo>
                  <a:lnTo>
                    <a:pt x="1181" y="899"/>
                  </a:lnTo>
                  <a:lnTo>
                    <a:pt x="1181" y="899"/>
                  </a:lnTo>
                  <a:lnTo>
                    <a:pt x="1181" y="899"/>
                  </a:lnTo>
                  <a:lnTo>
                    <a:pt x="1181" y="899"/>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2" y="1133"/>
                  </a:lnTo>
                  <a:lnTo>
                    <a:pt x="1182" y="1133"/>
                  </a:lnTo>
                  <a:lnTo>
                    <a:pt x="1182" y="1133"/>
                  </a:lnTo>
                  <a:lnTo>
                    <a:pt x="1182" y="1133"/>
                  </a:lnTo>
                  <a:lnTo>
                    <a:pt x="1182" y="1133"/>
                  </a:lnTo>
                  <a:lnTo>
                    <a:pt x="1182" y="1133"/>
                  </a:lnTo>
                  <a:lnTo>
                    <a:pt x="1183" y="1133"/>
                  </a:lnTo>
                  <a:lnTo>
                    <a:pt x="1183" y="1133"/>
                  </a:lnTo>
                  <a:lnTo>
                    <a:pt x="1184" y="1133"/>
                  </a:lnTo>
                  <a:lnTo>
                    <a:pt x="1184" y="1133"/>
                  </a:lnTo>
                  <a:lnTo>
                    <a:pt x="1185" y="1133"/>
                  </a:lnTo>
                  <a:lnTo>
                    <a:pt x="1185" y="1133"/>
                  </a:lnTo>
                  <a:lnTo>
                    <a:pt x="1186" y="1133"/>
                  </a:lnTo>
                  <a:lnTo>
                    <a:pt x="1186" y="1133"/>
                  </a:lnTo>
                  <a:lnTo>
                    <a:pt x="1190" y="1133"/>
                  </a:lnTo>
                  <a:lnTo>
                    <a:pt x="1190" y="1133"/>
                  </a:lnTo>
                  <a:lnTo>
                    <a:pt x="1195" y="1133"/>
                  </a:lnTo>
                  <a:lnTo>
                    <a:pt x="1195" y="1133"/>
                  </a:lnTo>
                  <a:lnTo>
                    <a:pt x="1202" y="1133"/>
                  </a:lnTo>
                  <a:lnTo>
                    <a:pt x="1202" y="1133"/>
                  </a:lnTo>
                  <a:lnTo>
                    <a:pt x="1213" y="1133"/>
                  </a:lnTo>
                  <a:lnTo>
                    <a:pt x="1213" y="1133"/>
                  </a:lnTo>
                  <a:lnTo>
                    <a:pt x="1223" y="1133"/>
                  </a:lnTo>
                  <a:lnTo>
                    <a:pt x="1223" y="1132"/>
                  </a:lnTo>
                  <a:lnTo>
                    <a:pt x="1223" y="1132"/>
                  </a:lnTo>
                  <a:lnTo>
                    <a:pt x="1223" y="1132"/>
                  </a:lnTo>
                  <a:lnTo>
                    <a:pt x="1223" y="1132"/>
                  </a:lnTo>
                  <a:lnTo>
                    <a:pt x="1223" y="1132"/>
                  </a:lnTo>
                  <a:lnTo>
                    <a:pt x="1223" y="1132"/>
                  </a:lnTo>
                  <a:lnTo>
                    <a:pt x="1223" y="1132"/>
                  </a:lnTo>
                  <a:lnTo>
                    <a:pt x="1223" y="1132"/>
                  </a:lnTo>
                  <a:lnTo>
                    <a:pt x="1223" y="1131"/>
                  </a:lnTo>
                  <a:lnTo>
                    <a:pt x="1223" y="1131"/>
                  </a:lnTo>
                  <a:lnTo>
                    <a:pt x="1223" y="1131"/>
                  </a:lnTo>
                  <a:lnTo>
                    <a:pt x="1224" y="1131"/>
                  </a:lnTo>
                  <a:lnTo>
                    <a:pt x="1224" y="1131"/>
                  </a:lnTo>
                  <a:lnTo>
                    <a:pt x="1224" y="1131"/>
                  </a:lnTo>
                  <a:lnTo>
                    <a:pt x="1224" y="1131"/>
                  </a:lnTo>
                  <a:lnTo>
                    <a:pt x="1224" y="1131"/>
                  </a:lnTo>
                  <a:lnTo>
                    <a:pt x="1224" y="1129"/>
                  </a:lnTo>
                  <a:lnTo>
                    <a:pt x="1225" y="1129"/>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1124"/>
                  </a:lnTo>
                  <a:lnTo>
                    <a:pt x="1249" y="1124"/>
                  </a:lnTo>
                  <a:lnTo>
                    <a:pt x="1249" y="1123"/>
                  </a:lnTo>
                  <a:lnTo>
                    <a:pt x="1249" y="1123"/>
                  </a:lnTo>
                  <a:lnTo>
                    <a:pt x="1249" y="1123"/>
                  </a:lnTo>
                  <a:lnTo>
                    <a:pt x="1249" y="1123"/>
                  </a:lnTo>
                  <a:lnTo>
                    <a:pt x="1249" y="1123"/>
                  </a:lnTo>
                  <a:lnTo>
                    <a:pt x="1249" y="1123"/>
                  </a:lnTo>
                  <a:lnTo>
                    <a:pt x="1249" y="1123"/>
                  </a:lnTo>
                  <a:lnTo>
                    <a:pt x="1250" y="1123"/>
                  </a:lnTo>
                  <a:lnTo>
                    <a:pt x="1250" y="1123"/>
                  </a:lnTo>
                  <a:lnTo>
                    <a:pt x="1250" y="1123"/>
                  </a:lnTo>
                  <a:lnTo>
                    <a:pt x="1250" y="1123"/>
                  </a:lnTo>
                  <a:lnTo>
                    <a:pt x="1250" y="1123"/>
                  </a:lnTo>
                  <a:lnTo>
                    <a:pt x="1250" y="1123"/>
                  </a:lnTo>
                  <a:lnTo>
                    <a:pt x="1250" y="1123"/>
                  </a:lnTo>
                  <a:lnTo>
                    <a:pt x="1250" y="1123"/>
                  </a:lnTo>
                  <a:lnTo>
                    <a:pt x="1251" y="1123"/>
                  </a:lnTo>
                  <a:lnTo>
                    <a:pt x="1251" y="1123"/>
                  </a:lnTo>
                  <a:lnTo>
                    <a:pt x="1251" y="1123"/>
                  </a:lnTo>
                  <a:lnTo>
                    <a:pt x="1251" y="1123"/>
                  </a:lnTo>
                  <a:lnTo>
                    <a:pt x="1252" y="1123"/>
                  </a:lnTo>
                  <a:lnTo>
                    <a:pt x="1252" y="1123"/>
                  </a:lnTo>
                  <a:lnTo>
                    <a:pt x="1253" y="1123"/>
                  </a:lnTo>
                  <a:lnTo>
                    <a:pt x="1253" y="1123"/>
                  </a:lnTo>
                  <a:lnTo>
                    <a:pt x="1255" y="1123"/>
                  </a:lnTo>
                  <a:lnTo>
                    <a:pt x="1255" y="1123"/>
                  </a:lnTo>
                  <a:lnTo>
                    <a:pt x="1259" y="1123"/>
                  </a:lnTo>
                  <a:lnTo>
                    <a:pt x="1259" y="1123"/>
                  </a:lnTo>
                  <a:lnTo>
                    <a:pt x="1263" y="1123"/>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1114"/>
                  </a:lnTo>
                  <a:lnTo>
                    <a:pt x="1333" y="1114"/>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1110"/>
                  </a:lnTo>
                  <a:lnTo>
                    <a:pt x="1337" y="1110"/>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1"/>
                  </a:lnTo>
                  <a:lnTo>
                    <a:pt x="1354" y="1101"/>
                  </a:lnTo>
                  <a:lnTo>
                    <a:pt x="1354" y="1100"/>
                  </a:lnTo>
                  <a:lnTo>
                    <a:pt x="1354" y="1100"/>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899"/>
                  </a:lnTo>
                  <a:lnTo>
                    <a:pt x="1359" y="899"/>
                  </a:lnTo>
                  <a:lnTo>
                    <a:pt x="1359" y="899"/>
                  </a:lnTo>
                  <a:lnTo>
                    <a:pt x="1359" y="899"/>
                  </a:lnTo>
                  <a:lnTo>
                    <a:pt x="1359" y="899"/>
                  </a:lnTo>
                  <a:lnTo>
                    <a:pt x="1359" y="899"/>
                  </a:lnTo>
                  <a:lnTo>
                    <a:pt x="1359" y="899"/>
                  </a:lnTo>
                  <a:lnTo>
                    <a:pt x="1359" y="899"/>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899"/>
                  </a:lnTo>
                  <a:lnTo>
                    <a:pt x="1366" y="899"/>
                  </a:lnTo>
                  <a:lnTo>
                    <a:pt x="1366" y="899"/>
                  </a:lnTo>
                  <a:lnTo>
                    <a:pt x="1366" y="899"/>
                  </a:lnTo>
                  <a:lnTo>
                    <a:pt x="1366" y="899"/>
                  </a:lnTo>
                  <a:lnTo>
                    <a:pt x="1366" y="899"/>
                  </a:lnTo>
                  <a:lnTo>
                    <a:pt x="1366" y="1088"/>
                  </a:lnTo>
                  <a:lnTo>
                    <a:pt x="1366" y="1088"/>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7" y="1083"/>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899"/>
                  </a:lnTo>
                  <a:lnTo>
                    <a:pt x="1369" y="899"/>
                  </a:lnTo>
                  <a:lnTo>
                    <a:pt x="1369" y="899"/>
                  </a:lnTo>
                  <a:lnTo>
                    <a:pt x="1369" y="899"/>
                  </a:lnTo>
                  <a:lnTo>
                    <a:pt x="1369" y="899"/>
                  </a:lnTo>
                  <a:lnTo>
                    <a:pt x="1369" y="899"/>
                  </a:lnTo>
                  <a:lnTo>
                    <a:pt x="1369" y="1076"/>
                  </a:lnTo>
                  <a:lnTo>
                    <a:pt x="1369" y="1076"/>
                  </a:lnTo>
                  <a:lnTo>
                    <a:pt x="1369" y="1074"/>
                  </a:lnTo>
                  <a:lnTo>
                    <a:pt x="1369" y="1074"/>
                  </a:lnTo>
                  <a:lnTo>
                    <a:pt x="1369" y="1074"/>
                  </a:lnTo>
                  <a:lnTo>
                    <a:pt x="1370" y="1074"/>
                  </a:lnTo>
                  <a:lnTo>
                    <a:pt x="1370" y="1074"/>
                  </a:lnTo>
                  <a:lnTo>
                    <a:pt x="1375" y="1074"/>
                  </a:lnTo>
                  <a:lnTo>
                    <a:pt x="1375" y="1074"/>
                  </a:lnTo>
                  <a:lnTo>
                    <a:pt x="1375" y="1074"/>
                  </a:lnTo>
                  <a:lnTo>
                    <a:pt x="1375" y="1073"/>
                  </a:lnTo>
                  <a:lnTo>
                    <a:pt x="1375" y="1073"/>
                  </a:lnTo>
                  <a:lnTo>
                    <a:pt x="1375" y="1072"/>
                  </a:lnTo>
                  <a:lnTo>
                    <a:pt x="1380" y="1072"/>
                  </a:lnTo>
                  <a:lnTo>
                    <a:pt x="1380" y="1069"/>
                  </a:lnTo>
                  <a:lnTo>
                    <a:pt x="1381" y="1069"/>
                  </a:lnTo>
                  <a:lnTo>
                    <a:pt x="1381" y="1069"/>
                  </a:lnTo>
                  <a:lnTo>
                    <a:pt x="1382" y="1069"/>
                  </a:lnTo>
                  <a:lnTo>
                    <a:pt x="1382" y="1069"/>
                  </a:lnTo>
                  <a:lnTo>
                    <a:pt x="1385" y="1069"/>
                  </a:lnTo>
                  <a:lnTo>
                    <a:pt x="1385" y="1068"/>
                  </a:lnTo>
                  <a:lnTo>
                    <a:pt x="1385" y="1068"/>
                  </a:lnTo>
                  <a:lnTo>
                    <a:pt x="1385" y="1064"/>
                  </a:lnTo>
                  <a:lnTo>
                    <a:pt x="1385" y="1064"/>
                  </a:lnTo>
                  <a:lnTo>
                    <a:pt x="1385" y="1064"/>
                  </a:lnTo>
                  <a:lnTo>
                    <a:pt x="1386" y="1064"/>
                  </a:lnTo>
                  <a:lnTo>
                    <a:pt x="1386" y="1064"/>
                  </a:lnTo>
                  <a:lnTo>
                    <a:pt x="1387" y="1064"/>
                  </a:lnTo>
                  <a:lnTo>
                    <a:pt x="1387" y="1064"/>
                  </a:lnTo>
                  <a:lnTo>
                    <a:pt x="1387" y="1064"/>
                  </a:lnTo>
                  <a:lnTo>
                    <a:pt x="1387" y="1064"/>
                  </a:lnTo>
                  <a:lnTo>
                    <a:pt x="1387" y="1064"/>
                  </a:lnTo>
                  <a:lnTo>
                    <a:pt x="1387" y="1064"/>
                  </a:lnTo>
                  <a:lnTo>
                    <a:pt x="1387" y="1064"/>
                  </a:lnTo>
                  <a:lnTo>
                    <a:pt x="1387" y="1064"/>
                  </a:lnTo>
                  <a:lnTo>
                    <a:pt x="1388" y="1064"/>
                  </a:lnTo>
                  <a:lnTo>
                    <a:pt x="1388" y="1064"/>
                  </a:lnTo>
                  <a:lnTo>
                    <a:pt x="1388" y="1064"/>
                  </a:lnTo>
                  <a:lnTo>
                    <a:pt x="1388" y="1063"/>
                  </a:lnTo>
                  <a:lnTo>
                    <a:pt x="1388" y="1063"/>
                  </a:lnTo>
                  <a:lnTo>
                    <a:pt x="1388" y="1063"/>
                  </a:lnTo>
                  <a:lnTo>
                    <a:pt x="1388" y="1063"/>
                  </a:lnTo>
                  <a:lnTo>
                    <a:pt x="1388" y="1062"/>
                  </a:lnTo>
                  <a:lnTo>
                    <a:pt x="1388" y="1062"/>
                  </a:lnTo>
                  <a:lnTo>
                    <a:pt x="1388" y="1061"/>
                  </a:lnTo>
                  <a:lnTo>
                    <a:pt x="1388" y="1061"/>
                  </a:lnTo>
                  <a:lnTo>
                    <a:pt x="1388" y="1061"/>
                  </a:lnTo>
                  <a:lnTo>
                    <a:pt x="1389" y="1061"/>
                  </a:lnTo>
                  <a:lnTo>
                    <a:pt x="1389" y="1061"/>
                  </a:lnTo>
                  <a:lnTo>
                    <a:pt x="1389" y="1061"/>
                  </a:lnTo>
                  <a:lnTo>
                    <a:pt x="1389" y="1061"/>
                  </a:lnTo>
                  <a:lnTo>
                    <a:pt x="1390" y="1061"/>
                  </a:lnTo>
                  <a:lnTo>
                    <a:pt x="1390" y="1060"/>
                  </a:lnTo>
                  <a:lnTo>
                    <a:pt x="1390" y="1060"/>
                  </a:lnTo>
                  <a:lnTo>
                    <a:pt x="1390" y="1060"/>
                  </a:lnTo>
                  <a:lnTo>
                    <a:pt x="1390" y="1060"/>
                  </a:lnTo>
                  <a:lnTo>
                    <a:pt x="1390" y="1060"/>
                  </a:lnTo>
                  <a:lnTo>
                    <a:pt x="1390" y="1060"/>
                  </a:lnTo>
                  <a:lnTo>
                    <a:pt x="1390" y="1060"/>
                  </a:lnTo>
                  <a:lnTo>
                    <a:pt x="1390" y="1060"/>
                  </a:lnTo>
                  <a:lnTo>
                    <a:pt x="1390"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2" y="1060"/>
                  </a:lnTo>
                  <a:lnTo>
                    <a:pt x="1392" y="1060"/>
                  </a:lnTo>
                  <a:lnTo>
                    <a:pt x="1396" y="1060"/>
                  </a:lnTo>
                  <a:lnTo>
                    <a:pt x="1396" y="1059"/>
                  </a:lnTo>
                  <a:lnTo>
                    <a:pt x="1396" y="1059"/>
                  </a:lnTo>
                  <a:lnTo>
                    <a:pt x="1396" y="1059"/>
                  </a:lnTo>
                  <a:lnTo>
                    <a:pt x="1397" y="1059"/>
                  </a:lnTo>
                  <a:lnTo>
                    <a:pt x="1397" y="1059"/>
                  </a:lnTo>
                  <a:lnTo>
                    <a:pt x="1399" y="1059"/>
                  </a:lnTo>
                  <a:lnTo>
                    <a:pt x="1399" y="1059"/>
                  </a:lnTo>
                  <a:lnTo>
                    <a:pt x="1399" y="1059"/>
                  </a:lnTo>
                  <a:lnTo>
                    <a:pt x="1399" y="1057"/>
                  </a:lnTo>
                  <a:lnTo>
                    <a:pt x="1399" y="1057"/>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1049"/>
                  </a:lnTo>
                  <a:lnTo>
                    <a:pt x="1408" y="104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1046"/>
                  </a:lnTo>
                  <a:lnTo>
                    <a:pt x="1410" y="1046"/>
                  </a:lnTo>
                  <a:lnTo>
                    <a:pt x="1410" y="1046"/>
                  </a:lnTo>
                  <a:lnTo>
                    <a:pt x="1410" y="1046"/>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1043"/>
                  </a:lnTo>
                  <a:lnTo>
                    <a:pt x="1413" y="1043"/>
                  </a:lnTo>
                  <a:lnTo>
                    <a:pt x="1413" y="1043"/>
                  </a:lnTo>
                  <a:lnTo>
                    <a:pt x="1413" y="1043"/>
                  </a:lnTo>
                  <a:lnTo>
                    <a:pt x="1413" y="1043"/>
                  </a:lnTo>
                  <a:lnTo>
                    <a:pt x="1414" y="1043"/>
                  </a:lnTo>
                  <a:lnTo>
                    <a:pt x="1414" y="1043"/>
                  </a:lnTo>
                  <a:lnTo>
                    <a:pt x="1421" y="1043"/>
                  </a:lnTo>
                  <a:lnTo>
                    <a:pt x="1421" y="1042"/>
                  </a:lnTo>
                  <a:lnTo>
                    <a:pt x="1422" y="1042"/>
                  </a:lnTo>
                  <a:lnTo>
                    <a:pt x="1422" y="1042"/>
                  </a:lnTo>
                  <a:lnTo>
                    <a:pt x="1423" y="1042"/>
                  </a:lnTo>
                  <a:lnTo>
                    <a:pt x="1423" y="1042"/>
                  </a:lnTo>
                  <a:lnTo>
                    <a:pt x="1425" y="1042"/>
                  </a:lnTo>
                  <a:lnTo>
                    <a:pt x="1425" y="1042"/>
                  </a:lnTo>
                  <a:lnTo>
                    <a:pt x="1432" y="1042"/>
                  </a:lnTo>
                  <a:lnTo>
                    <a:pt x="1432" y="1042"/>
                  </a:lnTo>
                  <a:lnTo>
                    <a:pt x="1432" y="1042"/>
                  </a:lnTo>
                  <a:lnTo>
                    <a:pt x="1432" y="1042"/>
                  </a:lnTo>
                  <a:lnTo>
                    <a:pt x="1432" y="1042"/>
                  </a:lnTo>
                  <a:lnTo>
                    <a:pt x="1432" y="1042"/>
                  </a:lnTo>
                  <a:lnTo>
                    <a:pt x="1434" y="1042"/>
                  </a:lnTo>
                  <a:lnTo>
                    <a:pt x="1434" y="1041"/>
                  </a:lnTo>
                  <a:lnTo>
                    <a:pt x="1434" y="1041"/>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6" y="1040"/>
                  </a:lnTo>
                  <a:lnTo>
                    <a:pt x="1436" y="1040"/>
                  </a:lnTo>
                  <a:lnTo>
                    <a:pt x="1437" y="1040"/>
                  </a:lnTo>
                  <a:lnTo>
                    <a:pt x="1437" y="1040"/>
                  </a:lnTo>
                  <a:lnTo>
                    <a:pt x="1438" y="1040"/>
                  </a:lnTo>
                  <a:lnTo>
                    <a:pt x="1438" y="1039"/>
                  </a:lnTo>
                  <a:lnTo>
                    <a:pt x="1438" y="1039"/>
                  </a:lnTo>
                  <a:lnTo>
                    <a:pt x="1438" y="1039"/>
                  </a:lnTo>
                  <a:lnTo>
                    <a:pt x="1438" y="1039"/>
                  </a:lnTo>
                  <a:lnTo>
                    <a:pt x="1438" y="1038"/>
                  </a:lnTo>
                  <a:lnTo>
                    <a:pt x="1438" y="1038"/>
                  </a:lnTo>
                  <a:lnTo>
                    <a:pt x="1438" y="1038"/>
                  </a:lnTo>
                  <a:lnTo>
                    <a:pt x="1439" y="1038"/>
                  </a:lnTo>
                  <a:lnTo>
                    <a:pt x="1439" y="1038"/>
                  </a:lnTo>
                  <a:lnTo>
                    <a:pt x="1441" y="1038"/>
                  </a:lnTo>
                  <a:lnTo>
                    <a:pt x="1441" y="1038"/>
                  </a:lnTo>
                  <a:lnTo>
                    <a:pt x="1453" y="1038"/>
                  </a:lnTo>
                  <a:lnTo>
                    <a:pt x="1453" y="1038"/>
                  </a:lnTo>
                  <a:lnTo>
                    <a:pt x="1453" y="1038"/>
                  </a:lnTo>
                  <a:lnTo>
                    <a:pt x="1453" y="1037"/>
                  </a:lnTo>
                  <a:lnTo>
                    <a:pt x="1453" y="1037"/>
                  </a:lnTo>
                  <a:lnTo>
                    <a:pt x="1453" y="1037"/>
                  </a:lnTo>
                  <a:lnTo>
                    <a:pt x="1454" y="1037"/>
                  </a:lnTo>
                  <a:lnTo>
                    <a:pt x="1454" y="1036"/>
                  </a:lnTo>
                  <a:lnTo>
                    <a:pt x="1455" y="1036"/>
                  </a:lnTo>
                  <a:lnTo>
                    <a:pt x="1455" y="899"/>
                  </a:lnTo>
                  <a:lnTo>
                    <a:pt x="1455" y="899"/>
                  </a:lnTo>
                  <a:lnTo>
                    <a:pt x="1455" y="899"/>
                  </a:lnTo>
                  <a:lnTo>
                    <a:pt x="1455" y="899"/>
                  </a:lnTo>
                  <a:lnTo>
                    <a:pt x="1455" y="1036"/>
                  </a:lnTo>
                  <a:lnTo>
                    <a:pt x="1455" y="1036"/>
                  </a:lnTo>
                  <a:lnTo>
                    <a:pt x="1455" y="1036"/>
                  </a:lnTo>
                  <a:lnTo>
                    <a:pt x="1456" y="1036"/>
                  </a:lnTo>
                  <a:lnTo>
                    <a:pt x="1456" y="1036"/>
                  </a:lnTo>
                  <a:lnTo>
                    <a:pt x="1457" y="1036"/>
                  </a:lnTo>
                  <a:lnTo>
                    <a:pt x="1457" y="1035"/>
                  </a:lnTo>
                  <a:lnTo>
                    <a:pt x="1457" y="1035"/>
                  </a:lnTo>
                  <a:lnTo>
                    <a:pt x="1457" y="1035"/>
                  </a:lnTo>
                  <a:lnTo>
                    <a:pt x="1474" y="1035"/>
                  </a:lnTo>
                  <a:lnTo>
                    <a:pt x="1474" y="1034"/>
                  </a:lnTo>
                  <a:lnTo>
                    <a:pt x="1474" y="1034"/>
                  </a:lnTo>
                  <a:lnTo>
                    <a:pt x="1474" y="1034"/>
                  </a:lnTo>
                  <a:lnTo>
                    <a:pt x="1474" y="1034"/>
                  </a:lnTo>
                  <a:lnTo>
                    <a:pt x="1474" y="1033"/>
                  </a:lnTo>
                  <a:lnTo>
                    <a:pt x="1475" y="1033"/>
                  </a:lnTo>
                  <a:lnTo>
                    <a:pt x="1475" y="1033"/>
                  </a:lnTo>
                  <a:lnTo>
                    <a:pt x="1475" y="1033"/>
                  </a:lnTo>
                  <a:lnTo>
                    <a:pt x="1475" y="1032"/>
                  </a:lnTo>
                  <a:lnTo>
                    <a:pt x="1475" y="1032"/>
                  </a:lnTo>
                  <a:lnTo>
                    <a:pt x="1475" y="1032"/>
                  </a:lnTo>
                  <a:lnTo>
                    <a:pt x="1476" y="1032"/>
                  </a:lnTo>
                  <a:lnTo>
                    <a:pt x="1476" y="1032"/>
                  </a:lnTo>
                  <a:lnTo>
                    <a:pt x="1476" y="1032"/>
                  </a:lnTo>
                  <a:lnTo>
                    <a:pt x="1476" y="1031"/>
                  </a:lnTo>
                  <a:lnTo>
                    <a:pt x="1478" y="1031"/>
                  </a:lnTo>
                  <a:lnTo>
                    <a:pt x="1478" y="1029"/>
                  </a:lnTo>
                  <a:lnTo>
                    <a:pt x="1478" y="1029"/>
                  </a:lnTo>
                  <a:lnTo>
                    <a:pt x="1478" y="1029"/>
                  </a:lnTo>
                  <a:lnTo>
                    <a:pt x="1478" y="1029"/>
                  </a:lnTo>
                  <a:lnTo>
                    <a:pt x="1478" y="1029"/>
                  </a:lnTo>
                  <a:lnTo>
                    <a:pt x="1478" y="1029"/>
                  </a:lnTo>
                  <a:lnTo>
                    <a:pt x="1478" y="1029"/>
                  </a:lnTo>
                  <a:lnTo>
                    <a:pt x="1478" y="1029"/>
                  </a:lnTo>
                  <a:lnTo>
                    <a:pt x="1478" y="1028"/>
                  </a:lnTo>
                  <a:lnTo>
                    <a:pt x="1479" y="1028"/>
                  </a:lnTo>
                  <a:lnTo>
                    <a:pt x="1479" y="1027"/>
                  </a:lnTo>
                  <a:lnTo>
                    <a:pt x="1482" y="1027"/>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3" y="1026"/>
                  </a:lnTo>
                  <a:lnTo>
                    <a:pt x="1483" y="1026"/>
                  </a:lnTo>
                  <a:lnTo>
                    <a:pt x="1483" y="1026"/>
                  </a:lnTo>
                  <a:lnTo>
                    <a:pt x="1483" y="1026"/>
                  </a:lnTo>
                  <a:lnTo>
                    <a:pt x="1483" y="1026"/>
                  </a:lnTo>
                  <a:lnTo>
                    <a:pt x="1483" y="1025"/>
                  </a:lnTo>
                  <a:lnTo>
                    <a:pt x="1483" y="1025"/>
                  </a:lnTo>
                  <a:lnTo>
                    <a:pt x="1483" y="1024"/>
                  </a:lnTo>
                  <a:lnTo>
                    <a:pt x="1483" y="1024"/>
                  </a:lnTo>
                  <a:lnTo>
                    <a:pt x="1483" y="1024"/>
                  </a:lnTo>
                  <a:lnTo>
                    <a:pt x="1484" y="1024"/>
                  </a:lnTo>
                  <a:lnTo>
                    <a:pt x="1484" y="1021"/>
                  </a:lnTo>
                  <a:lnTo>
                    <a:pt x="1484" y="1021"/>
                  </a:lnTo>
                  <a:lnTo>
                    <a:pt x="1484" y="1020"/>
                  </a:lnTo>
                  <a:lnTo>
                    <a:pt x="1484" y="1020"/>
                  </a:lnTo>
                  <a:lnTo>
                    <a:pt x="1484" y="1020"/>
                  </a:lnTo>
                  <a:lnTo>
                    <a:pt x="1484" y="1020"/>
                  </a:lnTo>
                  <a:lnTo>
                    <a:pt x="1484" y="1020"/>
                  </a:lnTo>
                  <a:lnTo>
                    <a:pt x="1484" y="1020"/>
                  </a:lnTo>
                  <a:lnTo>
                    <a:pt x="1484" y="1019"/>
                  </a:lnTo>
                  <a:lnTo>
                    <a:pt x="1484" y="1019"/>
                  </a:lnTo>
                  <a:lnTo>
                    <a:pt x="1484" y="1017"/>
                  </a:lnTo>
                  <a:lnTo>
                    <a:pt x="1484" y="1017"/>
                  </a:lnTo>
                  <a:lnTo>
                    <a:pt x="1484" y="1017"/>
                  </a:lnTo>
                  <a:lnTo>
                    <a:pt x="1484" y="1017"/>
                  </a:lnTo>
                  <a:lnTo>
                    <a:pt x="1484" y="1017"/>
                  </a:lnTo>
                  <a:lnTo>
                    <a:pt x="1485" y="1017"/>
                  </a:lnTo>
                  <a:lnTo>
                    <a:pt x="1485" y="1016"/>
                  </a:lnTo>
                  <a:lnTo>
                    <a:pt x="1485" y="1016"/>
                  </a:lnTo>
                  <a:lnTo>
                    <a:pt x="1485" y="1016"/>
                  </a:lnTo>
                  <a:lnTo>
                    <a:pt x="1485" y="1016"/>
                  </a:lnTo>
                  <a:lnTo>
                    <a:pt x="1485" y="1014"/>
                  </a:lnTo>
                  <a:lnTo>
                    <a:pt x="1486" y="1014"/>
                  </a:lnTo>
                  <a:lnTo>
                    <a:pt x="1486" y="1014"/>
                  </a:lnTo>
                  <a:lnTo>
                    <a:pt x="1487" y="1014"/>
                  </a:lnTo>
                  <a:lnTo>
                    <a:pt x="1487" y="1014"/>
                  </a:lnTo>
                  <a:lnTo>
                    <a:pt x="1489" y="1014"/>
                  </a:lnTo>
                  <a:lnTo>
                    <a:pt x="1489" y="1014"/>
                  </a:lnTo>
                  <a:lnTo>
                    <a:pt x="1495" y="1014"/>
                  </a:lnTo>
                  <a:lnTo>
                    <a:pt x="1495" y="1012"/>
                  </a:lnTo>
                  <a:lnTo>
                    <a:pt x="1507" y="1012"/>
                  </a:lnTo>
                  <a:lnTo>
                    <a:pt x="1507" y="1012"/>
                  </a:lnTo>
                  <a:lnTo>
                    <a:pt x="1535" y="1012"/>
                  </a:lnTo>
                  <a:lnTo>
                    <a:pt x="1535" y="1011"/>
                  </a:lnTo>
                  <a:lnTo>
                    <a:pt x="1535" y="1011"/>
                  </a:lnTo>
                  <a:lnTo>
                    <a:pt x="1535" y="1011"/>
                  </a:lnTo>
                  <a:lnTo>
                    <a:pt x="1535" y="1011"/>
                  </a:lnTo>
                  <a:lnTo>
                    <a:pt x="1535" y="1011"/>
                  </a:lnTo>
                  <a:lnTo>
                    <a:pt x="1536" y="1011"/>
                  </a:lnTo>
                  <a:lnTo>
                    <a:pt x="1536" y="1011"/>
                  </a:lnTo>
                  <a:lnTo>
                    <a:pt x="1536" y="1011"/>
                  </a:lnTo>
                  <a:lnTo>
                    <a:pt x="1536" y="1011"/>
                  </a:lnTo>
                  <a:lnTo>
                    <a:pt x="1537" y="1011"/>
                  </a:lnTo>
                  <a:lnTo>
                    <a:pt x="1537" y="1011"/>
                  </a:lnTo>
                  <a:lnTo>
                    <a:pt x="1538" y="1011"/>
                  </a:lnTo>
                  <a:lnTo>
                    <a:pt x="1538" y="1011"/>
                  </a:lnTo>
                  <a:lnTo>
                    <a:pt x="1539" y="1011"/>
                  </a:lnTo>
                  <a:lnTo>
                    <a:pt x="1539" y="1011"/>
                  </a:lnTo>
                  <a:lnTo>
                    <a:pt x="1541" y="1011"/>
                  </a:lnTo>
                  <a:lnTo>
                    <a:pt x="1541" y="1011"/>
                  </a:lnTo>
                  <a:lnTo>
                    <a:pt x="1544" y="1011"/>
                  </a:lnTo>
                  <a:lnTo>
                    <a:pt x="1544" y="1011"/>
                  </a:lnTo>
                  <a:lnTo>
                    <a:pt x="1549" y="1011"/>
                  </a:lnTo>
                  <a:lnTo>
                    <a:pt x="1549" y="1011"/>
                  </a:lnTo>
                  <a:lnTo>
                    <a:pt x="1558" y="1011"/>
                  </a:lnTo>
                  <a:lnTo>
                    <a:pt x="1558" y="1011"/>
                  </a:lnTo>
                  <a:lnTo>
                    <a:pt x="1576" y="1011"/>
                  </a:lnTo>
                  <a:lnTo>
                    <a:pt x="1576" y="1011"/>
                  </a:lnTo>
                  <a:lnTo>
                    <a:pt x="1626" y="1011"/>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1007"/>
                  </a:lnTo>
                  <a:lnTo>
                    <a:pt x="1687" y="1007"/>
                  </a:lnTo>
                  <a:lnTo>
                    <a:pt x="1687" y="1007"/>
                  </a:lnTo>
                  <a:lnTo>
                    <a:pt x="1695" y="1007"/>
                  </a:lnTo>
                  <a:lnTo>
                    <a:pt x="1695" y="1006"/>
                  </a:lnTo>
                  <a:lnTo>
                    <a:pt x="1695" y="1006"/>
                  </a:lnTo>
                  <a:lnTo>
                    <a:pt x="1695" y="1006"/>
                  </a:lnTo>
                  <a:lnTo>
                    <a:pt x="1698" y="1006"/>
                  </a:lnTo>
                  <a:lnTo>
                    <a:pt x="1698" y="1005"/>
                  </a:lnTo>
                  <a:lnTo>
                    <a:pt x="1698" y="1005"/>
                  </a:lnTo>
                  <a:lnTo>
                    <a:pt x="1698" y="1005"/>
                  </a:lnTo>
                  <a:lnTo>
                    <a:pt x="1699" y="1005"/>
                  </a:lnTo>
                  <a:lnTo>
                    <a:pt x="1699" y="1004"/>
                  </a:lnTo>
                  <a:lnTo>
                    <a:pt x="1699" y="1004"/>
                  </a:lnTo>
                  <a:lnTo>
                    <a:pt x="1699" y="1004"/>
                  </a:lnTo>
                  <a:lnTo>
                    <a:pt x="1699" y="1004"/>
                  </a:lnTo>
                  <a:lnTo>
                    <a:pt x="1699" y="1003"/>
                  </a:lnTo>
                  <a:lnTo>
                    <a:pt x="1699" y="1003"/>
                  </a:lnTo>
                  <a:lnTo>
                    <a:pt x="1699" y="999"/>
                  </a:lnTo>
                  <a:lnTo>
                    <a:pt x="1699" y="999"/>
                  </a:lnTo>
                  <a:lnTo>
                    <a:pt x="1699" y="999"/>
                  </a:lnTo>
                  <a:lnTo>
                    <a:pt x="1699" y="999"/>
                  </a:lnTo>
                  <a:lnTo>
                    <a:pt x="1699" y="999"/>
                  </a:lnTo>
                  <a:lnTo>
                    <a:pt x="1699" y="999"/>
                  </a:lnTo>
                  <a:lnTo>
                    <a:pt x="1699" y="998"/>
                  </a:lnTo>
                  <a:lnTo>
                    <a:pt x="1699" y="998"/>
                  </a:lnTo>
                  <a:lnTo>
                    <a:pt x="1699" y="997"/>
                  </a:lnTo>
                  <a:lnTo>
                    <a:pt x="1700" y="997"/>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993"/>
                  </a:lnTo>
                  <a:lnTo>
                    <a:pt x="1702" y="993"/>
                  </a:lnTo>
                  <a:lnTo>
                    <a:pt x="1702" y="993"/>
                  </a:lnTo>
                  <a:lnTo>
                    <a:pt x="1703" y="993"/>
                  </a:lnTo>
                  <a:lnTo>
                    <a:pt x="1703" y="993"/>
                  </a:lnTo>
                  <a:lnTo>
                    <a:pt x="1703" y="993"/>
                  </a:lnTo>
                  <a:lnTo>
                    <a:pt x="1703" y="993"/>
                  </a:lnTo>
                  <a:lnTo>
                    <a:pt x="1706" y="993"/>
                  </a:lnTo>
                  <a:lnTo>
                    <a:pt x="1706" y="992"/>
                  </a:lnTo>
                  <a:lnTo>
                    <a:pt x="1706" y="992"/>
                  </a:lnTo>
                  <a:lnTo>
                    <a:pt x="1706" y="992"/>
                  </a:lnTo>
                  <a:lnTo>
                    <a:pt x="1737" y="992"/>
                  </a:lnTo>
                  <a:lnTo>
                    <a:pt x="1737" y="992"/>
                  </a:lnTo>
                  <a:lnTo>
                    <a:pt x="1799" y="992"/>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899"/>
                  </a:lnTo>
                  <a:lnTo>
                    <a:pt x="1800" y="899"/>
                  </a:lnTo>
                  <a:lnTo>
                    <a:pt x="1800" y="899"/>
                  </a:lnTo>
                  <a:lnTo>
                    <a:pt x="1800" y="899"/>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899"/>
                  </a:lnTo>
                  <a:lnTo>
                    <a:pt x="1801" y="899"/>
                  </a:lnTo>
                  <a:lnTo>
                    <a:pt x="1801" y="899"/>
                  </a:lnTo>
                  <a:lnTo>
                    <a:pt x="1801" y="899"/>
                  </a:lnTo>
                  <a:lnTo>
                    <a:pt x="1801" y="975"/>
                  </a:lnTo>
                  <a:lnTo>
                    <a:pt x="1801" y="975"/>
                  </a:lnTo>
                  <a:lnTo>
                    <a:pt x="1801" y="899"/>
                  </a:lnTo>
                  <a:lnTo>
                    <a:pt x="1802" y="899"/>
                  </a:lnTo>
                  <a:lnTo>
                    <a:pt x="1802" y="899"/>
                  </a:lnTo>
                  <a:lnTo>
                    <a:pt x="1802" y="899"/>
                  </a:lnTo>
                  <a:lnTo>
                    <a:pt x="1802" y="975"/>
                  </a:lnTo>
                  <a:lnTo>
                    <a:pt x="1803" y="975"/>
                  </a:lnTo>
                  <a:lnTo>
                    <a:pt x="1803" y="899"/>
                  </a:lnTo>
                  <a:lnTo>
                    <a:pt x="1804" y="899"/>
                  </a:lnTo>
                  <a:lnTo>
                    <a:pt x="1804" y="975"/>
                  </a:lnTo>
                  <a:lnTo>
                    <a:pt x="1808" y="975"/>
                  </a:lnTo>
                  <a:lnTo>
                    <a:pt x="1808" y="975"/>
                  </a:lnTo>
                  <a:lnTo>
                    <a:pt x="1814" y="975"/>
                  </a:lnTo>
                  <a:lnTo>
                    <a:pt x="1814" y="974"/>
                  </a:lnTo>
                  <a:lnTo>
                    <a:pt x="1814" y="974"/>
                  </a:lnTo>
                  <a:lnTo>
                    <a:pt x="1814" y="970"/>
                  </a:lnTo>
                  <a:lnTo>
                    <a:pt x="1814" y="970"/>
                  </a:lnTo>
                  <a:lnTo>
                    <a:pt x="1814" y="970"/>
                  </a:lnTo>
                  <a:lnTo>
                    <a:pt x="1814" y="970"/>
                  </a:lnTo>
                  <a:lnTo>
                    <a:pt x="1814" y="970"/>
                  </a:lnTo>
                  <a:lnTo>
                    <a:pt x="1815" y="970"/>
                  </a:lnTo>
                  <a:lnTo>
                    <a:pt x="1815" y="968"/>
                  </a:lnTo>
                  <a:lnTo>
                    <a:pt x="1817" y="968"/>
                  </a:lnTo>
                  <a:lnTo>
                    <a:pt x="1817" y="966"/>
                  </a:lnTo>
                  <a:lnTo>
                    <a:pt x="1817" y="966"/>
                  </a:lnTo>
                  <a:lnTo>
                    <a:pt x="1817" y="966"/>
                  </a:lnTo>
                  <a:lnTo>
                    <a:pt x="1820" y="966"/>
                  </a:lnTo>
                  <a:lnTo>
                    <a:pt x="1820" y="966"/>
                  </a:lnTo>
                  <a:lnTo>
                    <a:pt x="1844" y="966"/>
                  </a:lnTo>
                  <a:lnTo>
                    <a:pt x="1844" y="964"/>
                  </a:lnTo>
                  <a:lnTo>
                    <a:pt x="1845" y="964"/>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938"/>
                  </a:lnTo>
                  <a:lnTo>
                    <a:pt x="1901" y="938"/>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936"/>
                  </a:lnTo>
                  <a:lnTo>
                    <a:pt x="1903" y="936"/>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929"/>
                  </a:lnTo>
                  <a:lnTo>
                    <a:pt x="1927" y="929"/>
                  </a:lnTo>
                  <a:lnTo>
                    <a:pt x="1927" y="929"/>
                  </a:lnTo>
                  <a:lnTo>
                    <a:pt x="1929" y="929"/>
                  </a:lnTo>
                  <a:lnTo>
                    <a:pt x="1929" y="929"/>
                  </a:lnTo>
                  <a:lnTo>
                    <a:pt x="1936" y="929"/>
                  </a:lnTo>
                  <a:lnTo>
                    <a:pt x="1936" y="929"/>
                  </a:lnTo>
                  <a:lnTo>
                    <a:pt x="1943" y="92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899"/>
                  </a:lnTo>
                  <a:lnTo>
                    <a:pt x="1945" y="899"/>
                  </a:lnTo>
                  <a:lnTo>
                    <a:pt x="1945" y="899"/>
                  </a:lnTo>
                  <a:lnTo>
                    <a:pt x="1945" y="899"/>
                  </a:lnTo>
                  <a:lnTo>
                    <a:pt x="1945" y="899"/>
                  </a:lnTo>
                  <a:lnTo>
                    <a:pt x="1945" y="89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910"/>
                  </a:lnTo>
                  <a:lnTo>
                    <a:pt x="1963" y="910"/>
                  </a:lnTo>
                  <a:lnTo>
                    <a:pt x="1963" y="910"/>
                  </a:lnTo>
                  <a:lnTo>
                    <a:pt x="1968" y="910"/>
                  </a:lnTo>
                  <a:lnTo>
                    <a:pt x="1968" y="910"/>
                  </a:lnTo>
                  <a:lnTo>
                    <a:pt x="2021" y="910"/>
                  </a:lnTo>
                  <a:lnTo>
                    <a:pt x="2021" y="910"/>
                  </a:lnTo>
                  <a:lnTo>
                    <a:pt x="2032" y="910"/>
                  </a:lnTo>
                  <a:lnTo>
                    <a:pt x="2032" y="910"/>
                  </a:lnTo>
                  <a:lnTo>
                    <a:pt x="2055" y="910"/>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9"/>
                  </a:lnTo>
                  <a:lnTo>
                    <a:pt x="2058" y="899"/>
                  </a:lnTo>
                  <a:lnTo>
                    <a:pt x="2058" y="899"/>
                  </a:lnTo>
                  <a:lnTo>
                    <a:pt x="2058" y="899"/>
                  </a:lnTo>
                  <a:lnTo>
                    <a:pt x="2058" y="899"/>
                  </a:lnTo>
                  <a:lnTo>
                    <a:pt x="2058" y="899"/>
                  </a:lnTo>
                  <a:lnTo>
                    <a:pt x="2058" y="896"/>
                  </a:lnTo>
                  <a:lnTo>
                    <a:pt x="2059" y="896"/>
                  </a:lnTo>
                  <a:lnTo>
                    <a:pt x="2059" y="894"/>
                  </a:lnTo>
                  <a:lnTo>
                    <a:pt x="2059" y="894"/>
                  </a:lnTo>
                  <a:lnTo>
                    <a:pt x="2059" y="894"/>
                  </a:lnTo>
                  <a:lnTo>
                    <a:pt x="2059" y="894"/>
                  </a:lnTo>
                  <a:lnTo>
                    <a:pt x="2059" y="893"/>
                  </a:lnTo>
                  <a:lnTo>
                    <a:pt x="2059" y="893"/>
                  </a:lnTo>
                  <a:lnTo>
                    <a:pt x="2059" y="893"/>
                  </a:lnTo>
                  <a:lnTo>
                    <a:pt x="2059" y="893"/>
                  </a:lnTo>
                  <a:lnTo>
                    <a:pt x="2059" y="892"/>
                  </a:lnTo>
                  <a:lnTo>
                    <a:pt x="2059" y="892"/>
                  </a:lnTo>
                  <a:lnTo>
                    <a:pt x="2059" y="892"/>
                  </a:lnTo>
                  <a:lnTo>
                    <a:pt x="2059" y="892"/>
                  </a:lnTo>
                  <a:lnTo>
                    <a:pt x="2059" y="892"/>
                  </a:lnTo>
                  <a:lnTo>
                    <a:pt x="2060" y="892"/>
                  </a:lnTo>
                  <a:lnTo>
                    <a:pt x="2060" y="892"/>
                  </a:lnTo>
                  <a:lnTo>
                    <a:pt x="2060" y="892"/>
                  </a:lnTo>
                  <a:lnTo>
                    <a:pt x="2060" y="892"/>
                  </a:lnTo>
                  <a:lnTo>
                    <a:pt x="2061" y="892"/>
                  </a:lnTo>
                  <a:lnTo>
                    <a:pt x="2061" y="892"/>
                  </a:lnTo>
                  <a:lnTo>
                    <a:pt x="2064" y="892"/>
                  </a:lnTo>
                  <a:lnTo>
                    <a:pt x="2064" y="892"/>
                  </a:lnTo>
                  <a:lnTo>
                    <a:pt x="2077" y="892"/>
                  </a:lnTo>
                  <a:lnTo>
                    <a:pt x="2077" y="899"/>
                  </a:lnTo>
                  <a:lnTo>
                    <a:pt x="2077" y="899"/>
                  </a:lnTo>
                  <a:lnTo>
                    <a:pt x="2077" y="899"/>
                  </a:lnTo>
                  <a:lnTo>
                    <a:pt x="2077" y="899"/>
                  </a:lnTo>
                  <a:lnTo>
                    <a:pt x="2077" y="899"/>
                  </a:lnTo>
                  <a:lnTo>
                    <a:pt x="2077" y="899"/>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87"/>
                  </a:lnTo>
                  <a:lnTo>
                    <a:pt x="2079" y="887"/>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70"/>
                  </a:lnTo>
                  <a:lnTo>
                    <a:pt x="2152" y="870"/>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44"/>
                  </a:lnTo>
                  <a:lnTo>
                    <a:pt x="2185" y="844"/>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4"/>
                  </a:lnTo>
                  <a:lnTo>
                    <a:pt x="2215" y="834"/>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29"/>
                  </a:lnTo>
                  <a:lnTo>
                    <a:pt x="2217" y="829"/>
                  </a:lnTo>
                  <a:lnTo>
                    <a:pt x="2217" y="829"/>
                  </a:lnTo>
                  <a:lnTo>
                    <a:pt x="2217" y="82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99"/>
                  </a:lnTo>
                  <a:lnTo>
                    <a:pt x="2221" y="899"/>
                  </a:lnTo>
                  <a:lnTo>
                    <a:pt x="2221" y="899"/>
                  </a:lnTo>
                  <a:lnTo>
                    <a:pt x="2221" y="899"/>
                  </a:lnTo>
                  <a:lnTo>
                    <a:pt x="2221" y="899"/>
                  </a:lnTo>
                  <a:lnTo>
                    <a:pt x="2221" y="899"/>
                  </a:lnTo>
                  <a:lnTo>
                    <a:pt x="2221" y="899"/>
                  </a:lnTo>
                  <a:lnTo>
                    <a:pt x="2221" y="899"/>
                  </a:lnTo>
                  <a:lnTo>
                    <a:pt x="2221" y="820"/>
                  </a:lnTo>
                  <a:lnTo>
                    <a:pt x="2221" y="820"/>
                  </a:lnTo>
                  <a:lnTo>
                    <a:pt x="2221" y="820"/>
                  </a:lnTo>
                  <a:lnTo>
                    <a:pt x="2231" y="820"/>
                  </a:lnTo>
                  <a:lnTo>
                    <a:pt x="2231" y="818"/>
                  </a:lnTo>
                  <a:lnTo>
                    <a:pt x="2231" y="818"/>
                  </a:lnTo>
                  <a:lnTo>
                    <a:pt x="2231" y="818"/>
                  </a:lnTo>
                  <a:lnTo>
                    <a:pt x="2231" y="818"/>
                  </a:lnTo>
                  <a:lnTo>
                    <a:pt x="2231" y="818"/>
                  </a:lnTo>
                  <a:lnTo>
                    <a:pt x="2231" y="818"/>
                  </a:lnTo>
                  <a:lnTo>
                    <a:pt x="2231" y="818"/>
                  </a:lnTo>
                  <a:lnTo>
                    <a:pt x="2231" y="818"/>
                  </a:lnTo>
                  <a:lnTo>
                    <a:pt x="2231" y="818"/>
                  </a:lnTo>
                  <a:lnTo>
                    <a:pt x="2233" y="818"/>
                  </a:lnTo>
                  <a:lnTo>
                    <a:pt x="2233" y="818"/>
                  </a:lnTo>
                  <a:lnTo>
                    <a:pt x="2239" y="818"/>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07"/>
                  </a:lnTo>
                  <a:lnTo>
                    <a:pt x="2293" y="807"/>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04"/>
                  </a:lnTo>
                  <a:lnTo>
                    <a:pt x="2298" y="804"/>
                  </a:lnTo>
                  <a:lnTo>
                    <a:pt x="2298" y="801"/>
                  </a:lnTo>
                  <a:lnTo>
                    <a:pt x="2299" y="801"/>
                  </a:lnTo>
                  <a:lnTo>
                    <a:pt x="2299" y="800"/>
                  </a:lnTo>
                  <a:lnTo>
                    <a:pt x="2308" y="800"/>
                  </a:lnTo>
                  <a:lnTo>
                    <a:pt x="2308" y="799"/>
                  </a:lnTo>
                  <a:lnTo>
                    <a:pt x="2311" y="799"/>
                  </a:lnTo>
                  <a:lnTo>
                    <a:pt x="2311" y="799"/>
                  </a:lnTo>
                  <a:lnTo>
                    <a:pt x="2350" y="799"/>
                  </a:lnTo>
                  <a:lnTo>
                    <a:pt x="2350" y="798"/>
                  </a:lnTo>
                  <a:lnTo>
                    <a:pt x="2350" y="798"/>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899"/>
                  </a:lnTo>
                  <a:lnTo>
                    <a:pt x="2471" y="899"/>
                  </a:lnTo>
                  <a:lnTo>
                    <a:pt x="2471" y="899"/>
                  </a:lnTo>
                  <a:lnTo>
                    <a:pt x="2471" y="89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782"/>
                  </a:lnTo>
                  <a:lnTo>
                    <a:pt x="2526" y="782"/>
                  </a:lnTo>
                  <a:lnTo>
                    <a:pt x="2526" y="780"/>
                  </a:lnTo>
                  <a:lnTo>
                    <a:pt x="2526" y="780"/>
                  </a:lnTo>
                  <a:lnTo>
                    <a:pt x="2526" y="780"/>
                  </a:lnTo>
                  <a:lnTo>
                    <a:pt x="2526" y="780"/>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899"/>
                  </a:lnTo>
                  <a:lnTo>
                    <a:pt x="2531" y="899"/>
                  </a:lnTo>
                  <a:lnTo>
                    <a:pt x="2531" y="899"/>
                  </a:lnTo>
                  <a:lnTo>
                    <a:pt x="2531" y="899"/>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760"/>
                  </a:lnTo>
                  <a:lnTo>
                    <a:pt x="2630" y="760"/>
                  </a:lnTo>
                  <a:lnTo>
                    <a:pt x="2630" y="899"/>
                  </a:lnTo>
                  <a:lnTo>
                    <a:pt x="2630" y="899"/>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899"/>
                  </a:lnTo>
                  <a:lnTo>
                    <a:pt x="2645" y="899"/>
                  </a:lnTo>
                  <a:lnTo>
                    <a:pt x="2645" y="899"/>
                  </a:lnTo>
                  <a:lnTo>
                    <a:pt x="2645" y="899"/>
                  </a:lnTo>
                  <a:lnTo>
                    <a:pt x="2645" y="744"/>
                  </a:lnTo>
                  <a:lnTo>
                    <a:pt x="2645" y="744"/>
                  </a:lnTo>
                  <a:lnTo>
                    <a:pt x="2645" y="744"/>
                  </a:lnTo>
                  <a:lnTo>
                    <a:pt x="2645" y="744"/>
                  </a:lnTo>
                  <a:lnTo>
                    <a:pt x="2645" y="899"/>
                  </a:lnTo>
                  <a:lnTo>
                    <a:pt x="2645" y="899"/>
                  </a:lnTo>
                  <a:lnTo>
                    <a:pt x="2645" y="744"/>
                  </a:lnTo>
                  <a:lnTo>
                    <a:pt x="2645" y="744"/>
                  </a:lnTo>
                  <a:lnTo>
                    <a:pt x="2645" y="899"/>
                  </a:lnTo>
                  <a:lnTo>
                    <a:pt x="2646" y="899"/>
                  </a:lnTo>
                  <a:lnTo>
                    <a:pt x="2646" y="899"/>
                  </a:lnTo>
                  <a:lnTo>
                    <a:pt x="2647" y="899"/>
                  </a:lnTo>
                  <a:lnTo>
                    <a:pt x="2647" y="899"/>
                  </a:lnTo>
                  <a:lnTo>
                    <a:pt x="2647" y="899"/>
                  </a:lnTo>
                  <a:lnTo>
                    <a:pt x="2647" y="899"/>
                  </a:lnTo>
                  <a:lnTo>
                    <a:pt x="2648" y="899"/>
                  </a:lnTo>
                  <a:lnTo>
                    <a:pt x="2648" y="743"/>
                  </a:lnTo>
                  <a:lnTo>
                    <a:pt x="2649" y="743"/>
                  </a:lnTo>
                  <a:lnTo>
                    <a:pt x="2649" y="899"/>
                  </a:lnTo>
                  <a:lnTo>
                    <a:pt x="2651" y="899"/>
                  </a:lnTo>
                  <a:lnTo>
                    <a:pt x="2651" y="743"/>
                  </a:lnTo>
                  <a:lnTo>
                    <a:pt x="2651" y="743"/>
                  </a:lnTo>
                  <a:lnTo>
                    <a:pt x="2651" y="743"/>
                  </a:lnTo>
                  <a:lnTo>
                    <a:pt x="2651" y="743"/>
                  </a:lnTo>
                  <a:lnTo>
                    <a:pt x="2651" y="899"/>
                  </a:lnTo>
                  <a:lnTo>
                    <a:pt x="2651" y="899"/>
                  </a:lnTo>
                  <a:lnTo>
                    <a:pt x="2651" y="899"/>
                  </a:lnTo>
                  <a:lnTo>
                    <a:pt x="2651" y="899"/>
                  </a:lnTo>
                  <a:lnTo>
                    <a:pt x="2651" y="740"/>
                  </a:lnTo>
                  <a:lnTo>
                    <a:pt x="2651" y="740"/>
                  </a:lnTo>
                  <a:lnTo>
                    <a:pt x="2651" y="740"/>
                  </a:lnTo>
                  <a:lnTo>
                    <a:pt x="2651" y="740"/>
                  </a:lnTo>
                  <a:lnTo>
                    <a:pt x="2651" y="739"/>
                  </a:lnTo>
                  <a:lnTo>
                    <a:pt x="2653" y="739"/>
                  </a:lnTo>
                  <a:lnTo>
                    <a:pt x="2653" y="739"/>
                  </a:lnTo>
                  <a:lnTo>
                    <a:pt x="2657" y="739"/>
                  </a:lnTo>
                  <a:lnTo>
                    <a:pt x="2657" y="899"/>
                  </a:lnTo>
                  <a:lnTo>
                    <a:pt x="2657" y="899"/>
                  </a:lnTo>
                  <a:lnTo>
                    <a:pt x="2657" y="899"/>
                  </a:lnTo>
                  <a:lnTo>
                    <a:pt x="2657" y="89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899"/>
                  </a:lnTo>
                  <a:lnTo>
                    <a:pt x="2658" y="899"/>
                  </a:lnTo>
                  <a:lnTo>
                    <a:pt x="2658" y="899"/>
                  </a:lnTo>
                  <a:lnTo>
                    <a:pt x="2658" y="899"/>
                  </a:lnTo>
                  <a:lnTo>
                    <a:pt x="2658"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1" y="899"/>
                  </a:lnTo>
                  <a:lnTo>
                    <a:pt x="2661" y="899"/>
                  </a:lnTo>
                  <a:lnTo>
                    <a:pt x="2661" y="899"/>
                  </a:lnTo>
                  <a:lnTo>
                    <a:pt x="2661" y="899"/>
                  </a:lnTo>
                  <a:lnTo>
                    <a:pt x="2661" y="899"/>
                  </a:lnTo>
                  <a:lnTo>
                    <a:pt x="2661" y="899"/>
                  </a:lnTo>
                  <a:lnTo>
                    <a:pt x="2661" y="899"/>
                  </a:lnTo>
                  <a:lnTo>
                    <a:pt x="2661" y="723"/>
                  </a:lnTo>
                  <a:lnTo>
                    <a:pt x="2662" y="723"/>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899"/>
                  </a:lnTo>
                  <a:lnTo>
                    <a:pt x="2683" y="899"/>
                  </a:lnTo>
                  <a:lnTo>
                    <a:pt x="2683" y="899"/>
                  </a:lnTo>
                  <a:lnTo>
                    <a:pt x="2684" y="899"/>
                  </a:lnTo>
                  <a:lnTo>
                    <a:pt x="2684" y="899"/>
                  </a:lnTo>
                  <a:lnTo>
                    <a:pt x="2684" y="899"/>
                  </a:lnTo>
                  <a:lnTo>
                    <a:pt x="2684" y="708"/>
                  </a:lnTo>
                  <a:lnTo>
                    <a:pt x="2684" y="708"/>
                  </a:lnTo>
                  <a:lnTo>
                    <a:pt x="2684" y="708"/>
                  </a:lnTo>
                  <a:lnTo>
                    <a:pt x="2687" y="708"/>
                  </a:lnTo>
                  <a:lnTo>
                    <a:pt x="2687" y="899"/>
                  </a:lnTo>
                  <a:lnTo>
                    <a:pt x="2687" y="899"/>
                  </a:lnTo>
                  <a:lnTo>
                    <a:pt x="2687" y="899"/>
                  </a:lnTo>
                  <a:lnTo>
                    <a:pt x="2687" y="899"/>
                  </a:lnTo>
                  <a:lnTo>
                    <a:pt x="2687" y="899"/>
                  </a:lnTo>
                  <a:lnTo>
                    <a:pt x="2687" y="899"/>
                  </a:lnTo>
                  <a:lnTo>
                    <a:pt x="2687" y="899"/>
                  </a:lnTo>
                  <a:lnTo>
                    <a:pt x="2687" y="899"/>
                  </a:lnTo>
                  <a:lnTo>
                    <a:pt x="2687" y="694"/>
                  </a:lnTo>
                  <a:lnTo>
                    <a:pt x="2687" y="694"/>
                  </a:lnTo>
                  <a:lnTo>
                    <a:pt x="2687" y="694"/>
                  </a:lnTo>
                  <a:lnTo>
                    <a:pt x="2687" y="694"/>
                  </a:lnTo>
                  <a:lnTo>
                    <a:pt x="2687" y="694"/>
                  </a:lnTo>
                  <a:lnTo>
                    <a:pt x="2687" y="694"/>
                  </a:lnTo>
                  <a:lnTo>
                    <a:pt x="2687" y="694"/>
                  </a:lnTo>
                  <a:lnTo>
                    <a:pt x="2688" y="694"/>
                  </a:lnTo>
                  <a:lnTo>
                    <a:pt x="2688" y="899"/>
                  </a:lnTo>
                  <a:lnTo>
                    <a:pt x="2688" y="899"/>
                  </a:lnTo>
                  <a:lnTo>
                    <a:pt x="2688" y="899"/>
                  </a:lnTo>
                  <a:lnTo>
                    <a:pt x="2688" y="899"/>
                  </a:lnTo>
                  <a:lnTo>
                    <a:pt x="2688" y="899"/>
                  </a:lnTo>
                  <a:lnTo>
                    <a:pt x="2688" y="899"/>
                  </a:lnTo>
                  <a:lnTo>
                    <a:pt x="2688" y="899"/>
                  </a:lnTo>
                  <a:lnTo>
                    <a:pt x="2688" y="899"/>
                  </a:lnTo>
                  <a:lnTo>
                    <a:pt x="2688" y="686"/>
                  </a:lnTo>
                  <a:lnTo>
                    <a:pt x="2688" y="686"/>
                  </a:lnTo>
                  <a:lnTo>
                    <a:pt x="2688" y="682"/>
                  </a:lnTo>
                  <a:lnTo>
                    <a:pt x="2688" y="682"/>
                  </a:lnTo>
                  <a:lnTo>
                    <a:pt x="2688" y="682"/>
                  </a:lnTo>
                  <a:lnTo>
                    <a:pt x="2689" y="682"/>
                  </a:lnTo>
                  <a:lnTo>
                    <a:pt x="2689" y="678"/>
                  </a:lnTo>
                  <a:lnTo>
                    <a:pt x="2690" y="678"/>
                  </a:lnTo>
                  <a:lnTo>
                    <a:pt x="2690" y="678"/>
                  </a:lnTo>
                  <a:lnTo>
                    <a:pt x="2690" y="678"/>
                  </a:lnTo>
                  <a:lnTo>
                    <a:pt x="2690" y="678"/>
                  </a:lnTo>
                  <a:lnTo>
                    <a:pt x="2690" y="678"/>
                  </a:lnTo>
                  <a:lnTo>
                    <a:pt x="2690" y="899"/>
                  </a:lnTo>
                  <a:lnTo>
                    <a:pt x="2690" y="899"/>
                  </a:lnTo>
                  <a:lnTo>
                    <a:pt x="2690" y="677"/>
                  </a:lnTo>
                  <a:lnTo>
                    <a:pt x="2690" y="677"/>
                  </a:lnTo>
                  <a:lnTo>
                    <a:pt x="2690" y="899"/>
                  </a:lnTo>
                  <a:lnTo>
                    <a:pt x="2690" y="899"/>
                  </a:lnTo>
                  <a:lnTo>
                    <a:pt x="2690" y="899"/>
                  </a:lnTo>
                  <a:lnTo>
                    <a:pt x="2690" y="899"/>
                  </a:lnTo>
                  <a:lnTo>
                    <a:pt x="2690" y="899"/>
                  </a:lnTo>
                  <a:lnTo>
                    <a:pt x="2692" y="899"/>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899"/>
                  </a:lnTo>
                  <a:lnTo>
                    <a:pt x="2707" y="899"/>
                  </a:lnTo>
                  <a:lnTo>
                    <a:pt x="2707" y="899"/>
                  </a:lnTo>
                  <a:lnTo>
                    <a:pt x="2712" y="899"/>
                  </a:lnTo>
                  <a:lnTo>
                    <a:pt x="2712" y="660"/>
                  </a:lnTo>
                  <a:lnTo>
                    <a:pt x="2712" y="660"/>
                  </a:lnTo>
                  <a:lnTo>
                    <a:pt x="2712" y="660"/>
                  </a:lnTo>
                  <a:lnTo>
                    <a:pt x="2713" y="660"/>
                  </a:lnTo>
                  <a:lnTo>
                    <a:pt x="2713" y="899"/>
                  </a:lnTo>
                  <a:lnTo>
                    <a:pt x="2713" y="899"/>
                  </a:lnTo>
                  <a:lnTo>
                    <a:pt x="2713" y="899"/>
                  </a:lnTo>
                  <a:lnTo>
                    <a:pt x="2713" y="899"/>
                  </a:lnTo>
                  <a:lnTo>
                    <a:pt x="2713" y="899"/>
                  </a:lnTo>
                  <a:lnTo>
                    <a:pt x="2713" y="899"/>
                  </a:lnTo>
                  <a:lnTo>
                    <a:pt x="2713" y="899"/>
                  </a:lnTo>
                  <a:lnTo>
                    <a:pt x="2713" y="899"/>
                  </a:lnTo>
                  <a:lnTo>
                    <a:pt x="2713" y="899"/>
                  </a:lnTo>
                  <a:lnTo>
                    <a:pt x="2714" y="899"/>
                  </a:lnTo>
                  <a:lnTo>
                    <a:pt x="2714" y="899"/>
                  </a:lnTo>
                  <a:lnTo>
                    <a:pt x="2716" y="899"/>
                  </a:lnTo>
                  <a:lnTo>
                    <a:pt x="2716" y="658"/>
                  </a:lnTo>
                  <a:lnTo>
                    <a:pt x="2735" y="658"/>
                  </a:lnTo>
                  <a:lnTo>
                    <a:pt x="2735" y="658"/>
                  </a:lnTo>
                  <a:lnTo>
                    <a:pt x="2735" y="658"/>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654"/>
                  </a:lnTo>
                  <a:lnTo>
                    <a:pt x="2735" y="654"/>
                  </a:lnTo>
                  <a:lnTo>
                    <a:pt x="2735" y="654"/>
                  </a:lnTo>
                  <a:lnTo>
                    <a:pt x="2736" y="654"/>
                  </a:lnTo>
                  <a:lnTo>
                    <a:pt x="2736" y="654"/>
                  </a:lnTo>
                  <a:lnTo>
                    <a:pt x="2748" y="654"/>
                  </a:lnTo>
                  <a:lnTo>
                    <a:pt x="2748" y="653"/>
                  </a:lnTo>
                  <a:lnTo>
                    <a:pt x="2752" y="653"/>
                  </a:lnTo>
                  <a:lnTo>
                    <a:pt x="2752" y="653"/>
                  </a:lnTo>
                  <a:lnTo>
                    <a:pt x="2775" y="653"/>
                  </a:lnTo>
                  <a:lnTo>
                    <a:pt x="2775" y="652"/>
                  </a:lnTo>
                  <a:lnTo>
                    <a:pt x="2775" y="652"/>
                  </a:lnTo>
                  <a:lnTo>
                    <a:pt x="2775" y="652"/>
                  </a:lnTo>
                  <a:lnTo>
                    <a:pt x="2775" y="652"/>
                  </a:lnTo>
                  <a:lnTo>
                    <a:pt x="2775" y="652"/>
                  </a:lnTo>
                  <a:lnTo>
                    <a:pt x="2775" y="652"/>
                  </a:lnTo>
                  <a:lnTo>
                    <a:pt x="2775" y="651"/>
                  </a:lnTo>
                  <a:lnTo>
                    <a:pt x="2782" y="651"/>
                  </a:lnTo>
                  <a:lnTo>
                    <a:pt x="2782" y="649"/>
                  </a:lnTo>
                  <a:lnTo>
                    <a:pt x="2782" y="64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647"/>
                  </a:lnTo>
                  <a:lnTo>
                    <a:pt x="2783" y="647"/>
                  </a:lnTo>
                  <a:lnTo>
                    <a:pt x="2783" y="647"/>
                  </a:lnTo>
                  <a:lnTo>
                    <a:pt x="2783" y="647"/>
                  </a:lnTo>
                  <a:lnTo>
                    <a:pt x="2783" y="643"/>
                  </a:lnTo>
                  <a:lnTo>
                    <a:pt x="2791" y="643"/>
                  </a:lnTo>
                  <a:lnTo>
                    <a:pt x="2791" y="642"/>
                  </a:lnTo>
                  <a:lnTo>
                    <a:pt x="2792" y="642"/>
                  </a:lnTo>
                  <a:lnTo>
                    <a:pt x="2792" y="638"/>
                  </a:lnTo>
                  <a:lnTo>
                    <a:pt x="2794" y="638"/>
                  </a:lnTo>
                  <a:lnTo>
                    <a:pt x="2794" y="899"/>
                  </a:lnTo>
                  <a:lnTo>
                    <a:pt x="2794" y="899"/>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631"/>
                  </a:lnTo>
                  <a:lnTo>
                    <a:pt x="2794" y="631"/>
                  </a:lnTo>
                  <a:lnTo>
                    <a:pt x="2794" y="631"/>
                  </a:lnTo>
                  <a:lnTo>
                    <a:pt x="2795" y="631"/>
                  </a:lnTo>
                  <a:lnTo>
                    <a:pt x="2795" y="628"/>
                  </a:lnTo>
                  <a:lnTo>
                    <a:pt x="2798" y="628"/>
                  </a:lnTo>
                  <a:lnTo>
                    <a:pt x="2798" y="626"/>
                  </a:lnTo>
                  <a:lnTo>
                    <a:pt x="2799" y="626"/>
                  </a:lnTo>
                  <a:lnTo>
                    <a:pt x="2799" y="626"/>
                  </a:lnTo>
                  <a:lnTo>
                    <a:pt x="2837" y="626"/>
                  </a:lnTo>
                  <a:lnTo>
                    <a:pt x="2837" y="625"/>
                  </a:lnTo>
                  <a:lnTo>
                    <a:pt x="2837" y="625"/>
                  </a:lnTo>
                  <a:lnTo>
                    <a:pt x="2837" y="623"/>
                  </a:lnTo>
                  <a:lnTo>
                    <a:pt x="2837" y="623"/>
                  </a:lnTo>
                  <a:lnTo>
                    <a:pt x="2837" y="623"/>
                  </a:lnTo>
                  <a:lnTo>
                    <a:pt x="2840" y="623"/>
                  </a:lnTo>
                  <a:lnTo>
                    <a:pt x="2840" y="619"/>
                  </a:lnTo>
                  <a:lnTo>
                    <a:pt x="2842" y="619"/>
                  </a:lnTo>
                  <a:lnTo>
                    <a:pt x="2842" y="619"/>
                  </a:lnTo>
                  <a:lnTo>
                    <a:pt x="2842" y="619"/>
                  </a:lnTo>
                  <a:lnTo>
                    <a:pt x="2842" y="619"/>
                  </a:lnTo>
                  <a:lnTo>
                    <a:pt x="2842" y="619"/>
                  </a:lnTo>
                  <a:lnTo>
                    <a:pt x="2842" y="899"/>
                  </a:lnTo>
                  <a:lnTo>
                    <a:pt x="2843" y="899"/>
                  </a:lnTo>
                  <a:lnTo>
                    <a:pt x="2843" y="899"/>
                  </a:lnTo>
                  <a:lnTo>
                    <a:pt x="2844" y="899"/>
                  </a:lnTo>
                  <a:lnTo>
                    <a:pt x="2844" y="899"/>
                  </a:lnTo>
                  <a:lnTo>
                    <a:pt x="2848" y="899"/>
                  </a:lnTo>
                  <a:lnTo>
                    <a:pt x="2848" y="899"/>
                  </a:lnTo>
                  <a:lnTo>
                    <a:pt x="2853" y="899"/>
                  </a:lnTo>
                  <a:lnTo>
                    <a:pt x="2853" y="612"/>
                  </a:lnTo>
                  <a:lnTo>
                    <a:pt x="2855" y="612"/>
                  </a:lnTo>
                  <a:lnTo>
                    <a:pt x="2855" y="611"/>
                  </a:lnTo>
                  <a:lnTo>
                    <a:pt x="2856" y="611"/>
                  </a:lnTo>
                  <a:lnTo>
                    <a:pt x="2856" y="611"/>
                  </a:lnTo>
                  <a:lnTo>
                    <a:pt x="2866" y="611"/>
                  </a:lnTo>
                  <a:lnTo>
                    <a:pt x="2866" y="611"/>
                  </a:lnTo>
                  <a:lnTo>
                    <a:pt x="2891" y="611"/>
                  </a:lnTo>
                  <a:lnTo>
                    <a:pt x="2891" y="610"/>
                  </a:lnTo>
                  <a:lnTo>
                    <a:pt x="2895" y="610"/>
                  </a:lnTo>
                  <a:lnTo>
                    <a:pt x="2895" y="599"/>
                  </a:lnTo>
                  <a:lnTo>
                    <a:pt x="2896" y="5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3"/>
                  </a:lnTo>
                  <a:lnTo>
                    <a:pt x="2898" y="593"/>
                  </a:lnTo>
                  <a:lnTo>
                    <a:pt x="2898" y="593"/>
                  </a:lnTo>
                  <a:lnTo>
                    <a:pt x="2899" y="593"/>
                  </a:lnTo>
                  <a:lnTo>
                    <a:pt x="2899" y="899"/>
                  </a:lnTo>
                  <a:lnTo>
                    <a:pt x="2900" y="899"/>
                  </a:lnTo>
                  <a:lnTo>
                    <a:pt x="2900" y="899"/>
                  </a:lnTo>
                  <a:lnTo>
                    <a:pt x="2901" y="899"/>
                  </a:lnTo>
                  <a:lnTo>
                    <a:pt x="2901" y="593"/>
                  </a:lnTo>
                  <a:lnTo>
                    <a:pt x="2902" y="593"/>
                  </a:lnTo>
                  <a:lnTo>
                    <a:pt x="2902" y="590"/>
                  </a:lnTo>
                  <a:lnTo>
                    <a:pt x="2903" y="590"/>
                  </a:lnTo>
                  <a:lnTo>
                    <a:pt x="2903" y="582"/>
                  </a:lnTo>
                  <a:lnTo>
                    <a:pt x="2904" y="582"/>
                  </a:lnTo>
                  <a:lnTo>
                    <a:pt x="2904" y="579"/>
                  </a:lnTo>
                  <a:lnTo>
                    <a:pt x="2904" y="57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568"/>
                  </a:lnTo>
                  <a:lnTo>
                    <a:pt x="2938" y="568"/>
                  </a:lnTo>
                  <a:lnTo>
                    <a:pt x="2938" y="567"/>
                  </a:lnTo>
                  <a:lnTo>
                    <a:pt x="2938" y="567"/>
                  </a:lnTo>
                  <a:lnTo>
                    <a:pt x="2938" y="567"/>
                  </a:lnTo>
                  <a:lnTo>
                    <a:pt x="2939" y="567"/>
                  </a:lnTo>
                  <a:lnTo>
                    <a:pt x="2939" y="567"/>
                  </a:lnTo>
                  <a:lnTo>
                    <a:pt x="2943" y="567"/>
                  </a:lnTo>
                  <a:lnTo>
                    <a:pt x="2943" y="567"/>
                  </a:lnTo>
                  <a:lnTo>
                    <a:pt x="2943" y="567"/>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561"/>
                  </a:lnTo>
                  <a:lnTo>
                    <a:pt x="2947" y="561"/>
                  </a:lnTo>
                  <a:lnTo>
                    <a:pt x="2947" y="561"/>
                  </a:lnTo>
                  <a:lnTo>
                    <a:pt x="2950" y="561"/>
                  </a:lnTo>
                  <a:lnTo>
                    <a:pt x="2950" y="552"/>
                  </a:lnTo>
                  <a:lnTo>
                    <a:pt x="2950" y="552"/>
                  </a:lnTo>
                  <a:lnTo>
                    <a:pt x="2950" y="552"/>
                  </a:lnTo>
                  <a:lnTo>
                    <a:pt x="2950" y="552"/>
                  </a:lnTo>
                  <a:lnTo>
                    <a:pt x="2950" y="551"/>
                  </a:lnTo>
                  <a:lnTo>
                    <a:pt x="2950" y="551"/>
                  </a:lnTo>
                  <a:lnTo>
                    <a:pt x="2950" y="551"/>
                  </a:lnTo>
                  <a:lnTo>
                    <a:pt x="2950" y="551"/>
                  </a:lnTo>
                  <a:lnTo>
                    <a:pt x="2950" y="551"/>
                  </a:lnTo>
                  <a:lnTo>
                    <a:pt x="2951" y="551"/>
                  </a:lnTo>
                  <a:lnTo>
                    <a:pt x="2951" y="547"/>
                  </a:lnTo>
                  <a:lnTo>
                    <a:pt x="2951" y="547"/>
                  </a:lnTo>
                  <a:lnTo>
                    <a:pt x="2951" y="547"/>
                  </a:lnTo>
                  <a:lnTo>
                    <a:pt x="2951" y="547"/>
                  </a:lnTo>
                  <a:lnTo>
                    <a:pt x="2951" y="545"/>
                  </a:lnTo>
                  <a:lnTo>
                    <a:pt x="2952" y="545"/>
                  </a:lnTo>
                  <a:lnTo>
                    <a:pt x="2952" y="543"/>
                  </a:lnTo>
                  <a:lnTo>
                    <a:pt x="2953" y="543"/>
                  </a:lnTo>
                  <a:lnTo>
                    <a:pt x="2953" y="540"/>
                  </a:lnTo>
                  <a:lnTo>
                    <a:pt x="2962" y="540"/>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528"/>
                  </a:lnTo>
                  <a:lnTo>
                    <a:pt x="2972" y="528"/>
                  </a:lnTo>
                  <a:lnTo>
                    <a:pt x="2972" y="527"/>
                  </a:lnTo>
                  <a:lnTo>
                    <a:pt x="3045" y="527"/>
                  </a:lnTo>
                  <a:lnTo>
                    <a:pt x="3045" y="899"/>
                  </a:lnTo>
                  <a:lnTo>
                    <a:pt x="3045" y="899"/>
                  </a:lnTo>
                  <a:lnTo>
                    <a:pt x="3045" y="899"/>
                  </a:lnTo>
                  <a:lnTo>
                    <a:pt x="3046" y="899"/>
                  </a:lnTo>
                  <a:lnTo>
                    <a:pt x="3046" y="523"/>
                  </a:lnTo>
                  <a:lnTo>
                    <a:pt x="3046" y="523"/>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511"/>
                  </a:lnTo>
                  <a:lnTo>
                    <a:pt x="3058" y="511"/>
                  </a:lnTo>
                  <a:lnTo>
                    <a:pt x="3058" y="510"/>
                  </a:lnTo>
                  <a:lnTo>
                    <a:pt x="3060" y="510"/>
                  </a:lnTo>
                  <a:lnTo>
                    <a:pt x="3060" y="510"/>
                  </a:lnTo>
                  <a:lnTo>
                    <a:pt x="3075" y="510"/>
                  </a:lnTo>
                  <a:lnTo>
                    <a:pt x="3075" y="500"/>
                  </a:lnTo>
                  <a:lnTo>
                    <a:pt x="3075" y="500"/>
                  </a:lnTo>
                  <a:lnTo>
                    <a:pt x="3075" y="492"/>
                  </a:lnTo>
                  <a:lnTo>
                    <a:pt x="3075" y="492"/>
                  </a:lnTo>
                  <a:lnTo>
                    <a:pt x="3075" y="492"/>
                  </a:lnTo>
                  <a:lnTo>
                    <a:pt x="3075" y="492"/>
                  </a:lnTo>
                  <a:lnTo>
                    <a:pt x="3075" y="492"/>
                  </a:lnTo>
                  <a:lnTo>
                    <a:pt x="3075" y="492"/>
                  </a:lnTo>
                  <a:lnTo>
                    <a:pt x="3075" y="492"/>
                  </a:lnTo>
                  <a:lnTo>
                    <a:pt x="3076" y="492"/>
                  </a:lnTo>
                  <a:lnTo>
                    <a:pt x="3076" y="490"/>
                  </a:lnTo>
                  <a:lnTo>
                    <a:pt x="3101" y="490"/>
                  </a:lnTo>
                  <a:lnTo>
                    <a:pt x="3101" y="490"/>
                  </a:lnTo>
                  <a:lnTo>
                    <a:pt x="3156" y="490"/>
                  </a:lnTo>
                  <a:lnTo>
                    <a:pt x="3156" y="488"/>
                  </a:lnTo>
                  <a:lnTo>
                    <a:pt x="3156" y="488"/>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899"/>
                  </a:lnTo>
                  <a:lnTo>
                    <a:pt x="3185" y="899"/>
                  </a:lnTo>
                  <a:lnTo>
                    <a:pt x="3185" y="899"/>
                  </a:lnTo>
                  <a:lnTo>
                    <a:pt x="3186" y="899"/>
                  </a:lnTo>
                  <a:lnTo>
                    <a:pt x="3186" y="899"/>
                  </a:lnTo>
                  <a:lnTo>
                    <a:pt x="3186" y="899"/>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899"/>
                  </a:lnTo>
                  <a:lnTo>
                    <a:pt x="3189" y="899"/>
                  </a:lnTo>
                  <a:lnTo>
                    <a:pt x="3189" y="899"/>
                  </a:lnTo>
                  <a:lnTo>
                    <a:pt x="3189" y="899"/>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377"/>
                  </a:lnTo>
                  <a:lnTo>
                    <a:pt x="3216" y="377"/>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899"/>
                  </a:lnTo>
                  <a:lnTo>
                    <a:pt x="3251" y="899"/>
                  </a:lnTo>
                  <a:lnTo>
                    <a:pt x="3251" y="899"/>
                  </a:lnTo>
                  <a:lnTo>
                    <a:pt x="3252" y="899"/>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377"/>
                  </a:lnTo>
                  <a:lnTo>
                    <a:pt x="3203" y="377"/>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488"/>
                  </a:lnTo>
                  <a:lnTo>
                    <a:pt x="3156" y="488"/>
                  </a:lnTo>
                  <a:lnTo>
                    <a:pt x="3156" y="490"/>
                  </a:lnTo>
                  <a:lnTo>
                    <a:pt x="3101" y="490"/>
                  </a:lnTo>
                  <a:lnTo>
                    <a:pt x="3101" y="490"/>
                  </a:lnTo>
                  <a:lnTo>
                    <a:pt x="3076" y="490"/>
                  </a:lnTo>
                  <a:lnTo>
                    <a:pt x="3076" y="492"/>
                  </a:lnTo>
                  <a:lnTo>
                    <a:pt x="3075" y="492"/>
                  </a:lnTo>
                  <a:lnTo>
                    <a:pt x="3075" y="492"/>
                  </a:lnTo>
                  <a:lnTo>
                    <a:pt x="3075" y="492"/>
                  </a:lnTo>
                  <a:lnTo>
                    <a:pt x="3075" y="492"/>
                  </a:lnTo>
                  <a:lnTo>
                    <a:pt x="3075" y="492"/>
                  </a:lnTo>
                  <a:lnTo>
                    <a:pt x="3075" y="492"/>
                  </a:lnTo>
                  <a:lnTo>
                    <a:pt x="3075" y="492"/>
                  </a:lnTo>
                  <a:lnTo>
                    <a:pt x="3075" y="500"/>
                  </a:lnTo>
                  <a:lnTo>
                    <a:pt x="3075" y="500"/>
                  </a:lnTo>
                  <a:lnTo>
                    <a:pt x="3075" y="510"/>
                  </a:lnTo>
                  <a:lnTo>
                    <a:pt x="3060" y="510"/>
                  </a:lnTo>
                  <a:lnTo>
                    <a:pt x="3060" y="510"/>
                  </a:lnTo>
                  <a:lnTo>
                    <a:pt x="3058" y="510"/>
                  </a:lnTo>
                  <a:lnTo>
                    <a:pt x="3058" y="511"/>
                  </a:lnTo>
                  <a:lnTo>
                    <a:pt x="3058" y="511"/>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523"/>
                  </a:lnTo>
                  <a:lnTo>
                    <a:pt x="3046" y="523"/>
                  </a:lnTo>
                  <a:lnTo>
                    <a:pt x="3046" y="899"/>
                  </a:lnTo>
                  <a:lnTo>
                    <a:pt x="3045" y="899"/>
                  </a:lnTo>
                  <a:lnTo>
                    <a:pt x="3045" y="899"/>
                  </a:lnTo>
                  <a:lnTo>
                    <a:pt x="3045" y="899"/>
                  </a:lnTo>
                  <a:lnTo>
                    <a:pt x="3045" y="527"/>
                  </a:lnTo>
                  <a:lnTo>
                    <a:pt x="2972" y="527"/>
                  </a:lnTo>
                  <a:lnTo>
                    <a:pt x="2972" y="528"/>
                  </a:lnTo>
                  <a:lnTo>
                    <a:pt x="2972" y="528"/>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540"/>
                  </a:lnTo>
                  <a:lnTo>
                    <a:pt x="2953" y="540"/>
                  </a:lnTo>
                  <a:lnTo>
                    <a:pt x="2953" y="543"/>
                  </a:lnTo>
                  <a:lnTo>
                    <a:pt x="2952" y="543"/>
                  </a:lnTo>
                  <a:lnTo>
                    <a:pt x="2952" y="545"/>
                  </a:lnTo>
                  <a:lnTo>
                    <a:pt x="2951" y="545"/>
                  </a:lnTo>
                  <a:lnTo>
                    <a:pt x="2951" y="547"/>
                  </a:lnTo>
                  <a:lnTo>
                    <a:pt x="2951" y="547"/>
                  </a:lnTo>
                  <a:lnTo>
                    <a:pt x="2951" y="547"/>
                  </a:lnTo>
                  <a:lnTo>
                    <a:pt x="2951" y="547"/>
                  </a:lnTo>
                  <a:lnTo>
                    <a:pt x="2951" y="551"/>
                  </a:lnTo>
                  <a:lnTo>
                    <a:pt x="2950" y="551"/>
                  </a:lnTo>
                  <a:lnTo>
                    <a:pt x="2950" y="551"/>
                  </a:lnTo>
                  <a:lnTo>
                    <a:pt x="2950" y="551"/>
                  </a:lnTo>
                  <a:lnTo>
                    <a:pt x="2950" y="551"/>
                  </a:lnTo>
                  <a:lnTo>
                    <a:pt x="2950" y="551"/>
                  </a:lnTo>
                  <a:lnTo>
                    <a:pt x="2950" y="552"/>
                  </a:lnTo>
                  <a:lnTo>
                    <a:pt x="2950" y="552"/>
                  </a:lnTo>
                  <a:lnTo>
                    <a:pt x="2950" y="552"/>
                  </a:lnTo>
                  <a:lnTo>
                    <a:pt x="2950" y="552"/>
                  </a:lnTo>
                  <a:lnTo>
                    <a:pt x="2950" y="561"/>
                  </a:lnTo>
                  <a:lnTo>
                    <a:pt x="2947" y="561"/>
                  </a:lnTo>
                  <a:lnTo>
                    <a:pt x="2947" y="561"/>
                  </a:lnTo>
                  <a:lnTo>
                    <a:pt x="2945" y="561"/>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567"/>
                  </a:lnTo>
                  <a:lnTo>
                    <a:pt x="2943" y="567"/>
                  </a:lnTo>
                  <a:lnTo>
                    <a:pt x="2943" y="567"/>
                  </a:lnTo>
                  <a:lnTo>
                    <a:pt x="2939" y="567"/>
                  </a:lnTo>
                  <a:lnTo>
                    <a:pt x="2939" y="567"/>
                  </a:lnTo>
                  <a:lnTo>
                    <a:pt x="2938" y="567"/>
                  </a:lnTo>
                  <a:lnTo>
                    <a:pt x="2938" y="567"/>
                  </a:lnTo>
                  <a:lnTo>
                    <a:pt x="2938" y="567"/>
                  </a:lnTo>
                  <a:lnTo>
                    <a:pt x="2938" y="568"/>
                  </a:lnTo>
                  <a:lnTo>
                    <a:pt x="2918" y="568"/>
                  </a:lnTo>
                  <a:lnTo>
                    <a:pt x="2918" y="568"/>
                  </a:lnTo>
                  <a:lnTo>
                    <a:pt x="2917" y="568"/>
                  </a:lnTo>
                  <a:lnTo>
                    <a:pt x="2917" y="568"/>
                  </a:lnTo>
                  <a:lnTo>
                    <a:pt x="2917" y="568"/>
                  </a:lnTo>
                  <a:lnTo>
                    <a:pt x="2917" y="577"/>
                  </a:lnTo>
                  <a:lnTo>
                    <a:pt x="2913" y="577"/>
                  </a:lnTo>
                  <a:lnTo>
                    <a:pt x="2913" y="577"/>
                  </a:lnTo>
                  <a:lnTo>
                    <a:pt x="2909" y="577"/>
                  </a:lnTo>
                  <a:lnTo>
                    <a:pt x="2909" y="577"/>
                  </a:lnTo>
                  <a:lnTo>
                    <a:pt x="2906" y="577"/>
                  </a:lnTo>
                  <a:lnTo>
                    <a:pt x="2906" y="577"/>
                  </a:lnTo>
                  <a:lnTo>
                    <a:pt x="2904" y="577"/>
                  </a:lnTo>
                  <a:lnTo>
                    <a:pt x="2904" y="577"/>
                  </a:lnTo>
                  <a:lnTo>
                    <a:pt x="2904" y="577"/>
                  </a:lnTo>
                  <a:lnTo>
                    <a:pt x="2904" y="577"/>
                  </a:lnTo>
                  <a:lnTo>
                    <a:pt x="2904" y="577"/>
                  </a:lnTo>
                  <a:lnTo>
                    <a:pt x="2904" y="577"/>
                  </a:lnTo>
                  <a:lnTo>
                    <a:pt x="2904" y="577"/>
                  </a:lnTo>
                  <a:lnTo>
                    <a:pt x="2904" y="579"/>
                  </a:lnTo>
                  <a:lnTo>
                    <a:pt x="2904" y="579"/>
                  </a:lnTo>
                  <a:lnTo>
                    <a:pt x="2904" y="582"/>
                  </a:lnTo>
                  <a:lnTo>
                    <a:pt x="2903" y="582"/>
                  </a:lnTo>
                  <a:lnTo>
                    <a:pt x="2903" y="590"/>
                  </a:lnTo>
                  <a:lnTo>
                    <a:pt x="2902" y="590"/>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9"/>
                  </a:lnTo>
                  <a:lnTo>
                    <a:pt x="2895" y="599"/>
                  </a:lnTo>
                  <a:lnTo>
                    <a:pt x="2895" y="610"/>
                  </a:lnTo>
                  <a:lnTo>
                    <a:pt x="2891" y="610"/>
                  </a:lnTo>
                  <a:lnTo>
                    <a:pt x="2891" y="611"/>
                  </a:lnTo>
                  <a:lnTo>
                    <a:pt x="2866" y="611"/>
                  </a:lnTo>
                  <a:lnTo>
                    <a:pt x="2866" y="611"/>
                  </a:lnTo>
                  <a:lnTo>
                    <a:pt x="2856" y="611"/>
                  </a:lnTo>
                  <a:lnTo>
                    <a:pt x="2856" y="611"/>
                  </a:lnTo>
                  <a:lnTo>
                    <a:pt x="2855" y="611"/>
                  </a:lnTo>
                  <a:lnTo>
                    <a:pt x="2855" y="612"/>
                  </a:lnTo>
                  <a:lnTo>
                    <a:pt x="2853" y="612"/>
                  </a:lnTo>
                  <a:lnTo>
                    <a:pt x="2853" y="899"/>
                  </a:lnTo>
                  <a:lnTo>
                    <a:pt x="2848" y="899"/>
                  </a:lnTo>
                  <a:lnTo>
                    <a:pt x="2848" y="899"/>
                  </a:lnTo>
                  <a:lnTo>
                    <a:pt x="2844" y="899"/>
                  </a:lnTo>
                  <a:lnTo>
                    <a:pt x="2844" y="899"/>
                  </a:lnTo>
                  <a:lnTo>
                    <a:pt x="2843" y="899"/>
                  </a:lnTo>
                  <a:lnTo>
                    <a:pt x="2843" y="899"/>
                  </a:lnTo>
                  <a:lnTo>
                    <a:pt x="2842" y="899"/>
                  </a:lnTo>
                  <a:lnTo>
                    <a:pt x="2842" y="619"/>
                  </a:lnTo>
                  <a:lnTo>
                    <a:pt x="2842" y="619"/>
                  </a:lnTo>
                  <a:lnTo>
                    <a:pt x="2842" y="619"/>
                  </a:lnTo>
                  <a:lnTo>
                    <a:pt x="2842" y="619"/>
                  </a:lnTo>
                  <a:lnTo>
                    <a:pt x="2842" y="619"/>
                  </a:lnTo>
                  <a:lnTo>
                    <a:pt x="2840" y="619"/>
                  </a:lnTo>
                  <a:lnTo>
                    <a:pt x="2840" y="623"/>
                  </a:lnTo>
                  <a:lnTo>
                    <a:pt x="2837" y="623"/>
                  </a:lnTo>
                  <a:lnTo>
                    <a:pt x="2837" y="623"/>
                  </a:lnTo>
                  <a:lnTo>
                    <a:pt x="2837" y="623"/>
                  </a:lnTo>
                  <a:lnTo>
                    <a:pt x="2837" y="625"/>
                  </a:lnTo>
                  <a:lnTo>
                    <a:pt x="2837" y="625"/>
                  </a:lnTo>
                  <a:lnTo>
                    <a:pt x="2837" y="626"/>
                  </a:lnTo>
                  <a:lnTo>
                    <a:pt x="2799" y="626"/>
                  </a:lnTo>
                  <a:lnTo>
                    <a:pt x="2799" y="626"/>
                  </a:lnTo>
                  <a:lnTo>
                    <a:pt x="2798" y="626"/>
                  </a:lnTo>
                  <a:lnTo>
                    <a:pt x="2798" y="628"/>
                  </a:lnTo>
                  <a:lnTo>
                    <a:pt x="2795" y="628"/>
                  </a:lnTo>
                  <a:lnTo>
                    <a:pt x="2795" y="631"/>
                  </a:lnTo>
                  <a:lnTo>
                    <a:pt x="2794" y="631"/>
                  </a:lnTo>
                  <a:lnTo>
                    <a:pt x="2794" y="631"/>
                  </a:lnTo>
                  <a:lnTo>
                    <a:pt x="2794" y="631"/>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638"/>
                  </a:lnTo>
                  <a:lnTo>
                    <a:pt x="2792" y="638"/>
                  </a:lnTo>
                  <a:lnTo>
                    <a:pt x="2792" y="642"/>
                  </a:lnTo>
                  <a:lnTo>
                    <a:pt x="2791" y="642"/>
                  </a:lnTo>
                  <a:lnTo>
                    <a:pt x="2791" y="643"/>
                  </a:lnTo>
                  <a:lnTo>
                    <a:pt x="2783" y="643"/>
                  </a:lnTo>
                  <a:lnTo>
                    <a:pt x="2783" y="647"/>
                  </a:lnTo>
                  <a:lnTo>
                    <a:pt x="2783" y="647"/>
                  </a:lnTo>
                  <a:lnTo>
                    <a:pt x="2783" y="647"/>
                  </a:lnTo>
                  <a:lnTo>
                    <a:pt x="2783" y="647"/>
                  </a:lnTo>
                  <a:lnTo>
                    <a:pt x="2783" y="647"/>
                  </a:lnTo>
                  <a:lnTo>
                    <a:pt x="2783" y="647"/>
                  </a:lnTo>
                  <a:lnTo>
                    <a:pt x="2783" y="647"/>
                  </a:lnTo>
                  <a:lnTo>
                    <a:pt x="2783" y="647"/>
                  </a:lnTo>
                  <a:lnTo>
                    <a:pt x="2783"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9"/>
                  </a:lnTo>
                  <a:lnTo>
                    <a:pt x="2782" y="649"/>
                  </a:lnTo>
                  <a:lnTo>
                    <a:pt x="2782" y="651"/>
                  </a:lnTo>
                  <a:lnTo>
                    <a:pt x="2775" y="651"/>
                  </a:lnTo>
                  <a:lnTo>
                    <a:pt x="2775" y="652"/>
                  </a:lnTo>
                  <a:lnTo>
                    <a:pt x="2775" y="652"/>
                  </a:lnTo>
                  <a:lnTo>
                    <a:pt x="2775" y="652"/>
                  </a:lnTo>
                  <a:lnTo>
                    <a:pt x="2775" y="652"/>
                  </a:lnTo>
                  <a:lnTo>
                    <a:pt x="2775" y="652"/>
                  </a:lnTo>
                  <a:lnTo>
                    <a:pt x="2775" y="652"/>
                  </a:lnTo>
                  <a:lnTo>
                    <a:pt x="2775" y="653"/>
                  </a:lnTo>
                  <a:lnTo>
                    <a:pt x="2752" y="653"/>
                  </a:lnTo>
                  <a:lnTo>
                    <a:pt x="2752" y="653"/>
                  </a:lnTo>
                  <a:lnTo>
                    <a:pt x="2748" y="653"/>
                  </a:lnTo>
                  <a:lnTo>
                    <a:pt x="2748" y="654"/>
                  </a:lnTo>
                  <a:lnTo>
                    <a:pt x="2736" y="654"/>
                  </a:lnTo>
                  <a:lnTo>
                    <a:pt x="2736" y="654"/>
                  </a:lnTo>
                  <a:lnTo>
                    <a:pt x="2735" y="654"/>
                  </a:lnTo>
                  <a:lnTo>
                    <a:pt x="2735" y="654"/>
                  </a:lnTo>
                  <a:lnTo>
                    <a:pt x="2735" y="654"/>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658"/>
                  </a:lnTo>
                  <a:lnTo>
                    <a:pt x="2735" y="658"/>
                  </a:lnTo>
                  <a:lnTo>
                    <a:pt x="2735" y="658"/>
                  </a:lnTo>
                  <a:lnTo>
                    <a:pt x="2716" y="658"/>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660"/>
                  </a:lnTo>
                  <a:lnTo>
                    <a:pt x="2712" y="660"/>
                  </a:lnTo>
                  <a:lnTo>
                    <a:pt x="2712" y="660"/>
                  </a:lnTo>
                  <a:lnTo>
                    <a:pt x="2712" y="660"/>
                  </a:lnTo>
                  <a:lnTo>
                    <a:pt x="2712" y="899"/>
                  </a:lnTo>
                  <a:lnTo>
                    <a:pt x="2707" y="899"/>
                  </a:lnTo>
                  <a:lnTo>
                    <a:pt x="2707" y="899"/>
                  </a:lnTo>
                  <a:lnTo>
                    <a:pt x="2702" y="899"/>
                  </a:lnTo>
                  <a:lnTo>
                    <a:pt x="2702" y="671"/>
                  </a:lnTo>
                  <a:lnTo>
                    <a:pt x="2702" y="671"/>
                  </a:lnTo>
                  <a:lnTo>
                    <a:pt x="2702" y="671"/>
                  </a:lnTo>
                  <a:lnTo>
                    <a:pt x="2697" y="671"/>
                  </a:lnTo>
                  <a:lnTo>
                    <a:pt x="2697" y="671"/>
                  </a:lnTo>
                  <a:lnTo>
                    <a:pt x="2694" y="671"/>
                  </a:lnTo>
                  <a:lnTo>
                    <a:pt x="2694"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678"/>
                  </a:lnTo>
                  <a:lnTo>
                    <a:pt x="2690" y="678"/>
                  </a:lnTo>
                  <a:lnTo>
                    <a:pt x="2690" y="678"/>
                  </a:lnTo>
                  <a:lnTo>
                    <a:pt x="2690" y="678"/>
                  </a:lnTo>
                  <a:lnTo>
                    <a:pt x="2690" y="678"/>
                  </a:lnTo>
                  <a:lnTo>
                    <a:pt x="2689" y="678"/>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717"/>
                  </a:lnTo>
                  <a:lnTo>
                    <a:pt x="2683" y="717"/>
                  </a:lnTo>
                  <a:lnTo>
                    <a:pt x="2683" y="717"/>
                  </a:lnTo>
                  <a:lnTo>
                    <a:pt x="2683" y="717"/>
                  </a:lnTo>
                  <a:lnTo>
                    <a:pt x="2683" y="717"/>
                  </a:lnTo>
                  <a:lnTo>
                    <a:pt x="2683" y="717"/>
                  </a:lnTo>
                  <a:lnTo>
                    <a:pt x="2683" y="717"/>
                  </a:lnTo>
                  <a:lnTo>
                    <a:pt x="2683" y="717"/>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723"/>
                  </a:lnTo>
                  <a:lnTo>
                    <a:pt x="2661" y="723"/>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743"/>
                  </a:lnTo>
                  <a:lnTo>
                    <a:pt x="2648" y="743"/>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60"/>
                  </a:lnTo>
                  <a:lnTo>
                    <a:pt x="2613" y="760"/>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768"/>
                  </a:lnTo>
                  <a:lnTo>
                    <a:pt x="2531" y="768"/>
                  </a:lnTo>
                  <a:lnTo>
                    <a:pt x="2531" y="768"/>
                  </a:lnTo>
                  <a:lnTo>
                    <a:pt x="2531" y="768"/>
                  </a:lnTo>
                  <a:lnTo>
                    <a:pt x="2531" y="769"/>
                  </a:lnTo>
                  <a:lnTo>
                    <a:pt x="2531" y="769"/>
                  </a:lnTo>
                  <a:lnTo>
                    <a:pt x="2531" y="769"/>
                  </a:lnTo>
                  <a:lnTo>
                    <a:pt x="2531" y="769"/>
                  </a:lnTo>
                  <a:lnTo>
                    <a:pt x="2531" y="769"/>
                  </a:lnTo>
                  <a:lnTo>
                    <a:pt x="2531" y="769"/>
                  </a:lnTo>
                  <a:lnTo>
                    <a:pt x="2531" y="769"/>
                  </a:lnTo>
                  <a:lnTo>
                    <a:pt x="2531" y="76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772"/>
                  </a:lnTo>
                  <a:lnTo>
                    <a:pt x="2526" y="772"/>
                  </a:lnTo>
                  <a:lnTo>
                    <a:pt x="2526" y="772"/>
                  </a:lnTo>
                  <a:lnTo>
                    <a:pt x="2526" y="772"/>
                  </a:lnTo>
                  <a:lnTo>
                    <a:pt x="2526" y="772"/>
                  </a:lnTo>
                  <a:lnTo>
                    <a:pt x="2526" y="772"/>
                  </a:lnTo>
                  <a:lnTo>
                    <a:pt x="2526" y="772"/>
                  </a:lnTo>
                  <a:lnTo>
                    <a:pt x="2526" y="772"/>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80"/>
                  </a:lnTo>
                  <a:lnTo>
                    <a:pt x="2526" y="780"/>
                  </a:lnTo>
                  <a:lnTo>
                    <a:pt x="2526" y="780"/>
                  </a:lnTo>
                  <a:lnTo>
                    <a:pt x="2526" y="780"/>
                  </a:lnTo>
                  <a:lnTo>
                    <a:pt x="2526" y="782"/>
                  </a:lnTo>
                  <a:lnTo>
                    <a:pt x="2524" y="782"/>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798"/>
                  </a:lnTo>
                  <a:lnTo>
                    <a:pt x="2350" y="798"/>
                  </a:lnTo>
                  <a:lnTo>
                    <a:pt x="2350" y="799"/>
                  </a:lnTo>
                  <a:lnTo>
                    <a:pt x="2311" y="799"/>
                  </a:lnTo>
                  <a:lnTo>
                    <a:pt x="2311" y="799"/>
                  </a:lnTo>
                  <a:lnTo>
                    <a:pt x="2308" y="7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6"/>
                  </a:lnTo>
                  <a:lnTo>
                    <a:pt x="2298" y="806"/>
                  </a:lnTo>
                  <a:lnTo>
                    <a:pt x="2298" y="806"/>
                  </a:lnTo>
                  <a:lnTo>
                    <a:pt x="2298" y="806"/>
                  </a:lnTo>
                  <a:lnTo>
                    <a:pt x="2298" y="806"/>
                  </a:lnTo>
                  <a:lnTo>
                    <a:pt x="2294" y="806"/>
                  </a:lnTo>
                  <a:lnTo>
                    <a:pt x="2294" y="806"/>
                  </a:lnTo>
                  <a:lnTo>
                    <a:pt x="2293" y="806"/>
                  </a:lnTo>
                  <a:lnTo>
                    <a:pt x="2293" y="807"/>
                  </a:lnTo>
                  <a:lnTo>
                    <a:pt x="2292" y="807"/>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10"/>
                  </a:lnTo>
                  <a:lnTo>
                    <a:pt x="2273" y="810"/>
                  </a:lnTo>
                  <a:lnTo>
                    <a:pt x="2273" y="810"/>
                  </a:lnTo>
                  <a:lnTo>
                    <a:pt x="2273" y="810"/>
                  </a:lnTo>
                  <a:lnTo>
                    <a:pt x="2273" y="810"/>
                  </a:lnTo>
                  <a:lnTo>
                    <a:pt x="2273" y="810"/>
                  </a:lnTo>
                  <a:lnTo>
                    <a:pt x="2273" y="810"/>
                  </a:lnTo>
                  <a:lnTo>
                    <a:pt x="2273" y="810"/>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14"/>
                  </a:lnTo>
                  <a:lnTo>
                    <a:pt x="2249" y="814"/>
                  </a:lnTo>
                  <a:lnTo>
                    <a:pt x="2249" y="814"/>
                  </a:lnTo>
                  <a:lnTo>
                    <a:pt x="2243" y="814"/>
                  </a:lnTo>
                  <a:lnTo>
                    <a:pt x="2243" y="814"/>
                  </a:lnTo>
                  <a:lnTo>
                    <a:pt x="2241" y="814"/>
                  </a:lnTo>
                  <a:lnTo>
                    <a:pt x="2241" y="814"/>
                  </a:lnTo>
                  <a:lnTo>
                    <a:pt x="2241" y="814"/>
                  </a:lnTo>
                  <a:lnTo>
                    <a:pt x="2241" y="814"/>
                  </a:lnTo>
                  <a:lnTo>
                    <a:pt x="2240" y="814"/>
                  </a:lnTo>
                  <a:lnTo>
                    <a:pt x="2240" y="814"/>
                  </a:lnTo>
                  <a:lnTo>
                    <a:pt x="2240" y="814"/>
                  </a:lnTo>
                  <a:lnTo>
                    <a:pt x="2240" y="814"/>
                  </a:lnTo>
                  <a:lnTo>
                    <a:pt x="2240" y="814"/>
                  </a:lnTo>
                  <a:lnTo>
                    <a:pt x="2240"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8"/>
                  </a:lnTo>
                  <a:lnTo>
                    <a:pt x="2233" y="818"/>
                  </a:lnTo>
                  <a:lnTo>
                    <a:pt x="2233" y="818"/>
                  </a:lnTo>
                  <a:lnTo>
                    <a:pt x="2231" y="818"/>
                  </a:lnTo>
                  <a:lnTo>
                    <a:pt x="2231" y="818"/>
                  </a:lnTo>
                  <a:lnTo>
                    <a:pt x="2231" y="818"/>
                  </a:lnTo>
                  <a:lnTo>
                    <a:pt x="2231" y="818"/>
                  </a:lnTo>
                  <a:lnTo>
                    <a:pt x="2231" y="818"/>
                  </a:lnTo>
                  <a:lnTo>
                    <a:pt x="2231" y="818"/>
                  </a:lnTo>
                  <a:lnTo>
                    <a:pt x="2231" y="818"/>
                  </a:lnTo>
                  <a:lnTo>
                    <a:pt x="2231" y="818"/>
                  </a:lnTo>
                  <a:lnTo>
                    <a:pt x="2231" y="818"/>
                  </a:lnTo>
                  <a:lnTo>
                    <a:pt x="2231" y="820"/>
                  </a:lnTo>
                  <a:lnTo>
                    <a:pt x="2221" y="820"/>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28"/>
                  </a:lnTo>
                  <a:lnTo>
                    <a:pt x="2217" y="828"/>
                  </a:lnTo>
                  <a:lnTo>
                    <a:pt x="2217" y="828"/>
                  </a:lnTo>
                  <a:lnTo>
                    <a:pt x="2217" y="828"/>
                  </a:lnTo>
                  <a:lnTo>
                    <a:pt x="2217" y="828"/>
                  </a:lnTo>
                  <a:lnTo>
                    <a:pt x="2217" y="828"/>
                  </a:lnTo>
                  <a:lnTo>
                    <a:pt x="2217" y="829"/>
                  </a:lnTo>
                  <a:lnTo>
                    <a:pt x="2217" y="829"/>
                  </a:lnTo>
                  <a:lnTo>
                    <a:pt x="2217" y="829"/>
                  </a:lnTo>
                  <a:lnTo>
                    <a:pt x="2217" y="829"/>
                  </a:lnTo>
                  <a:lnTo>
                    <a:pt x="2217" y="831"/>
                  </a:lnTo>
                  <a:lnTo>
                    <a:pt x="2217" y="831"/>
                  </a:lnTo>
                  <a:lnTo>
                    <a:pt x="2217" y="833"/>
                  </a:lnTo>
                  <a:lnTo>
                    <a:pt x="2217" y="833"/>
                  </a:lnTo>
                  <a:lnTo>
                    <a:pt x="2217" y="833"/>
                  </a:lnTo>
                  <a:lnTo>
                    <a:pt x="2216" y="833"/>
                  </a:lnTo>
                  <a:lnTo>
                    <a:pt x="2216" y="833"/>
                  </a:lnTo>
                  <a:lnTo>
                    <a:pt x="2215" y="833"/>
                  </a:lnTo>
                  <a:lnTo>
                    <a:pt x="2215" y="833"/>
                  </a:lnTo>
                  <a:lnTo>
                    <a:pt x="2215" y="833"/>
                  </a:lnTo>
                  <a:lnTo>
                    <a:pt x="2215" y="833"/>
                  </a:lnTo>
                  <a:lnTo>
                    <a:pt x="2215" y="833"/>
                  </a:lnTo>
                  <a:lnTo>
                    <a:pt x="2215" y="834"/>
                  </a:lnTo>
                  <a:lnTo>
                    <a:pt x="2214" y="834"/>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40"/>
                  </a:lnTo>
                  <a:lnTo>
                    <a:pt x="2187" y="840"/>
                  </a:lnTo>
                  <a:lnTo>
                    <a:pt x="2187" y="840"/>
                  </a:lnTo>
                  <a:lnTo>
                    <a:pt x="2187" y="840"/>
                  </a:lnTo>
                  <a:lnTo>
                    <a:pt x="2187" y="840"/>
                  </a:lnTo>
                  <a:lnTo>
                    <a:pt x="2187" y="840"/>
                  </a:lnTo>
                  <a:lnTo>
                    <a:pt x="2187" y="840"/>
                  </a:lnTo>
                  <a:lnTo>
                    <a:pt x="2186" y="840"/>
                  </a:lnTo>
                  <a:lnTo>
                    <a:pt x="2186" y="840"/>
                  </a:lnTo>
                  <a:lnTo>
                    <a:pt x="2186" y="840"/>
                  </a:lnTo>
                  <a:lnTo>
                    <a:pt x="2186" y="840"/>
                  </a:lnTo>
                  <a:lnTo>
                    <a:pt x="2186" y="840"/>
                  </a:lnTo>
                  <a:lnTo>
                    <a:pt x="2186" y="840"/>
                  </a:lnTo>
                  <a:lnTo>
                    <a:pt x="2186" y="840"/>
                  </a:lnTo>
                  <a:lnTo>
                    <a:pt x="2186" y="840"/>
                  </a:lnTo>
                  <a:lnTo>
                    <a:pt x="2186" y="840"/>
                  </a:lnTo>
                  <a:lnTo>
                    <a:pt x="2186" y="844"/>
                  </a:lnTo>
                  <a:lnTo>
                    <a:pt x="2185" y="844"/>
                  </a:lnTo>
                  <a:lnTo>
                    <a:pt x="2185" y="844"/>
                  </a:lnTo>
                  <a:lnTo>
                    <a:pt x="2185" y="844"/>
                  </a:lnTo>
                  <a:lnTo>
                    <a:pt x="2185" y="848"/>
                  </a:lnTo>
                  <a:lnTo>
                    <a:pt x="2185" y="848"/>
                  </a:lnTo>
                  <a:lnTo>
                    <a:pt x="2185" y="848"/>
                  </a:lnTo>
                  <a:lnTo>
                    <a:pt x="2185" y="848"/>
                  </a:lnTo>
                  <a:lnTo>
                    <a:pt x="2185" y="848"/>
                  </a:lnTo>
                  <a:lnTo>
                    <a:pt x="2185" y="848"/>
                  </a:lnTo>
                  <a:lnTo>
                    <a:pt x="2185" y="848"/>
                  </a:lnTo>
                  <a:lnTo>
                    <a:pt x="2185" y="848"/>
                  </a:lnTo>
                  <a:lnTo>
                    <a:pt x="2185" y="849"/>
                  </a:lnTo>
                  <a:lnTo>
                    <a:pt x="2185" y="849"/>
                  </a:lnTo>
                  <a:lnTo>
                    <a:pt x="2185"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51"/>
                  </a:lnTo>
                  <a:lnTo>
                    <a:pt x="2183" y="851"/>
                  </a:lnTo>
                  <a:lnTo>
                    <a:pt x="2183" y="851"/>
                  </a:lnTo>
                  <a:lnTo>
                    <a:pt x="2183" y="851"/>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6"/>
                  </a:lnTo>
                  <a:lnTo>
                    <a:pt x="2182" y="856"/>
                  </a:lnTo>
                  <a:lnTo>
                    <a:pt x="2182" y="856"/>
                  </a:lnTo>
                  <a:lnTo>
                    <a:pt x="2182" y="856"/>
                  </a:lnTo>
                  <a:lnTo>
                    <a:pt x="2182" y="856"/>
                  </a:lnTo>
                  <a:lnTo>
                    <a:pt x="2182" y="856"/>
                  </a:lnTo>
                  <a:lnTo>
                    <a:pt x="2182" y="856"/>
                  </a:lnTo>
                  <a:lnTo>
                    <a:pt x="2182" y="856"/>
                  </a:lnTo>
                  <a:lnTo>
                    <a:pt x="2182" y="861"/>
                  </a:lnTo>
                  <a:lnTo>
                    <a:pt x="2178" y="861"/>
                  </a:lnTo>
                  <a:lnTo>
                    <a:pt x="2178" y="862"/>
                  </a:lnTo>
                  <a:lnTo>
                    <a:pt x="2176" y="862"/>
                  </a:lnTo>
                  <a:lnTo>
                    <a:pt x="2176" y="862"/>
                  </a:lnTo>
                  <a:lnTo>
                    <a:pt x="2175" y="862"/>
                  </a:lnTo>
                  <a:lnTo>
                    <a:pt x="2175" y="862"/>
                  </a:lnTo>
                  <a:lnTo>
                    <a:pt x="2175" y="862"/>
                  </a:lnTo>
                  <a:lnTo>
                    <a:pt x="2175" y="862"/>
                  </a:lnTo>
                  <a:lnTo>
                    <a:pt x="2175" y="862"/>
                  </a:lnTo>
                  <a:lnTo>
                    <a:pt x="2175" y="862"/>
                  </a:lnTo>
                  <a:lnTo>
                    <a:pt x="2175" y="862"/>
                  </a:lnTo>
                  <a:lnTo>
                    <a:pt x="2175" y="862"/>
                  </a:lnTo>
                  <a:lnTo>
                    <a:pt x="2175" y="862"/>
                  </a:lnTo>
                  <a:lnTo>
                    <a:pt x="2175" y="863"/>
                  </a:lnTo>
                  <a:lnTo>
                    <a:pt x="2158" y="863"/>
                  </a:lnTo>
                  <a:lnTo>
                    <a:pt x="2158" y="863"/>
                  </a:lnTo>
                  <a:lnTo>
                    <a:pt x="2155" y="863"/>
                  </a:lnTo>
                  <a:lnTo>
                    <a:pt x="2155" y="863"/>
                  </a:lnTo>
                  <a:lnTo>
                    <a:pt x="2155" y="863"/>
                  </a:lnTo>
                  <a:lnTo>
                    <a:pt x="2155" y="867"/>
                  </a:lnTo>
                  <a:lnTo>
                    <a:pt x="2154" y="867"/>
                  </a:lnTo>
                  <a:lnTo>
                    <a:pt x="2154" y="867"/>
                  </a:lnTo>
                  <a:lnTo>
                    <a:pt x="2154" y="867"/>
                  </a:lnTo>
                  <a:lnTo>
                    <a:pt x="2154" y="867"/>
                  </a:lnTo>
                  <a:lnTo>
                    <a:pt x="2154" y="867"/>
                  </a:lnTo>
                  <a:lnTo>
                    <a:pt x="2154" y="867"/>
                  </a:lnTo>
                  <a:lnTo>
                    <a:pt x="2154" y="867"/>
                  </a:lnTo>
                  <a:lnTo>
                    <a:pt x="2154" y="867"/>
                  </a:lnTo>
                  <a:lnTo>
                    <a:pt x="2154" y="867"/>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69"/>
                  </a:lnTo>
                  <a:lnTo>
                    <a:pt x="2153" y="869"/>
                  </a:lnTo>
                  <a:lnTo>
                    <a:pt x="2153" y="869"/>
                  </a:lnTo>
                  <a:lnTo>
                    <a:pt x="2152" y="869"/>
                  </a:lnTo>
                  <a:lnTo>
                    <a:pt x="2152" y="869"/>
                  </a:lnTo>
                  <a:lnTo>
                    <a:pt x="2152" y="869"/>
                  </a:lnTo>
                  <a:lnTo>
                    <a:pt x="2152" y="869"/>
                  </a:lnTo>
                  <a:lnTo>
                    <a:pt x="2152" y="869"/>
                  </a:lnTo>
                  <a:lnTo>
                    <a:pt x="2152" y="869"/>
                  </a:lnTo>
                  <a:lnTo>
                    <a:pt x="2152" y="869"/>
                  </a:lnTo>
                  <a:lnTo>
                    <a:pt x="2152" y="869"/>
                  </a:lnTo>
                  <a:lnTo>
                    <a:pt x="2152" y="869"/>
                  </a:lnTo>
                  <a:lnTo>
                    <a:pt x="2152" y="870"/>
                  </a:lnTo>
                  <a:lnTo>
                    <a:pt x="2151" y="870"/>
                  </a:lnTo>
                  <a:lnTo>
                    <a:pt x="2151" y="870"/>
                  </a:lnTo>
                  <a:lnTo>
                    <a:pt x="2151" y="870"/>
                  </a:lnTo>
                  <a:lnTo>
                    <a:pt x="2151" y="870"/>
                  </a:lnTo>
                  <a:lnTo>
                    <a:pt x="2151" y="870"/>
                  </a:lnTo>
                  <a:lnTo>
                    <a:pt x="2151" y="870"/>
                  </a:lnTo>
                  <a:lnTo>
                    <a:pt x="2151" y="870"/>
                  </a:lnTo>
                  <a:lnTo>
                    <a:pt x="2151" y="870"/>
                  </a:lnTo>
                  <a:lnTo>
                    <a:pt x="2151" y="870"/>
                  </a:lnTo>
                  <a:lnTo>
                    <a:pt x="2151" y="871"/>
                  </a:lnTo>
                  <a:lnTo>
                    <a:pt x="2151" y="871"/>
                  </a:lnTo>
                  <a:lnTo>
                    <a:pt x="2151" y="871"/>
                  </a:lnTo>
                  <a:lnTo>
                    <a:pt x="2151" y="871"/>
                  </a:lnTo>
                  <a:lnTo>
                    <a:pt x="2151" y="871"/>
                  </a:lnTo>
                  <a:lnTo>
                    <a:pt x="2151" y="871"/>
                  </a:lnTo>
                  <a:lnTo>
                    <a:pt x="2151" y="871"/>
                  </a:lnTo>
                  <a:lnTo>
                    <a:pt x="2151" y="871"/>
                  </a:lnTo>
                  <a:lnTo>
                    <a:pt x="2151"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87"/>
                  </a:lnTo>
                  <a:lnTo>
                    <a:pt x="2078" y="887"/>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9"/>
                  </a:lnTo>
                  <a:lnTo>
                    <a:pt x="2077" y="889"/>
                  </a:lnTo>
                  <a:lnTo>
                    <a:pt x="2077" y="889"/>
                  </a:lnTo>
                  <a:lnTo>
                    <a:pt x="2077" y="889"/>
                  </a:lnTo>
                  <a:lnTo>
                    <a:pt x="2077" y="899"/>
                  </a:lnTo>
                  <a:lnTo>
                    <a:pt x="2077" y="899"/>
                  </a:lnTo>
                  <a:lnTo>
                    <a:pt x="2077" y="899"/>
                  </a:lnTo>
                  <a:lnTo>
                    <a:pt x="2077" y="899"/>
                  </a:lnTo>
                  <a:lnTo>
                    <a:pt x="2077" y="899"/>
                  </a:lnTo>
                  <a:lnTo>
                    <a:pt x="2077" y="899"/>
                  </a:lnTo>
                  <a:lnTo>
                    <a:pt x="2077" y="892"/>
                  </a:lnTo>
                  <a:lnTo>
                    <a:pt x="2064" y="892"/>
                  </a:lnTo>
                  <a:lnTo>
                    <a:pt x="2064" y="892"/>
                  </a:lnTo>
                  <a:lnTo>
                    <a:pt x="2061" y="892"/>
                  </a:lnTo>
                  <a:lnTo>
                    <a:pt x="2061" y="892"/>
                  </a:lnTo>
                  <a:lnTo>
                    <a:pt x="2060" y="892"/>
                  </a:lnTo>
                  <a:lnTo>
                    <a:pt x="2060" y="892"/>
                  </a:lnTo>
                  <a:lnTo>
                    <a:pt x="2060" y="892"/>
                  </a:lnTo>
                  <a:lnTo>
                    <a:pt x="2060" y="892"/>
                  </a:lnTo>
                  <a:lnTo>
                    <a:pt x="2059" y="892"/>
                  </a:lnTo>
                  <a:lnTo>
                    <a:pt x="2059" y="892"/>
                  </a:lnTo>
                  <a:lnTo>
                    <a:pt x="2059" y="892"/>
                  </a:lnTo>
                  <a:lnTo>
                    <a:pt x="2059" y="892"/>
                  </a:lnTo>
                  <a:lnTo>
                    <a:pt x="2059" y="892"/>
                  </a:lnTo>
                  <a:lnTo>
                    <a:pt x="2059" y="893"/>
                  </a:lnTo>
                  <a:lnTo>
                    <a:pt x="2059" y="893"/>
                  </a:lnTo>
                  <a:lnTo>
                    <a:pt x="2059" y="893"/>
                  </a:lnTo>
                  <a:lnTo>
                    <a:pt x="2059" y="893"/>
                  </a:lnTo>
                  <a:lnTo>
                    <a:pt x="2059" y="894"/>
                  </a:lnTo>
                  <a:lnTo>
                    <a:pt x="2059" y="894"/>
                  </a:lnTo>
                  <a:lnTo>
                    <a:pt x="2059" y="894"/>
                  </a:lnTo>
                  <a:lnTo>
                    <a:pt x="2059" y="894"/>
                  </a:lnTo>
                  <a:lnTo>
                    <a:pt x="2059" y="896"/>
                  </a:lnTo>
                  <a:lnTo>
                    <a:pt x="2058" y="896"/>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908"/>
                  </a:lnTo>
                  <a:lnTo>
                    <a:pt x="2055" y="908"/>
                  </a:lnTo>
                  <a:lnTo>
                    <a:pt x="2055" y="908"/>
                  </a:lnTo>
                  <a:lnTo>
                    <a:pt x="2055" y="908"/>
                  </a:lnTo>
                  <a:lnTo>
                    <a:pt x="2055" y="908"/>
                  </a:lnTo>
                  <a:lnTo>
                    <a:pt x="2055" y="908"/>
                  </a:lnTo>
                  <a:lnTo>
                    <a:pt x="2055" y="908"/>
                  </a:lnTo>
                  <a:lnTo>
                    <a:pt x="2055" y="908"/>
                  </a:lnTo>
                  <a:lnTo>
                    <a:pt x="2055" y="910"/>
                  </a:lnTo>
                  <a:lnTo>
                    <a:pt x="2032" y="910"/>
                  </a:lnTo>
                  <a:lnTo>
                    <a:pt x="2032" y="910"/>
                  </a:lnTo>
                  <a:lnTo>
                    <a:pt x="2021" y="910"/>
                  </a:lnTo>
                  <a:lnTo>
                    <a:pt x="2021" y="910"/>
                  </a:lnTo>
                  <a:lnTo>
                    <a:pt x="1968" y="910"/>
                  </a:lnTo>
                  <a:lnTo>
                    <a:pt x="1968" y="910"/>
                  </a:lnTo>
                  <a:lnTo>
                    <a:pt x="1963" y="910"/>
                  </a:lnTo>
                  <a:lnTo>
                    <a:pt x="1963" y="910"/>
                  </a:lnTo>
                  <a:lnTo>
                    <a:pt x="1958" y="910"/>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6"/>
                  </a:lnTo>
                  <a:lnTo>
                    <a:pt x="1948" y="916"/>
                  </a:lnTo>
                  <a:lnTo>
                    <a:pt x="1948" y="916"/>
                  </a:lnTo>
                  <a:lnTo>
                    <a:pt x="1948" y="916"/>
                  </a:lnTo>
                  <a:lnTo>
                    <a:pt x="1948" y="916"/>
                  </a:lnTo>
                  <a:lnTo>
                    <a:pt x="1948" y="916"/>
                  </a:lnTo>
                  <a:lnTo>
                    <a:pt x="1948" y="916"/>
                  </a:lnTo>
                  <a:lnTo>
                    <a:pt x="1945" y="916"/>
                  </a:lnTo>
                  <a:lnTo>
                    <a:pt x="1945" y="916"/>
                  </a:lnTo>
                  <a:lnTo>
                    <a:pt x="1945" y="916"/>
                  </a:lnTo>
                  <a:lnTo>
                    <a:pt x="1945" y="916"/>
                  </a:lnTo>
                  <a:lnTo>
                    <a:pt x="1945" y="916"/>
                  </a:lnTo>
                  <a:lnTo>
                    <a:pt x="1945" y="916"/>
                  </a:lnTo>
                  <a:lnTo>
                    <a:pt x="1945" y="916"/>
                  </a:lnTo>
                  <a:lnTo>
                    <a:pt x="1945" y="899"/>
                  </a:lnTo>
                  <a:lnTo>
                    <a:pt x="1945" y="899"/>
                  </a:lnTo>
                  <a:lnTo>
                    <a:pt x="1945" y="899"/>
                  </a:lnTo>
                  <a:lnTo>
                    <a:pt x="1945" y="899"/>
                  </a:lnTo>
                  <a:lnTo>
                    <a:pt x="1945" y="899"/>
                  </a:lnTo>
                  <a:lnTo>
                    <a:pt x="1945" y="899"/>
                  </a:lnTo>
                  <a:lnTo>
                    <a:pt x="1945" y="920"/>
                  </a:lnTo>
                  <a:lnTo>
                    <a:pt x="1945" y="920"/>
                  </a:lnTo>
                  <a:lnTo>
                    <a:pt x="1945" y="920"/>
                  </a:lnTo>
                  <a:lnTo>
                    <a:pt x="1945" y="920"/>
                  </a:lnTo>
                  <a:lnTo>
                    <a:pt x="1945" y="920"/>
                  </a:lnTo>
                  <a:lnTo>
                    <a:pt x="1945" y="920"/>
                  </a:lnTo>
                  <a:lnTo>
                    <a:pt x="1945" y="920"/>
                  </a:lnTo>
                  <a:lnTo>
                    <a:pt x="1945" y="920"/>
                  </a:lnTo>
                  <a:lnTo>
                    <a:pt x="1945" y="920"/>
                  </a:lnTo>
                  <a:lnTo>
                    <a:pt x="1944" y="920"/>
                  </a:lnTo>
                  <a:lnTo>
                    <a:pt x="1944" y="920"/>
                  </a:lnTo>
                  <a:lnTo>
                    <a:pt x="1944" y="920"/>
                  </a:lnTo>
                  <a:lnTo>
                    <a:pt x="1944" y="921"/>
                  </a:lnTo>
                  <a:lnTo>
                    <a:pt x="1944" y="921"/>
                  </a:lnTo>
                  <a:lnTo>
                    <a:pt x="1944" y="921"/>
                  </a:lnTo>
                  <a:lnTo>
                    <a:pt x="1944" y="921"/>
                  </a:lnTo>
                  <a:lnTo>
                    <a:pt x="1944" y="921"/>
                  </a:lnTo>
                  <a:lnTo>
                    <a:pt x="1944" y="921"/>
                  </a:lnTo>
                  <a:lnTo>
                    <a:pt x="1944" y="921"/>
                  </a:lnTo>
                  <a:lnTo>
                    <a:pt x="1944" y="921"/>
                  </a:lnTo>
                  <a:lnTo>
                    <a:pt x="1944" y="924"/>
                  </a:lnTo>
                  <a:lnTo>
                    <a:pt x="1944" y="924"/>
                  </a:lnTo>
                  <a:lnTo>
                    <a:pt x="1944" y="924"/>
                  </a:lnTo>
                  <a:lnTo>
                    <a:pt x="1944" y="924"/>
                  </a:lnTo>
                  <a:lnTo>
                    <a:pt x="1944" y="925"/>
                  </a:lnTo>
                  <a:lnTo>
                    <a:pt x="1943" y="925"/>
                  </a:lnTo>
                  <a:lnTo>
                    <a:pt x="1943" y="925"/>
                  </a:lnTo>
                  <a:lnTo>
                    <a:pt x="1943" y="925"/>
                  </a:lnTo>
                  <a:lnTo>
                    <a:pt x="1943" y="929"/>
                  </a:lnTo>
                  <a:lnTo>
                    <a:pt x="1936" y="929"/>
                  </a:lnTo>
                  <a:lnTo>
                    <a:pt x="1936" y="929"/>
                  </a:lnTo>
                  <a:lnTo>
                    <a:pt x="1929" y="929"/>
                  </a:lnTo>
                  <a:lnTo>
                    <a:pt x="1929" y="929"/>
                  </a:lnTo>
                  <a:lnTo>
                    <a:pt x="1927" y="929"/>
                  </a:lnTo>
                  <a:lnTo>
                    <a:pt x="1927" y="929"/>
                  </a:lnTo>
                  <a:lnTo>
                    <a:pt x="1926" y="92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936"/>
                  </a:lnTo>
                  <a:lnTo>
                    <a:pt x="1902" y="936"/>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938"/>
                  </a:lnTo>
                  <a:lnTo>
                    <a:pt x="1901" y="938"/>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952"/>
                  </a:lnTo>
                  <a:lnTo>
                    <a:pt x="1854" y="952"/>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958"/>
                  </a:lnTo>
                  <a:lnTo>
                    <a:pt x="1852" y="958"/>
                  </a:lnTo>
                  <a:lnTo>
                    <a:pt x="1852" y="958"/>
                  </a:lnTo>
                  <a:lnTo>
                    <a:pt x="1852" y="958"/>
                  </a:lnTo>
                  <a:lnTo>
                    <a:pt x="1852" y="958"/>
                  </a:lnTo>
                  <a:lnTo>
                    <a:pt x="1852" y="958"/>
                  </a:lnTo>
                  <a:lnTo>
                    <a:pt x="1852" y="958"/>
                  </a:lnTo>
                  <a:lnTo>
                    <a:pt x="1852" y="958"/>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899"/>
                  </a:lnTo>
                  <a:lnTo>
                    <a:pt x="1852" y="899"/>
                  </a:lnTo>
                  <a:lnTo>
                    <a:pt x="1852" y="899"/>
                  </a:lnTo>
                  <a:lnTo>
                    <a:pt x="1852" y="899"/>
                  </a:lnTo>
                  <a:lnTo>
                    <a:pt x="1852" y="960"/>
                  </a:lnTo>
                  <a:lnTo>
                    <a:pt x="1852" y="960"/>
                  </a:lnTo>
                  <a:lnTo>
                    <a:pt x="1852" y="963"/>
                  </a:lnTo>
                  <a:lnTo>
                    <a:pt x="1847" y="963"/>
                  </a:lnTo>
                  <a:lnTo>
                    <a:pt x="1847" y="963"/>
                  </a:lnTo>
                  <a:lnTo>
                    <a:pt x="1846" y="963"/>
                  </a:lnTo>
                  <a:lnTo>
                    <a:pt x="1846" y="963"/>
                  </a:lnTo>
                  <a:lnTo>
                    <a:pt x="1845" y="963"/>
                  </a:lnTo>
                  <a:lnTo>
                    <a:pt x="1845" y="963"/>
                  </a:lnTo>
                  <a:lnTo>
                    <a:pt x="1845" y="963"/>
                  </a:lnTo>
                  <a:lnTo>
                    <a:pt x="1845" y="964"/>
                  </a:lnTo>
                  <a:lnTo>
                    <a:pt x="1844" y="964"/>
                  </a:lnTo>
                  <a:lnTo>
                    <a:pt x="1844" y="966"/>
                  </a:lnTo>
                  <a:lnTo>
                    <a:pt x="1820" y="966"/>
                  </a:lnTo>
                  <a:lnTo>
                    <a:pt x="1820" y="966"/>
                  </a:lnTo>
                  <a:lnTo>
                    <a:pt x="1817" y="966"/>
                  </a:lnTo>
                  <a:lnTo>
                    <a:pt x="1817" y="966"/>
                  </a:lnTo>
                  <a:lnTo>
                    <a:pt x="1817" y="966"/>
                  </a:lnTo>
                  <a:lnTo>
                    <a:pt x="1817" y="968"/>
                  </a:lnTo>
                  <a:lnTo>
                    <a:pt x="1815" y="968"/>
                  </a:lnTo>
                  <a:lnTo>
                    <a:pt x="1815" y="970"/>
                  </a:lnTo>
                  <a:lnTo>
                    <a:pt x="1814" y="970"/>
                  </a:lnTo>
                  <a:lnTo>
                    <a:pt x="1814" y="970"/>
                  </a:lnTo>
                  <a:lnTo>
                    <a:pt x="1814" y="970"/>
                  </a:lnTo>
                  <a:lnTo>
                    <a:pt x="1814" y="970"/>
                  </a:lnTo>
                  <a:lnTo>
                    <a:pt x="1814" y="970"/>
                  </a:lnTo>
                  <a:lnTo>
                    <a:pt x="1814" y="974"/>
                  </a:lnTo>
                  <a:lnTo>
                    <a:pt x="1814" y="974"/>
                  </a:lnTo>
                  <a:lnTo>
                    <a:pt x="1814" y="899"/>
                  </a:lnTo>
                  <a:lnTo>
                    <a:pt x="1808" y="899"/>
                  </a:lnTo>
                  <a:lnTo>
                    <a:pt x="1808" y="899"/>
                  </a:lnTo>
                  <a:lnTo>
                    <a:pt x="1804" y="899"/>
                  </a:lnTo>
                  <a:lnTo>
                    <a:pt x="1804" y="899"/>
                  </a:lnTo>
                  <a:lnTo>
                    <a:pt x="1803" y="899"/>
                  </a:lnTo>
                  <a:lnTo>
                    <a:pt x="1803" y="899"/>
                  </a:lnTo>
                  <a:lnTo>
                    <a:pt x="1802" y="899"/>
                  </a:lnTo>
                  <a:lnTo>
                    <a:pt x="1802" y="899"/>
                  </a:lnTo>
                  <a:lnTo>
                    <a:pt x="1802" y="899"/>
                  </a:lnTo>
                  <a:lnTo>
                    <a:pt x="1802" y="899"/>
                  </a:lnTo>
                  <a:lnTo>
                    <a:pt x="1801" y="899"/>
                  </a:lnTo>
                  <a:lnTo>
                    <a:pt x="1801" y="899"/>
                  </a:lnTo>
                  <a:lnTo>
                    <a:pt x="1801" y="899"/>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92"/>
                  </a:lnTo>
                  <a:lnTo>
                    <a:pt x="1737" y="992"/>
                  </a:lnTo>
                  <a:lnTo>
                    <a:pt x="1737" y="992"/>
                  </a:lnTo>
                  <a:lnTo>
                    <a:pt x="1706" y="992"/>
                  </a:lnTo>
                  <a:lnTo>
                    <a:pt x="1706" y="992"/>
                  </a:lnTo>
                  <a:lnTo>
                    <a:pt x="1706" y="992"/>
                  </a:lnTo>
                  <a:lnTo>
                    <a:pt x="1706" y="993"/>
                  </a:lnTo>
                  <a:lnTo>
                    <a:pt x="1703" y="993"/>
                  </a:lnTo>
                  <a:lnTo>
                    <a:pt x="1703" y="993"/>
                  </a:lnTo>
                  <a:lnTo>
                    <a:pt x="1703" y="993"/>
                  </a:lnTo>
                  <a:lnTo>
                    <a:pt x="1703" y="993"/>
                  </a:lnTo>
                  <a:lnTo>
                    <a:pt x="1702" y="993"/>
                  </a:lnTo>
                  <a:lnTo>
                    <a:pt x="1702" y="993"/>
                  </a:lnTo>
                  <a:lnTo>
                    <a:pt x="1702" y="993"/>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997"/>
                  </a:lnTo>
                  <a:lnTo>
                    <a:pt x="1699" y="997"/>
                  </a:lnTo>
                  <a:lnTo>
                    <a:pt x="1699" y="998"/>
                  </a:lnTo>
                  <a:lnTo>
                    <a:pt x="1699" y="998"/>
                  </a:lnTo>
                  <a:lnTo>
                    <a:pt x="1699" y="999"/>
                  </a:lnTo>
                  <a:lnTo>
                    <a:pt x="1699" y="999"/>
                  </a:lnTo>
                  <a:lnTo>
                    <a:pt x="1699" y="999"/>
                  </a:lnTo>
                  <a:lnTo>
                    <a:pt x="1699" y="999"/>
                  </a:lnTo>
                  <a:lnTo>
                    <a:pt x="1699" y="999"/>
                  </a:lnTo>
                  <a:lnTo>
                    <a:pt x="1699" y="999"/>
                  </a:lnTo>
                  <a:lnTo>
                    <a:pt x="1699" y="1003"/>
                  </a:lnTo>
                  <a:lnTo>
                    <a:pt x="1699" y="1003"/>
                  </a:lnTo>
                  <a:lnTo>
                    <a:pt x="1699" y="1004"/>
                  </a:lnTo>
                  <a:lnTo>
                    <a:pt x="1699" y="1004"/>
                  </a:lnTo>
                  <a:lnTo>
                    <a:pt x="1699" y="1004"/>
                  </a:lnTo>
                  <a:lnTo>
                    <a:pt x="1699" y="1004"/>
                  </a:lnTo>
                  <a:lnTo>
                    <a:pt x="1699" y="1005"/>
                  </a:lnTo>
                  <a:lnTo>
                    <a:pt x="1698" y="1005"/>
                  </a:lnTo>
                  <a:lnTo>
                    <a:pt x="1698" y="1005"/>
                  </a:lnTo>
                  <a:lnTo>
                    <a:pt x="1698" y="1005"/>
                  </a:lnTo>
                  <a:lnTo>
                    <a:pt x="1698" y="1006"/>
                  </a:lnTo>
                  <a:lnTo>
                    <a:pt x="1695" y="1006"/>
                  </a:lnTo>
                  <a:lnTo>
                    <a:pt x="1695" y="1006"/>
                  </a:lnTo>
                  <a:lnTo>
                    <a:pt x="1695" y="1006"/>
                  </a:lnTo>
                  <a:lnTo>
                    <a:pt x="1695" y="899"/>
                  </a:lnTo>
                  <a:lnTo>
                    <a:pt x="1687" y="899"/>
                  </a:lnTo>
                  <a:lnTo>
                    <a:pt x="1687" y="899"/>
                  </a:lnTo>
                  <a:lnTo>
                    <a:pt x="1683" y="899"/>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899"/>
                  </a:lnTo>
                  <a:lnTo>
                    <a:pt x="1576" y="899"/>
                  </a:lnTo>
                  <a:lnTo>
                    <a:pt x="1576" y="899"/>
                  </a:lnTo>
                  <a:lnTo>
                    <a:pt x="1558" y="899"/>
                  </a:lnTo>
                  <a:lnTo>
                    <a:pt x="1558" y="1011"/>
                  </a:lnTo>
                  <a:lnTo>
                    <a:pt x="1549" y="1011"/>
                  </a:lnTo>
                  <a:lnTo>
                    <a:pt x="1549" y="899"/>
                  </a:lnTo>
                  <a:lnTo>
                    <a:pt x="1544" y="899"/>
                  </a:lnTo>
                  <a:lnTo>
                    <a:pt x="1544" y="899"/>
                  </a:lnTo>
                  <a:lnTo>
                    <a:pt x="1541" y="899"/>
                  </a:lnTo>
                  <a:lnTo>
                    <a:pt x="1541" y="899"/>
                  </a:lnTo>
                  <a:lnTo>
                    <a:pt x="1539" y="899"/>
                  </a:lnTo>
                  <a:lnTo>
                    <a:pt x="1539" y="899"/>
                  </a:lnTo>
                  <a:lnTo>
                    <a:pt x="1538" y="899"/>
                  </a:lnTo>
                  <a:lnTo>
                    <a:pt x="1538" y="1011"/>
                  </a:lnTo>
                  <a:lnTo>
                    <a:pt x="1537" y="1011"/>
                  </a:lnTo>
                  <a:lnTo>
                    <a:pt x="1537" y="899"/>
                  </a:lnTo>
                  <a:lnTo>
                    <a:pt x="1536" y="899"/>
                  </a:lnTo>
                  <a:lnTo>
                    <a:pt x="1536" y="899"/>
                  </a:lnTo>
                  <a:lnTo>
                    <a:pt x="1536" y="899"/>
                  </a:lnTo>
                  <a:lnTo>
                    <a:pt x="1536" y="1011"/>
                  </a:lnTo>
                  <a:lnTo>
                    <a:pt x="1535" y="1011"/>
                  </a:lnTo>
                  <a:lnTo>
                    <a:pt x="1535" y="899"/>
                  </a:lnTo>
                  <a:lnTo>
                    <a:pt x="1535" y="899"/>
                  </a:lnTo>
                  <a:lnTo>
                    <a:pt x="1535" y="899"/>
                  </a:lnTo>
                  <a:lnTo>
                    <a:pt x="1535" y="899"/>
                  </a:lnTo>
                  <a:lnTo>
                    <a:pt x="1535" y="1012"/>
                  </a:lnTo>
                  <a:lnTo>
                    <a:pt x="1507" y="1012"/>
                  </a:lnTo>
                  <a:lnTo>
                    <a:pt x="1507" y="1012"/>
                  </a:lnTo>
                  <a:lnTo>
                    <a:pt x="1495" y="1012"/>
                  </a:lnTo>
                  <a:lnTo>
                    <a:pt x="1495" y="1014"/>
                  </a:lnTo>
                  <a:lnTo>
                    <a:pt x="1489" y="1014"/>
                  </a:lnTo>
                  <a:lnTo>
                    <a:pt x="1489" y="1014"/>
                  </a:lnTo>
                  <a:lnTo>
                    <a:pt x="1487" y="1014"/>
                  </a:lnTo>
                  <a:lnTo>
                    <a:pt x="1487" y="1014"/>
                  </a:lnTo>
                  <a:lnTo>
                    <a:pt x="1486" y="1014"/>
                  </a:lnTo>
                  <a:lnTo>
                    <a:pt x="1486" y="1014"/>
                  </a:lnTo>
                  <a:lnTo>
                    <a:pt x="1485" y="1014"/>
                  </a:lnTo>
                  <a:lnTo>
                    <a:pt x="1485" y="1016"/>
                  </a:lnTo>
                  <a:lnTo>
                    <a:pt x="1485" y="1016"/>
                  </a:lnTo>
                  <a:lnTo>
                    <a:pt x="1485" y="1016"/>
                  </a:lnTo>
                  <a:lnTo>
                    <a:pt x="1485" y="1016"/>
                  </a:lnTo>
                  <a:lnTo>
                    <a:pt x="1485" y="1017"/>
                  </a:lnTo>
                  <a:lnTo>
                    <a:pt x="1484" y="1017"/>
                  </a:lnTo>
                  <a:lnTo>
                    <a:pt x="1484" y="1017"/>
                  </a:lnTo>
                  <a:lnTo>
                    <a:pt x="1484" y="1017"/>
                  </a:lnTo>
                  <a:lnTo>
                    <a:pt x="1484" y="1017"/>
                  </a:lnTo>
                  <a:lnTo>
                    <a:pt x="1484" y="1017"/>
                  </a:lnTo>
                  <a:lnTo>
                    <a:pt x="1484" y="1019"/>
                  </a:lnTo>
                  <a:lnTo>
                    <a:pt x="1484" y="1019"/>
                  </a:lnTo>
                  <a:lnTo>
                    <a:pt x="1484" y="1020"/>
                  </a:lnTo>
                  <a:lnTo>
                    <a:pt x="1484" y="1020"/>
                  </a:lnTo>
                  <a:lnTo>
                    <a:pt x="1484" y="1020"/>
                  </a:lnTo>
                  <a:lnTo>
                    <a:pt x="1484" y="1020"/>
                  </a:lnTo>
                  <a:lnTo>
                    <a:pt x="1484" y="1020"/>
                  </a:lnTo>
                  <a:lnTo>
                    <a:pt x="1484" y="1020"/>
                  </a:lnTo>
                  <a:lnTo>
                    <a:pt x="1484" y="1021"/>
                  </a:lnTo>
                  <a:lnTo>
                    <a:pt x="1484" y="1021"/>
                  </a:lnTo>
                  <a:lnTo>
                    <a:pt x="1484" y="1024"/>
                  </a:lnTo>
                  <a:lnTo>
                    <a:pt x="1483" y="1024"/>
                  </a:lnTo>
                  <a:lnTo>
                    <a:pt x="1483" y="1024"/>
                  </a:lnTo>
                  <a:lnTo>
                    <a:pt x="1483" y="1024"/>
                  </a:lnTo>
                  <a:lnTo>
                    <a:pt x="1483" y="1025"/>
                  </a:lnTo>
                  <a:lnTo>
                    <a:pt x="1483" y="1025"/>
                  </a:lnTo>
                  <a:lnTo>
                    <a:pt x="1483" y="1026"/>
                  </a:lnTo>
                  <a:lnTo>
                    <a:pt x="1483" y="1026"/>
                  </a:lnTo>
                  <a:lnTo>
                    <a:pt x="1483" y="1026"/>
                  </a:lnTo>
                  <a:lnTo>
                    <a:pt x="1483" y="1026"/>
                  </a:lnTo>
                  <a:lnTo>
                    <a:pt x="1483"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7"/>
                  </a:lnTo>
                  <a:lnTo>
                    <a:pt x="1479" y="1027"/>
                  </a:lnTo>
                  <a:lnTo>
                    <a:pt x="1479" y="1028"/>
                  </a:lnTo>
                  <a:lnTo>
                    <a:pt x="1478" y="1028"/>
                  </a:lnTo>
                  <a:lnTo>
                    <a:pt x="1478" y="1029"/>
                  </a:lnTo>
                  <a:lnTo>
                    <a:pt x="1478" y="1029"/>
                  </a:lnTo>
                  <a:lnTo>
                    <a:pt x="1478" y="1029"/>
                  </a:lnTo>
                  <a:lnTo>
                    <a:pt x="1478" y="1029"/>
                  </a:lnTo>
                  <a:lnTo>
                    <a:pt x="1478" y="1029"/>
                  </a:lnTo>
                  <a:lnTo>
                    <a:pt x="1478" y="1029"/>
                  </a:lnTo>
                  <a:lnTo>
                    <a:pt x="1478" y="1029"/>
                  </a:lnTo>
                  <a:lnTo>
                    <a:pt x="1478" y="1029"/>
                  </a:lnTo>
                  <a:lnTo>
                    <a:pt x="1478" y="1031"/>
                  </a:lnTo>
                  <a:lnTo>
                    <a:pt x="1476" y="1031"/>
                  </a:lnTo>
                  <a:lnTo>
                    <a:pt x="1476" y="1032"/>
                  </a:lnTo>
                  <a:lnTo>
                    <a:pt x="1476" y="1032"/>
                  </a:lnTo>
                  <a:lnTo>
                    <a:pt x="1476" y="1032"/>
                  </a:lnTo>
                  <a:lnTo>
                    <a:pt x="1475" y="1032"/>
                  </a:lnTo>
                  <a:lnTo>
                    <a:pt x="1475" y="1032"/>
                  </a:lnTo>
                  <a:lnTo>
                    <a:pt x="1475" y="1032"/>
                  </a:lnTo>
                  <a:lnTo>
                    <a:pt x="1475" y="1033"/>
                  </a:lnTo>
                  <a:lnTo>
                    <a:pt x="1475" y="1033"/>
                  </a:lnTo>
                  <a:lnTo>
                    <a:pt x="1475" y="1033"/>
                  </a:lnTo>
                  <a:lnTo>
                    <a:pt x="1474" y="1033"/>
                  </a:lnTo>
                  <a:lnTo>
                    <a:pt x="1474" y="1034"/>
                  </a:lnTo>
                  <a:lnTo>
                    <a:pt x="1474" y="1034"/>
                  </a:lnTo>
                  <a:lnTo>
                    <a:pt x="1474" y="1034"/>
                  </a:lnTo>
                  <a:lnTo>
                    <a:pt x="1474" y="1034"/>
                  </a:lnTo>
                  <a:lnTo>
                    <a:pt x="1474" y="1035"/>
                  </a:lnTo>
                  <a:lnTo>
                    <a:pt x="1457" y="1035"/>
                  </a:lnTo>
                  <a:lnTo>
                    <a:pt x="1457" y="1035"/>
                  </a:lnTo>
                  <a:lnTo>
                    <a:pt x="1457" y="1035"/>
                  </a:lnTo>
                  <a:lnTo>
                    <a:pt x="1457" y="1036"/>
                  </a:lnTo>
                  <a:lnTo>
                    <a:pt x="1456" y="1036"/>
                  </a:lnTo>
                  <a:lnTo>
                    <a:pt x="1456" y="1036"/>
                  </a:lnTo>
                  <a:lnTo>
                    <a:pt x="1455" y="1036"/>
                  </a:lnTo>
                  <a:lnTo>
                    <a:pt x="1455" y="1036"/>
                  </a:lnTo>
                  <a:lnTo>
                    <a:pt x="1455" y="1036"/>
                  </a:lnTo>
                  <a:lnTo>
                    <a:pt x="1455" y="899"/>
                  </a:lnTo>
                  <a:lnTo>
                    <a:pt x="1455" y="899"/>
                  </a:lnTo>
                  <a:lnTo>
                    <a:pt x="1455" y="899"/>
                  </a:lnTo>
                  <a:lnTo>
                    <a:pt x="1455" y="899"/>
                  </a:lnTo>
                  <a:lnTo>
                    <a:pt x="1455" y="1036"/>
                  </a:lnTo>
                  <a:lnTo>
                    <a:pt x="1454" y="1036"/>
                  </a:lnTo>
                  <a:lnTo>
                    <a:pt x="1454" y="1037"/>
                  </a:lnTo>
                  <a:lnTo>
                    <a:pt x="1453" y="1037"/>
                  </a:lnTo>
                  <a:lnTo>
                    <a:pt x="1453" y="1037"/>
                  </a:lnTo>
                  <a:lnTo>
                    <a:pt x="1453" y="1037"/>
                  </a:lnTo>
                  <a:lnTo>
                    <a:pt x="1453" y="1038"/>
                  </a:lnTo>
                  <a:lnTo>
                    <a:pt x="1453" y="1038"/>
                  </a:lnTo>
                  <a:lnTo>
                    <a:pt x="1453" y="1038"/>
                  </a:lnTo>
                  <a:lnTo>
                    <a:pt x="1441" y="1038"/>
                  </a:lnTo>
                  <a:lnTo>
                    <a:pt x="1441" y="1038"/>
                  </a:lnTo>
                  <a:lnTo>
                    <a:pt x="1439" y="1038"/>
                  </a:lnTo>
                  <a:lnTo>
                    <a:pt x="1439" y="1038"/>
                  </a:lnTo>
                  <a:lnTo>
                    <a:pt x="1438" y="1038"/>
                  </a:lnTo>
                  <a:lnTo>
                    <a:pt x="1438" y="1038"/>
                  </a:lnTo>
                  <a:lnTo>
                    <a:pt x="1438" y="1038"/>
                  </a:lnTo>
                  <a:lnTo>
                    <a:pt x="1438" y="1039"/>
                  </a:lnTo>
                  <a:lnTo>
                    <a:pt x="1438" y="1039"/>
                  </a:lnTo>
                  <a:lnTo>
                    <a:pt x="1438" y="1039"/>
                  </a:lnTo>
                  <a:lnTo>
                    <a:pt x="1438" y="1039"/>
                  </a:lnTo>
                  <a:lnTo>
                    <a:pt x="1438" y="899"/>
                  </a:lnTo>
                  <a:lnTo>
                    <a:pt x="1437" y="899"/>
                  </a:lnTo>
                  <a:lnTo>
                    <a:pt x="1437" y="899"/>
                  </a:lnTo>
                  <a:lnTo>
                    <a:pt x="1436" y="899"/>
                  </a:lnTo>
                  <a:lnTo>
                    <a:pt x="1436" y="1040"/>
                  </a:lnTo>
                  <a:lnTo>
                    <a:pt x="1434" y="1040"/>
                  </a:lnTo>
                  <a:lnTo>
                    <a:pt x="1434" y="899"/>
                  </a:lnTo>
                  <a:lnTo>
                    <a:pt x="1434" y="899"/>
                  </a:lnTo>
                  <a:lnTo>
                    <a:pt x="1434" y="899"/>
                  </a:lnTo>
                  <a:lnTo>
                    <a:pt x="1434" y="899"/>
                  </a:lnTo>
                  <a:lnTo>
                    <a:pt x="1434" y="899"/>
                  </a:lnTo>
                  <a:lnTo>
                    <a:pt x="1434" y="899"/>
                  </a:lnTo>
                  <a:lnTo>
                    <a:pt x="1434" y="899"/>
                  </a:lnTo>
                  <a:lnTo>
                    <a:pt x="1434" y="899"/>
                  </a:lnTo>
                  <a:lnTo>
                    <a:pt x="1434" y="899"/>
                  </a:lnTo>
                  <a:lnTo>
                    <a:pt x="1434" y="899"/>
                  </a:lnTo>
                  <a:lnTo>
                    <a:pt x="1434" y="1040"/>
                  </a:lnTo>
                  <a:lnTo>
                    <a:pt x="1434" y="1040"/>
                  </a:lnTo>
                  <a:lnTo>
                    <a:pt x="1434" y="1041"/>
                  </a:lnTo>
                  <a:lnTo>
                    <a:pt x="1434" y="1041"/>
                  </a:lnTo>
                  <a:lnTo>
                    <a:pt x="1434" y="1042"/>
                  </a:lnTo>
                  <a:lnTo>
                    <a:pt x="1432" y="1042"/>
                  </a:lnTo>
                  <a:lnTo>
                    <a:pt x="1432" y="1042"/>
                  </a:lnTo>
                  <a:lnTo>
                    <a:pt x="1432" y="1042"/>
                  </a:lnTo>
                  <a:lnTo>
                    <a:pt x="1432" y="1042"/>
                  </a:lnTo>
                  <a:lnTo>
                    <a:pt x="1432" y="1042"/>
                  </a:lnTo>
                  <a:lnTo>
                    <a:pt x="1432" y="1042"/>
                  </a:lnTo>
                  <a:lnTo>
                    <a:pt x="1425" y="1042"/>
                  </a:lnTo>
                  <a:lnTo>
                    <a:pt x="1425" y="1042"/>
                  </a:lnTo>
                  <a:lnTo>
                    <a:pt x="1423" y="1042"/>
                  </a:lnTo>
                  <a:lnTo>
                    <a:pt x="1423" y="1042"/>
                  </a:lnTo>
                  <a:lnTo>
                    <a:pt x="1422" y="1042"/>
                  </a:lnTo>
                  <a:lnTo>
                    <a:pt x="1422" y="1042"/>
                  </a:lnTo>
                  <a:lnTo>
                    <a:pt x="1421" y="1042"/>
                  </a:lnTo>
                  <a:lnTo>
                    <a:pt x="1421" y="1043"/>
                  </a:lnTo>
                  <a:lnTo>
                    <a:pt x="1414" y="1043"/>
                  </a:lnTo>
                  <a:lnTo>
                    <a:pt x="1414" y="1043"/>
                  </a:lnTo>
                  <a:lnTo>
                    <a:pt x="1413" y="1043"/>
                  </a:lnTo>
                  <a:lnTo>
                    <a:pt x="1413" y="1043"/>
                  </a:lnTo>
                  <a:lnTo>
                    <a:pt x="1413" y="1043"/>
                  </a:lnTo>
                  <a:lnTo>
                    <a:pt x="1413" y="1043"/>
                  </a:lnTo>
                  <a:lnTo>
                    <a:pt x="1413" y="1043"/>
                  </a:lnTo>
                  <a:lnTo>
                    <a:pt x="1413"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6"/>
                  </a:lnTo>
                  <a:lnTo>
                    <a:pt x="1410" y="1046"/>
                  </a:lnTo>
                  <a:lnTo>
                    <a:pt x="1410" y="1046"/>
                  </a:lnTo>
                  <a:lnTo>
                    <a:pt x="1410" y="1046"/>
                  </a:lnTo>
                  <a:lnTo>
                    <a:pt x="1410" y="1047"/>
                  </a:lnTo>
                  <a:lnTo>
                    <a:pt x="1408" y="1047"/>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9"/>
                  </a:lnTo>
                  <a:lnTo>
                    <a:pt x="1408" y="104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1054"/>
                  </a:lnTo>
                  <a:lnTo>
                    <a:pt x="1404" y="1054"/>
                  </a:lnTo>
                  <a:lnTo>
                    <a:pt x="1404" y="1054"/>
                  </a:lnTo>
                  <a:lnTo>
                    <a:pt x="1404" y="1054"/>
                  </a:lnTo>
                  <a:lnTo>
                    <a:pt x="1404" y="1054"/>
                  </a:lnTo>
                  <a:lnTo>
                    <a:pt x="1404" y="1054"/>
                  </a:lnTo>
                  <a:lnTo>
                    <a:pt x="1404" y="1054"/>
                  </a:lnTo>
                  <a:lnTo>
                    <a:pt x="1404" y="1054"/>
                  </a:lnTo>
                  <a:lnTo>
                    <a:pt x="1404" y="1054"/>
                  </a:lnTo>
                  <a:lnTo>
                    <a:pt x="1403" y="1054"/>
                  </a:lnTo>
                  <a:lnTo>
                    <a:pt x="1403" y="1056"/>
                  </a:lnTo>
                  <a:lnTo>
                    <a:pt x="1403" y="1056"/>
                  </a:lnTo>
                  <a:lnTo>
                    <a:pt x="1403" y="1056"/>
                  </a:lnTo>
                  <a:lnTo>
                    <a:pt x="1399" y="1056"/>
                  </a:lnTo>
                  <a:lnTo>
                    <a:pt x="1399" y="1056"/>
                  </a:lnTo>
                  <a:lnTo>
                    <a:pt x="1399" y="1056"/>
                  </a:lnTo>
                  <a:lnTo>
                    <a:pt x="1399" y="1057"/>
                  </a:lnTo>
                  <a:lnTo>
                    <a:pt x="1399" y="1057"/>
                  </a:lnTo>
                  <a:lnTo>
                    <a:pt x="1399" y="1059"/>
                  </a:lnTo>
                  <a:lnTo>
                    <a:pt x="1399" y="1059"/>
                  </a:lnTo>
                  <a:lnTo>
                    <a:pt x="1399" y="1059"/>
                  </a:lnTo>
                  <a:lnTo>
                    <a:pt x="1397" y="1059"/>
                  </a:lnTo>
                  <a:lnTo>
                    <a:pt x="1397" y="1059"/>
                  </a:lnTo>
                  <a:lnTo>
                    <a:pt x="1396" y="1059"/>
                  </a:lnTo>
                  <a:lnTo>
                    <a:pt x="1396" y="1059"/>
                  </a:lnTo>
                  <a:lnTo>
                    <a:pt x="1396" y="1059"/>
                  </a:lnTo>
                  <a:lnTo>
                    <a:pt x="1396" y="1060"/>
                  </a:lnTo>
                  <a:lnTo>
                    <a:pt x="1392" y="1060"/>
                  </a:lnTo>
                  <a:lnTo>
                    <a:pt x="1392"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0" y="1060"/>
                  </a:lnTo>
                  <a:lnTo>
                    <a:pt x="1390" y="1060"/>
                  </a:lnTo>
                  <a:lnTo>
                    <a:pt x="1390" y="1060"/>
                  </a:lnTo>
                  <a:lnTo>
                    <a:pt x="1390" y="1060"/>
                  </a:lnTo>
                  <a:lnTo>
                    <a:pt x="1390" y="1060"/>
                  </a:lnTo>
                  <a:lnTo>
                    <a:pt x="1390" y="1060"/>
                  </a:lnTo>
                  <a:lnTo>
                    <a:pt x="1390" y="1060"/>
                  </a:lnTo>
                  <a:lnTo>
                    <a:pt x="1390" y="1060"/>
                  </a:lnTo>
                  <a:lnTo>
                    <a:pt x="1390" y="1060"/>
                  </a:lnTo>
                  <a:lnTo>
                    <a:pt x="1390" y="1061"/>
                  </a:lnTo>
                  <a:lnTo>
                    <a:pt x="1389" y="1061"/>
                  </a:lnTo>
                  <a:lnTo>
                    <a:pt x="1389" y="1061"/>
                  </a:lnTo>
                  <a:lnTo>
                    <a:pt x="1389" y="1061"/>
                  </a:lnTo>
                  <a:lnTo>
                    <a:pt x="1389" y="1061"/>
                  </a:lnTo>
                  <a:lnTo>
                    <a:pt x="1388" y="1061"/>
                  </a:lnTo>
                  <a:lnTo>
                    <a:pt x="1388" y="1061"/>
                  </a:lnTo>
                  <a:lnTo>
                    <a:pt x="1388" y="1061"/>
                  </a:lnTo>
                  <a:lnTo>
                    <a:pt x="1388" y="1062"/>
                  </a:lnTo>
                  <a:lnTo>
                    <a:pt x="1388" y="1062"/>
                  </a:lnTo>
                  <a:lnTo>
                    <a:pt x="1388" y="1063"/>
                  </a:lnTo>
                  <a:lnTo>
                    <a:pt x="1388" y="1063"/>
                  </a:lnTo>
                  <a:lnTo>
                    <a:pt x="1388" y="1063"/>
                  </a:lnTo>
                  <a:lnTo>
                    <a:pt x="1388" y="1063"/>
                  </a:lnTo>
                  <a:lnTo>
                    <a:pt x="1388" y="1064"/>
                  </a:lnTo>
                  <a:lnTo>
                    <a:pt x="1388" y="1064"/>
                  </a:lnTo>
                  <a:lnTo>
                    <a:pt x="1388" y="1064"/>
                  </a:lnTo>
                  <a:lnTo>
                    <a:pt x="1387" y="1064"/>
                  </a:lnTo>
                  <a:lnTo>
                    <a:pt x="1387" y="1064"/>
                  </a:lnTo>
                  <a:lnTo>
                    <a:pt x="1387" y="1064"/>
                  </a:lnTo>
                  <a:lnTo>
                    <a:pt x="1387" y="1064"/>
                  </a:lnTo>
                  <a:lnTo>
                    <a:pt x="1387" y="1064"/>
                  </a:lnTo>
                  <a:lnTo>
                    <a:pt x="1387" y="1064"/>
                  </a:lnTo>
                  <a:lnTo>
                    <a:pt x="1387" y="1064"/>
                  </a:lnTo>
                  <a:lnTo>
                    <a:pt x="1387" y="1064"/>
                  </a:lnTo>
                  <a:lnTo>
                    <a:pt x="1386" y="1064"/>
                  </a:lnTo>
                  <a:lnTo>
                    <a:pt x="1386" y="1064"/>
                  </a:lnTo>
                  <a:lnTo>
                    <a:pt x="1385" y="1064"/>
                  </a:lnTo>
                  <a:lnTo>
                    <a:pt x="1385" y="1064"/>
                  </a:lnTo>
                  <a:lnTo>
                    <a:pt x="1385" y="1064"/>
                  </a:lnTo>
                  <a:lnTo>
                    <a:pt x="1385" y="1068"/>
                  </a:lnTo>
                  <a:lnTo>
                    <a:pt x="1385" y="1068"/>
                  </a:lnTo>
                  <a:lnTo>
                    <a:pt x="1385" y="1069"/>
                  </a:lnTo>
                  <a:lnTo>
                    <a:pt x="1382" y="1069"/>
                  </a:lnTo>
                  <a:lnTo>
                    <a:pt x="1382" y="1069"/>
                  </a:lnTo>
                  <a:lnTo>
                    <a:pt x="1381" y="1069"/>
                  </a:lnTo>
                  <a:lnTo>
                    <a:pt x="1381" y="1069"/>
                  </a:lnTo>
                  <a:lnTo>
                    <a:pt x="1380" y="1069"/>
                  </a:lnTo>
                  <a:lnTo>
                    <a:pt x="1380" y="1072"/>
                  </a:lnTo>
                  <a:lnTo>
                    <a:pt x="1375" y="1072"/>
                  </a:lnTo>
                  <a:lnTo>
                    <a:pt x="1375" y="1073"/>
                  </a:lnTo>
                  <a:lnTo>
                    <a:pt x="1375" y="1073"/>
                  </a:lnTo>
                  <a:lnTo>
                    <a:pt x="1375" y="1074"/>
                  </a:lnTo>
                  <a:lnTo>
                    <a:pt x="1375" y="1074"/>
                  </a:lnTo>
                  <a:lnTo>
                    <a:pt x="1375" y="1074"/>
                  </a:lnTo>
                  <a:lnTo>
                    <a:pt x="1370" y="1074"/>
                  </a:lnTo>
                  <a:lnTo>
                    <a:pt x="1370" y="1074"/>
                  </a:lnTo>
                  <a:lnTo>
                    <a:pt x="1369" y="1074"/>
                  </a:lnTo>
                  <a:lnTo>
                    <a:pt x="1369" y="1074"/>
                  </a:lnTo>
                  <a:lnTo>
                    <a:pt x="1369" y="1074"/>
                  </a:lnTo>
                  <a:lnTo>
                    <a:pt x="1369" y="1076"/>
                  </a:lnTo>
                  <a:lnTo>
                    <a:pt x="1369" y="1076"/>
                  </a:lnTo>
                  <a:lnTo>
                    <a:pt x="1369" y="899"/>
                  </a:lnTo>
                  <a:lnTo>
                    <a:pt x="1369" y="899"/>
                  </a:lnTo>
                  <a:lnTo>
                    <a:pt x="1369" y="899"/>
                  </a:lnTo>
                  <a:lnTo>
                    <a:pt x="1369" y="899"/>
                  </a:lnTo>
                  <a:lnTo>
                    <a:pt x="1369" y="899"/>
                  </a:lnTo>
                  <a:lnTo>
                    <a:pt x="1369" y="899"/>
                  </a:lnTo>
                  <a:lnTo>
                    <a:pt x="1369" y="1077"/>
                  </a:lnTo>
                  <a:lnTo>
                    <a:pt x="1369" y="1077"/>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1088"/>
                  </a:lnTo>
                  <a:lnTo>
                    <a:pt x="1366" y="1088"/>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100"/>
                  </a:lnTo>
                  <a:lnTo>
                    <a:pt x="1354" y="1100"/>
                  </a:lnTo>
                  <a:lnTo>
                    <a:pt x="1354" y="1101"/>
                  </a:lnTo>
                  <a:lnTo>
                    <a:pt x="1354" y="1101"/>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10"/>
                  </a:lnTo>
                  <a:lnTo>
                    <a:pt x="1337" y="1110"/>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1114"/>
                  </a:lnTo>
                  <a:lnTo>
                    <a:pt x="1332" y="1114"/>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1116"/>
                  </a:lnTo>
                  <a:lnTo>
                    <a:pt x="1326" y="1116"/>
                  </a:lnTo>
                  <a:lnTo>
                    <a:pt x="1326" y="1116"/>
                  </a:lnTo>
                  <a:lnTo>
                    <a:pt x="1326" y="1116"/>
                  </a:lnTo>
                  <a:lnTo>
                    <a:pt x="1326" y="1116"/>
                  </a:lnTo>
                  <a:lnTo>
                    <a:pt x="1326" y="1116"/>
                  </a:lnTo>
                  <a:lnTo>
                    <a:pt x="1326" y="1116"/>
                  </a:lnTo>
                  <a:lnTo>
                    <a:pt x="1326" y="1116"/>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1"/>
                  </a:lnTo>
                  <a:lnTo>
                    <a:pt x="1319" y="1121"/>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1123"/>
                  </a:lnTo>
                  <a:lnTo>
                    <a:pt x="1259" y="1123"/>
                  </a:lnTo>
                  <a:lnTo>
                    <a:pt x="1259" y="1123"/>
                  </a:lnTo>
                  <a:lnTo>
                    <a:pt x="1255" y="1123"/>
                  </a:lnTo>
                  <a:lnTo>
                    <a:pt x="1255" y="1123"/>
                  </a:lnTo>
                  <a:lnTo>
                    <a:pt x="1253" y="1123"/>
                  </a:lnTo>
                  <a:lnTo>
                    <a:pt x="1253" y="1123"/>
                  </a:lnTo>
                  <a:lnTo>
                    <a:pt x="1252" y="1123"/>
                  </a:lnTo>
                  <a:lnTo>
                    <a:pt x="1252" y="1123"/>
                  </a:lnTo>
                  <a:lnTo>
                    <a:pt x="1251" y="1123"/>
                  </a:lnTo>
                  <a:lnTo>
                    <a:pt x="1251" y="1123"/>
                  </a:lnTo>
                  <a:lnTo>
                    <a:pt x="1251" y="1123"/>
                  </a:lnTo>
                  <a:lnTo>
                    <a:pt x="1251" y="1123"/>
                  </a:lnTo>
                  <a:lnTo>
                    <a:pt x="1250" y="1123"/>
                  </a:lnTo>
                  <a:lnTo>
                    <a:pt x="1250" y="1123"/>
                  </a:lnTo>
                  <a:lnTo>
                    <a:pt x="1250" y="1123"/>
                  </a:lnTo>
                  <a:lnTo>
                    <a:pt x="1250" y="1123"/>
                  </a:lnTo>
                  <a:lnTo>
                    <a:pt x="1250" y="1123"/>
                  </a:lnTo>
                  <a:lnTo>
                    <a:pt x="1250" y="1123"/>
                  </a:lnTo>
                  <a:lnTo>
                    <a:pt x="1250" y="1123"/>
                  </a:lnTo>
                  <a:lnTo>
                    <a:pt x="1250" y="1123"/>
                  </a:lnTo>
                  <a:lnTo>
                    <a:pt x="1249" y="1123"/>
                  </a:lnTo>
                  <a:lnTo>
                    <a:pt x="1249" y="1123"/>
                  </a:lnTo>
                  <a:lnTo>
                    <a:pt x="1249" y="1123"/>
                  </a:lnTo>
                  <a:lnTo>
                    <a:pt x="1249" y="1123"/>
                  </a:lnTo>
                  <a:lnTo>
                    <a:pt x="1249" y="1123"/>
                  </a:lnTo>
                  <a:lnTo>
                    <a:pt x="1249" y="1123"/>
                  </a:lnTo>
                  <a:lnTo>
                    <a:pt x="1249" y="1123"/>
                  </a:lnTo>
                  <a:lnTo>
                    <a:pt x="1249" y="1124"/>
                  </a:lnTo>
                  <a:lnTo>
                    <a:pt x="1249" y="1124"/>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9"/>
                  </a:lnTo>
                  <a:lnTo>
                    <a:pt x="1224" y="1129"/>
                  </a:lnTo>
                  <a:lnTo>
                    <a:pt x="1224" y="1131"/>
                  </a:lnTo>
                  <a:lnTo>
                    <a:pt x="1224" y="1131"/>
                  </a:lnTo>
                  <a:lnTo>
                    <a:pt x="1224" y="1131"/>
                  </a:lnTo>
                  <a:lnTo>
                    <a:pt x="1224" y="1131"/>
                  </a:lnTo>
                  <a:lnTo>
                    <a:pt x="1224" y="1131"/>
                  </a:lnTo>
                  <a:lnTo>
                    <a:pt x="1223" y="1131"/>
                  </a:lnTo>
                  <a:lnTo>
                    <a:pt x="1223" y="1131"/>
                  </a:lnTo>
                  <a:lnTo>
                    <a:pt x="1223" y="1131"/>
                  </a:lnTo>
                  <a:lnTo>
                    <a:pt x="1223" y="1132"/>
                  </a:lnTo>
                  <a:lnTo>
                    <a:pt x="1223" y="1132"/>
                  </a:lnTo>
                  <a:lnTo>
                    <a:pt x="1223" y="1132"/>
                  </a:lnTo>
                  <a:lnTo>
                    <a:pt x="1223" y="1132"/>
                  </a:lnTo>
                  <a:lnTo>
                    <a:pt x="1223" y="1132"/>
                  </a:lnTo>
                  <a:lnTo>
                    <a:pt x="1223" y="1132"/>
                  </a:lnTo>
                  <a:lnTo>
                    <a:pt x="1223" y="1132"/>
                  </a:lnTo>
                  <a:lnTo>
                    <a:pt x="1223" y="1132"/>
                  </a:lnTo>
                  <a:lnTo>
                    <a:pt x="1223" y="1133"/>
                  </a:lnTo>
                  <a:lnTo>
                    <a:pt x="1213" y="1133"/>
                  </a:lnTo>
                  <a:lnTo>
                    <a:pt x="1213" y="1133"/>
                  </a:lnTo>
                  <a:lnTo>
                    <a:pt x="1202" y="1133"/>
                  </a:lnTo>
                  <a:lnTo>
                    <a:pt x="1202" y="1133"/>
                  </a:lnTo>
                  <a:lnTo>
                    <a:pt x="1195" y="1133"/>
                  </a:lnTo>
                  <a:lnTo>
                    <a:pt x="1195" y="1133"/>
                  </a:lnTo>
                  <a:lnTo>
                    <a:pt x="1190" y="1133"/>
                  </a:lnTo>
                  <a:lnTo>
                    <a:pt x="1190" y="1133"/>
                  </a:lnTo>
                  <a:lnTo>
                    <a:pt x="1186" y="1133"/>
                  </a:lnTo>
                  <a:lnTo>
                    <a:pt x="1186" y="1133"/>
                  </a:lnTo>
                  <a:lnTo>
                    <a:pt x="1185" y="1133"/>
                  </a:lnTo>
                  <a:lnTo>
                    <a:pt x="1185" y="1133"/>
                  </a:lnTo>
                  <a:lnTo>
                    <a:pt x="1184" y="1133"/>
                  </a:lnTo>
                  <a:lnTo>
                    <a:pt x="1184" y="1133"/>
                  </a:lnTo>
                  <a:lnTo>
                    <a:pt x="1183" y="1133"/>
                  </a:lnTo>
                  <a:lnTo>
                    <a:pt x="1183" y="1133"/>
                  </a:lnTo>
                  <a:lnTo>
                    <a:pt x="1182" y="1133"/>
                  </a:lnTo>
                  <a:lnTo>
                    <a:pt x="1182" y="1133"/>
                  </a:lnTo>
                  <a:lnTo>
                    <a:pt x="1182" y="1133"/>
                  </a:lnTo>
                  <a:lnTo>
                    <a:pt x="1182" y="1133"/>
                  </a:lnTo>
                  <a:lnTo>
                    <a:pt x="1182" y="1133"/>
                  </a:lnTo>
                  <a:lnTo>
                    <a:pt x="1182"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1134"/>
                  </a:lnTo>
                  <a:lnTo>
                    <a:pt x="1181" y="1134"/>
                  </a:lnTo>
                  <a:lnTo>
                    <a:pt x="1181" y="1135"/>
                  </a:lnTo>
                  <a:lnTo>
                    <a:pt x="1180" y="1135"/>
                  </a:lnTo>
                  <a:lnTo>
                    <a:pt x="1180" y="1135"/>
                  </a:lnTo>
                  <a:lnTo>
                    <a:pt x="1179" y="1135"/>
                  </a:lnTo>
                  <a:lnTo>
                    <a:pt x="1179" y="1135"/>
                  </a:lnTo>
                  <a:lnTo>
                    <a:pt x="1179" y="1135"/>
                  </a:lnTo>
                  <a:lnTo>
                    <a:pt x="1179" y="1135"/>
                  </a:lnTo>
                  <a:lnTo>
                    <a:pt x="1179" y="1135"/>
                  </a:lnTo>
                  <a:lnTo>
                    <a:pt x="1179" y="1135"/>
                  </a:lnTo>
                  <a:lnTo>
                    <a:pt x="1179" y="1135"/>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04" y="1136"/>
                  </a:lnTo>
                  <a:lnTo>
                    <a:pt x="1104" y="1136"/>
                  </a:lnTo>
                  <a:lnTo>
                    <a:pt x="1102" y="1136"/>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1143"/>
                  </a:lnTo>
                  <a:lnTo>
                    <a:pt x="1069" y="1143"/>
                  </a:lnTo>
                  <a:lnTo>
                    <a:pt x="1069" y="1143"/>
                  </a:lnTo>
                  <a:lnTo>
                    <a:pt x="1069" y="1143"/>
                  </a:lnTo>
                  <a:lnTo>
                    <a:pt x="1069" y="1143"/>
                  </a:lnTo>
                  <a:lnTo>
                    <a:pt x="1069" y="1143"/>
                  </a:lnTo>
                  <a:lnTo>
                    <a:pt x="1069" y="1143"/>
                  </a:lnTo>
                  <a:lnTo>
                    <a:pt x="1069" y="1143"/>
                  </a:lnTo>
                  <a:lnTo>
                    <a:pt x="1069" y="1146"/>
                  </a:lnTo>
                  <a:lnTo>
                    <a:pt x="1069" y="1146"/>
                  </a:lnTo>
                  <a:lnTo>
                    <a:pt x="1069" y="1146"/>
                  </a:lnTo>
                  <a:lnTo>
                    <a:pt x="1069" y="1146"/>
                  </a:lnTo>
                  <a:lnTo>
                    <a:pt x="1069" y="1148"/>
                  </a:lnTo>
                  <a:lnTo>
                    <a:pt x="1067" y="1148"/>
                  </a:lnTo>
                  <a:lnTo>
                    <a:pt x="1067" y="1148"/>
                  </a:lnTo>
                  <a:lnTo>
                    <a:pt x="1067" y="1148"/>
                  </a:lnTo>
                  <a:lnTo>
                    <a:pt x="1067" y="1148"/>
                  </a:lnTo>
                  <a:lnTo>
                    <a:pt x="1067" y="1148"/>
                  </a:lnTo>
                  <a:lnTo>
                    <a:pt x="1067" y="1150"/>
                  </a:lnTo>
                  <a:lnTo>
                    <a:pt x="1062" y="1150"/>
                  </a:lnTo>
                  <a:lnTo>
                    <a:pt x="1062" y="1150"/>
                  </a:lnTo>
                  <a:lnTo>
                    <a:pt x="1061" y="1150"/>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5"/>
                  </a:lnTo>
                  <a:lnTo>
                    <a:pt x="1037" y="1155"/>
                  </a:lnTo>
                  <a:lnTo>
                    <a:pt x="1037" y="1155"/>
                  </a:lnTo>
                  <a:lnTo>
                    <a:pt x="1037" y="1155"/>
                  </a:lnTo>
                  <a:lnTo>
                    <a:pt x="1037" y="1155"/>
                  </a:lnTo>
                  <a:lnTo>
                    <a:pt x="1028" y="1155"/>
                  </a:lnTo>
                  <a:lnTo>
                    <a:pt x="1028" y="1155"/>
                  </a:lnTo>
                  <a:lnTo>
                    <a:pt x="1023" y="1155"/>
                  </a:lnTo>
                  <a:lnTo>
                    <a:pt x="1023" y="1155"/>
                  </a:lnTo>
                  <a:lnTo>
                    <a:pt x="1020" y="1155"/>
                  </a:lnTo>
                  <a:lnTo>
                    <a:pt x="1020" y="1155"/>
                  </a:lnTo>
                  <a:lnTo>
                    <a:pt x="1017" y="1155"/>
                  </a:lnTo>
                  <a:lnTo>
                    <a:pt x="1017" y="1155"/>
                  </a:lnTo>
                  <a:lnTo>
                    <a:pt x="1015" y="1155"/>
                  </a:lnTo>
                  <a:lnTo>
                    <a:pt x="1015" y="1155"/>
                  </a:lnTo>
                  <a:lnTo>
                    <a:pt x="1013" y="1155"/>
                  </a:lnTo>
                  <a:lnTo>
                    <a:pt x="1013" y="1155"/>
                  </a:lnTo>
                  <a:lnTo>
                    <a:pt x="1011" y="1155"/>
                  </a:lnTo>
                  <a:lnTo>
                    <a:pt x="1011" y="1155"/>
                  </a:lnTo>
                  <a:lnTo>
                    <a:pt x="1010" y="1155"/>
                  </a:lnTo>
                  <a:lnTo>
                    <a:pt x="1010" y="1155"/>
                  </a:lnTo>
                  <a:lnTo>
                    <a:pt x="1009" y="1155"/>
                  </a:lnTo>
                  <a:lnTo>
                    <a:pt x="1009" y="1155"/>
                  </a:lnTo>
                  <a:lnTo>
                    <a:pt x="1008" y="1155"/>
                  </a:lnTo>
                  <a:lnTo>
                    <a:pt x="1008" y="1155"/>
                  </a:lnTo>
                  <a:lnTo>
                    <a:pt x="1007" y="1155"/>
                  </a:lnTo>
                  <a:lnTo>
                    <a:pt x="1007" y="1155"/>
                  </a:lnTo>
                  <a:lnTo>
                    <a:pt x="1006" y="1155"/>
                  </a:lnTo>
                  <a:lnTo>
                    <a:pt x="1006" y="1155"/>
                  </a:lnTo>
                  <a:lnTo>
                    <a:pt x="1006" y="1155"/>
                  </a:lnTo>
                  <a:lnTo>
                    <a:pt x="1006"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7"/>
                  </a:lnTo>
                  <a:lnTo>
                    <a:pt x="1004" y="1157"/>
                  </a:lnTo>
                  <a:lnTo>
                    <a:pt x="1004" y="1158"/>
                  </a:lnTo>
                  <a:lnTo>
                    <a:pt x="1004" y="1158"/>
                  </a:lnTo>
                  <a:lnTo>
                    <a:pt x="1004" y="1164"/>
                  </a:lnTo>
                  <a:lnTo>
                    <a:pt x="1004" y="1164"/>
                  </a:lnTo>
                  <a:lnTo>
                    <a:pt x="1004" y="1164"/>
                  </a:lnTo>
                  <a:lnTo>
                    <a:pt x="1004" y="1164"/>
                  </a:lnTo>
                  <a:lnTo>
                    <a:pt x="1004" y="1167"/>
                  </a:lnTo>
                  <a:lnTo>
                    <a:pt x="1003" y="1167"/>
                  </a:lnTo>
                  <a:lnTo>
                    <a:pt x="1003" y="1167"/>
                  </a:lnTo>
                  <a:lnTo>
                    <a:pt x="1002" y="1167"/>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899"/>
                  </a:lnTo>
                  <a:lnTo>
                    <a:pt x="991" y="899"/>
                  </a:lnTo>
                  <a:lnTo>
                    <a:pt x="991" y="1173"/>
                  </a:lnTo>
                  <a:lnTo>
                    <a:pt x="990" y="1173"/>
                  </a:lnTo>
                  <a:lnTo>
                    <a:pt x="990" y="899"/>
                  </a:lnTo>
                  <a:lnTo>
                    <a:pt x="989" y="899"/>
                  </a:lnTo>
                  <a:lnTo>
                    <a:pt x="989" y="1173"/>
                  </a:lnTo>
                  <a:lnTo>
                    <a:pt x="989" y="1173"/>
                  </a:lnTo>
                  <a:lnTo>
                    <a:pt x="989" y="1173"/>
                  </a:lnTo>
                  <a:lnTo>
                    <a:pt x="989" y="1173"/>
                  </a:lnTo>
                  <a:lnTo>
                    <a:pt x="989" y="1173"/>
                  </a:lnTo>
                  <a:lnTo>
                    <a:pt x="989" y="1173"/>
                  </a:lnTo>
                  <a:lnTo>
                    <a:pt x="989" y="1173"/>
                  </a:lnTo>
                  <a:lnTo>
                    <a:pt x="989" y="1173"/>
                  </a:lnTo>
                  <a:lnTo>
                    <a:pt x="989" y="1175"/>
                  </a:lnTo>
                  <a:lnTo>
                    <a:pt x="989" y="1175"/>
                  </a:lnTo>
                  <a:lnTo>
                    <a:pt x="989" y="1175"/>
                  </a:lnTo>
                  <a:lnTo>
                    <a:pt x="965" y="1175"/>
                  </a:lnTo>
                  <a:lnTo>
                    <a:pt x="965" y="1175"/>
                  </a:lnTo>
                  <a:lnTo>
                    <a:pt x="958" y="1175"/>
                  </a:lnTo>
                  <a:lnTo>
                    <a:pt x="958" y="1175"/>
                  </a:lnTo>
                  <a:lnTo>
                    <a:pt x="957" y="1175"/>
                  </a:lnTo>
                  <a:lnTo>
                    <a:pt x="957" y="1175"/>
                  </a:lnTo>
                  <a:lnTo>
                    <a:pt x="957" y="1175"/>
                  </a:lnTo>
                  <a:lnTo>
                    <a:pt x="957" y="1176"/>
                  </a:lnTo>
                  <a:lnTo>
                    <a:pt x="955" y="1176"/>
                  </a:lnTo>
                  <a:lnTo>
                    <a:pt x="955" y="1176"/>
                  </a:lnTo>
                  <a:lnTo>
                    <a:pt x="955" y="1176"/>
                  </a:lnTo>
                  <a:lnTo>
                    <a:pt x="955" y="1176"/>
                  </a:lnTo>
                  <a:lnTo>
                    <a:pt x="955" y="1176"/>
                  </a:lnTo>
                  <a:lnTo>
                    <a:pt x="955" y="1177"/>
                  </a:lnTo>
                  <a:lnTo>
                    <a:pt x="955" y="1177"/>
                  </a:lnTo>
                  <a:lnTo>
                    <a:pt x="955" y="1177"/>
                  </a:lnTo>
                  <a:lnTo>
                    <a:pt x="955" y="1177"/>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3"/>
                  </a:lnTo>
                  <a:lnTo>
                    <a:pt x="955" y="1183"/>
                  </a:lnTo>
                  <a:lnTo>
                    <a:pt x="955" y="1183"/>
                  </a:lnTo>
                  <a:lnTo>
                    <a:pt x="955" y="1183"/>
                  </a:lnTo>
                  <a:lnTo>
                    <a:pt x="955" y="1183"/>
                  </a:lnTo>
                  <a:lnTo>
                    <a:pt x="952" y="1183"/>
                  </a:lnTo>
                  <a:lnTo>
                    <a:pt x="952" y="1183"/>
                  </a:lnTo>
                  <a:lnTo>
                    <a:pt x="952" y="1183"/>
                  </a:lnTo>
                  <a:lnTo>
                    <a:pt x="952" y="1183"/>
                  </a:lnTo>
                  <a:lnTo>
                    <a:pt x="951" y="1183"/>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1192"/>
                  </a:lnTo>
                  <a:lnTo>
                    <a:pt x="938" y="1192"/>
                  </a:lnTo>
                  <a:lnTo>
                    <a:pt x="938" y="1192"/>
                  </a:lnTo>
                  <a:lnTo>
                    <a:pt x="936" y="1192"/>
                  </a:lnTo>
                  <a:lnTo>
                    <a:pt x="936" y="1192"/>
                  </a:lnTo>
                  <a:lnTo>
                    <a:pt x="936" y="1192"/>
                  </a:lnTo>
                  <a:lnTo>
                    <a:pt x="936" y="1192"/>
                  </a:lnTo>
                  <a:lnTo>
                    <a:pt x="935" y="1192"/>
                  </a:lnTo>
                  <a:lnTo>
                    <a:pt x="935" y="1192"/>
                  </a:lnTo>
                  <a:lnTo>
                    <a:pt x="935" y="1192"/>
                  </a:lnTo>
                  <a:lnTo>
                    <a:pt x="935" y="1192"/>
                  </a:lnTo>
                  <a:lnTo>
                    <a:pt x="935" y="1192"/>
                  </a:lnTo>
                  <a:lnTo>
                    <a:pt x="935" y="899"/>
                  </a:lnTo>
                  <a:lnTo>
                    <a:pt x="934" y="899"/>
                  </a:lnTo>
                  <a:lnTo>
                    <a:pt x="934" y="899"/>
                  </a:lnTo>
                  <a:lnTo>
                    <a:pt x="933" y="899"/>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7"/>
                  </a:lnTo>
                  <a:lnTo>
                    <a:pt x="932" y="1197"/>
                  </a:lnTo>
                  <a:lnTo>
                    <a:pt x="932" y="1198"/>
                  </a:lnTo>
                  <a:lnTo>
                    <a:pt x="931" y="1198"/>
                  </a:lnTo>
                  <a:lnTo>
                    <a:pt x="931" y="1199"/>
                  </a:lnTo>
                  <a:lnTo>
                    <a:pt x="929" y="1199"/>
                  </a:lnTo>
                  <a:lnTo>
                    <a:pt x="929" y="1199"/>
                  </a:lnTo>
                  <a:lnTo>
                    <a:pt x="928" y="11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2"/>
                  </a:lnTo>
                  <a:lnTo>
                    <a:pt x="913" y="1202"/>
                  </a:lnTo>
                  <a:lnTo>
                    <a:pt x="913" y="1202"/>
                  </a:lnTo>
                  <a:lnTo>
                    <a:pt x="912" y="1202"/>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0" y="1204"/>
                  </a:lnTo>
                  <a:lnTo>
                    <a:pt x="910" y="1204"/>
                  </a:lnTo>
                  <a:lnTo>
                    <a:pt x="910" y="1204"/>
                  </a:lnTo>
                  <a:lnTo>
                    <a:pt x="910" y="1204"/>
                  </a:lnTo>
                  <a:lnTo>
                    <a:pt x="909" y="1204"/>
                  </a:lnTo>
                  <a:lnTo>
                    <a:pt x="909" y="1205"/>
                  </a:lnTo>
                  <a:lnTo>
                    <a:pt x="907" y="1205"/>
                  </a:lnTo>
                  <a:lnTo>
                    <a:pt x="907" y="899"/>
                  </a:lnTo>
                  <a:lnTo>
                    <a:pt x="902" y="899"/>
                  </a:lnTo>
                  <a:lnTo>
                    <a:pt x="902" y="899"/>
                  </a:lnTo>
                  <a:lnTo>
                    <a:pt x="900" y="899"/>
                  </a:lnTo>
                  <a:lnTo>
                    <a:pt x="900" y="899"/>
                  </a:lnTo>
                  <a:lnTo>
                    <a:pt x="900" y="899"/>
                  </a:lnTo>
                  <a:lnTo>
                    <a:pt x="900" y="899"/>
                  </a:lnTo>
                  <a:lnTo>
                    <a:pt x="899" y="899"/>
                  </a:lnTo>
                  <a:lnTo>
                    <a:pt x="899" y="1207"/>
                  </a:lnTo>
                  <a:lnTo>
                    <a:pt x="899" y="1207"/>
                  </a:lnTo>
                  <a:lnTo>
                    <a:pt x="899" y="899"/>
                  </a:lnTo>
                  <a:lnTo>
                    <a:pt x="899" y="899"/>
                  </a:lnTo>
                  <a:lnTo>
                    <a:pt x="899" y="899"/>
                  </a:lnTo>
                  <a:lnTo>
                    <a:pt x="899" y="899"/>
                  </a:lnTo>
                  <a:lnTo>
                    <a:pt x="899" y="1208"/>
                  </a:lnTo>
                  <a:lnTo>
                    <a:pt x="899" y="1208"/>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1"/>
                  </a:lnTo>
                  <a:lnTo>
                    <a:pt x="887" y="1211"/>
                  </a:lnTo>
                  <a:lnTo>
                    <a:pt x="887" y="1211"/>
                  </a:lnTo>
                  <a:lnTo>
                    <a:pt x="887" y="1211"/>
                  </a:lnTo>
                  <a:lnTo>
                    <a:pt x="887" y="1211"/>
                  </a:lnTo>
                  <a:lnTo>
                    <a:pt x="887" y="1211"/>
                  </a:lnTo>
                  <a:lnTo>
                    <a:pt x="887" y="1212"/>
                  </a:lnTo>
                  <a:lnTo>
                    <a:pt x="887" y="1212"/>
                  </a:lnTo>
                  <a:lnTo>
                    <a:pt x="887"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6"/>
                  </a:lnTo>
                  <a:lnTo>
                    <a:pt x="882" y="1216"/>
                  </a:lnTo>
                  <a:lnTo>
                    <a:pt x="882" y="1216"/>
                  </a:lnTo>
                  <a:lnTo>
                    <a:pt x="881" y="1216"/>
                  </a:lnTo>
                  <a:lnTo>
                    <a:pt x="881" y="1216"/>
                  </a:lnTo>
                  <a:lnTo>
                    <a:pt x="881" y="1216"/>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1220"/>
                  </a:lnTo>
                  <a:lnTo>
                    <a:pt x="850" y="1220"/>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4"/>
                  </a:lnTo>
                  <a:lnTo>
                    <a:pt x="847" y="1224"/>
                  </a:lnTo>
                  <a:lnTo>
                    <a:pt x="847" y="1226"/>
                  </a:lnTo>
                  <a:lnTo>
                    <a:pt x="846" y="1226"/>
                  </a:lnTo>
                  <a:lnTo>
                    <a:pt x="846" y="1226"/>
                  </a:lnTo>
                  <a:lnTo>
                    <a:pt x="845" y="1226"/>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9"/>
                  </a:lnTo>
                  <a:lnTo>
                    <a:pt x="845" y="122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3"/>
                  </a:lnTo>
                  <a:lnTo>
                    <a:pt x="836" y="1233"/>
                  </a:lnTo>
                  <a:lnTo>
                    <a:pt x="836" y="1233"/>
                  </a:lnTo>
                  <a:lnTo>
                    <a:pt x="836" y="1233"/>
                  </a:lnTo>
                  <a:lnTo>
                    <a:pt x="836" y="1236"/>
                  </a:lnTo>
                  <a:lnTo>
                    <a:pt x="835" y="1236"/>
                  </a:lnTo>
                  <a:lnTo>
                    <a:pt x="835" y="899"/>
                  </a:lnTo>
                  <a:lnTo>
                    <a:pt x="835" y="899"/>
                  </a:lnTo>
                  <a:lnTo>
                    <a:pt x="835" y="899"/>
                  </a:lnTo>
                  <a:lnTo>
                    <a:pt x="835" y="899"/>
                  </a:lnTo>
                  <a:lnTo>
                    <a:pt x="835" y="1236"/>
                  </a:lnTo>
                  <a:lnTo>
                    <a:pt x="829" y="1236"/>
                  </a:lnTo>
                  <a:lnTo>
                    <a:pt x="829"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1"/>
                  </a:lnTo>
                  <a:lnTo>
                    <a:pt x="828" y="1241"/>
                  </a:lnTo>
                  <a:lnTo>
                    <a:pt x="828" y="1242"/>
                  </a:lnTo>
                  <a:lnTo>
                    <a:pt x="828" y="1242"/>
                  </a:lnTo>
                  <a:lnTo>
                    <a:pt x="828" y="1242"/>
                  </a:lnTo>
                  <a:lnTo>
                    <a:pt x="828" y="1242"/>
                  </a:lnTo>
                  <a:lnTo>
                    <a:pt x="828" y="1242"/>
                  </a:lnTo>
                  <a:lnTo>
                    <a:pt x="828" y="1242"/>
                  </a:lnTo>
                  <a:lnTo>
                    <a:pt x="828" y="1242"/>
                  </a:lnTo>
                  <a:lnTo>
                    <a:pt x="827" y="1242"/>
                  </a:lnTo>
                  <a:lnTo>
                    <a:pt x="827" y="1243"/>
                  </a:lnTo>
                  <a:lnTo>
                    <a:pt x="827" y="1243"/>
                  </a:lnTo>
                  <a:lnTo>
                    <a:pt x="827" y="1243"/>
                  </a:lnTo>
                  <a:lnTo>
                    <a:pt x="827" y="1243"/>
                  </a:lnTo>
                  <a:lnTo>
                    <a:pt x="827" y="1245"/>
                  </a:lnTo>
                  <a:lnTo>
                    <a:pt x="819" y="1245"/>
                  </a:lnTo>
                  <a:lnTo>
                    <a:pt x="819" y="1245"/>
                  </a:lnTo>
                  <a:lnTo>
                    <a:pt x="813" y="1245"/>
                  </a:lnTo>
                  <a:lnTo>
                    <a:pt x="813" y="1245"/>
                  </a:lnTo>
                  <a:lnTo>
                    <a:pt x="811" y="1245"/>
                  </a:lnTo>
                  <a:lnTo>
                    <a:pt x="811" y="1245"/>
                  </a:lnTo>
                  <a:lnTo>
                    <a:pt x="810" y="1245"/>
                  </a:lnTo>
                  <a:lnTo>
                    <a:pt x="810" y="1245"/>
                  </a:lnTo>
                  <a:lnTo>
                    <a:pt x="808" y="1245"/>
                  </a:lnTo>
                  <a:lnTo>
                    <a:pt x="808" y="1245"/>
                  </a:lnTo>
                  <a:lnTo>
                    <a:pt x="806" y="1245"/>
                  </a:lnTo>
                  <a:lnTo>
                    <a:pt x="806" y="1245"/>
                  </a:lnTo>
                  <a:lnTo>
                    <a:pt x="805" y="1245"/>
                  </a:lnTo>
                  <a:lnTo>
                    <a:pt x="805" y="1245"/>
                  </a:lnTo>
                  <a:lnTo>
                    <a:pt x="804" y="1245"/>
                  </a:lnTo>
                  <a:lnTo>
                    <a:pt x="804" y="1245"/>
                  </a:lnTo>
                  <a:lnTo>
                    <a:pt x="803" y="1245"/>
                  </a:lnTo>
                  <a:lnTo>
                    <a:pt x="803" y="1245"/>
                  </a:lnTo>
                  <a:lnTo>
                    <a:pt x="802" y="1245"/>
                  </a:lnTo>
                  <a:lnTo>
                    <a:pt x="802" y="1245"/>
                  </a:lnTo>
                  <a:lnTo>
                    <a:pt x="802" y="1245"/>
                  </a:lnTo>
                  <a:lnTo>
                    <a:pt x="802" y="1245"/>
                  </a:lnTo>
                  <a:lnTo>
                    <a:pt x="802" y="1245"/>
                  </a:lnTo>
                  <a:lnTo>
                    <a:pt x="802" y="1245"/>
                  </a:lnTo>
                  <a:lnTo>
                    <a:pt x="802" y="1245"/>
                  </a:lnTo>
                  <a:lnTo>
                    <a:pt x="802" y="1245"/>
                  </a:lnTo>
                  <a:lnTo>
                    <a:pt x="801" y="1245"/>
                  </a:lnTo>
                  <a:lnTo>
                    <a:pt x="801" y="1245"/>
                  </a:lnTo>
                  <a:lnTo>
                    <a:pt x="801" y="1245"/>
                  </a:lnTo>
                  <a:lnTo>
                    <a:pt x="801" y="1245"/>
                  </a:lnTo>
                  <a:lnTo>
                    <a:pt x="801" y="1245"/>
                  </a:lnTo>
                  <a:lnTo>
                    <a:pt x="801" y="1245"/>
                  </a:lnTo>
                  <a:lnTo>
                    <a:pt x="801" y="1245"/>
                  </a:lnTo>
                  <a:lnTo>
                    <a:pt x="801" y="1245"/>
                  </a:lnTo>
                  <a:lnTo>
                    <a:pt x="801" y="1245"/>
                  </a:lnTo>
                  <a:lnTo>
                    <a:pt x="801" y="1246"/>
                  </a:lnTo>
                  <a:lnTo>
                    <a:pt x="801" y="1246"/>
                  </a:lnTo>
                  <a:lnTo>
                    <a:pt x="801" y="1246"/>
                  </a:lnTo>
                  <a:lnTo>
                    <a:pt x="800" y="1246"/>
                  </a:lnTo>
                  <a:lnTo>
                    <a:pt x="800" y="1246"/>
                  </a:lnTo>
                  <a:lnTo>
                    <a:pt x="800" y="1246"/>
                  </a:lnTo>
                  <a:lnTo>
                    <a:pt x="800" y="1246"/>
                  </a:lnTo>
                  <a:lnTo>
                    <a:pt x="800" y="1246"/>
                  </a:lnTo>
                  <a:lnTo>
                    <a:pt x="800" y="1246"/>
                  </a:lnTo>
                  <a:lnTo>
                    <a:pt x="800" y="1246"/>
                  </a:lnTo>
                  <a:lnTo>
                    <a:pt x="800" y="1247"/>
                  </a:lnTo>
                  <a:lnTo>
                    <a:pt x="800" y="1247"/>
                  </a:lnTo>
                  <a:lnTo>
                    <a:pt x="800" y="1247"/>
                  </a:lnTo>
                  <a:lnTo>
                    <a:pt x="800" y="1247"/>
                  </a:lnTo>
                  <a:lnTo>
                    <a:pt x="800" y="1248"/>
                  </a:lnTo>
                  <a:lnTo>
                    <a:pt x="795" y="1248"/>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2" y="1248"/>
                  </a:lnTo>
                  <a:lnTo>
                    <a:pt x="792" y="1250"/>
                  </a:lnTo>
                  <a:lnTo>
                    <a:pt x="792" y="1250"/>
                  </a:lnTo>
                  <a:lnTo>
                    <a:pt x="792" y="1250"/>
                  </a:lnTo>
                  <a:lnTo>
                    <a:pt x="792" y="1250"/>
                  </a:lnTo>
                  <a:lnTo>
                    <a:pt x="792" y="899"/>
                  </a:lnTo>
                  <a:lnTo>
                    <a:pt x="786" y="899"/>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1252"/>
                  </a:lnTo>
                  <a:lnTo>
                    <a:pt x="777" y="1252"/>
                  </a:lnTo>
                  <a:lnTo>
                    <a:pt x="777" y="1252"/>
                  </a:lnTo>
                  <a:lnTo>
                    <a:pt x="777" y="1252"/>
                  </a:lnTo>
                  <a:lnTo>
                    <a:pt x="777" y="1252"/>
                  </a:lnTo>
                  <a:lnTo>
                    <a:pt x="777" y="1252"/>
                  </a:lnTo>
                  <a:lnTo>
                    <a:pt x="777" y="1253"/>
                  </a:lnTo>
                  <a:lnTo>
                    <a:pt x="768" y="1253"/>
                  </a:lnTo>
                  <a:lnTo>
                    <a:pt x="768" y="1253"/>
                  </a:lnTo>
                  <a:lnTo>
                    <a:pt x="768" y="1253"/>
                  </a:lnTo>
                  <a:lnTo>
                    <a:pt x="768" y="1256"/>
                  </a:lnTo>
                  <a:lnTo>
                    <a:pt x="768" y="1256"/>
                  </a:lnTo>
                  <a:lnTo>
                    <a:pt x="768"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9"/>
                  </a:lnTo>
                  <a:lnTo>
                    <a:pt x="752" y="1259"/>
                  </a:lnTo>
                  <a:lnTo>
                    <a:pt x="752" y="1259"/>
                  </a:lnTo>
                  <a:lnTo>
                    <a:pt x="752" y="1259"/>
                  </a:lnTo>
                  <a:lnTo>
                    <a:pt x="752" y="1259"/>
                  </a:lnTo>
                  <a:lnTo>
                    <a:pt x="752" y="1259"/>
                  </a:lnTo>
                  <a:lnTo>
                    <a:pt x="752" y="1261"/>
                  </a:lnTo>
                  <a:lnTo>
                    <a:pt x="743" y="1261"/>
                  </a:lnTo>
                  <a:lnTo>
                    <a:pt x="743" y="1261"/>
                  </a:lnTo>
                  <a:lnTo>
                    <a:pt x="737" y="1261"/>
                  </a:lnTo>
                  <a:lnTo>
                    <a:pt x="737" y="1261"/>
                  </a:lnTo>
                  <a:lnTo>
                    <a:pt x="737" y="1261"/>
                  </a:lnTo>
                  <a:lnTo>
                    <a:pt x="737" y="1261"/>
                  </a:lnTo>
                  <a:lnTo>
                    <a:pt x="737" y="1261"/>
                  </a:lnTo>
                  <a:lnTo>
                    <a:pt x="737" y="1262"/>
                  </a:lnTo>
                  <a:lnTo>
                    <a:pt x="737" y="1262"/>
                  </a:lnTo>
                  <a:lnTo>
                    <a:pt x="737" y="1262"/>
                  </a:lnTo>
                  <a:lnTo>
                    <a:pt x="736" y="1262"/>
                  </a:lnTo>
                  <a:lnTo>
                    <a:pt x="736" y="1262"/>
                  </a:lnTo>
                  <a:lnTo>
                    <a:pt x="736" y="1262"/>
                  </a:lnTo>
                  <a:lnTo>
                    <a:pt x="736" y="1264"/>
                  </a:lnTo>
                  <a:lnTo>
                    <a:pt x="736" y="1264"/>
                  </a:lnTo>
                  <a:lnTo>
                    <a:pt x="736" y="1264"/>
                  </a:lnTo>
                  <a:lnTo>
                    <a:pt x="736" y="1264"/>
                  </a:lnTo>
                  <a:lnTo>
                    <a:pt x="736" y="1265"/>
                  </a:lnTo>
                  <a:lnTo>
                    <a:pt x="736" y="1265"/>
                  </a:lnTo>
                  <a:lnTo>
                    <a:pt x="736" y="1265"/>
                  </a:lnTo>
                  <a:lnTo>
                    <a:pt x="736" y="1265"/>
                  </a:lnTo>
                  <a:lnTo>
                    <a:pt x="736" y="1265"/>
                  </a:lnTo>
                  <a:lnTo>
                    <a:pt x="732" y="1265"/>
                  </a:lnTo>
                  <a:lnTo>
                    <a:pt x="732" y="1265"/>
                  </a:lnTo>
                  <a:lnTo>
                    <a:pt x="728" y="1265"/>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1270"/>
                  </a:lnTo>
                  <a:lnTo>
                    <a:pt x="680" y="1270"/>
                  </a:lnTo>
                  <a:lnTo>
                    <a:pt x="680" y="1270"/>
                  </a:lnTo>
                  <a:lnTo>
                    <a:pt x="680" y="1270"/>
                  </a:lnTo>
                  <a:lnTo>
                    <a:pt x="680" y="1270"/>
                  </a:lnTo>
                  <a:lnTo>
                    <a:pt x="680" y="1270"/>
                  </a:lnTo>
                  <a:lnTo>
                    <a:pt x="680" y="1271"/>
                  </a:lnTo>
                  <a:lnTo>
                    <a:pt x="680" y="1271"/>
                  </a:lnTo>
                  <a:lnTo>
                    <a:pt x="680" y="1271"/>
                  </a:lnTo>
                  <a:lnTo>
                    <a:pt x="680" y="1271"/>
                  </a:lnTo>
                  <a:lnTo>
                    <a:pt x="680" y="1271"/>
                  </a:lnTo>
                  <a:lnTo>
                    <a:pt x="679" y="1271"/>
                  </a:lnTo>
                  <a:lnTo>
                    <a:pt x="679" y="1273"/>
                  </a:lnTo>
                  <a:lnTo>
                    <a:pt x="677" y="1273"/>
                  </a:lnTo>
                  <a:lnTo>
                    <a:pt x="677" y="1273"/>
                  </a:lnTo>
                  <a:lnTo>
                    <a:pt x="677" y="1273"/>
                  </a:lnTo>
                  <a:lnTo>
                    <a:pt x="677" y="1274"/>
                  </a:lnTo>
                  <a:lnTo>
                    <a:pt x="677" y="1274"/>
                  </a:lnTo>
                  <a:lnTo>
                    <a:pt x="677" y="1275"/>
                  </a:lnTo>
                  <a:lnTo>
                    <a:pt x="677" y="1275"/>
                  </a:lnTo>
                  <a:lnTo>
                    <a:pt x="677" y="1275"/>
                  </a:lnTo>
                  <a:lnTo>
                    <a:pt x="677" y="1275"/>
                  </a:lnTo>
                  <a:lnTo>
                    <a:pt x="677" y="1275"/>
                  </a:lnTo>
                  <a:lnTo>
                    <a:pt x="677" y="1275"/>
                  </a:lnTo>
                  <a:lnTo>
                    <a:pt x="677" y="1275"/>
                  </a:lnTo>
                  <a:lnTo>
                    <a:pt x="677" y="1275"/>
                  </a:lnTo>
                  <a:lnTo>
                    <a:pt x="677" y="1275"/>
                  </a:lnTo>
                  <a:lnTo>
                    <a:pt x="677" y="1275"/>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1276"/>
                  </a:lnTo>
                  <a:lnTo>
                    <a:pt x="674" y="1276"/>
                  </a:lnTo>
                  <a:lnTo>
                    <a:pt x="674" y="1276"/>
                  </a:lnTo>
                  <a:lnTo>
                    <a:pt x="673" y="1276"/>
                  </a:lnTo>
                  <a:lnTo>
                    <a:pt x="673" y="1276"/>
                  </a:lnTo>
                  <a:lnTo>
                    <a:pt x="673" y="1276"/>
                  </a:lnTo>
                  <a:lnTo>
                    <a:pt x="673" y="1276"/>
                  </a:lnTo>
                  <a:lnTo>
                    <a:pt x="673" y="1276"/>
                  </a:lnTo>
                  <a:lnTo>
                    <a:pt x="673" y="1276"/>
                  </a:lnTo>
                  <a:lnTo>
                    <a:pt x="673" y="1276"/>
                  </a:lnTo>
                  <a:lnTo>
                    <a:pt x="673" y="899"/>
                  </a:lnTo>
                  <a:lnTo>
                    <a:pt x="663" y="899"/>
                  </a:lnTo>
                  <a:lnTo>
                    <a:pt x="663" y="899"/>
                  </a:lnTo>
                  <a:lnTo>
                    <a:pt x="663" y="899"/>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1280"/>
                  </a:lnTo>
                  <a:lnTo>
                    <a:pt x="649" y="1280"/>
                  </a:lnTo>
                  <a:lnTo>
                    <a:pt x="649" y="1280"/>
                  </a:lnTo>
                  <a:lnTo>
                    <a:pt x="649" y="1280"/>
                  </a:lnTo>
                  <a:lnTo>
                    <a:pt x="649" y="1281"/>
                  </a:lnTo>
                  <a:lnTo>
                    <a:pt x="629" y="1281"/>
                  </a:lnTo>
                  <a:lnTo>
                    <a:pt x="629" y="1281"/>
                  </a:lnTo>
                  <a:lnTo>
                    <a:pt x="616" y="1281"/>
                  </a:lnTo>
                  <a:lnTo>
                    <a:pt x="616" y="1281"/>
                  </a:lnTo>
                  <a:lnTo>
                    <a:pt x="612" y="1281"/>
                  </a:lnTo>
                  <a:lnTo>
                    <a:pt x="612" y="1281"/>
                  </a:lnTo>
                  <a:lnTo>
                    <a:pt x="610" y="1281"/>
                  </a:lnTo>
                  <a:lnTo>
                    <a:pt x="610" y="1281"/>
                  </a:lnTo>
                  <a:lnTo>
                    <a:pt x="608" y="1281"/>
                  </a:lnTo>
                  <a:lnTo>
                    <a:pt x="608" y="1281"/>
                  </a:lnTo>
                  <a:lnTo>
                    <a:pt x="607" y="1281"/>
                  </a:lnTo>
                  <a:lnTo>
                    <a:pt x="607" y="1281"/>
                  </a:lnTo>
                  <a:lnTo>
                    <a:pt x="607" y="1281"/>
                  </a:lnTo>
                  <a:lnTo>
                    <a:pt x="607" y="1281"/>
                  </a:lnTo>
                  <a:lnTo>
                    <a:pt x="607" y="1281"/>
                  </a:lnTo>
                  <a:lnTo>
                    <a:pt x="607" y="1281"/>
                  </a:lnTo>
                  <a:lnTo>
                    <a:pt x="607" y="1281"/>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3"/>
                  </a:lnTo>
                  <a:lnTo>
                    <a:pt x="605" y="1283"/>
                  </a:lnTo>
                  <a:lnTo>
                    <a:pt x="605" y="1284"/>
                  </a:lnTo>
                  <a:lnTo>
                    <a:pt x="605" y="1284"/>
                  </a:lnTo>
                  <a:lnTo>
                    <a:pt x="605" y="1284"/>
                  </a:lnTo>
                  <a:lnTo>
                    <a:pt x="605" y="1284"/>
                  </a:lnTo>
                  <a:lnTo>
                    <a:pt x="605" y="1285"/>
                  </a:lnTo>
                  <a:lnTo>
                    <a:pt x="602" y="1285"/>
                  </a:lnTo>
                  <a:lnTo>
                    <a:pt x="602" y="1285"/>
                  </a:lnTo>
                  <a:lnTo>
                    <a:pt x="600" y="1285"/>
                  </a:lnTo>
                  <a:lnTo>
                    <a:pt x="600"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7"/>
                  </a:lnTo>
                  <a:lnTo>
                    <a:pt x="598" y="1287"/>
                  </a:lnTo>
                  <a:lnTo>
                    <a:pt x="598" y="1287"/>
                  </a:lnTo>
                  <a:lnTo>
                    <a:pt x="597" y="1287"/>
                  </a:lnTo>
                  <a:lnTo>
                    <a:pt x="597" y="1288"/>
                  </a:lnTo>
                  <a:lnTo>
                    <a:pt x="596" y="1288"/>
                  </a:lnTo>
                  <a:lnTo>
                    <a:pt x="596" y="1288"/>
                  </a:lnTo>
                  <a:lnTo>
                    <a:pt x="595" y="1288"/>
                  </a:lnTo>
                  <a:lnTo>
                    <a:pt x="595" y="1289"/>
                  </a:lnTo>
                  <a:lnTo>
                    <a:pt x="595" y="1289"/>
                  </a:lnTo>
                  <a:lnTo>
                    <a:pt x="595" y="1289"/>
                  </a:lnTo>
                  <a:lnTo>
                    <a:pt x="594" y="1289"/>
                  </a:lnTo>
                  <a:lnTo>
                    <a:pt x="594" y="1290"/>
                  </a:lnTo>
                  <a:lnTo>
                    <a:pt x="592" y="1290"/>
                  </a:lnTo>
                  <a:lnTo>
                    <a:pt x="592" y="1290"/>
                  </a:lnTo>
                  <a:lnTo>
                    <a:pt x="591" y="1290"/>
                  </a:lnTo>
                  <a:lnTo>
                    <a:pt x="591" y="1290"/>
                  </a:lnTo>
                  <a:lnTo>
                    <a:pt x="590" y="1290"/>
                  </a:lnTo>
                  <a:lnTo>
                    <a:pt x="590" y="1290"/>
                  </a:lnTo>
                  <a:lnTo>
                    <a:pt x="589" y="1290"/>
                  </a:lnTo>
                  <a:lnTo>
                    <a:pt x="589" y="1290"/>
                  </a:lnTo>
                  <a:lnTo>
                    <a:pt x="588" y="1290"/>
                  </a:lnTo>
                  <a:lnTo>
                    <a:pt x="588" y="1290"/>
                  </a:lnTo>
                  <a:lnTo>
                    <a:pt x="588" y="1290"/>
                  </a:lnTo>
                  <a:lnTo>
                    <a:pt x="588" y="1290"/>
                  </a:lnTo>
                  <a:lnTo>
                    <a:pt x="587" y="1290"/>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1"/>
                  </a:lnTo>
                  <a:lnTo>
                    <a:pt x="582" y="1291"/>
                  </a:lnTo>
                  <a:lnTo>
                    <a:pt x="582" y="1291"/>
                  </a:lnTo>
                  <a:lnTo>
                    <a:pt x="582" y="1291"/>
                  </a:lnTo>
                  <a:lnTo>
                    <a:pt x="582" y="1292"/>
                  </a:lnTo>
                  <a:lnTo>
                    <a:pt x="582" y="1292"/>
                  </a:lnTo>
                  <a:lnTo>
                    <a:pt x="582" y="1292"/>
                  </a:lnTo>
                  <a:lnTo>
                    <a:pt x="582" y="1292"/>
                  </a:lnTo>
                  <a:lnTo>
                    <a:pt x="582" y="1292"/>
                  </a:lnTo>
                  <a:lnTo>
                    <a:pt x="581" y="1292"/>
                  </a:lnTo>
                  <a:lnTo>
                    <a:pt x="581" y="1292"/>
                  </a:lnTo>
                  <a:lnTo>
                    <a:pt x="580" y="1292"/>
                  </a:lnTo>
                  <a:lnTo>
                    <a:pt x="580" y="1292"/>
                  </a:lnTo>
                  <a:lnTo>
                    <a:pt x="579" y="1292"/>
                  </a:lnTo>
                  <a:lnTo>
                    <a:pt x="579" y="1292"/>
                  </a:lnTo>
                  <a:lnTo>
                    <a:pt x="576" y="1292"/>
                  </a:lnTo>
                  <a:lnTo>
                    <a:pt x="576" y="1292"/>
                  </a:lnTo>
                  <a:lnTo>
                    <a:pt x="574" y="1292"/>
                  </a:lnTo>
                  <a:lnTo>
                    <a:pt x="574"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3"/>
                  </a:lnTo>
                  <a:lnTo>
                    <a:pt x="554" y="1293"/>
                  </a:lnTo>
                  <a:lnTo>
                    <a:pt x="554" y="1293"/>
                  </a:lnTo>
                  <a:lnTo>
                    <a:pt x="554" y="1293"/>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7"/>
                  </a:lnTo>
                  <a:lnTo>
                    <a:pt x="548" y="1297"/>
                  </a:lnTo>
                  <a:lnTo>
                    <a:pt x="548" y="1297"/>
                  </a:lnTo>
                  <a:lnTo>
                    <a:pt x="548" y="1297"/>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1299"/>
                  </a:lnTo>
                  <a:lnTo>
                    <a:pt x="529" y="1299"/>
                  </a:lnTo>
                  <a:lnTo>
                    <a:pt x="529" y="1299"/>
                  </a:lnTo>
                  <a:lnTo>
                    <a:pt x="529" y="1299"/>
                  </a:lnTo>
                  <a:lnTo>
                    <a:pt x="529" y="1300"/>
                  </a:lnTo>
                  <a:lnTo>
                    <a:pt x="528" y="1300"/>
                  </a:lnTo>
                  <a:lnTo>
                    <a:pt x="528"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2"/>
                  </a:lnTo>
                  <a:lnTo>
                    <a:pt x="526" y="1302"/>
                  </a:lnTo>
                  <a:lnTo>
                    <a:pt x="526" y="1302"/>
                  </a:lnTo>
                  <a:lnTo>
                    <a:pt x="526" y="1302"/>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899"/>
                  </a:lnTo>
                  <a:lnTo>
                    <a:pt x="525" y="899"/>
                  </a:lnTo>
                  <a:lnTo>
                    <a:pt x="525" y="899"/>
                  </a:lnTo>
                  <a:lnTo>
                    <a:pt x="525" y="899"/>
                  </a:lnTo>
                  <a:lnTo>
                    <a:pt x="525" y="899"/>
                  </a:lnTo>
                  <a:lnTo>
                    <a:pt x="522" y="899"/>
                  </a:lnTo>
                  <a:lnTo>
                    <a:pt x="522" y="1306"/>
                  </a:lnTo>
                  <a:lnTo>
                    <a:pt x="521" y="1306"/>
                  </a:lnTo>
                  <a:lnTo>
                    <a:pt x="521" y="899"/>
                  </a:lnTo>
                  <a:lnTo>
                    <a:pt x="520" y="899"/>
                  </a:lnTo>
                  <a:lnTo>
                    <a:pt x="520" y="899"/>
                  </a:lnTo>
                  <a:lnTo>
                    <a:pt x="520" y="899"/>
                  </a:lnTo>
                  <a:lnTo>
                    <a:pt x="520" y="899"/>
                  </a:lnTo>
                  <a:lnTo>
                    <a:pt x="519" y="899"/>
                  </a:lnTo>
                  <a:lnTo>
                    <a:pt x="519" y="899"/>
                  </a:lnTo>
                  <a:lnTo>
                    <a:pt x="519" y="899"/>
                  </a:lnTo>
                  <a:lnTo>
                    <a:pt x="519" y="899"/>
                  </a:lnTo>
                  <a:lnTo>
                    <a:pt x="519" y="899"/>
                  </a:lnTo>
                  <a:lnTo>
                    <a:pt x="519" y="899"/>
                  </a:lnTo>
                  <a:lnTo>
                    <a:pt x="519" y="899"/>
                  </a:lnTo>
                  <a:lnTo>
                    <a:pt x="519" y="1306"/>
                  </a:lnTo>
                  <a:lnTo>
                    <a:pt x="519" y="1306"/>
                  </a:lnTo>
                  <a:lnTo>
                    <a:pt x="519" y="899"/>
                  </a:lnTo>
                  <a:lnTo>
                    <a:pt x="519" y="899"/>
                  </a:lnTo>
                  <a:lnTo>
                    <a:pt x="519" y="899"/>
                  </a:lnTo>
                  <a:lnTo>
                    <a:pt x="519" y="899"/>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1312"/>
                  </a:lnTo>
                  <a:lnTo>
                    <a:pt x="510" y="1312"/>
                  </a:lnTo>
                  <a:lnTo>
                    <a:pt x="510" y="1314"/>
                  </a:lnTo>
                  <a:lnTo>
                    <a:pt x="510" y="1314"/>
                  </a:lnTo>
                  <a:lnTo>
                    <a:pt x="510" y="1314"/>
                  </a:lnTo>
                  <a:lnTo>
                    <a:pt x="510" y="1314"/>
                  </a:lnTo>
                  <a:lnTo>
                    <a:pt x="510" y="1314"/>
                  </a:lnTo>
                  <a:lnTo>
                    <a:pt x="477" y="1314"/>
                  </a:lnTo>
                  <a:lnTo>
                    <a:pt x="477" y="1314"/>
                  </a:lnTo>
                  <a:lnTo>
                    <a:pt x="477" y="1314"/>
                  </a:lnTo>
                  <a:lnTo>
                    <a:pt x="477" y="1315"/>
                  </a:lnTo>
                  <a:lnTo>
                    <a:pt x="477" y="1315"/>
                  </a:lnTo>
                  <a:lnTo>
                    <a:pt x="477" y="1315"/>
                  </a:lnTo>
                  <a:lnTo>
                    <a:pt x="475" y="1315"/>
                  </a:lnTo>
                  <a:lnTo>
                    <a:pt x="475" y="1316"/>
                  </a:lnTo>
                  <a:lnTo>
                    <a:pt x="474" y="1316"/>
                  </a:lnTo>
                  <a:lnTo>
                    <a:pt x="474" y="1317"/>
                  </a:lnTo>
                  <a:lnTo>
                    <a:pt x="472" y="1317"/>
                  </a:lnTo>
                  <a:lnTo>
                    <a:pt x="472" y="1317"/>
                  </a:lnTo>
                  <a:lnTo>
                    <a:pt x="472" y="1317"/>
                  </a:lnTo>
                  <a:lnTo>
                    <a:pt x="472" y="1317"/>
                  </a:lnTo>
                  <a:lnTo>
                    <a:pt x="471" y="1317"/>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1317"/>
                  </a:lnTo>
                  <a:lnTo>
                    <a:pt x="470" y="1317"/>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9"/>
                  </a:lnTo>
                  <a:lnTo>
                    <a:pt x="430" y="1329"/>
                  </a:lnTo>
                  <a:lnTo>
                    <a:pt x="430" y="1330"/>
                  </a:lnTo>
                  <a:lnTo>
                    <a:pt x="430" y="1330"/>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2"/>
                  </a:lnTo>
                  <a:lnTo>
                    <a:pt x="400" y="1332"/>
                  </a:lnTo>
                  <a:lnTo>
                    <a:pt x="400" y="1332"/>
                  </a:lnTo>
                  <a:lnTo>
                    <a:pt x="400" y="1332"/>
                  </a:lnTo>
                  <a:lnTo>
                    <a:pt x="400" y="1332"/>
                  </a:lnTo>
                  <a:lnTo>
                    <a:pt x="400" y="1332"/>
                  </a:lnTo>
                  <a:lnTo>
                    <a:pt x="400" y="1333"/>
                  </a:lnTo>
                  <a:lnTo>
                    <a:pt x="399" y="1333"/>
                  </a:lnTo>
                  <a:lnTo>
                    <a:pt x="399" y="1333"/>
                  </a:lnTo>
                  <a:lnTo>
                    <a:pt x="399" y="1333"/>
                  </a:lnTo>
                  <a:lnTo>
                    <a:pt x="399" y="1333"/>
                  </a:lnTo>
                  <a:lnTo>
                    <a:pt x="399" y="1333"/>
                  </a:lnTo>
                  <a:lnTo>
                    <a:pt x="399" y="1334"/>
                  </a:lnTo>
                  <a:lnTo>
                    <a:pt x="398" y="1334"/>
                  </a:lnTo>
                  <a:lnTo>
                    <a:pt x="398" y="1334"/>
                  </a:lnTo>
                  <a:lnTo>
                    <a:pt x="398" y="1334"/>
                  </a:lnTo>
                  <a:lnTo>
                    <a:pt x="398" y="1334"/>
                  </a:lnTo>
                  <a:lnTo>
                    <a:pt x="398" y="1334"/>
                  </a:lnTo>
                  <a:lnTo>
                    <a:pt x="398" y="1335"/>
                  </a:lnTo>
                  <a:lnTo>
                    <a:pt x="398" y="1335"/>
                  </a:lnTo>
                  <a:lnTo>
                    <a:pt x="398" y="1335"/>
                  </a:lnTo>
                  <a:lnTo>
                    <a:pt x="398" y="1335"/>
                  </a:lnTo>
                  <a:lnTo>
                    <a:pt x="398" y="1336"/>
                  </a:lnTo>
                  <a:lnTo>
                    <a:pt x="398" y="1336"/>
                  </a:lnTo>
                  <a:lnTo>
                    <a:pt x="398" y="1336"/>
                  </a:lnTo>
                  <a:lnTo>
                    <a:pt x="398" y="1336"/>
                  </a:lnTo>
                  <a:lnTo>
                    <a:pt x="398" y="1336"/>
                  </a:lnTo>
                  <a:lnTo>
                    <a:pt x="398" y="1336"/>
                  </a:lnTo>
                  <a:lnTo>
                    <a:pt x="398" y="1336"/>
                  </a:lnTo>
                  <a:lnTo>
                    <a:pt x="398" y="1336"/>
                  </a:lnTo>
                  <a:lnTo>
                    <a:pt x="398" y="1336"/>
                  </a:lnTo>
                  <a:lnTo>
                    <a:pt x="387" y="1336"/>
                  </a:lnTo>
                  <a:lnTo>
                    <a:pt x="387" y="1336"/>
                  </a:lnTo>
                  <a:lnTo>
                    <a:pt x="384" y="1336"/>
                  </a:lnTo>
                  <a:lnTo>
                    <a:pt x="384" y="1336"/>
                  </a:lnTo>
                  <a:lnTo>
                    <a:pt x="383" y="1336"/>
                  </a:lnTo>
                  <a:lnTo>
                    <a:pt x="383" y="1336"/>
                  </a:lnTo>
                  <a:lnTo>
                    <a:pt x="383" y="1336"/>
                  </a:lnTo>
                  <a:lnTo>
                    <a:pt x="383" y="1337"/>
                  </a:lnTo>
                  <a:lnTo>
                    <a:pt x="383" y="1337"/>
                  </a:lnTo>
                  <a:lnTo>
                    <a:pt x="383" y="1341"/>
                  </a:lnTo>
                  <a:lnTo>
                    <a:pt x="383" y="1341"/>
                  </a:lnTo>
                  <a:lnTo>
                    <a:pt x="383" y="1341"/>
                  </a:lnTo>
                  <a:lnTo>
                    <a:pt x="383" y="1341"/>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1348"/>
                  </a:lnTo>
                  <a:lnTo>
                    <a:pt x="382" y="1348"/>
                  </a:lnTo>
                  <a:lnTo>
                    <a:pt x="382" y="899"/>
                  </a:lnTo>
                  <a:lnTo>
                    <a:pt x="381" y="899"/>
                  </a:lnTo>
                  <a:lnTo>
                    <a:pt x="381" y="1349"/>
                  </a:lnTo>
                  <a:lnTo>
                    <a:pt x="380" y="1349"/>
                  </a:lnTo>
                  <a:lnTo>
                    <a:pt x="380" y="1349"/>
                  </a:lnTo>
                  <a:lnTo>
                    <a:pt x="379" y="1349"/>
                  </a:lnTo>
                  <a:lnTo>
                    <a:pt x="379" y="899"/>
                  </a:lnTo>
                  <a:lnTo>
                    <a:pt x="378" y="899"/>
                  </a:lnTo>
                  <a:lnTo>
                    <a:pt x="378" y="899"/>
                  </a:lnTo>
                  <a:lnTo>
                    <a:pt x="378" y="89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899"/>
                  </a:lnTo>
                  <a:lnTo>
                    <a:pt x="377" y="899"/>
                  </a:lnTo>
                  <a:lnTo>
                    <a:pt x="377" y="899"/>
                  </a:lnTo>
                  <a:lnTo>
                    <a:pt x="377" y="899"/>
                  </a:lnTo>
                  <a:lnTo>
                    <a:pt x="377" y="1349"/>
                  </a:lnTo>
                  <a:lnTo>
                    <a:pt x="377" y="1349"/>
                  </a:lnTo>
                  <a:lnTo>
                    <a:pt x="377" y="1349"/>
                  </a:lnTo>
                  <a:lnTo>
                    <a:pt x="377" y="1349"/>
                  </a:lnTo>
                  <a:lnTo>
                    <a:pt x="377" y="899"/>
                  </a:lnTo>
                  <a:lnTo>
                    <a:pt x="377" y="89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3"/>
                  </a:lnTo>
                  <a:lnTo>
                    <a:pt x="351" y="1353"/>
                  </a:lnTo>
                  <a:lnTo>
                    <a:pt x="351" y="1353"/>
                  </a:lnTo>
                  <a:lnTo>
                    <a:pt x="350" y="1353"/>
                  </a:lnTo>
                  <a:lnTo>
                    <a:pt x="350" y="1353"/>
                  </a:lnTo>
                  <a:lnTo>
                    <a:pt x="350" y="1353"/>
                  </a:lnTo>
                  <a:lnTo>
                    <a:pt x="350" y="1353"/>
                  </a:lnTo>
                  <a:lnTo>
                    <a:pt x="350" y="1353"/>
                  </a:lnTo>
                  <a:lnTo>
                    <a:pt x="350" y="899"/>
                  </a:lnTo>
                  <a:lnTo>
                    <a:pt x="348" y="899"/>
                  </a:lnTo>
                  <a:lnTo>
                    <a:pt x="348" y="899"/>
                  </a:lnTo>
                  <a:lnTo>
                    <a:pt x="347" y="899"/>
                  </a:lnTo>
                  <a:lnTo>
                    <a:pt x="347" y="899"/>
                  </a:lnTo>
                  <a:lnTo>
                    <a:pt x="347" y="899"/>
                  </a:lnTo>
                  <a:lnTo>
                    <a:pt x="347" y="899"/>
                  </a:lnTo>
                  <a:lnTo>
                    <a:pt x="346" y="899"/>
                  </a:lnTo>
                  <a:lnTo>
                    <a:pt x="346" y="899"/>
                  </a:lnTo>
                  <a:lnTo>
                    <a:pt x="346" y="899"/>
                  </a:lnTo>
                  <a:lnTo>
                    <a:pt x="346" y="899"/>
                  </a:lnTo>
                  <a:lnTo>
                    <a:pt x="346" y="899"/>
                  </a:lnTo>
                  <a:lnTo>
                    <a:pt x="346"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5" y="899"/>
                  </a:lnTo>
                  <a:lnTo>
                    <a:pt x="344" y="899"/>
                  </a:lnTo>
                  <a:lnTo>
                    <a:pt x="344" y="899"/>
                  </a:lnTo>
                  <a:lnTo>
                    <a:pt x="344" y="899"/>
                  </a:lnTo>
                  <a:lnTo>
                    <a:pt x="344" y="899"/>
                  </a:lnTo>
                  <a:lnTo>
                    <a:pt x="344" y="89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60"/>
                  </a:lnTo>
                  <a:lnTo>
                    <a:pt x="342" y="1360"/>
                  </a:lnTo>
                  <a:lnTo>
                    <a:pt x="342" y="1360"/>
                  </a:lnTo>
                  <a:lnTo>
                    <a:pt x="342" y="1360"/>
                  </a:lnTo>
                  <a:lnTo>
                    <a:pt x="342" y="1360"/>
                  </a:lnTo>
                  <a:lnTo>
                    <a:pt x="342" y="1360"/>
                  </a:lnTo>
                  <a:lnTo>
                    <a:pt x="342" y="1362"/>
                  </a:lnTo>
                  <a:lnTo>
                    <a:pt x="342" y="1362"/>
                  </a:lnTo>
                  <a:lnTo>
                    <a:pt x="342" y="1362"/>
                  </a:lnTo>
                  <a:lnTo>
                    <a:pt x="342" y="1362"/>
                  </a:lnTo>
                  <a:lnTo>
                    <a:pt x="342" y="1362"/>
                  </a:lnTo>
                  <a:lnTo>
                    <a:pt x="342" y="1362"/>
                  </a:lnTo>
                  <a:lnTo>
                    <a:pt x="342" y="1363"/>
                  </a:lnTo>
                  <a:lnTo>
                    <a:pt x="342" y="1363"/>
                  </a:lnTo>
                  <a:lnTo>
                    <a:pt x="342" y="1363"/>
                  </a:lnTo>
                  <a:lnTo>
                    <a:pt x="341" y="1363"/>
                  </a:lnTo>
                  <a:lnTo>
                    <a:pt x="341" y="1363"/>
                  </a:lnTo>
                  <a:lnTo>
                    <a:pt x="340" y="1363"/>
                  </a:lnTo>
                  <a:lnTo>
                    <a:pt x="340"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4"/>
                  </a:lnTo>
                  <a:lnTo>
                    <a:pt x="338" y="1364"/>
                  </a:lnTo>
                  <a:lnTo>
                    <a:pt x="338" y="1364"/>
                  </a:lnTo>
                  <a:lnTo>
                    <a:pt x="337" y="1364"/>
                  </a:lnTo>
                  <a:lnTo>
                    <a:pt x="337" y="1364"/>
                  </a:lnTo>
                  <a:lnTo>
                    <a:pt x="337" y="1364"/>
                  </a:lnTo>
                  <a:lnTo>
                    <a:pt x="337" y="1364"/>
                  </a:lnTo>
                  <a:lnTo>
                    <a:pt x="337" y="1364"/>
                  </a:lnTo>
                  <a:lnTo>
                    <a:pt x="337" y="1364"/>
                  </a:lnTo>
                  <a:lnTo>
                    <a:pt x="337" y="1364"/>
                  </a:lnTo>
                  <a:lnTo>
                    <a:pt x="337"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5"/>
                  </a:lnTo>
                  <a:lnTo>
                    <a:pt x="335" y="1365"/>
                  </a:lnTo>
                  <a:lnTo>
                    <a:pt x="335" y="1365"/>
                  </a:lnTo>
                  <a:lnTo>
                    <a:pt x="335" y="1365"/>
                  </a:lnTo>
                  <a:lnTo>
                    <a:pt x="335" y="1365"/>
                  </a:lnTo>
                  <a:lnTo>
                    <a:pt x="335" y="1365"/>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7"/>
                  </a:lnTo>
                  <a:lnTo>
                    <a:pt x="333" y="1367"/>
                  </a:lnTo>
                  <a:lnTo>
                    <a:pt x="333" y="1367"/>
                  </a:lnTo>
                  <a:lnTo>
                    <a:pt x="332" y="1367"/>
                  </a:lnTo>
                  <a:lnTo>
                    <a:pt x="332" y="1367"/>
                  </a:lnTo>
                  <a:lnTo>
                    <a:pt x="331" y="1367"/>
                  </a:lnTo>
                  <a:lnTo>
                    <a:pt x="331" y="1367"/>
                  </a:lnTo>
                  <a:lnTo>
                    <a:pt x="330" y="1367"/>
                  </a:lnTo>
                  <a:lnTo>
                    <a:pt x="330" y="1367"/>
                  </a:lnTo>
                  <a:lnTo>
                    <a:pt x="329" y="1367"/>
                  </a:lnTo>
                  <a:lnTo>
                    <a:pt x="329"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8"/>
                  </a:lnTo>
                  <a:lnTo>
                    <a:pt x="328" y="1368"/>
                  </a:lnTo>
                  <a:lnTo>
                    <a:pt x="328"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1374"/>
                  </a:lnTo>
                  <a:lnTo>
                    <a:pt x="309" y="1374"/>
                  </a:lnTo>
                  <a:lnTo>
                    <a:pt x="309" y="1378"/>
                  </a:lnTo>
                  <a:lnTo>
                    <a:pt x="309" y="1378"/>
                  </a:lnTo>
                  <a:lnTo>
                    <a:pt x="309" y="1380"/>
                  </a:lnTo>
                  <a:lnTo>
                    <a:pt x="309" y="1380"/>
                  </a:lnTo>
                  <a:lnTo>
                    <a:pt x="309" y="1380"/>
                  </a:lnTo>
                  <a:lnTo>
                    <a:pt x="309" y="1380"/>
                  </a:lnTo>
                  <a:lnTo>
                    <a:pt x="309" y="1380"/>
                  </a:lnTo>
                  <a:lnTo>
                    <a:pt x="309" y="1380"/>
                  </a:lnTo>
                  <a:lnTo>
                    <a:pt x="309" y="1383"/>
                  </a:lnTo>
                  <a:lnTo>
                    <a:pt x="308" y="1383"/>
                  </a:lnTo>
                  <a:lnTo>
                    <a:pt x="308" y="1383"/>
                  </a:lnTo>
                  <a:lnTo>
                    <a:pt x="307" y="1383"/>
                  </a:lnTo>
                  <a:lnTo>
                    <a:pt x="307" y="1383"/>
                  </a:lnTo>
                  <a:lnTo>
                    <a:pt x="307" y="1383"/>
                  </a:lnTo>
                  <a:lnTo>
                    <a:pt x="307" y="1385"/>
                  </a:lnTo>
                  <a:lnTo>
                    <a:pt x="301" y="1385"/>
                  </a:lnTo>
                  <a:lnTo>
                    <a:pt x="301" y="1385"/>
                  </a:lnTo>
                  <a:lnTo>
                    <a:pt x="299" y="1385"/>
                  </a:lnTo>
                  <a:lnTo>
                    <a:pt x="299" y="1385"/>
                  </a:lnTo>
                  <a:lnTo>
                    <a:pt x="297" y="1385"/>
                  </a:lnTo>
                  <a:lnTo>
                    <a:pt x="297" y="1385"/>
                  </a:lnTo>
                  <a:lnTo>
                    <a:pt x="296" y="1385"/>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899"/>
                  </a:lnTo>
                  <a:lnTo>
                    <a:pt x="290" y="899"/>
                  </a:lnTo>
                  <a:lnTo>
                    <a:pt x="290" y="899"/>
                  </a:lnTo>
                  <a:lnTo>
                    <a:pt x="289" y="899"/>
                  </a:lnTo>
                  <a:lnTo>
                    <a:pt x="289" y="899"/>
                  </a:lnTo>
                  <a:lnTo>
                    <a:pt x="288" y="899"/>
                  </a:lnTo>
                  <a:lnTo>
                    <a:pt x="288" y="899"/>
                  </a:lnTo>
                  <a:lnTo>
                    <a:pt x="288" y="899"/>
                  </a:lnTo>
                  <a:lnTo>
                    <a:pt x="288" y="1389"/>
                  </a:lnTo>
                  <a:lnTo>
                    <a:pt x="288" y="1389"/>
                  </a:lnTo>
                  <a:lnTo>
                    <a:pt x="288" y="1389"/>
                  </a:lnTo>
                  <a:lnTo>
                    <a:pt x="288" y="1389"/>
                  </a:lnTo>
                  <a:lnTo>
                    <a:pt x="288" y="899"/>
                  </a:lnTo>
                  <a:lnTo>
                    <a:pt x="288" y="899"/>
                  </a:lnTo>
                  <a:lnTo>
                    <a:pt x="288" y="1396"/>
                  </a:lnTo>
                  <a:lnTo>
                    <a:pt x="286" y="1396"/>
                  </a:lnTo>
                  <a:lnTo>
                    <a:pt x="286" y="1397"/>
                  </a:lnTo>
                  <a:lnTo>
                    <a:pt x="280" y="1397"/>
                  </a:lnTo>
                  <a:lnTo>
                    <a:pt x="280" y="1397"/>
                  </a:lnTo>
                  <a:lnTo>
                    <a:pt x="274" y="1397"/>
                  </a:lnTo>
                  <a:lnTo>
                    <a:pt x="274" y="1397"/>
                  </a:lnTo>
                  <a:lnTo>
                    <a:pt x="268" y="1397"/>
                  </a:lnTo>
                  <a:lnTo>
                    <a:pt x="268" y="1400"/>
                  </a:lnTo>
                  <a:lnTo>
                    <a:pt x="266" y="1400"/>
                  </a:lnTo>
                  <a:lnTo>
                    <a:pt x="266" y="1400"/>
                  </a:lnTo>
                  <a:lnTo>
                    <a:pt x="266" y="1400"/>
                  </a:lnTo>
                  <a:lnTo>
                    <a:pt x="266" y="1400"/>
                  </a:lnTo>
                  <a:lnTo>
                    <a:pt x="266" y="1400"/>
                  </a:lnTo>
                  <a:lnTo>
                    <a:pt x="266" y="1401"/>
                  </a:lnTo>
                  <a:lnTo>
                    <a:pt x="266" y="1401"/>
                  </a:lnTo>
                  <a:lnTo>
                    <a:pt x="266" y="1401"/>
                  </a:lnTo>
                  <a:lnTo>
                    <a:pt x="266" y="1401"/>
                  </a:lnTo>
                  <a:lnTo>
                    <a:pt x="266" y="1404"/>
                  </a:lnTo>
                  <a:lnTo>
                    <a:pt x="247" y="1404"/>
                  </a:lnTo>
                  <a:lnTo>
                    <a:pt x="247" y="1404"/>
                  </a:lnTo>
                  <a:lnTo>
                    <a:pt x="247" y="1404"/>
                  </a:lnTo>
                  <a:lnTo>
                    <a:pt x="247" y="899"/>
                  </a:lnTo>
                  <a:lnTo>
                    <a:pt x="247" y="899"/>
                  </a:lnTo>
                  <a:lnTo>
                    <a:pt x="247" y="1404"/>
                  </a:lnTo>
                  <a:lnTo>
                    <a:pt x="247" y="1404"/>
                  </a:lnTo>
                  <a:lnTo>
                    <a:pt x="247" y="1404"/>
                  </a:lnTo>
                  <a:lnTo>
                    <a:pt x="247" y="1404"/>
                  </a:lnTo>
                  <a:lnTo>
                    <a:pt x="247" y="1404"/>
                  </a:lnTo>
                  <a:lnTo>
                    <a:pt x="247" y="1404"/>
                  </a:lnTo>
                  <a:lnTo>
                    <a:pt x="247" y="1405"/>
                  </a:lnTo>
                  <a:lnTo>
                    <a:pt x="247" y="1405"/>
                  </a:lnTo>
                  <a:lnTo>
                    <a:pt x="247" y="1406"/>
                  </a:lnTo>
                  <a:lnTo>
                    <a:pt x="243" y="1406"/>
                  </a:lnTo>
                  <a:lnTo>
                    <a:pt x="243" y="1406"/>
                  </a:lnTo>
                  <a:lnTo>
                    <a:pt x="241" y="1406"/>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899"/>
                  </a:lnTo>
                  <a:lnTo>
                    <a:pt x="219" y="899"/>
                  </a:lnTo>
                  <a:lnTo>
                    <a:pt x="219" y="899"/>
                  </a:lnTo>
                  <a:lnTo>
                    <a:pt x="219" y="899"/>
                  </a:lnTo>
                  <a:lnTo>
                    <a:pt x="219" y="899"/>
                  </a:lnTo>
                  <a:lnTo>
                    <a:pt x="217" y="899"/>
                  </a:lnTo>
                  <a:lnTo>
                    <a:pt x="217" y="1420"/>
                  </a:lnTo>
                  <a:lnTo>
                    <a:pt x="213" y="1420"/>
                  </a:lnTo>
                  <a:lnTo>
                    <a:pt x="213" y="1420"/>
                  </a:lnTo>
                  <a:lnTo>
                    <a:pt x="211" y="1420"/>
                  </a:lnTo>
                  <a:lnTo>
                    <a:pt x="211" y="1420"/>
                  </a:lnTo>
                  <a:lnTo>
                    <a:pt x="210" y="1420"/>
                  </a:lnTo>
                  <a:lnTo>
                    <a:pt x="210"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07" y="1420"/>
                  </a:lnTo>
                  <a:lnTo>
                    <a:pt x="207" y="1420"/>
                  </a:lnTo>
                  <a:lnTo>
                    <a:pt x="207" y="1420"/>
                  </a:lnTo>
                  <a:lnTo>
                    <a:pt x="207" y="1420"/>
                  </a:lnTo>
                  <a:lnTo>
                    <a:pt x="207" y="1420"/>
                  </a:lnTo>
                  <a:lnTo>
                    <a:pt x="207" y="1425"/>
                  </a:lnTo>
                  <a:lnTo>
                    <a:pt x="206" y="1425"/>
                  </a:lnTo>
                  <a:lnTo>
                    <a:pt x="206" y="1425"/>
                  </a:lnTo>
                  <a:lnTo>
                    <a:pt x="205" y="1425"/>
                  </a:lnTo>
                  <a:lnTo>
                    <a:pt x="205" y="1425"/>
                  </a:lnTo>
                  <a:lnTo>
                    <a:pt x="204" y="1425"/>
                  </a:lnTo>
                  <a:lnTo>
                    <a:pt x="204" y="1426"/>
                  </a:lnTo>
                  <a:lnTo>
                    <a:pt x="204" y="1426"/>
                  </a:lnTo>
                  <a:lnTo>
                    <a:pt x="204" y="1426"/>
                  </a:lnTo>
                  <a:lnTo>
                    <a:pt x="204" y="1426"/>
                  </a:lnTo>
                  <a:lnTo>
                    <a:pt x="204" y="1426"/>
                  </a:lnTo>
                  <a:lnTo>
                    <a:pt x="204" y="1426"/>
                  </a:lnTo>
                  <a:lnTo>
                    <a:pt x="204" y="1429"/>
                  </a:lnTo>
                  <a:lnTo>
                    <a:pt x="204" y="1429"/>
                  </a:lnTo>
                  <a:lnTo>
                    <a:pt x="204" y="1430"/>
                  </a:lnTo>
                  <a:lnTo>
                    <a:pt x="204" y="1430"/>
                  </a:lnTo>
                  <a:lnTo>
                    <a:pt x="204" y="1430"/>
                  </a:lnTo>
                  <a:lnTo>
                    <a:pt x="167" y="1430"/>
                  </a:lnTo>
                  <a:lnTo>
                    <a:pt x="167" y="1430"/>
                  </a:lnTo>
                  <a:lnTo>
                    <a:pt x="160" y="1430"/>
                  </a:lnTo>
                  <a:lnTo>
                    <a:pt x="160" y="1430"/>
                  </a:lnTo>
                  <a:lnTo>
                    <a:pt x="160" y="1430"/>
                  </a:lnTo>
                  <a:lnTo>
                    <a:pt x="160" y="1430"/>
                  </a:lnTo>
                  <a:lnTo>
                    <a:pt x="160" y="1430"/>
                  </a:lnTo>
                  <a:lnTo>
                    <a:pt x="160" y="1431"/>
                  </a:lnTo>
                  <a:lnTo>
                    <a:pt x="160" y="1431"/>
                  </a:lnTo>
                  <a:lnTo>
                    <a:pt x="160" y="1431"/>
                  </a:lnTo>
                  <a:lnTo>
                    <a:pt x="160" y="1431"/>
                  </a:lnTo>
                  <a:lnTo>
                    <a:pt x="160" y="1431"/>
                  </a:lnTo>
                  <a:lnTo>
                    <a:pt x="160" y="1431"/>
                  </a:lnTo>
                  <a:lnTo>
                    <a:pt x="160" y="1434"/>
                  </a:lnTo>
                  <a:lnTo>
                    <a:pt x="152" y="1434"/>
                  </a:lnTo>
                  <a:lnTo>
                    <a:pt x="152" y="1439"/>
                  </a:lnTo>
                  <a:lnTo>
                    <a:pt x="152" y="1439"/>
                  </a:lnTo>
                  <a:lnTo>
                    <a:pt x="152" y="1439"/>
                  </a:lnTo>
                  <a:lnTo>
                    <a:pt x="152" y="1439"/>
                  </a:lnTo>
                  <a:lnTo>
                    <a:pt x="152" y="1439"/>
                  </a:lnTo>
                  <a:lnTo>
                    <a:pt x="151" y="1439"/>
                  </a:lnTo>
                  <a:lnTo>
                    <a:pt x="151" y="1441"/>
                  </a:lnTo>
                  <a:lnTo>
                    <a:pt x="151" y="1441"/>
                  </a:lnTo>
                  <a:lnTo>
                    <a:pt x="151" y="1441"/>
                  </a:lnTo>
                  <a:lnTo>
                    <a:pt x="151" y="1441"/>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3"/>
                  </a:lnTo>
                  <a:lnTo>
                    <a:pt x="151" y="1443"/>
                  </a:lnTo>
                  <a:lnTo>
                    <a:pt x="151" y="1443"/>
                  </a:lnTo>
                  <a:lnTo>
                    <a:pt x="151" y="1443"/>
                  </a:lnTo>
                  <a:lnTo>
                    <a:pt x="151" y="1443"/>
                  </a:lnTo>
                  <a:lnTo>
                    <a:pt x="151" y="1443"/>
                  </a:lnTo>
                  <a:lnTo>
                    <a:pt x="151" y="899"/>
                  </a:lnTo>
                  <a:lnTo>
                    <a:pt x="150" y="899"/>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9"/>
                  </a:lnTo>
                  <a:lnTo>
                    <a:pt x="148" y="1449"/>
                  </a:lnTo>
                  <a:lnTo>
                    <a:pt x="148" y="899"/>
                  </a:lnTo>
                  <a:lnTo>
                    <a:pt x="148" y="899"/>
                  </a:lnTo>
                  <a:lnTo>
                    <a:pt x="148" y="899"/>
                  </a:lnTo>
                  <a:lnTo>
                    <a:pt x="148" y="899"/>
                  </a:lnTo>
                  <a:lnTo>
                    <a:pt x="148" y="1451"/>
                  </a:lnTo>
                  <a:lnTo>
                    <a:pt x="147" y="1451"/>
                  </a:lnTo>
                  <a:lnTo>
                    <a:pt x="147" y="1452"/>
                  </a:lnTo>
                  <a:lnTo>
                    <a:pt x="147" y="1452"/>
                  </a:lnTo>
                  <a:lnTo>
                    <a:pt x="147" y="1452"/>
                  </a:lnTo>
                  <a:lnTo>
                    <a:pt x="147" y="1452"/>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8"/>
                  </a:lnTo>
                  <a:lnTo>
                    <a:pt x="141" y="1458"/>
                  </a:lnTo>
                  <a:lnTo>
                    <a:pt x="141" y="1458"/>
                  </a:lnTo>
                  <a:lnTo>
                    <a:pt x="140" y="1458"/>
                  </a:lnTo>
                  <a:lnTo>
                    <a:pt x="140" y="1458"/>
                  </a:lnTo>
                  <a:lnTo>
                    <a:pt x="140" y="1458"/>
                  </a:lnTo>
                  <a:lnTo>
                    <a:pt x="140" y="1458"/>
                  </a:lnTo>
                  <a:lnTo>
                    <a:pt x="140" y="1458"/>
                  </a:lnTo>
                  <a:lnTo>
                    <a:pt x="140" y="1460"/>
                  </a:lnTo>
                  <a:lnTo>
                    <a:pt x="140" y="1460"/>
                  </a:lnTo>
                  <a:lnTo>
                    <a:pt x="140" y="1460"/>
                  </a:lnTo>
                  <a:lnTo>
                    <a:pt x="140" y="1460"/>
                  </a:lnTo>
                  <a:lnTo>
                    <a:pt x="140" y="1460"/>
                  </a:lnTo>
                  <a:lnTo>
                    <a:pt x="140" y="1460"/>
                  </a:lnTo>
                  <a:lnTo>
                    <a:pt x="140" y="1461"/>
                  </a:lnTo>
                  <a:lnTo>
                    <a:pt x="140" y="1461"/>
                  </a:lnTo>
                  <a:lnTo>
                    <a:pt x="140" y="1461"/>
                  </a:lnTo>
                  <a:lnTo>
                    <a:pt x="140" y="1461"/>
                  </a:lnTo>
                  <a:lnTo>
                    <a:pt x="140" y="1461"/>
                  </a:lnTo>
                  <a:lnTo>
                    <a:pt x="140" y="1461"/>
                  </a:lnTo>
                  <a:lnTo>
                    <a:pt x="140" y="1461"/>
                  </a:lnTo>
                  <a:lnTo>
                    <a:pt x="140" y="1461"/>
                  </a:lnTo>
                  <a:lnTo>
                    <a:pt x="140" y="1463"/>
                  </a:lnTo>
                  <a:lnTo>
                    <a:pt x="140" y="1463"/>
                  </a:lnTo>
                  <a:lnTo>
                    <a:pt x="140" y="1463"/>
                  </a:lnTo>
                  <a:lnTo>
                    <a:pt x="140" y="1463"/>
                  </a:lnTo>
                  <a:lnTo>
                    <a:pt x="140" y="1463"/>
                  </a:lnTo>
                  <a:lnTo>
                    <a:pt x="140" y="1463"/>
                  </a:lnTo>
                  <a:lnTo>
                    <a:pt x="140" y="1463"/>
                  </a:lnTo>
                  <a:lnTo>
                    <a:pt x="140" y="1463"/>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3"/>
                  </a:lnTo>
                  <a:lnTo>
                    <a:pt x="137" y="1483"/>
                  </a:lnTo>
                  <a:lnTo>
                    <a:pt x="137" y="1486"/>
                  </a:lnTo>
                  <a:lnTo>
                    <a:pt x="137" y="1486"/>
                  </a:lnTo>
                  <a:lnTo>
                    <a:pt x="137"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8"/>
                  </a:lnTo>
                  <a:lnTo>
                    <a:pt x="136" y="1488"/>
                  </a:lnTo>
                  <a:lnTo>
                    <a:pt x="136" y="1488"/>
                  </a:lnTo>
                  <a:lnTo>
                    <a:pt x="136" y="1488"/>
                  </a:lnTo>
                  <a:lnTo>
                    <a:pt x="136" y="1492"/>
                  </a:lnTo>
                  <a:lnTo>
                    <a:pt x="136" y="1492"/>
                  </a:lnTo>
                  <a:lnTo>
                    <a:pt x="136" y="1492"/>
                  </a:lnTo>
                  <a:lnTo>
                    <a:pt x="135" y="1492"/>
                  </a:lnTo>
                  <a:lnTo>
                    <a:pt x="135" y="1492"/>
                  </a:lnTo>
                  <a:lnTo>
                    <a:pt x="135" y="1492"/>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899"/>
                  </a:lnTo>
                  <a:lnTo>
                    <a:pt x="127" y="899"/>
                  </a:lnTo>
                  <a:lnTo>
                    <a:pt x="127" y="899"/>
                  </a:lnTo>
                  <a:lnTo>
                    <a:pt x="126" y="899"/>
                  </a:lnTo>
                  <a:lnTo>
                    <a:pt x="126" y="899"/>
                  </a:lnTo>
                  <a:lnTo>
                    <a:pt x="126" y="899"/>
                  </a:lnTo>
                  <a:lnTo>
                    <a:pt x="126"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899"/>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1513"/>
                  </a:lnTo>
                  <a:lnTo>
                    <a:pt x="123" y="1513"/>
                  </a:lnTo>
                  <a:lnTo>
                    <a:pt x="123" y="1513"/>
                  </a:lnTo>
                  <a:lnTo>
                    <a:pt x="123" y="1513"/>
                  </a:lnTo>
                  <a:lnTo>
                    <a:pt x="123" y="1513"/>
                  </a:lnTo>
                  <a:lnTo>
                    <a:pt x="123" y="1513"/>
                  </a:lnTo>
                  <a:lnTo>
                    <a:pt x="123" y="1514"/>
                  </a:lnTo>
                  <a:lnTo>
                    <a:pt x="121" y="1514"/>
                  </a:lnTo>
                  <a:lnTo>
                    <a:pt x="121" y="1514"/>
                  </a:lnTo>
                  <a:lnTo>
                    <a:pt x="121" y="1514"/>
                  </a:lnTo>
                  <a:lnTo>
                    <a:pt x="121" y="1514"/>
                  </a:lnTo>
                  <a:lnTo>
                    <a:pt x="121" y="1514"/>
                  </a:lnTo>
                  <a:lnTo>
                    <a:pt x="121" y="899"/>
                  </a:lnTo>
                  <a:lnTo>
                    <a:pt x="121" y="899"/>
                  </a:lnTo>
                  <a:lnTo>
                    <a:pt x="121" y="899"/>
                  </a:lnTo>
                  <a:lnTo>
                    <a:pt x="121" y="899"/>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6"/>
                  </a:lnTo>
                  <a:lnTo>
                    <a:pt x="119" y="1516"/>
                  </a:lnTo>
                  <a:lnTo>
                    <a:pt x="119" y="899"/>
                  </a:lnTo>
                  <a:lnTo>
                    <a:pt x="119" y="899"/>
                  </a:lnTo>
                  <a:lnTo>
                    <a:pt x="119" y="1516"/>
                  </a:lnTo>
                  <a:lnTo>
                    <a:pt x="119" y="1516"/>
                  </a:lnTo>
                  <a:lnTo>
                    <a:pt x="119" y="1516"/>
                  </a:lnTo>
                  <a:lnTo>
                    <a:pt x="119" y="1516"/>
                  </a:lnTo>
                  <a:lnTo>
                    <a:pt x="119" y="899"/>
                  </a:lnTo>
                  <a:lnTo>
                    <a:pt x="119" y="899"/>
                  </a:lnTo>
                  <a:lnTo>
                    <a:pt x="119" y="1516"/>
                  </a:lnTo>
                  <a:lnTo>
                    <a:pt x="119" y="1516"/>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7" y="1517"/>
                  </a:lnTo>
                  <a:lnTo>
                    <a:pt x="117" y="1517"/>
                  </a:lnTo>
                  <a:lnTo>
                    <a:pt x="116" y="1517"/>
                  </a:lnTo>
                  <a:lnTo>
                    <a:pt x="116" y="899"/>
                  </a:lnTo>
                  <a:lnTo>
                    <a:pt x="116" y="899"/>
                  </a:lnTo>
                  <a:lnTo>
                    <a:pt x="116" y="899"/>
                  </a:lnTo>
                  <a:lnTo>
                    <a:pt x="116" y="899"/>
                  </a:lnTo>
                  <a:lnTo>
                    <a:pt x="116" y="1517"/>
                  </a:lnTo>
                  <a:lnTo>
                    <a:pt x="116" y="1517"/>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899"/>
                  </a:lnTo>
                  <a:lnTo>
                    <a:pt x="116" y="1520"/>
                  </a:lnTo>
                  <a:lnTo>
                    <a:pt x="116" y="1520"/>
                  </a:lnTo>
                  <a:lnTo>
                    <a:pt x="116" y="899"/>
                  </a:lnTo>
                  <a:lnTo>
                    <a:pt x="116" y="899"/>
                  </a:lnTo>
                  <a:lnTo>
                    <a:pt x="116" y="1520"/>
                  </a:lnTo>
                  <a:lnTo>
                    <a:pt x="116" y="1520"/>
                  </a:lnTo>
                  <a:lnTo>
                    <a:pt x="116" y="899"/>
                  </a:lnTo>
                  <a:lnTo>
                    <a:pt x="116" y="899"/>
                  </a:lnTo>
                  <a:lnTo>
                    <a:pt x="116" y="899"/>
                  </a:lnTo>
                  <a:lnTo>
                    <a:pt x="116" y="899"/>
                  </a:lnTo>
                  <a:lnTo>
                    <a:pt x="116" y="1521"/>
                  </a:lnTo>
                  <a:lnTo>
                    <a:pt x="116" y="1521"/>
                  </a:lnTo>
                  <a:lnTo>
                    <a:pt x="116" y="1521"/>
                  </a:lnTo>
                  <a:lnTo>
                    <a:pt x="116" y="1521"/>
                  </a:lnTo>
                  <a:lnTo>
                    <a:pt x="116" y="1521"/>
                  </a:lnTo>
                  <a:lnTo>
                    <a:pt x="116" y="1521"/>
                  </a:lnTo>
                  <a:lnTo>
                    <a:pt x="116" y="899"/>
                  </a:lnTo>
                  <a:lnTo>
                    <a:pt x="116" y="899"/>
                  </a:lnTo>
                  <a:lnTo>
                    <a:pt x="116" y="1529"/>
                  </a:lnTo>
                  <a:lnTo>
                    <a:pt x="116" y="1529"/>
                  </a:lnTo>
                  <a:lnTo>
                    <a:pt x="116" y="1529"/>
                  </a:lnTo>
                  <a:lnTo>
                    <a:pt x="116" y="1529"/>
                  </a:lnTo>
                  <a:lnTo>
                    <a:pt x="116" y="899"/>
                  </a:lnTo>
                  <a:lnTo>
                    <a:pt x="116" y="899"/>
                  </a:lnTo>
                  <a:lnTo>
                    <a:pt x="116" y="899"/>
                  </a:lnTo>
                  <a:lnTo>
                    <a:pt x="116" y="899"/>
                  </a:lnTo>
                  <a:lnTo>
                    <a:pt x="116" y="1530"/>
                  </a:lnTo>
                  <a:lnTo>
                    <a:pt x="115" y="1530"/>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1535"/>
                  </a:lnTo>
                  <a:lnTo>
                    <a:pt x="106" y="1535"/>
                  </a:lnTo>
                  <a:lnTo>
                    <a:pt x="106" y="1536"/>
                  </a:lnTo>
                  <a:lnTo>
                    <a:pt x="104" y="1536"/>
                  </a:lnTo>
                  <a:lnTo>
                    <a:pt x="104" y="1536"/>
                  </a:lnTo>
                  <a:lnTo>
                    <a:pt x="103" y="1536"/>
                  </a:lnTo>
                  <a:lnTo>
                    <a:pt x="103" y="1536"/>
                  </a:lnTo>
                  <a:lnTo>
                    <a:pt x="103" y="1536"/>
                  </a:lnTo>
                  <a:lnTo>
                    <a:pt x="103" y="1537"/>
                  </a:lnTo>
                  <a:lnTo>
                    <a:pt x="103" y="1537"/>
                  </a:lnTo>
                  <a:lnTo>
                    <a:pt x="103" y="1537"/>
                  </a:lnTo>
                  <a:lnTo>
                    <a:pt x="103" y="1537"/>
                  </a:lnTo>
                  <a:lnTo>
                    <a:pt x="103" y="1543"/>
                  </a:lnTo>
                  <a:lnTo>
                    <a:pt x="102" y="1543"/>
                  </a:lnTo>
                  <a:lnTo>
                    <a:pt x="102" y="1543"/>
                  </a:lnTo>
                  <a:lnTo>
                    <a:pt x="101" y="1543"/>
                  </a:lnTo>
                  <a:lnTo>
                    <a:pt x="101" y="1544"/>
                  </a:lnTo>
                  <a:lnTo>
                    <a:pt x="94" y="1544"/>
                  </a:lnTo>
                  <a:lnTo>
                    <a:pt x="94" y="1544"/>
                  </a:lnTo>
                  <a:lnTo>
                    <a:pt x="93" y="1544"/>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899"/>
                  </a:lnTo>
                  <a:lnTo>
                    <a:pt x="88" y="899"/>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899"/>
                  </a:lnTo>
                  <a:lnTo>
                    <a:pt x="87" y="899"/>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1571"/>
                  </a:lnTo>
                  <a:lnTo>
                    <a:pt x="86" y="1571"/>
                  </a:lnTo>
                  <a:lnTo>
                    <a:pt x="86" y="899"/>
                  </a:lnTo>
                  <a:lnTo>
                    <a:pt x="86" y="899"/>
                  </a:lnTo>
                  <a:lnTo>
                    <a:pt x="86" y="1579"/>
                  </a:lnTo>
                  <a:lnTo>
                    <a:pt x="86" y="1579"/>
                  </a:lnTo>
                  <a:lnTo>
                    <a:pt x="86" y="1579"/>
                  </a:lnTo>
                  <a:lnTo>
                    <a:pt x="85" y="1579"/>
                  </a:lnTo>
                  <a:lnTo>
                    <a:pt x="85" y="1580"/>
                  </a:lnTo>
                  <a:lnTo>
                    <a:pt x="83" y="1580"/>
                  </a:lnTo>
                  <a:lnTo>
                    <a:pt x="83" y="1580"/>
                  </a:lnTo>
                  <a:lnTo>
                    <a:pt x="81" y="1580"/>
                  </a:lnTo>
                  <a:lnTo>
                    <a:pt x="81" y="1580"/>
                  </a:lnTo>
                  <a:lnTo>
                    <a:pt x="81" y="1580"/>
                  </a:lnTo>
                  <a:lnTo>
                    <a:pt x="81" y="1580"/>
                  </a:lnTo>
                  <a:lnTo>
                    <a:pt x="81" y="1580"/>
                  </a:lnTo>
                  <a:lnTo>
                    <a:pt x="81" y="1580"/>
                  </a:lnTo>
                  <a:lnTo>
                    <a:pt x="81" y="1580"/>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899"/>
                  </a:lnTo>
                  <a:lnTo>
                    <a:pt x="69" y="899"/>
                  </a:lnTo>
                  <a:lnTo>
                    <a:pt x="69" y="899"/>
                  </a:lnTo>
                  <a:lnTo>
                    <a:pt x="68" y="899"/>
                  </a:lnTo>
                  <a:lnTo>
                    <a:pt x="68" y="1598"/>
                  </a:lnTo>
                  <a:lnTo>
                    <a:pt x="68" y="1598"/>
                  </a:lnTo>
                  <a:lnTo>
                    <a:pt x="68" y="1598"/>
                  </a:lnTo>
                  <a:lnTo>
                    <a:pt x="67" y="1598"/>
                  </a:lnTo>
                  <a:lnTo>
                    <a:pt x="67" y="1598"/>
                  </a:lnTo>
                  <a:lnTo>
                    <a:pt x="67" y="1598"/>
                  </a:lnTo>
                  <a:lnTo>
                    <a:pt x="67" y="1605"/>
                  </a:lnTo>
                  <a:lnTo>
                    <a:pt x="67" y="1605"/>
                  </a:lnTo>
                  <a:lnTo>
                    <a:pt x="67" y="1605"/>
                  </a:lnTo>
                  <a:lnTo>
                    <a:pt x="67" y="1605"/>
                  </a:lnTo>
                  <a:lnTo>
                    <a:pt x="67" y="1605"/>
                  </a:lnTo>
                  <a:lnTo>
                    <a:pt x="67" y="1605"/>
                  </a:lnTo>
                  <a:lnTo>
                    <a:pt x="67" y="1605"/>
                  </a:lnTo>
                  <a:lnTo>
                    <a:pt x="66" y="1605"/>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9"/>
                  </a:lnTo>
                  <a:lnTo>
                    <a:pt x="55" y="1639"/>
                  </a:lnTo>
                  <a:lnTo>
                    <a:pt x="55" y="1639"/>
                  </a:lnTo>
                  <a:lnTo>
                    <a:pt x="55" y="1639"/>
                  </a:lnTo>
                  <a:lnTo>
                    <a:pt x="55" y="1640"/>
                  </a:lnTo>
                  <a:lnTo>
                    <a:pt x="55" y="1640"/>
                  </a:lnTo>
                  <a:lnTo>
                    <a:pt x="55" y="1640"/>
                  </a:lnTo>
                  <a:lnTo>
                    <a:pt x="55" y="1640"/>
                  </a:lnTo>
                  <a:lnTo>
                    <a:pt x="55" y="1640"/>
                  </a:lnTo>
                  <a:lnTo>
                    <a:pt x="55" y="1640"/>
                  </a:lnTo>
                  <a:lnTo>
                    <a:pt x="55" y="1640"/>
                  </a:lnTo>
                  <a:lnTo>
                    <a:pt x="55" y="1640"/>
                  </a:lnTo>
                  <a:lnTo>
                    <a:pt x="55" y="1644"/>
                  </a:lnTo>
                  <a:lnTo>
                    <a:pt x="50" y="1644"/>
                  </a:lnTo>
                  <a:lnTo>
                    <a:pt x="50" y="1644"/>
                  </a:lnTo>
                  <a:lnTo>
                    <a:pt x="47" y="1644"/>
                  </a:lnTo>
                  <a:lnTo>
                    <a:pt x="47" y="1644"/>
                  </a:lnTo>
                  <a:lnTo>
                    <a:pt x="46" y="1644"/>
                  </a:lnTo>
                  <a:lnTo>
                    <a:pt x="46" y="1644"/>
                  </a:lnTo>
                  <a:lnTo>
                    <a:pt x="46" y="1644"/>
                  </a:lnTo>
                  <a:lnTo>
                    <a:pt x="46" y="1644"/>
                  </a:lnTo>
                  <a:lnTo>
                    <a:pt x="46" y="1644"/>
                  </a:lnTo>
                  <a:lnTo>
                    <a:pt x="46" y="1644"/>
                  </a:lnTo>
                  <a:lnTo>
                    <a:pt x="46" y="1644"/>
                  </a:lnTo>
                  <a:lnTo>
                    <a:pt x="46" y="1646"/>
                  </a:lnTo>
                  <a:lnTo>
                    <a:pt x="46" y="1646"/>
                  </a:lnTo>
                  <a:lnTo>
                    <a:pt x="46" y="1647"/>
                  </a:lnTo>
                  <a:lnTo>
                    <a:pt x="45" y="1647"/>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9"/>
                  </a:lnTo>
                  <a:lnTo>
                    <a:pt x="45" y="1649"/>
                  </a:lnTo>
                  <a:lnTo>
                    <a:pt x="45" y="1649"/>
                  </a:lnTo>
                  <a:lnTo>
                    <a:pt x="45" y="1649"/>
                  </a:lnTo>
                  <a:lnTo>
                    <a:pt x="45" y="1650"/>
                  </a:lnTo>
                  <a:lnTo>
                    <a:pt x="44" y="1650"/>
                  </a:lnTo>
                  <a:lnTo>
                    <a:pt x="44" y="1650"/>
                  </a:lnTo>
                  <a:lnTo>
                    <a:pt x="44" y="1650"/>
                  </a:lnTo>
                  <a:lnTo>
                    <a:pt x="44" y="1650"/>
                  </a:lnTo>
                  <a:lnTo>
                    <a:pt x="44" y="1650"/>
                  </a:lnTo>
                  <a:lnTo>
                    <a:pt x="44" y="1656"/>
                  </a:lnTo>
                  <a:lnTo>
                    <a:pt x="44" y="1656"/>
                  </a:lnTo>
                  <a:lnTo>
                    <a:pt x="44" y="1661"/>
                  </a:lnTo>
                  <a:lnTo>
                    <a:pt x="44" y="1661"/>
                  </a:lnTo>
                  <a:lnTo>
                    <a:pt x="44" y="1661"/>
                  </a:lnTo>
                  <a:lnTo>
                    <a:pt x="44" y="1661"/>
                  </a:lnTo>
                  <a:lnTo>
                    <a:pt x="44" y="899"/>
                  </a:lnTo>
                  <a:lnTo>
                    <a:pt x="44" y="899"/>
                  </a:lnTo>
                  <a:lnTo>
                    <a:pt x="44" y="1669"/>
                  </a:lnTo>
                  <a:lnTo>
                    <a:pt x="44" y="1669"/>
                  </a:lnTo>
                  <a:lnTo>
                    <a:pt x="44" y="1669"/>
                  </a:lnTo>
                  <a:lnTo>
                    <a:pt x="43" y="1669"/>
                  </a:lnTo>
                  <a:lnTo>
                    <a:pt x="43" y="1669"/>
                  </a:lnTo>
                  <a:lnTo>
                    <a:pt x="43" y="1669"/>
                  </a:lnTo>
                  <a:lnTo>
                    <a:pt x="43" y="1669"/>
                  </a:lnTo>
                  <a:lnTo>
                    <a:pt x="43" y="1669"/>
                  </a:lnTo>
                  <a:lnTo>
                    <a:pt x="43" y="1669"/>
                  </a:lnTo>
                  <a:lnTo>
                    <a:pt x="43" y="1669"/>
                  </a:lnTo>
                  <a:lnTo>
                    <a:pt x="43" y="1669"/>
                  </a:lnTo>
                  <a:lnTo>
                    <a:pt x="43" y="1669"/>
                  </a:lnTo>
                  <a:lnTo>
                    <a:pt x="43" y="1671"/>
                  </a:lnTo>
                  <a:lnTo>
                    <a:pt x="43" y="1671"/>
                  </a:lnTo>
                  <a:lnTo>
                    <a:pt x="43" y="1671"/>
                  </a:lnTo>
                  <a:lnTo>
                    <a:pt x="43" y="1671"/>
                  </a:lnTo>
                  <a:lnTo>
                    <a:pt x="43" y="1671"/>
                  </a:lnTo>
                  <a:lnTo>
                    <a:pt x="43" y="1671"/>
                  </a:lnTo>
                  <a:lnTo>
                    <a:pt x="43" y="1671"/>
                  </a:lnTo>
                  <a:lnTo>
                    <a:pt x="43" y="1671"/>
                  </a:lnTo>
                  <a:lnTo>
                    <a:pt x="43" y="1677"/>
                  </a:lnTo>
                  <a:lnTo>
                    <a:pt x="43" y="1677"/>
                  </a:lnTo>
                  <a:lnTo>
                    <a:pt x="43" y="1677"/>
                  </a:lnTo>
                  <a:lnTo>
                    <a:pt x="43" y="1677"/>
                  </a:lnTo>
                  <a:lnTo>
                    <a:pt x="43" y="1678"/>
                  </a:lnTo>
                  <a:lnTo>
                    <a:pt x="42" y="1678"/>
                  </a:lnTo>
                  <a:lnTo>
                    <a:pt x="42" y="1678"/>
                  </a:lnTo>
                  <a:lnTo>
                    <a:pt x="42" y="1678"/>
                  </a:lnTo>
                  <a:lnTo>
                    <a:pt x="42" y="1681"/>
                  </a:lnTo>
                  <a:lnTo>
                    <a:pt x="41" y="1681"/>
                  </a:lnTo>
                  <a:lnTo>
                    <a:pt x="41" y="1681"/>
                  </a:lnTo>
                  <a:lnTo>
                    <a:pt x="41" y="1681"/>
                  </a:lnTo>
                  <a:lnTo>
                    <a:pt x="41" y="1681"/>
                  </a:lnTo>
                  <a:lnTo>
                    <a:pt x="41" y="1681"/>
                  </a:lnTo>
                  <a:lnTo>
                    <a:pt x="41" y="1683"/>
                  </a:lnTo>
                  <a:lnTo>
                    <a:pt x="41" y="1683"/>
                  </a:lnTo>
                  <a:lnTo>
                    <a:pt x="41" y="1684"/>
                  </a:lnTo>
                  <a:lnTo>
                    <a:pt x="41" y="1684"/>
                  </a:lnTo>
                  <a:lnTo>
                    <a:pt x="41" y="1685"/>
                  </a:lnTo>
                  <a:lnTo>
                    <a:pt x="40" y="1685"/>
                  </a:lnTo>
                  <a:lnTo>
                    <a:pt x="40" y="1685"/>
                  </a:lnTo>
                  <a:lnTo>
                    <a:pt x="40" y="1685"/>
                  </a:lnTo>
                  <a:lnTo>
                    <a:pt x="40" y="899"/>
                  </a:lnTo>
                  <a:lnTo>
                    <a:pt x="40" y="899"/>
                  </a:lnTo>
                  <a:lnTo>
                    <a:pt x="40" y="899"/>
                  </a:lnTo>
                  <a:lnTo>
                    <a:pt x="40" y="899"/>
                  </a:lnTo>
                  <a:lnTo>
                    <a:pt x="40" y="899"/>
                  </a:lnTo>
                  <a:lnTo>
                    <a:pt x="40" y="89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90"/>
                  </a:lnTo>
                  <a:lnTo>
                    <a:pt x="39" y="1690"/>
                  </a:lnTo>
                  <a:lnTo>
                    <a:pt x="39" y="1691"/>
                  </a:lnTo>
                  <a:lnTo>
                    <a:pt x="39" y="1691"/>
                  </a:lnTo>
                  <a:lnTo>
                    <a:pt x="39" y="1693"/>
                  </a:lnTo>
                  <a:lnTo>
                    <a:pt x="39" y="1693"/>
                  </a:lnTo>
                  <a:lnTo>
                    <a:pt x="39" y="899"/>
                  </a:lnTo>
                  <a:lnTo>
                    <a:pt x="39" y="899"/>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899"/>
                  </a:lnTo>
                  <a:lnTo>
                    <a:pt x="38" y="899"/>
                  </a:lnTo>
                  <a:lnTo>
                    <a:pt x="38" y="899"/>
                  </a:lnTo>
                  <a:lnTo>
                    <a:pt x="38" y="899"/>
                  </a:lnTo>
                  <a:lnTo>
                    <a:pt x="38" y="1701"/>
                  </a:lnTo>
                  <a:lnTo>
                    <a:pt x="38" y="1701"/>
                  </a:lnTo>
                  <a:lnTo>
                    <a:pt x="38" y="1705"/>
                  </a:lnTo>
                  <a:lnTo>
                    <a:pt x="38" y="1705"/>
                  </a:lnTo>
                  <a:lnTo>
                    <a:pt x="38" y="1707"/>
                  </a:lnTo>
                  <a:lnTo>
                    <a:pt x="37" y="1707"/>
                  </a:lnTo>
                  <a:lnTo>
                    <a:pt x="37" y="1708"/>
                  </a:lnTo>
                  <a:lnTo>
                    <a:pt x="37" y="1708"/>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13"/>
                  </a:lnTo>
                  <a:lnTo>
                    <a:pt x="35" y="1713"/>
                  </a:lnTo>
                  <a:lnTo>
                    <a:pt x="35" y="1714"/>
                  </a:lnTo>
                  <a:lnTo>
                    <a:pt x="34" y="1714"/>
                  </a:lnTo>
                  <a:lnTo>
                    <a:pt x="34" y="1714"/>
                  </a:lnTo>
                  <a:lnTo>
                    <a:pt x="34" y="1714"/>
                  </a:lnTo>
                  <a:lnTo>
                    <a:pt x="34" y="1716"/>
                  </a:lnTo>
                  <a:lnTo>
                    <a:pt x="34" y="1716"/>
                  </a:lnTo>
                  <a:lnTo>
                    <a:pt x="34" y="1716"/>
                  </a:lnTo>
                  <a:lnTo>
                    <a:pt x="34" y="1716"/>
                  </a:lnTo>
                  <a:lnTo>
                    <a:pt x="34" y="899"/>
                  </a:lnTo>
                  <a:lnTo>
                    <a:pt x="34" y="899"/>
                  </a:lnTo>
                  <a:lnTo>
                    <a:pt x="34" y="899"/>
                  </a:lnTo>
                  <a:lnTo>
                    <a:pt x="34" y="899"/>
                  </a:lnTo>
                  <a:lnTo>
                    <a:pt x="34" y="899"/>
                  </a:lnTo>
                  <a:lnTo>
                    <a:pt x="34" y="899"/>
                  </a:lnTo>
                  <a:lnTo>
                    <a:pt x="34" y="899"/>
                  </a:lnTo>
                  <a:lnTo>
                    <a:pt x="34" y="899"/>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1748"/>
                  </a:lnTo>
                  <a:lnTo>
                    <a:pt x="30" y="1748"/>
                  </a:lnTo>
                  <a:lnTo>
                    <a:pt x="30" y="1748"/>
                  </a:lnTo>
                  <a:lnTo>
                    <a:pt x="30" y="1748"/>
                  </a:lnTo>
                  <a:lnTo>
                    <a:pt x="30" y="1748"/>
                  </a:lnTo>
                  <a:lnTo>
                    <a:pt x="30" y="1748"/>
                  </a:lnTo>
                  <a:lnTo>
                    <a:pt x="30" y="1750"/>
                  </a:lnTo>
                  <a:lnTo>
                    <a:pt x="29" y="1750"/>
                  </a:lnTo>
                  <a:lnTo>
                    <a:pt x="29" y="1750"/>
                  </a:lnTo>
                  <a:lnTo>
                    <a:pt x="28" y="1750"/>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1763"/>
                  </a:lnTo>
                  <a:lnTo>
                    <a:pt x="20" y="1763"/>
                  </a:lnTo>
                  <a:lnTo>
                    <a:pt x="20" y="1763"/>
                  </a:lnTo>
                  <a:lnTo>
                    <a:pt x="20" y="1763"/>
                  </a:lnTo>
                  <a:lnTo>
                    <a:pt x="20" y="899"/>
                  </a:lnTo>
                  <a:lnTo>
                    <a:pt x="20" y="899"/>
                  </a:lnTo>
                  <a:lnTo>
                    <a:pt x="20" y="899"/>
                  </a:lnTo>
                  <a:lnTo>
                    <a:pt x="20" y="899"/>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7"/>
                  </a:lnTo>
                  <a:lnTo>
                    <a:pt x="20" y="1767"/>
                  </a:lnTo>
                  <a:lnTo>
                    <a:pt x="20" y="1767"/>
                  </a:lnTo>
                  <a:lnTo>
                    <a:pt x="20" y="1767"/>
                  </a:lnTo>
                  <a:lnTo>
                    <a:pt x="20" y="1769"/>
                  </a:lnTo>
                  <a:lnTo>
                    <a:pt x="20" y="1769"/>
                  </a:lnTo>
                  <a:lnTo>
                    <a:pt x="20" y="1769"/>
                  </a:lnTo>
                  <a:lnTo>
                    <a:pt x="20" y="1769"/>
                  </a:lnTo>
                  <a:lnTo>
                    <a:pt x="20" y="1769"/>
                  </a:lnTo>
                  <a:lnTo>
                    <a:pt x="19" y="1769"/>
                  </a:lnTo>
                  <a:lnTo>
                    <a:pt x="19" y="1769"/>
                  </a:lnTo>
                  <a:lnTo>
                    <a:pt x="18" y="1769"/>
                  </a:lnTo>
                  <a:lnTo>
                    <a:pt x="18" y="1771"/>
                  </a:lnTo>
                  <a:lnTo>
                    <a:pt x="18" y="1771"/>
                  </a:lnTo>
                  <a:lnTo>
                    <a:pt x="18" y="1774"/>
                  </a:lnTo>
                  <a:lnTo>
                    <a:pt x="18" y="1774"/>
                  </a:lnTo>
                  <a:lnTo>
                    <a:pt x="18" y="1774"/>
                  </a:lnTo>
                  <a:lnTo>
                    <a:pt x="18" y="1774"/>
                  </a:lnTo>
                  <a:lnTo>
                    <a:pt x="18" y="1774"/>
                  </a:lnTo>
                  <a:lnTo>
                    <a:pt x="18" y="1774"/>
                  </a:lnTo>
                  <a:lnTo>
                    <a:pt x="18" y="1774"/>
                  </a:lnTo>
                  <a:lnTo>
                    <a:pt x="18" y="1774"/>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7"/>
                  </a:lnTo>
                  <a:lnTo>
                    <a:pt x="18" y="1777"/>
                  </a:lnTo>
                  <a:lnTo>
                    <a:pt x="18" y="1777"/>
                  </a:lnTo>
                  <a:lnTo>
                    <a:pt x="18" y="1777"/>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1784"/>
                  </a:lnTo>
                  <a:lnTo>
                    <a:pt x="15" y="1784"/>
                  </a:lnTo>
                  <a:lnTo>
                    <a:pt x="15" y="1784"/>
                  </a:lnTo>
                  <a:lnTo>
                    <a:pt x="15" y="1784"/>
                  </a:lnTo>
                  <a:lnTo>
                    <a:pt x="15" y="1785"/>
                  </a:lnTo>
                  <a:lnTo>
                    <a:pt x="12" y="1785"/>
                  </a:lnTo>
                  <a:lnTo>
                    <a:pt x="12" y="1785"/>
                  </a:lnTo>
                  <a:lnTo>
                    <a:pt x="11" y="1785"/>
                  </a:lnTo>
                  <a:lnTo>
                    <a:pt x="11" y="1787"/>
                  </a:lnTo>
                  <a:lnTo>
                    <a:pt x="11" y="1787"/>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9"/>
                  </a:lnTo>
                  <a:lnTo>
                    <a:pt x="10" y="1789"/>
                  </a:lnTo>
                  <a:lnTo>
                    <a:pt x="10" y="1789"/>
                  </a:lnTo>
                  <a:lnTo>
                    <a:pt x="10" y="178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4" y="1800"/>
                  </a:lnTo>
                  <a:lnTo>
                    <a:pt x="4" y="1800"/>
                  </a:lnTo>
                  <a:lnTo>
                    <a:pt x="4" y="1800"/>
                  </a:lnTo>
                  <a:lnTo>
                    <a:pt x="4" y="1800"/>
                  </a:lnTo>
                  <a:lnTo>
                    <a:pt x="4" y="1800"/>
                  </a:lnTo>
                  <a:lnTo>
                    <a:pt x="4" y="899"/>
                  </a:lnTo>
                  <a:lnTo>
                    <a:pt x="4" y="899"/>
                  </a:lnTo>
                  <a:lnTo>
                    <a:pt x="4" y="899"/>
                  </a:lnTo>
                  <a:lnTo>
                    <a:pt x="4" y="899"/>
                  </a:lnTo>
                  <a:lnTo>
                    <a:pt x="4" y="1800"/>
                  </a:lnTo>
                  <a:lnTo>
                    <a:pt x="4" y="1800"/>
                  </a:lnTo>
                  <a:lnTo>
                    <a:pt x="4" y="1800"/>
                  </a:lnTo>
                  <a:lnTo>
                    <a:pt x="4" y="1800"/>
                  </a:lnTo>
                  <a:lnTo>
                    <a:pt x="4" y="1800"/>
                  </a:lnTo>
                  <a:lnTo>
                    <a:pt x="4" y="1800"/>
                  </a:lnTo>
                  <a:lnTo>
                    <a:pt x="4" y="1800"/>
                  </a:lnTo>
                  <a:lnTo>
                    <a:pt x="4" y="1800"/>
                  </a:lnTo>
                  <a:lnTo>
                    <a:pt x="4" y="899"/>
                  </a:lnTo>
                  <a:lnTo>
                    <a:pt x="4" y="899"/>
                  </a:lnTo>
                  <a:lnTo>
                    <a:pt x="4" y="899"/>
                  </a:lnTo>
                  <a:lnTo>
                    <a:pt x="4" y="899"/>
                  </a:lnTo>
                  <a:lnTo>
                    <a:pt x="4"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899"/>
                  </a:lnTo>
                  <a:lnTo>
                    <a:pt x="3" y="899"/>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899"/>
                  </a:lnTo>
                  <a:lnTo>
                    <a:pt x="2" y="1800"/>
                  </a:lnTo>
                  <a:lnTo>
                    <a:pt x="2" y="1800"/>
                  </a:lnTo>
                  <a:lnTo>
                    <a:pt x="2"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899"/>
                  </a:lnTo>
                  <a:lnTo>
                    <a:pt x="0" y="899"/>
                  </a:lnTo>
                  <a:lnTo>
                    <a:pt x="0" y="899"/>
                  </a:lnTo>
                  <a:lnTo>
                    <a:pt x="0" y="899"/>
                  </a:lnTo>
                  <a:lnTo>
                    <a:pt x="0" y="1800"/>
                  </a:lnTo>
                  <a:close/>
                </a:path>
              </a:pathLst>
            </a:custGeom>
            <a:solidFill>
              <a:srgbClr val="70AF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78">
              <a:extLst>
                <a:ext uri="{FF2B5EF4-FFF2-40B4-BE49-F238E27FC236}">
                  <a16:creationId xmlns:a16="http://schemas.microsoft.com/office/drawing/2014/main" id="{02564D3D-CDF2-48B9-A795-0426E4FEF700}"/>
                </a:ext>
              </a:extLst>
            </p:cNvPr>
            <p:cNvSpPr>
              <a:spLocks/>
            </p:cNvSpPr>
            <p:nvPr/>
          </p:nvSpPr>
          <p:spPr bwMode="auto">
            <a:xfrm>
              <a:off x="1077913" y="1011238"/>
              <a:ext cx="5370513" cy="2857500"/>
            </a:xfrm>
            <a:custGeom>
              <a:avLst/>
              <a:gdLst>
                <a:gd name="T0" fmla="*/ 20 w 3383"/>
                <a:gd name="T1" fmla="*/ 1769 h 1800"/>
                <a:gd name="T2" fmla="*/ 44 w 3383"/>
                <a:gd name="T3" fmla="*/ 1667 h 1800"/>
                <a:gd name="T4" fmla="*/ 116 w 3383"/>
                <a:gd name="T5" fmla="*/ 1530 h 1800"/>
                <a:gd name="T6" fmla="*/ 136 w 3383"/>
                <a:gd name="T7" fmla="*/ 1486 h 1800"/>
                <a:gd name="T8" fmla="*/ 160 w 3383"/>
                <a:gd name="T9" fmla="*/ 1431 h 1800"/>
                <a:gd name="T10" fmla="*/ 309 w 3383"/>
                <a:gd name="T11" fmla="*/ 1380 h 1800"/>
                <a:gd name="T12" fmla="*/ 345 w 3383"/>
                <a:gd name="T13" fmla="*/ 1354 h 1800"/>
                <a:gd name="T14" fmla="*/ 456 w 3383"/>
                <a:gd name="T15" fmla="*/ 1322 h 1800"/>
                <a:gd name="T16" fmla="*/ 548 w 3383"/>
                <a:gd name="T17" fmla="*/ 1294 h 1800"/>
                <a:gd name="T18" fmla="*/ 737 w 3383"/>
                <a:gd name="T19" fmla="*/ 1262 h 1800"/>
                <a:gd name="T20" fmla="*/ 836 w 3383"/>
                <a:gd name="T21" fmla="*/ 1230 h 1800"/>
                <a:gd name="T22" fmla="*/ 913 w 3383"/>
                <a:gd name="T23" fmla="*/ 1201 h 1800"/>
                <a:gd name="T24" fmla="*/ 1004 w 3383"/>
                <a:gd name="T25" fmla="*/ 1167 h 1800"/>
                <a:gd name="T26" fmla="*/ 1224 w 3383"/>
                <a:gd name="T27" fmla="*/ 1131 h 1800"/>
                <a:gd name="T28" fmla="*/ 1337 w 3383"/>
                <a:gd name="T29" fmla="*/ 1106 h 1800"/>
                <a:gd name="T30" fmla="*/ 1390 w 3383"/>
                <a:gd name="T31" fmla="*/ 1061 h 1800"/>
                <a:gd name="T32" fmla="*/ 1484 w 3383"/>
                <a:gd name="T33" fmla="*/ 1021 h 1800"/>
                <a:gd name="T34" fmla="*/ 1852 w 3383"/>
                <a:gd name="T35" fmla="*/ 958 h 1800"/>
                <a:gd name="T36" fmla="*/ 1955 w 3383"/>
                <a:gd name="T37" fmla="*/ 910 h 1800"/>
                <a:gd name="T38" fmla="*/ 2056 w 3383"/>
                <a:gd name="T39" fmla="*/ 907 h 1800"/>
                <a:gd name="T40" fmla="*/ 2056 w 3383"/>
                <a:gd name="T41" fmla="*/ 907 h 1800"/>
                <a:gd name="T42" fmla="*/ 2056 w 3383"/>
                <a:gd name="T43" fmla="*/ 907 h 1800"/>
                <a:gd name="T44" fmla="*/ 2151 w 3383"/>
                <a:gd name="T45" fmla="*/ 871 h 1800"/>
                <a:gd name="T46" fmla="*/ 2231 w 3383"/>
                <a:gd name="T47" fmla="*/ 820 h 1800"/>
                <a:gd name="T48" fmla="*/ 2451 w 3383"/>
                <a:gd name="T49" fmla="*/ 795 h 1800"/>
                <a:gd name="T50" fmla="*/ 2613 w 3383"/>
                <a:gd name="T51" fmla="*/ 760 h 1800"/>
                <a:gd name="T52" fmla="*/ 2687 w 3383"/>
                <a:gd name="T53" fmla="*/ 694 h 1800"/>
                <a:gd name="T54" fmla="*/ 2898 w 3383"/>
                <a:gd name="T55" fmla="*/ 593 h 1800"/>
                <a:gd name="T56" fmla="*/ 3185 w 3383"/>
                <a:gd name="T57" fmla="*/ 469 h 1800"/>
                <a:gd name="T58" fmla="*/ 3243 w 3383"/>
                <a:gd name="T59" fmla="*/ 322 h 1800"/>
                <a:gd name="T60" fmla="*/ 3315 w 3383"/>
                <a:gd name="T61" fmla="*/ 0 h 1800"/>
                <a:gd name="T62" fmla="*/ 3383 w 3383"/>
                <a:gd name="T63" fmla="*/ 0 h 1800"/>
                <a:gd name="T64" fmla="*/ 3299 w 3383"/>
                <a:gd name="T65" fmla="*/ 0 h 1800"/>
                <a:gd name="T66" fmla="*/ 3218 w 3383"/>
                <a:gd name="T67" fmla="*/ 324 h 1800"/>
                <a:gd name="T68" fmla="*/ 3176 w 3383"/>
                <a:gd name="T69" fmla="*/ 476 h 1800"/>
                <a:gd name="T70" fmla="*/ 2896 w 3383"/>
                <a:gd name="T71" fmla="*/ 598 h 1800"/>
                <a:gd name="T72" fmla="*/ 2684 w 3383"/>
                <a:gd name="T73" fmla="*/ 708 h 1800"/>
                <a:gd name="T74" fmla="*/ 2608 w 3383"/>
                <a:gd name="T75" fmla="*/ 760 h 1800"/>
                <a:gd name="T76" fmla="*/ 2451 w 3383"/>
                <a:gd name="T77" fmla="*/ 795 h 1800"/>
                <a:gd name="T78" fmla="*/ 2218 w 3383"/>
                <a:gd name="T79" fmla="*/ 823 h 1800"/>
                <a:gd name="T80" fmla="*/ 2149 w 3383"/>
                <a:gd name="T81" fmla="*/ 877 h 1800"/>
                <a:gd name="T82" fmla="*/ 2056 w 3383"/>
                <a:gd name="T83" fmla="*/ 907 h 1800"/>
                <a:gd name="T84" fmla="*/ 2056 w 3383"/>
                <a:gd name="T85" fmla="*/ 907 h 1800"/>
                <a:gd name="T86" fmla="*/ 2056 w 3383"/>
                <a:gd name="T87" fmla="*/ 907 h 1800"/>
                <a:gd name="T88" fmla="*/ 1951 w 3383"/>
                <a:gd name="T89" fmla="*/ 912 h 1800"/>
                <a:gd name="T90" fmla="*/ 1852 w 3383"/>
                <a:gd name="T91" fmla="*/ 960 h 1800"/>
                <a:gd name="T92" fmla="*/ 1482 w 3383"/>
                <a:gd name="T93" fmla="*/ 1026 h 1800"/>
                <a:gd name="T94" fmla="*/ 1388 w 3383"/>
                <a:gd name="T95" fmla="*/ 1063 h 1800"/>
                <a:gd name="T96" fmla="*/ 1337 w 3383"/>
                <a:gd name="T97" fmla="*/ 1106 h 1800"/>
                <a:gd name="T98" fmla="*/ 1223 w 3383"/>
                <a:gd name="T99" fmla="*/ 1132 h 1800"/>
                <a:gd name="T100" fmla="*/ 1002 w 3383"/>
                <a:gd name="T101" fmla="*/ 1169 h 1800"/>
                <a:gd name="T102" fmla="*/ 912 w 3383"/>
                <a:gd name="T103" fmla="*/ 1204 h 1800"/>
                <a:gd name="T104" fmla="*/ 835 w 3383"/>
                <a:gd name="T105" fmla="*/ 1236 h 1800"/>
                <a:gd name="T106" fmla="*/ 732 w 3383"/>
                <a:gd name="T107" fmla="*/ 1265 h 1800"/>
                <a:gd name="T108" fmla="*/ 548 w 3383"/>
                <a:gd name="T109" fmla="*/ 1294 h 1800"/>
                <a:gd name="T110" fmla="*/ 453 w 3383"/>
                <a:gd name="T111" fmla="*/ 1324 h 1800"/>
                <a:gd name="T112" fmla="*/ 344 w 3383"/>
                <a:gd name="T113" fmla="*/ 1354 h 1800"/>
                <a:gd name="T114" fmla="*/ 301 w 3383"/>
                <a:gd name="T115" fmla="*/ 1385 h 1800"/>
                <a:gd name="T116" fmla="*/ 151 w 3383"/>
                <a:gd name="T117" fmla="*/ 1441 h 1800"/>
                <a:gd name="T118" fmla="*/ 136 w 3383"/>
                <a:gd name="T119" fmla="*/ 1486 h 1800"/>
                <a:gd name="T120" fmla="*/ 107 w 3383"/>
                <a:gd name="T121" fmla="*/ 1532 h 1800"/>
                <a:gd name="T122" fmla="*/ 43 w 3383"/>
                <a:gd name="T123" fmla="*/ 1669 h 1800"/>
                <a:gd name="T124" fmla="*/ 18 w 3383"/>
                <a:gd name="T125" fmla="*/ 1774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3" h="1800">
                  <a:moveTo>
                    <a:pt x="0" y="1800"/>
                  </a:move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6" y="1800"/>
                  </a:lnTo>
                  <a:lnTo>
                    <a:pt x="6" y="1800"/>
                  </a:lnTo>
                  <a:lnTo>
                    <a:pt x="6" y="1800"/>
                  </a:lnTo>
                  <a:lnTo>
                    <a:pt x="6" y="1800"/>
                  </a:lnTo>
                  <a:lnTo>
                    <a:pt x="6" y="1800"/>
                  </a:lnTo>
                  <a:lnTo>
                    <a:pt x="6" y="1800"/>
                  </a:lnTo>
                  <a:lnTo>
                    <a:pt x="6" y="1800"/>
                  </a:lnTo>
                  <a:lnTo>
                    <a:pt x="6" y="1800"/>
                  </a:lnTo>
                  <a:lnTo>
                    <a:pt x="7" y="1800"/>
                  </a:lnTo>
                  <a:lnTo>
                    <a:pt x="7" y="1800"/>
                  </a:lnTo>
                  <a:lnTo>
                    <a:pt x="8" y="1800"/>
                  </a:lnTo>
                  <a:lnTo>
                    <a:pt x="8" y="1800"/>
                  </a:lnTo>
                  <a:lnTo>
                    <a:pt x="9" y="1800"/>
                  </a:lnTo>
                  <a:lnTo>
                    <a:pt x="9" y="1800"/>
                  </a:lnTo>
                  <a:lnTo>
                    <a:pt x="9" y="1800"/>
                  </a:lnTo>
                  <a:lnTo>
                    <a:pt x="9" y="1800"/>
                  </a:lnTo>
                  <a:lnTo>
                    <a:pt x="9" y="1800"/>
                  </a:lnTo>
                  <a:lnTo>
                    <a:pt x="9" y="1800"/>
                  </a:lnTo>
                  <a:lnTo>
                    <a:pt x="9" y="1800"/>
                  </a:lnTo>
                  <a:lnTo>
                    <a:pt x="9" y="1800"/>
                  </a:lnTo>
                  <a:lnTo>
                    <a:pt x="10" y="1800"/>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792"/>
                  </a:lnTo>
                  <a:lnTo>
                    <a:pt x="10" y="1792"/>
                  </a:lnTo>
                  <a:lnTo>
                    <a:pt x="10" y="1792"/>
                  </a:lnTo>
                  <a:lnTo>
                    <a:pt x="10" y="1792"/>
                  </a:lnTo>
                  <a:lnTo>
                    <a:pt x="10" y="1792"/>
                  </a:lnTo>
                  <a:lnTo>
                    <a:pt x="10" y="1792"/>
                  </a:lnTo>
                  <a:lnTo>
                    <a:pt x="10" y="1789"/>
                  </a:lnTo>
                  <a:lnTo>
                    <a:pt x="10" y="1789"/>
                  </a:lnTo>
                  <a:lnTo>
                    <a:pt x="10" y="1789"/>
                  </a:lnTo>
                  <a:lnTo>
                    <a:pt x="11" y="1789"/>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7"/>
                  </a:lnTo>
                  <a:lnTo>
                    <a:pt x="11" y="1787"/>
                  </a:lnTo>
                  <a:lnTo>
                    <a:pt x="11" y="1785"/>
                  </a:lnTo>
                  <a:lnTo>
                    <a:pt x="12" y="1785"/>
                  </a:lnTo>
                  <a:lnTo>
                    <a:pt x="12" y="1785"/>
                  </a:lnTo>
                  <a:lnTo>
                    <a:pt x="15" y="1785"/>
                  </a:lnTo>
                  <a:lnTo>
                    <a:pt x="15" y="1784"/>
                  </a:lnTo>
                  <a:lnTo>
                    <a:pt x="15" y="1784"/>
                  </a:lnTo>
                  <a:lnTo>
                    <a:pt x="15" y="1784"/>
                  </a:lnTo>
                  <a:lnTo>
                    <a:pt x="15" y="1784"/>
                  </a:lnTo>
                  <a:lnTo>
                    <a:pt x="15" y="1783"/>
                  </a:lnTo>
                  <a:lnTo>
                    <a:pt x="15" y="1783"/>
                  </a:lnTo>
                  <a:lnTo>
                    <a:pt x="15" y="1783"/>
                  </a:lnTo>
                  <a:lnTo>
                    <a:pt x="16" y="1783"/>
                  </a:lnTo>
                  <a:lnTo>
                    <a:pt x="16" y="1783"/>
                  </a:lnTo>
                  <a:lnTo>
                    <a:pt x="17" y="1783"/>
                  </a:lnTo>
                  <a:lnTo>
                    <a:pt x="17" y="1782"/>
                  </a:lnTo>
                  <a:lnTo>
                    <a:pt x="17" y="1782"/>
                  </a:lnTo>
                  <a:lnTo>
                    <a:pt x="17" y="1782"/>
                  </a:lnTo>
                  <a:lnTo>
                    <a:pt x="17" y="1782"/>
                  </a:lnTo>
                  <a:lnTo>
                    <a:pt x="17" y="1780"/>
                  </a:lnTo>
                  <a:lnTo>
                    <a:pt x="17" y="1780"/>
                  </a:lnTo>
                  <a:lnTo>
                    <a:pt x="17" y="1780"/>
                  </a:lnTo>
                  <a:lnTo>
                    <a:pt x="18" y="1780"/>
                  </a:lnTo>
                  <a:lnTo>
                    <a:pt x="18" y="1777"/>
                  </a:lnTo>
                  <a:lnTo>
                    <a:pt x="18" y="1777"/>
                  </a:lnTo>
                  <a:lnTo>
                    <a:pt x="18" y="1777"/>
                  </a:lnTo>
                  <a:lnTo>
                    <a:pt x="18" y="1777"/>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4"/>
                  </a:lnTo>
                  <a:lnTo>
                    <a:pt x="18" y="1774"/>
                  </a:lnTo>
                  <a:lnTo>
                    <a:pt x="18" y="1774"/>
                  </a:lnTo>
                  <a:lnTo>
                    <a:pt x="18" y="1774"/>
                  </a:lnTo>
                  <a:lnTo>
                    <a:pt x="18" y="1774"/>
                  </a:lnTo>
                  <a:lnTo>
                    <a:pt x="18" y="1774"/>
                  </a:lnTo>
                  <a:lnTo>
                    <a:pt x="18" y="1774"/>
                  </a:lnTo>
                  <a:lnTo>
                    <a:pt x="18" y="1774"/>
                  </a:lnTo>
                  <a:lnTo>
                    <a:pt x="18" y="1771"/>
                  </a:lnTo>
                  <a:lnTo>
                    <a:pt x="18" y="1771"/>
                  </a:lnTo>
                  <a:lnTo>
                    <a:pt x="18" y="1769"/>
                  </a:lnTo>
                  <a:lnTo>
                    <a:pt x="19" y="1769"/>
                  </a:lnTo>
                  <a:lnTo>
                    <a:pt x="19" y="1769"/>
                  </a:lnTo>
                  <a:lnTo>
                    <a:pt x="20" y="1769"/>
                  </a:lnTo>
                  <a:lnTo>
                    <a:pt x="20" y="1769"/>
                  </a:lnTo>
                  <a:lnTo>
                    <a:pt x="20" y="1769"/>
                  </a:lnTo>
                  <a:lnTo>
                    <a:pt x="20" y="1769"/>
                  </a:lnTo>
                  <a:lnTo>
                    <a:pt x="20" y="1769"/>
                  </a:lnTo>
                  <a:lnTo>
                    <a:pt x="20" y="1767"/>
                  </a:lnTo>
                  <a:lnTo>
                    <a:pt x="20" y="1767"/>
                  </a:lnTo>
                  <a:lnTo>
                    <a:pt x="20" y="1767"/>
                  </a:lnTo>
                  <a:lnTo>
                    <a:pt x="20" y="1767"/>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3"/>
                  </a:lnTo>
                  <a:lnTo>
                    <a:pt x="20" y="1763"/>
                  </a:lnTo>
                  <a:lnTo>
                    <a:pt x="20" y="1763"/>
                  </a:lnTo>
                  <a:lnTo>
                    <a:pt x="20" y="1763"/>
                  </a:lnTo>
                  <a:lnTo>
                    <a:pt x="20" y="1763"/>
                  </a:lnTo>
                  <a:lnTo>
                    <a:pt x="20" y="1763"/>
                  </a:lnTo>
                  <a:lnTo>
                    <a:pt x="20" y="1763"/>
                  </a:lnTo>
                  <a:lnTo>
                    <a:pt x="21" y="1763"/>
                  </a:lnTo>
                  <a:lnTo>
                    <a:pt x="21" y="1760"/>
                  </a:lnTo>
                  <a:lnTo>
                    <a:pt x="21" y="1760"/>
                  </a:lnTo>
                  <a:lnTo>
                    <a:pt x="21" y="1760"/>
                  </a:lnTo>
                  <a:lnTo>
                    <a:pt x="21" y="1760"/>
                  </a:lnTo>
                  <a:lnTo>
                    <a:pt x="21" y="1760"/>
                  </a:lnTo>
                  <a:lnTo>
                    <a:pt x="21" y="1760"/>
                  </a:lnTo>
                  <a:lnTo>
                    <a:pt x="21" y="1759"/>
                  </a:lnTo>
                  <a:lnTo>
                    <a:pt x="23" y="1759"/>
                  </a:lnTo>
                  <a:lnTo>
                    <a:pt x="23" y="1758"/>
                  </a:lnTo>
                  <a:lnTo>
                    <a:pt x="23" y="1758"/>
                  </a:lnTo>
                  <a:lnTo>
                    <a:pt x="23" y="1758"/>
                  </a:lnTo>
                  <a:lnTo>
                    <a:pt x="23" y="1758"/>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4" y="1753"/>
                  </a:lnTo>
                  <a:lnTo>
                    <a:pt x="24" y="1753"/>
                  </a:lnTo>
                  <a:lnTo>
                    <a:pt x="24" y="1753"/>
                  </a:lnTo>
                  <a:lnTo>
                    <a:pt x="24" y="1753"/>
                  </a:lnTo>
                  <a:lnTo>
                    <a:pt x="24" y="1753"/>
                  </a:lnTo>
                  <a:lnTo>
                    <a:pt x="24" y="1753"/>
                  </a:lnTo>
                  <a:lnTo>
                    <a:pt x="24" y="1753"/>
                  </a:lnTo>
                  <a:lnTo>
                    <a:pt x="24" y="1753"/>
                  </a:lnTo>
                  <a:lnTo>
                    <a:pt x="25" y="1753"/>
                  </a:lnTo>
                  <a:lnTo>
                    <a:pt x="25" y="1752"/>
                  </a:lnTo>
                  <a:lnTo>
                    <a:pt x="25" y="1752"/>
                  </a:lnTo>
                  <a:lnTo>
                    <a:pt x="25" y="1752"/>
                  </a:lnTo>
                  <a:lnTo>
                    <a:pt x="25" y="1752"/>
                  </a:lnTo>
                  <a:lnTo>
                    <a:pt x="25" y="1752"/>
                  </a:lnTo>
                  <a:lnTo>
                    <a:pt x="25" y="1752"/>
                  </a:lnTo>
                  <a:lnTo>
                    <a:pt x="25" y="1752"/>
                  </a:lnTo>
                  <a:lnTo>
                    <a:pt x="27" y="1752"/>
                  </a:lnTo>
                  <a:lnTo>
                    <a:pt x="27" y="1752"/>
                  </a:lnTo>
                  <a:lnTo>
                    <a:pt x="28" y="1752"/>
                  </a:lnTo>
                  <a:lnTo>
                    <a:pt x="28" y="1752"/>
                  </a:lnTo>
                  <a:lnTo>
                    <a:pt x="28" y="1752"/>
                  </a:lnTo>
                  <a:lnTo>
                    <a:pt x="28" y="1750"/>
                  </a:lnTo>
                  <a:lnTo>
                    <a:pt x="29" y="1750"/>
                  </a:lnTo>
                  <a:lnTo>
                    <a:pt x="29" y="1750"/>
                  </a:lnTo>
                  <a:lnTo>
                    <a:pt x="30" y="1750"/>
                  </a:lnTo>
                  <a:lnTo>
                    <a:pt x="30" y="1748"/>
                  </a:lnTo>
                  <a:lnTo>
                    <a:pt x="30" y="1748"/>
                  </a:lnTo>
                  <a:lnTo>
                    <a:pt x="30" y="1748"/>
                  </a:lnTo>
                  <a:lnTo>
                    <a:pt x="30" y="1748"/>
                  </a:lnTo>
                  <a:lnTo>
                    <a:pt x="30" y="1748"/>
                  </a:lnTo>
                  <a:lnTo>
                    <a:pt x="30" y="1748"/>
                  </a:lnTo>
                  <a:lnTo>
                    <a:pt x="30" y="1735"/>
                  </a:lnTo>
                  <a:lnTo>
                    <a:pt x="31" y="1735"/>
                  </a:lnTo>
                  <a:lnTo>
                    <a:pt x="31" y="1735"/>
                  </a:lnTo>
                  <a:lnTo>
                    <a:pt x="31" y="1735"/>
                  </a:lnTo>
                  <a:lnTo>
                    <a:pt x="31" y="1735"/>
                  </a:lnTo>
                  <a:lnTo>
                    <a:pt x="31" y="1735"/>
                  </a:lnTo>
                  <a:lnTo>
                    <a:pt x="31" y="1735"/>
                  </a:lnTo>
                  <a:lnTo>
                    <a:pt x="32" y="1735"/>
                  </a:lnTo>
                  <a:lnTo>
                    <a:pt x="32" y="1735"/>
                  </a:lnTo>
                  <a:lnTo>
                    <a:pt x="32" y="1735"/>
                  </a:lnTo>
                  <a:lnTo>
                    <a:pt x="32" y="1735"/>
                  </a:lnTo>
                  <a:lnTo>
                    <a:pt x="34" y="1735"/>
                  </a:lnTo>
                  <a:lnTo>
                    <a:pt x="34" y="1735"/>
                  </a:lnTo>
                  <a:lnTo>
                    <a:pt x="34" y="1735"/>
                  </a:lnTo>
                  <a:lnTo>
                    <a:pt x="34" y="1724"/>
                  </a:lnTo>
                  <a:lnTo>
                    <a:pt x="34" y="1724"/>
                  </a:lnTo>
                  <a:lnTo>
                    <a:pt x="34" y="1724"/>
                  </a:lnTo>
                  <a:lnTo>
                    <a:pt x="34" y="1724"/>
                  </a:lnTo>
                  <a:lnTo>
                    <a:pt x="34" y="1724"/>
                  </a:lnTo>
                  <a:lnTo>
                    <a:pt x="34" y="1724"/>
                  </a:lnTo>
                  <a:lnTo>
                    <a:pt x="34" y="1723"/>
                  </a:lnTo>
                  <a:lnTo>
                    <a:pt x="34" y="1723"/>
                  </a:lnTo>
                  <a:lnTo>
                    <a:pt x="34" y="1723"/>
                  </a:lnTo>
                  <a:lnTo>
                    <a:pt x="34" y="1723"/>
                  </a:lnTo>
                  <a:lnTo>
                    <a:pt x="34" y="1723"/>
                  </a:lnTo>
                  <a:lnTo>
                    <a:pt x="34" y="1723"/>
                  </a:lnTo>
                  <a:lnTo>
                    <a:pt x="34" y="1723"/>
                  </a:lnTo>
                  <a:lnTo>
                    <a:pt x="34" y="1723"/>
                  </a:lnTo>
                  <a:lnTo>
                    <a:pt x="34" y="1716"/>
                  </a:lnTo>
                  <a:lnTo>
                    <a:pt x="34" y="1716"/>
                  </a:lnTo>
                  <a:lnTo>
                    <a:pt x="34" y="1716"/>
                  </a:lnTo>
                  <a:lnTo>
                    <a:pt x="34" y="1716"/>
                  </a:lnTo>
                  <a:lnTo>
                    <a:pt x="34" y="1714"/>
                  </a:lnTo>
                  <a:lnTo>
                    <a:pt x="34" y="1714"/>
                  </a:lnTo>
                  <a:lnTo>
                    <a:pt x="34" y="1714"/>
                  </a:lnTo>
                  <a:lnTo>
                    <a:pt x="35" y="1714"/>
                  </a:lnTo>
                  <a:lnTo>
                    <a:pt x="35" y="1713"/>
                  </a:lnTo>
                  <a:lnTo>
                    <a:pt x="35" y="1713"/>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6" y="1708"/>
                  </a:lnTo>
                  <a:lnTo>
                    <a:pt x="36" y="1708"/>
                  </a:lnTo>
                  <a:lnTo>
                    <a:pt x="36" y="1708"/>
                  </a:lnTo>
                  <a:lnTo>
                    <a:pt x="36" y="1708"/>
                  </a:lnTo>
                  <a:lnTo>
                    <a:pt x="36" y="1708"/>
                  </a:lnTo>
                  <a:lnTo>
                    <a:pt x="36" y="1708"/>
                  </a:lnTo>
                  <a:lnTo>
                    <a:pt x="37" y="1708"/>
                  </a:lnTo>
                  <a:lnTo>
                    <a:pt x="37" y="1708"/>
                  </a:lnTo>
                  <a:lnTo>
                    <a:pt x="37" y="1708"/>
                  </a:lnTo>
                  <a:lnTo>
                    <a:pt x="37" y="1707"/>
                  </a:lnTo>
                  <a:lnTo>
                    <a:pt x="38" y="1707"/>
                  </a:lnTo>
                  <a:lnTo>
                    <a:pt x="38" y="1705"/>
                  </a:lnTo>
                  <a:lnTo>
                    <a:pt x="38" y="1705"/>
                  </a:lnTo>
                  <a:lnTo>
                    <a:pt x="38" y="1701"/>
                  </a:lnTo>
                  <a:lnTo>
                    <a:pt x="38" y="1701"/>
                  </a:lnTo>
                  <a:lnTo>
                    <a:pt x="38" y="1700"/>
                  </a:lnTo>
                  <a:lnTo>
                    <a:pt x="38" y="1700"/>
                  </a:lnTo>
                  <a:lnTo>
                    <a:pt x="38" y="1700"/>
                  </a:lnTo>
                  <a:lnTo>
                    <a:pt x="39" y="1700"/>
                  </a:lnTo>
                  <a:lnTo>
                    <a:pt x="39" y="1699"/>
                  </a:lnTo>
                  <a:lnTo>
                    <a:pt x="39" y="1699"/>
                  </a:lnTo>
                  <a:lnTo>
                    <a:pt x="39" y="1698"/>
                  </a:lnTo>
                  <a:lnTo>
                    <a:pt x="39" y="1698"/>
                  </a:lnTo>
                  <a:lnTo>
                    <a:pt x="39" y="1698"/>
                  </a:lnTo>
                  <a:lnTo>
                    <a:pt x="39" y="1698"/>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4"/>
                  </a:lnTo>
                  <a:lnTo>
                    <a:pt x="39" y="1694"/>
                  </a:lnTo>
                  <a:lnTo>
                    <a:pt x="39" y="1693"/>
                  </a:lnTo>
                  <a:lnTo>
                    <a:pt x="39" y="1693"/>
                  </a:lnTo>
                  <a:lnTo>
                    <a:pt x="39" y="1691"/>
                  </a:lnTo>
                  <a:lnTo>
                    <a:pt x="39" y="1691"/>
                  </a:lnTo>
                  <a:lnTo>
                    <a:pt x="39" y="1690"/>
                  </a:lnTo>
                  <a:lnTo>
                    <a:pt x="40" y="1690"/>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6"/>
                  </a:lnTo>
                  <a:lnTo>
                    <a:pt x="40" y="1686"/>
                  </a:lnTo>
                  <a:lnTo>
                    <a:pt x="40" y="1686"/>
                  </a:lnTo>
                  <a:lnTo>
                    <a:pt x="40" y="1686"/>
                  </a:lnTo>
                  <a:lnTo>
                    <a:pt x="40" y="1686"/>
                  </a:lnTo>
                  <a:lnTo>
                    <a:pt x="40" y="1686"/>
                  </a:lnTo>
                  <a:lnTo>
                    <a:pt x="40" y="1685"/>
                  </a:lnTo>
                  <a:lnTo>
                    <a:pt x="40" y="1685"/>
                  </a:lnTo>
                  <a:lnTo>
                    <a:pt x="40" y="1685"/>
                  </a:lnTo>
                  <a:lnTo>
                    <a:pt x="41" y="1685"/>
                  </a:lnTo>
                  <a:lnTo>
                    <a:pt x="41" y="1684"/>
                  </a:lnTo>
                  <a:lnTo>
                    <a:pt x="41" y="1684"/>
                  </a:lnTo>
                  <a:lnTo>
                    <a:pt x="41" y="1683"/>
                  </a:lnTo>
                  <a:lnTo>
                    <a:pt x="41" y="1683"/>
                  </a:lnTo>
                  <a:lnTo>
                    <a:pt x="41" y="1681"/>
                  </a:lnTo>
                  <a:lnTo>
                    <a:pt x="41" y="1681"/>
                  </a:lnTo>
                  <a:lnTo>
                    <a:pt x="41" y="1681"/>
                  </a:lnTo>
                  <a:lnTo>
                    <a:pt x="41" y="1681"/>
                  </a:lnTo>
                  <a:lnTo>
                    <a:pt x="41" y="1681"/>
                  </a:lnTo>
                  <a:lnTo>
                    <a:pt x="42" y="1681"/>
                  </a:lnTo>
                  <a:lnTo>
                    <a:pt x="42" y="1678"/>
                  </a:lnTo>
                  <a:lnTo>
                    <a:pt x="42" y="1678"/>
                  </a:lnTo>
                  <a:lnTo>
                    <a:pt x="42" y="1678"/>
                  </a:lnTo>
                  <a:lnTo>
                    <a:pt x="43" y="1678"/>
                  </a:lnTo>
                  <a:lnTo>
                    <a:pt x="43" y="1677"/>
                  </a:lnTo>
                  <a:lnTo>
                    <a:pt x="43" y="1677"/>
                  </a:lnTo>
                  <a:lnTo>
                    <a:pt x="43" y="1677"/>
                  </a:lnTo>
                  <a:lnTo>
                    <a:pt x="43" y="1677"/>
                  </a:lnTo>
                  <a:lnTo>
                    <a:pt x="43" y="1671"/>
                  </a:lnTo>
                  <a:lnTo>
                    <a:pt x="43" y="1671"/>
                  </a:lnTo>
                  <a:lnTo>
                    <a:pt x="43" y="1671"/>
                  </a:lnTo>
                  <a:lnTo>
                    <a:pt x="43" y="1671"/>
                  </a:lnTo>
                  <a:lnTo>
                    <a:pt x="43" y="1671"/>
                  </a:lnTo>
                  <a:lnTo>
                    <a:pt x="43" y="1671"/>
                  </a:lnTo>
                  <a:lnTo>
                    <a:pt x="43" y="1671"/>
                  </a:lnTo>
                  <a:lnTo>
                    <a:pt x="43" y="1671"/>
                  </a:lnTo>
                  <a:lnTo>
                    <a:pt x="43" y="1669"/>
                  </a:lnTo>
                  <a:lnTo>
                    <a:pt x="43" y="1669"/>
                  </a:lnTo>
                  <a:lnTo>
                    <a:pt x="43" y="1669"/>
                  </a:lnTo>
                  <a:lnTo>
                    <a:pt x="43" y="1669"/>
                  </a:lnTo>
                  <a:lnTo>
                    <a:pt x="43" y="1669"/>
                  </a:lnTo>
                  <a:lnTo>
                    <a:pt x="43" y="1669"/>
                  </a:lnTo>
                  <a:lnTo>
                    <a:pt x="43" y="1669"/>
                  </a:lnTo>
                  <a:lnTo>
                    <a:pt x="43" y="1669"/>
                  </a:lnTo>
                  <a:lnTo>
                    <a:pt x="43" y="1669"/>
                  </a:lnTo>
                  <a:lnTo>
                    <a:pt x="44" y="1669"/>
                  </a:lnTo>
                  <a:lnTo>
                    <a:pt x="44" y="1669"/>
                  </a:lnTo>
                  <a:lnTo>
                    <a:pt x="44" y="1669"/>
                  </a:lnTo>
                  <a:lnTo>
                    <a:pt x="44" y="1667"/>
                  </a:lnTo>
                  <a:lnTo>
                    <a:pt x="44" y="1667"/>
                  </a:lnTo>
                  <a:lnTo>
                    <a:pt x="44" y="1661"/>
                  </a:lnTo>
                  <a:lnTo>
                    <a:pt x="44" y="1661"/>
                  </a:lnTo>
                  <a:lnTo>
                    <a:pt x="44" y="1661"/>
                  </a:lnTo>
                  <a:lnTo>
                    <a:pt x="44" y="1661"/>
                  </a:lnTo>
                  <a:lnTo>
                    <a:pt x="44" y="1656"/>
                  </a:lnTo>
                  <a:lnTo>
                    <a:pt x="44" y="1656"/>
                  </a:lnTo>
                  <a:lnTo>
                    <a:pt x="44" y="1650"/>
                  </a:lnTo>
                  <a:lnTo>
                    <a:pt x="44" y="1650"/>
                  </a:lnTo>
                  <a:lnTo>
                    <a:pt x="44" y="1650"/>
                  </a:lnTo>
                  <a:lnTo>
                    <a:pt x="44" y="1650"/>
                  </a:lnTo>
                  <a:lnTo>
                    <a:pt x="44" y="1650"/>
                  </a:lnTo>
                  <a:lnTo>
                    <a:pt x="45" y="1650"/>
                  </a:lnTo>
                  <a:lnTo>
                    <a:pt x="45" y="1649"/>
                  </a:lnTo>
                  <a:lnTo>
                    <a:pt x="45" y="1649"/>
                  </a:lnTo>
                  <a:lnTo>
                    <a:pt x="45" y="1649"/>
                  </a:lnTo>
                  <a:lnTo>
                    <a:pt x="45" y="1649"/>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7"/>
                  </a:lnTo>
                  <a:lnTo>
                    <a:pt x="46" y="1647"/>
                  </a:lnTo>
                  <a:lnTo>
                    <a:pt x="46" y="1646"/>
                  </a:lnTo>
                  <a:lnTo>
                    <a:pt x="46" y="1646"/>
                  </a:lnTo>
                  <a:lnTo>
                    <a:pt x="46" y="1644"/>
                  </a:lnTo>
                  <a:lnTo>
                    <a:pt x="46" y="1644"/>
                  </a:lnTo>
                  <a:lnTo>
                    <a:pt x="46" y="1644"/>
                  </a:lnTo>
                  <a:lnTo>
                    <a:pt x="46" y="1644"/>
                  </a:lnTo>
                  <a:lnTo>
                    <a:pt x="46" y="1644"/>
                  </a:lnTo>
                  <a:lnTo>
                    <a:pt x="46" y="1644"/>
                  </a:lnTo>
                  <a:lnTo>
                    <a:pt x="46" y="1644"/>
                  </a:lnTo>
                  <a:lnTo>
                    <a:pt x="47" y="1644"/>
                  </a:lnTo>
                  <a:lnTo>
                    <a:pt x="47" y="1644"/>
                  </a:lnTo>
                  <a:lnTo>
                    <a:pt x="50" y="1644"/>
                  </a:lnTo>
                  <a:lnTo>
                    <a:pt x="50" y="1644"/>
                  </a:lnTo>
                  <a:lnTo>
                    <a:pt x="55" y="1644"/>
                  </a:lnTo>
                  <a:lnTo>
                    <a:pt x="55" y="1640"/>
                  </a:lnTo>
                  <a:lnTo>
                    <a:pt x="55" y="1640"/>
                  </a:lnTo>
                  <a:lnTo>
                    <a:pt x="55" y="1640"/>
                  </a:lnTo>
                  <a:lnTo>
                    <a:pt x="55" y="1640"/>
                  </a:lnTo>
                  <a:lnTo>
                    <a:pt x="55" y="1640"/>
                  </a:lnTo>
                  <a:lnTo>
                    <a:pt x="55" y="1640"/>
                  </a:lnTo>
                  <a:lnTo>
                    <a:pt x="55" y="1640"/>
                  </a:lnTo>
                  <a:lnTo>
                    <a:pt x="55" y="1640"/>
                  </a:lnTo>
                  <a:lnTo>
                    <a:pt x="55" y="1639"/>
                  </a:lnTo>
                  <a:lnTo>
                    <a:pt x="55" y="1639"/>
                  </a:lnTo>
                  <a:lnTo>
                    <a:pt x="55" y="1639"/>
                  </a:lnTo>
                  <a:lnTo>
                    <a:pt x="55" y="1639"/>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6" y="1638"/>
                  </a:lnTo>
                  <a:lnTo>
                    <a:pt x="56" y="1638"/>
                  </a:lnTo>
                  <a:lnTo>
                    <a:pt x="56" y="1638"/>
                  </a:lnTo>
                  <a:lnTo>
                    <a:pt x="56" y="1638"/>
                  </a:lnTo>
                  <a:lnTo>
                    <a:pt x="58" y="1638"/>
                  </a:lnTo>
                  <a:lnTo>
                    <a:pt x="58" y="1638"/>
                  </a:lnTo>
                  <a:lnTo>
                    <a:pt x="60" y="1638"/>
                  </a:lnTo>
                  <a:lnTo>
                    <a:pt x="60" y="1638"/>
                  </a:lnTo>
                  <a:lnTo>
                    <a:pt x="62" y="1638"/>
                  </a:lnTo>
                  <a:lnTo>
                    <a:pt x="62" y="1636"/>
                  </a:lnTo>
                  <a:lnTo>
                    <a:pt x="62" y="1636"/>
                  </a:lnTo>
                  <a:lnTo>
                    <a:pt x="62" y="1636"/>
                  </a:lnTo>
                  <a:lnTo>
                    <a:pt x="62" y="1636"/>
                  </a:lnTo>
                  <a:lnTo>
                    <a:pt x="62" y="1636"/>
                  </a:lnTo>
                  <a:lnTo>
                    <a:pt x="62" y="1636"/>
                  </a:lnTo>
                  <a:lnTo>
                    <a:pt x="62" y="1636"/>
                  </a:lnTo>
                  <a:lnTo>
                    <a:pt x="63" y="1636"/>
                  </a:lnTo>
                  <a:lnTo>
                    <a:pt x="63" y="1636"/>
                  </a:lnTo>
                  <a:lnTo>
                    <a:pt x="64" y="1636"/>
                  </a:lnTo>
                  <a:lnTo>
                    <a:pt x="64" y="1636"/>
                  </a:lnTo>
                  <a:lnTo>
                    <a:pt x="64" y="1636"/>
                  </a:lnTo>
                  <a:lnTo>
                    <a:pt x="64" y="1636"/>
                  </a:lnTo>
                  <a:lnTo>
                    <a:pt x="64" y="1636"/>
                  </a:lnTo>
                  <a:lnTo>
                    <a:pt x="64" y="1631"/>
                  </a:lnTo>
                  <a:lnTo>
                    <a:pt x="64" y="1631"/>
                  </a:lnTo>
                  <a:lnTo>
                    <a:pt x="64" y="1631"/>
                  </a:lnTo>
                  <a:lnTo>
                    <a:pt x="64" y="1631"/>
                  </a:lnTo>
                  <a:lnTo>
                    <a:pt x="64" y="1625"/>
                  </a:lnTo>
                  <a:lnTo>
                    <a:pt x="64" y="1625"/>
                  </a:lnTo>
                  <a:lnTo>
                    <a:pt x="64" y="1625"/>
                  </a:lnTo>
                  <a:lnTo>
                    <a:pt x="64" y="1625"/>
                  </a:lnTo>
                  <a:lnTo>
                    <a:pt x="64" y="1625"/>
                  </a:lnTo>
                  <a:lnTo>
                    <a:pt x="64" y="1625"/>
                  </a:lnTo>
                  <a:lnTo>
                    <a:pt x="64" y="1623"/>
                  </a:lnTo>
                  <a:lnTo>
                    <a:pt x="64" y="1623"/>
                  </a:lnTo>
                  <a:lnTo>
                    <a:pt x="64" y="1623"/>
                  </a:lnTo>
                  <a:lnTo>
                    <a:pt x="64" y="1623"/>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5" y="1621"/>
                  </a:lnTo>
                  <a:lnTo>
                    <a:pt x="65" y="1621"/>
                  </a:lnTo>
                  <a:lnTo>
                    <a:pt x="65" y="1621"/>
                  </a:lnTo>
                  <a:lnTo>
                    <a:pt x="65" y="1621"/>
                  </a:lnTo>
                  <a:lnTo>
                    <a:pt x="65" y="1621"/>
                  </a:lnTo>
                  <a:lnTo>
                    <a:pt x="65" y="1620"/>
                  </a:lnTo>
                  <a:lnTo>
                    <a:pt x="65" y="1620"/>
                  </a:lnTo>
                  <a:lnTo>
                    <a:pt x="65" y="1620"/>
                  </a:lnTo>
                  <a:lnTo>
                    <a:pt x="66" y="1620"/>
                  </a:lnTo>
                  <a:lnTo>
                    <a:pt x="66" y="1605"/>
                  </a:lnTo>
                  <a:lnTo>
                    <a:pt x="67" y="1605"/>
                  </a:lnTo>
                  <a:lnTo>
                    <a:pt x="67" y="1605"/>
                  </a:lnTo>
                  <a:lnTo>
                    <a:pt x="67" y="1605"/>
                  </a:lnTo>
                  <a:lnTo>
                    <a:pt x="67" y="1605"/>
                  </a:lnTo>
                  <a:lnTo>
                    <a:pt x="67" y="1605"/>
                  </a:lnTo>
                  <a:lnTo>
                    <a:pt x="67" y="1605"/>
                  </a:lnTo>
                  <a:lnTo>
                    <a:pt x="67" y="1605"/>
                  </a:lnTo>
                  <a:lnTo>
                    <a:pt x="67" y="1598"/>
                  </a:lnTo>
                  <a:lnTo>
                    <a:pt x="67" y="1598"/>
                  </a:lnTo>
                  <a:lnTo>
                    <a:pt x="67" y="1598"/>
                  </a:lnTo>
                  <a:lnTo>
                    <a:pt x="68" y="1598"/>
                  </a:lnTo>
                  <a:lnTo>
                    <a:pt x="68" y="1598"/>
                  </a:lnTo>
                  <a:lnTo>
                    <a:pt x="68" y="1598"/>
                  </a:lnTo>
                  <a:lnTo>
                    <a:pt x="68" y="1598"/>
                  </a:lnTo>
                  <a:lnTo>
                    <a:pt x="69" y="1598"/>
                  </a:lnTo>
                  <a:lnTo>
                    <a:pt x="69" y="1598"/>
                  </a:lnTo>
                  <a:lnTo>
                    <a:pt x="70" y="1598"/>
                  </a:lnTo>
                  <a:lnTo>
                    <a:pt x="70" y="1594"/>
                  </a:lnTo>
                  <a:lnTo>
                    <a:pt x="70" y="1594"/>
                  </a:lnTo>
                  <a:lnTo>
                    <a:pt x="70" y="1591"/>
                  </a:lnTo>
                  <a:lnTo>
                    <a:pt x="70" y="1591"/>
                  </a:lnTo>
                  <a:lnTo>
                    <a:pt x="70" y="1591"/>
                  </a:lnTo>
                  <a:lnTo>
                    <a:pt x="70" y="1591"/>
                  </a:lnTo>
                  <a:lnTo>
                    <a:pt x="70" y="1591"/>
                  </a:lnTo>
                  <a:lnTo>
                    <a:pt x="70" y="1591"/>
                  </a:lnTo>
                  <a:lnTo>
                    <a:pt x="70" y="1591"/>
                  </a:lnTo>
                  <a:lnTo>
                    <a:pt x="70" y="1591"/>
                  </a:lnTo>
                  <a:lnTo>
                    <a:pt x="70" y="1586"/>
                  </a:lnTo>
                  <a:lnTo>
                    <a:pt x="72" y="1586"/>
                  </a:lnTo>
                  <a:lnTo>
                    <a:pt x="72" y="1586"/>
                  </a:lnTo>
                  <a:lnTo>
                    <a:pt x="76" y="1586"/>
                  </a:lnTo>
                  <a:lnTo>
                    <a:pt x="76" y="1586"/>
                  </a:lnTo>
                  <a:lnTo>
                    <a:pt x="81" y="1586"/>
                  </a:lnTo>
                  <a:lnTo>
                    <a:pt x="81" y="1580"/>
                  </a:lnTo>
                  <a:lnTo>
                    <a:pt x="81" y="1580"/>
                  </a:lnTo>
                  <a:lnTo>
                    <a:pt x="81" y="1580"/>
                  </a:lnTo>
                  <a:lnTo>
                    <a:pt x="81" y="1580"/>
                  </a:lnTo>
                  <a:lnTo>
                    <a:pt x="81" y="1580"/>
                  </a:lnTo>
                  <a:lnTo>
                    <a:pt x="81" y="1580"/>
                  </a:lnTo>
                  <a:lnTo>
                    <a:pt x="81" y="1580"/>
                  </a:lnTo>
                  <a:lnTo>
                    <a:pt x="83" y="1580"/>
                  </a:lnTo>
                  <a:lnTo>
                    <a:pt x="83" y="1580"/>
                  </a:lnTo>
                  <a:lnTo>
                    <a:pt x="85" y="1580"/>
                  </a:lnTo>
                  <a:lnTo>
                    <a:pt x="85" y="1579"/>
                  </a:lnTo>
                  <a:lnTo>
                    <a:pt x="86" y="1579"/>
                  </a:lnTo>
                  <a:lnTo>
                    <a:pt x="86" y="1579"/>
                  </a:lnTo>
                  <a:lnTo>
                    <a:pt x="86" y="1579"/>
                  </a:lnTo>
                  <a:lnTo>
                    <a:pt x="86" y="1575"/>
                  </a:lnTo>
                  <a:lnTo>
                    <a:pt x="86" y="1575"/>
                  </a:lnTo>
                  <a:lnTo>
                    <a:pt x="86" y="1571"/>
                  </a:lnTo>
                  <a:lnTo>
                    <a:pt x="86" y="1571"/>
                  </a:lnTo>
                  <a:lnTo>
                    <a:pt x="86" y="1568"/>
                  </a:lnTo>
                  <a:lnTo>
                    <a:pt x="86" y="1568"/>
                  </a:lnTo>
                  <a:lnTo>
                    <a:pt x="86" y="1568"/>
                  </a:lnTo>
                  <a:lnTo>
                    <a:pt x="86" y="1568"/>
                  </a:lnTo>
                  <a:lnTo>
                    <a:pt x="86" y="1568"/>
                  </a:lnTo>
                  <a:lnTo>
                    <a:pt x="87" y="1568"/>
                  </a:lnTo>
                  <a:lnTo>
                    <a:pt x="87" y="1568"/>
                  </a:lnTo>
                  <a:lnTo>
                    <a:pt x="87" y="1568"/>
                  </a:lnTo>
                  <a:lnTo>
                    <a:pt x="87" y="1567"/>
                  </a:lnTo>
                  <a:lnTo>
                    <a:pt x="87" y="1567"/>
                  </a:lnTo>
                  <a:lnTo>
                    <a:pt x="87" y="1567"/>
                  </a:lnTo>
                  <a:lnTo>
                    <a:pt x="87" y="1567"/>
                  </a:lnTo>
                  <a:lnTo>
                    <a:pt x="87" y="1567"/>
                  </a:lnTo>
                  <a:lnTo>
                    <a:pt x="87" y="1567"/>
                  </a:lnTo>
                  <a:lnTo>
                    <a:pt x="87" y="1567"/>
                  </a:lnTo>
                  <a:lnTo>
                    <a:pt x="87" y="1567"/>
                  </a:lnTo>
                  <a:lnTo>
                    <a:pt x="87" y="1564"/>
                  </a:lnTo>
                  <a:lnTo>
                    <a:pt x="87" y="1564"/>
                  </a:lnTo>
                  <a:lnTo>
                    <a:pt x="87" y="1564"/>
                  </a:lnTo>
                  <a:lnTo>
                    <a:pt x="88" y="1564"/>
                  </a:lnTo>
                  <a:lnTo>
                    <a:pt x="88" y="1561"/>
                  </a:lnTo>
                  <a:lnTo>
                    <a:pt x="88" y="1561"/>
                  </a:lnTo>
                  <a:lnTo>
                    <a:pt x="88" y="1561"/>
                  </a:lnTo>
                  <a:lnTo>
                    <a:pt x="88" y="1561"/>
                  </a:lnTo>
                  <a:lnTo>
                    <a:pt x="88" y="1561"/>
                  </a:lnTo>
                  <a:lnTo>
                    <a:pt x="88" y="1561"/>
                  </a:lnTo>
                  <a:lnTo>
                    <a:pt x="88" y="1561"/>
                  </a:lnTo>
                  <a:lnTo>
                    <a:pt x="88" y="1561"/>
                  </a:lnTo>
                  <a:lnTo>
                    <a:pt x="88" y="1561"/>
                  </a:lnTo>
                  <a:lnTo>
                    <a:pt x="88" y="1561"/>
                  </a:lnTo>
                  <a:lnTo>
                    <a:pt x="88" y="1561"/>
                  </a:lnTo>
                  <a:lnTo>
                    <a:pt x="89" y="1561"/>
                  </a:lnTo>
                  <a:lnTo>
                    <a:pt x="89" y="1561"/>
                  </a:lnTo>
                  <a:lnTo>
                    <a:pt x="89" y="1561"/>
                  </a:lnTo>
                  <a:lnTo>
                    <a:pt x="89" y="1558"/>
                  </a:lnTo>
                  <a:lnTo>
                    <a:pt x="89" y="1558"/>
                  </a:lnTo>
                  <a:lnTo>
                    <a:pt x="89" y="1558"/>
                  </a:lnTo>
                  <a:lnTo>
                    <a:pt x="89" y="1558"/>
                  </a:lnTo>
                  <a:lnTo>
                    <a:pt x="89" y="1557"/>
                  </a:lnTo>
                  <a:lnTo>
                    <a:pt x="89" y="1557"/>
                  </a:lnTo>
                  <a:lnTo>
                    <a:pt x="89" y="1546"/>
                  </a:lnTo>
                  <a:lnTo>
                    <a:pt x="92" y="1546"/>
                  </a:lnTo>
                  <a:lnTo>
                    <a:pt x="92" y="1546"/>
                  </a:lnTo>
                  <a:lnTo>
                    <a:pt x="93" y="1546"/>
                  </a:lnTo>
                  <a:lnTo>
                    <a:pt x="93" y="1544"/>
                  </a:lnTo>
                  <a:lnTo>
                    <a:pt x="93" y="1544"/>
                  </a:lnTo>
                  <a:lnTo>
                    <a:pt x="93" y="1544"/>
                  </a:lnTo>
                  <a:lnTo>
                    <a:pt x="94" y="1544"/>
                  </a:lnTo>
                  <a:lnTo>
                    <a:pt x="94" y="1544"/>
                  </a:lnTo>
                  <a:lnTo>
                    <a:pt x="101" y="1544"/>
                  </a:lnTo>
                  <a:lnTo>
                    <a:pt x="101" y="1543"/>
                  </a:lnTo>
                  <a:lnTo>
                    <a:pt x="102" y="1543"/>
                  </a:lnTo>
                  <a:lnTo>
                    <a:pt x="102" y="1543"/>
                  </a:lnTo>
                  <a:lnTo>
                    <a:pt x="103" y="1543"/>
                  </a:lnTo>
                  <a:lnTo>
                    <a:pt x="103" y="1537"/>
                  </a:lnTo>
                  <a:lnTo>
                    <a:pt x="103" y="1537"/>
                  </a:lnTo>
                  <a:lnTo>
                    <a:pt x="103" y="1537"/>
                  </a:lnTo>
                  <a:lnTo>
                    <a:pt x="103" y="1537"/>
                  </a:lnTo>
                  <a:lnTo>
                    <a:pt x="103" y="1536"/>
                  </a:lnTo>
                  <a:lnTo>
                    <a:pt x="103" y="1536"/>
                  </a:lnTo>
                  <a:lnTo>
                    <a:pt x="103" y="1536"/>
                  </a:lnTo>
                  <a:lnTo>
                    <a:pt x="104" y="1536"/>
                  </a:lnTo>
                  <a:lnTo>
                    <a:pt x="104" y="1536"/>
                  </a:lnTo>
                  <a:lnTo>
                    <a:pt x="106" y="1536"/>
                  </a:lnTo>
                  <a:lnTo>
                    <a:pt x="106" y="1535"/>
                  </a:lnTo>
                  <a:lnTo>
                    <a:pt x="107" y="1535"/>
                  </a:lnTo>
                  <a:lnTo>
                    <a:pt x="107" y="1532"/>
                  </a:lnTo>
                  <a:lnTo>
                    <a:pt x="107" y="1532"/>
                  </a:lnTo>
                  <a:lnTo>
                    <a:pt x="107" y="1532"/>
                  </a:lnTo>
                  <a:lnTo>
                    <a:pt x="108" y="1532"/>
                  </a:lnTo>
                  <a:lnTo>
                    <a:pt x="108" y="1532"/>
                  </a:lnTo>
                  <a:lnTo>
                    <a:pt x="110" y="1532"/>
                  </a:lnTo>
                  <a:lnTo>
                    <a:pt x="110" y="1532"/>
                  </a:lnTo>
                  <a:lnTo>
                    <a:pt x="112" y="1532"/>
                  </a:lnTo>
                  <a:lnTo>
                    <a:pt x="112" y="1532"/>
                  </a:lnTo>
                  <a:lnTo>
                    <a:pt x="115" y="1532"/>
                  </a:lnTo>
                  <a:lnTo>
                    <a:pt x="115" y="1530"/>
                  </a:lnTo>
                  <a:lnTo>
                    <a:pt x="116" y="1530"/>
                  </a:lnTo>
                  <a:lnTo>
                    <a:pt x="116" y="1530"/>
                  </a:lnTo>
                  <a:lnTo>
                    <a:pt x="116" y="1530"/>
                  </a:lnTo>
                  <a:lnTo>
                    <a:pt x="116" y="1530"/>
                  </a:lnTo>
                  <a:lnTo>
                    <a:pt x="116" y="1530"/>
                  </a:lnTo>
                  <a:lnTo>
                    <a:pt x="116" y="1529"/>
                  </a:lnTo>
                  <a:lnTo>
                    <a:pt x="116" y="1529"/>
                  </a:lnTo>
                  <a:lnTo>
                    <a:pt x="116" y="1529"/>
                  </a:lnTo>
                  <a:lnTo>
                    <a:pt x="116" y="1529"/>
                  </a:lnTo>
                  <a:lnTo>
                    <a:pt x="116" y="1524"/>
                  </a:lnTo>
                  <a:lnTo>
                    <a:pt x="116" y="1524"/>
                  </a:lnTo>
                  <a:lnTo>
                    <a:pt x="116" y="1521"/>
                  </a:lnTo>
                  <a:lnTo>
                    <a:pt x="116" y="1521"/>
                  </a:lnTo>
                  <a:lnTo>
                    <a:pt x="116" y="1521"/>
                  </a:lnTo>
                  <a:lnTo>
                    <a:pt x="116" y="1521"/>
                  </a:lnTo>
                  <a:lnTo>
                    <a:pt x="116" y="1521"/>
                  </a:lnTo>
                  <a:lnTo>
                    <a:pt x="116" y="1521"/>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8"/>
                  </a:lnTo>
                  <a:lnTo>
                    <a:pt x="116" y="1518"/>
                  </a:lnTo>
                  <a:lnTo>
                    <a:pt x="116" y="1518"/>
                  </a:lnTo>
                  <a:lnTo>
                    <a:pt x="116" y="1518"/>
                  </a:lnTo>
                  <a:lnTo>
                    <a:pt x="116" y="1517"/>
                  </a:lnTo>
                  <a:lnTo>
                    <a:pt x="116" y="1517"/>
                  </a:lnTo>
                  <a:lnTo>
                    <a:pt x="116" y="1517"/>
                  </a:lnTo>
                  <a:lnTo>
                    <a:pt x="116" y="1517"/>
                  </a:lnTo>
                  <a:lnTo>
                    <a:pt x="116" y="1517"/>
                  </a:lnTo>
                  <a:lnTo>
                    <a:pt x="116" y="1517"/>
                  </a:lnTo>
                  <a:lnTo>
                    <a:pt x="116" y="1517"/>
                  </a:lnTo>
                  <a:lnTo>
                    <a:pt x="117" y="1517"/>
                  </a:lnTo>
                  <a:lnTo>
                    <a:pt x="117"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21" y="1516"/>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4"/>
                  </a:lnTo>
                  <a:lnTo>
                    <a:pt x="121" y="1514"/>
                  </a:lnTo>
                  <a:lnTo>
                    <a:pt x="121" y="1514"/>
                  </a:lnTo>
                  <a:lnTo>
                    <a:pt x="121" y="1514"/>
                  </a:lnTo>
                  <a:lnTo>
                    <a:pt x="121" y="1514"/>
                  </a:lnTo>
                  <a:lnTo>
                    <a:pt x="121" y="1514"/>
                  </a:lnTo>
                  <a:lnTo>
                    <a:pt x="121" y="1514"/>
                  </a:lnTo>
                  <a:lnTo>
                    <a:pt x="121" y="1514"/>
                  </a:lnTo>
                  <a:lnTo>
                    <a:pt x="121" y="1514"/>
                  </a:lnTo>
                  <a:lnTo>
                    <a:pt x="123" y="1514"/>
                  </a:lnTo>
                  <a:lnTo>
                    <a:pt x="123" y="1513"/>
                  </a:lnTo>
                  <a:lnTo>
                    <a:pt x="123" y="1513"/>
                  </a:lnTo>
                  <a:lnTo>
                    <a:pt x="123" y="1513"/>
                  </a:lnTo>
                  <a:lnTo>
                    <a:pt x="123" y="1513"/>
                  </a:lnTo>
                  <a:lnTo>
                    <a:pt x="123" y="1513"/>
                  </a:lnTo>
                  <a:lnTo>
                    <a:pt x="123" y="1513"/>
                  </a:lnTo>
                  <a:lnTo>
                    <a:pt x="123" y="1512"/>
                  </a:lnTo>
                  <a:lnTo>
                    <a:pt x="123" y="1512"/>
                  </a:lnTo>
                  <a:lnTo>
                    <a:pt x="123" y="1510"/>
                  </a:lnTo>
                  <a:lnTo>
                    <a:pt x="123" y="1510"/>
                  </a:lnTo>
                  <a:lnTo>
                    <a:pt x="123" y="1510"/>
                  </a:lnTo>
                  <a:lnTo>
                    <a:pt x="125" y="1510"/>
                  </a:lnTo>
                  <a:lnTo>
                    <a:pt x="125" y="1510"/>
                  </a:lnTo>
                  <a:lnTo>
                    <a:pt x="125" y="1510"/>
                  </a:lnTo>
                  <a:lnTo>
                    <a:pt x="125" y="1510"/>
                  </a:lnTo>
                  <a:lnTo>
                    <a:pt x="125" y="1510"/>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6" y="1503"/>
                  </a:lnTo>
                  <a:lnTo>
                    <a:pt x="126" y="1503"/>
                  </a:lnTo>
                  <a:lnTo>
                    <a:pt x="126" y="1503"/>
                  </a:lnTo>
                  <a:lnTo>
                    <a:pt x="126" y="1503"/>
                  </a:lnTo>
                  <a:lnTo>
                    <a:pt x="127" y="1503"/>
                  </a:lnTo>
                  <a:lnTo>
                    <a:pt x="127" y="1503"/>
                  </a:lnTo>
                  <a:lnTo>
                    <a:pt x="127" y="1503"/>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8" y="1498"/>
                  </a:lnTo>
                  <a:lnTo>
                    <a:pt x="128" y="1498"/>
                  </a:lnTo>
                  <a:lnTo>
                    <a:pt x="128" y="1498"/>
                  </a:lnTo>
                  <a:lnTo>
                    <a:pt x="128" y="1498"/>
                  </a:lnTo>
                  <a:lnTo>
                    <a:pt x="129" y="1498"/>
                  </a:lnTo>
                  <a:lnTo>
                    <a:pt x="129" y="1498"/>
                  </a:lnTo>
                  <a:lnTo>
                    <a:pt x="131" y="1498"/>
                  </a:lnTo>
                  <a:lnTo>
                    <a:pt x="131" y="1496"/>
                  </a:lnTo>
                  <a:lnTo>
                    <a:pt x="131" y="1496"/>
                  </a:lnTo>
                  <a:lnTo>
                    <a:pt x="131" y="1496"/>
                  </a:lnTo>
                  <a:lnTo>
                    <a:pt x="133" y="1496"/>
                  </a:lnTo>
                  <a:lnTo>
                    <a:pt x="133" y="1496"/>
                  </a:lnTo>
                  <a:lnTo>
                    <a:pt x="135" y="1496"/>
                  </a:lnTo>
                  <a:lnTo>
                    <a:pt x="135" y="1492"/>
                  </a:lnTo>
                  <a:lnTo>
                    <a:pt x="135" y="1492"/>
                  </a:lnTo>
                  <a:lnTo>
                    <a:pt x="135" y="1492"/>
                  </a:lnTo>
                  <a:lnTo>
                    <a:pt x="135" y="1492"/>
                  </a:lnTo>
                  <a:lnTo>
                    <a:pt x="135" y="1492"/>
                  </a:lnTo>
                  <a:lnTo>
                    <a:pt x="135" y="1492"/>
                  </a:lnTo>
                  <a:lnTo>
                    <a:pt x="135" y="1492"/>
                  </a:lnTo>
                  <a:lnTo>
                    <a:pt x="135" y="1492"/>
                  </a:lnTo>
                  <a:lnTo>
                    <a:pt x="135" y="1492"/>
                  </a:lnTo>
                  <a:lnTo>
                    <a:pt x="136" y="1492"/>
                  </a:lnTo>
                  <a:lnTo>
                    <a:pt x="136" y="1492"/>
                  </a:lnTo>
                  <a:lnTo>
                    <a:pt x="136" y="1492"/>
                  </a:lnTo>
                  <a:lnTo>
                    <a:pt x="136" y="1488"/>
                  </a:lnTo>
                  <a:lnTo>
                    <a:pt x="136" y="1488"/>
                  </a:lnTo>
                  <a:lnTo>
                    <a:pt x="136" y="1488"/>
                  </a:lnTo>
                  <a:lnTo>
                    <a:pt x="136" y="1488"/>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7" y="1486"/>
                  </a:lnTo>
                  <a:lnTo>
                    <a:pt x="137" y="1486"/>
                  </a:lnTo>
                  <a:lnTo>
                    <a:pt x="137" y="1486"/>
                  </a:lnTo>
                  <a:lnTo>
                    <a:pt x="137" y="1483"/>
                  </a:lnTo>
                  <a:lnTo>
                    <a:pt x="137" y="1483"/>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8" y="1480"/>
                  </a:lnTo>
                  <a:lnTo>
                    <a:pt x="138" y="1480"/>
                  </a:lnTo>
                  <a:lnTo>
                    <a:pt x="138" y="1480"/>
                  </a:lnTo>
                  <a:lnTo>
                    <a:pt x="138" y="1480"/>
                  </a:lnTo>
                  <a:lnTo>
                    <a:pt x="138" y="1480"/>
                  </a:lnTo>
                  <a:lnTo>
                    <a:pt x="138" y="1477"/>
                  </a:lnTo>
                  <a:lnTo>
                    <a:pt x="138" y="1477"/>
                  </a:lnTo>
                  <a:lnTo>
                    <a:pt x="138" y="1477"/>
                  </a:lnTo>
                  <a:lnTo>
                    <a:pt x="138" y="1477"/>
                  </a:lnTo>
                  <a:lnTo>
                    <a:pt x="138" y="1477"/>
                  </a:lnTo>
                  <a:lnTo>
                    <a:pt x="139" y="1477"/>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40" y="1471"/>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8"/>
                  </a:lnTo>
                  <a:lnTo>
                    <a:pt x="140" y="1468"/>
                  </a:lnTo>
                  <a:lnTo>
                    <a:pt x="140" y="1468"/>
                  </a:lnTo>
                  <a:lnTo>
                    <a:pt x="140" y="1468"/>
                  </a:lnTo>
                  <a:lnTo>
                    <a:pt x="140" y="1465"/>
                  </a:lnTo>
                  <a:lnTo>
                    <a:pt x="140" y="1465"/>
                  </a:lnTo>
                  <a:lnTo>
                    <a:pt x="140" y="1465"/>
                  </a:lnTo>
                  <a:lnTo>
                    <a:pt x="140" y="1465"/>
                  </a:lnTo>
                  <a:lnTo>
                    <a:pt x="140" y="1464"/>
                  </a:lnTo>
                  <a:lnTo>
                    <a:pt x="140" y="1464"/>
                  </a:lnTo>
                  <a:lnTo>
                    <a:pt x="140" y="1464"/>
                  </a:lnTo>
                  <a:lnTo>
                    <a:pt x="140" y="1464"/>
                  </a:lnTo>
                  <a:lnTo>
                    <a:pt x="140" y="1464"/>
                  </a:lnTo>
                  <a:lnTo>
                    <a:pt x="140" y="1464"/>
                  </a:lnTo>
                  <a:lnTo>
                    <a:pt x="140" y="1463"/>
                  </a:lnTo>
                  <a:lnTo>
                    <a:pt x="140" y="1463"/>
                  </a:lnTo>
                  <a:lnTo>
                    <a:pt x="140" y="1463"/>
                  </a:lnTo>
                  <a:lnTo>
                    <a:pt x="140" y="1463"/>
                  </a:lnTo>
                  <a:lnTo>
                    <a:pt x="140" y="1463"/>
                  </a:lnTo>
                  <a:lnTo>
                    <a:pt x="140" y="1463"/>
                  </a:lnTo>
                  <a:lnTo>
                    <a:pt x="140" y="1463"/>
                  </a:lnTo>
                  <a:lnTo>
                    <a:pt x="140" y="1463"/>
                  </a:lnTo>
                  <a:lnTo>
                    <a:pt x="140" y="1461"/>
                  </a:lnTo>
                  <a:lnTo>
                    <a:pt x="140" y="1461"/>
                  </a:lnTo>
                  <a:lnTo>
                    <a:pt x="140" y="1461"/>
                  </a:lnTo>
                  <a:lnTo>
                    <a:pt x="140" y="1461"/>
                  </a:lnTo>
                  <a:lnTo>
                    <a:pt x="140" y="1461"/>
                  </a:lnTo>
                  <a:lnTo>
                    <a:pt x="140" y="1461"/>
                  </a:lnTo>
                  <a:lnTo>
                    <a:pt x="140" y="1461"/>
                  </a:lnTo>
                  <a:lnTo>
                    <a:pt x="140" y="1461"/>
                  </a:lnTo>
                  <a:lnTo>
                    <a:pt x="140" y="1460"/>
                  </a:lnTo>
                  <a:lnTo>
                    <a:pt x="140" y="1460"/>
                  </a:lnTo>
                  <a:lnTo>
                    <a:pt x="140" y="1460"/>
                  </a:lnTo>
                  <a:lnTo>
                    <a:pt x="140" y="1460"/>
                  </a:lnTo>
                  <a:lnTo>
                    <a:pt x="140" y="1460"/>
                  </a:lnTo>
                  <a:lnTo>
                    <a:pt x="140" y="1460"/>
                  </a:lnTo>
                  <a:lnTo>
                    <a:pt x="140" y="1458"/>
                  </a:lnTo>
                  <a:lnTo>
                    <a:pt x="140" y="1458"/>
                  </a:lnTo>
                  <a:lnTo>
                    <a:pt x="140" y="1458"/>
                  </a:lnTo>
                  <a:lnTo>
                    <a:pt x="140" y="1458"/>
                  </a:lnTo>
                  <a:lnTo>
                    <a:pt x="140" y="1458"/>
                  </a:lnTo>
                  <a:lnTo>
                    <a:pt x="141" y="1458"/>
                  </a:lnTo>
                  <a:lnTo>
                    <a:pt x="141" y="1458"/>
                  </a:lnTo>
                  <a:lnTo>
                    <a:pt x="141" y="1458"/>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2" y="1453"/>
                  </a:lnTo>
                  <a:lnTo>
                    <a:pt x="142" y="1453"/>
                  </a:lnTo>
                  <a:lnTo>
                    <a:pt x="142" y="1453"/>
                  </a:lnTo>
                  <a:lnTo>
                    <a:pt x="142" y="1453"/>
                  </a:lnTo>
                  <a:lnTo>
                    <a:pt x="142" y="1453"/>
                  </a:lnTo>
                  <a:lnTo>
                    <a:pt x="142" y="1453"/>
                  </a:lnTo>
                  <a:lnTo>
                    <a:pt x="143" y="1453"/>
                  </a:lnTo>
                  <a:lnTo>
                    <a:pt x="143" y="1453"/>
                  </a:lnTo>
                  <a:lnTo>
                    <a:pt x="144" y="1453"/>
                  </a:lnTo>
                  <a:lnTo>
                    <a:pt x="144" y="1453"/>
                  </a:lnTo>
                  <a:lnTo>
                    <a:pt x="147" y="1453"/>
                  </a:lnTo>
                  <a:lnTo>
                    <a:pt x="147" y="1453"/>
                  </a:lnTo>
                  <a:lnTo>
                    <a:pt x="147" y="1453"/>
                  </a:lnTo>
                  <a:lnTo>
                    <a:pt x="147" y="1452"/>
                  </a:lnTo>
                  <a:lnTo>
                    <a:pt x="147" y="1452"/>
                  </a:lnTo>
                  <a:lnTo>
                    <a:pt x="147" y="1452"/>
                  </a:lnTo>
                  <a:lnTo>
                    <a:pt x="147" y="1452"/>
                  </a:lnTo>
                  <a:lnTo>
                    <a:pt x="147" y="1451"/>
                  </a:lnTo>
                  <a:lnTo>
                    <a:pt x="148" y="1451"/>
                  </a:lnTo>
                  <a:lnTo>
                    <a:pt x="148" y="1449"/>
                  </a:lnTo>
                  <a:lnTo>
                    <a:pt x="148" y="1449"/>
                  </a:lnTo>
                  <a:lnTo>
                    <a:pt x="148" y="1449"/>
                  </a:lnTo>
                  <a:lnTo>
                    <a:pt x="148" y="1449"/>
                  </a:lnTo>
                  <a:lnTo>
                    <a:pt x="148" y="1449"/>
                  </a:lnTo>
                  <a:lnTo>
                    <a:pt x="148" y="1449"/>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9" y="1447"/>
                  </a:lnTo>
                  <a:lnTo>
                    <a:pt x="149" y="1447"/>
                  </a:lnTo>
                  <a:lnTo>
                    <a:pt x="150" y="1447"/>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3"/>
                  </a:lnTo>
                  <a:lnTo>
                    <a:pt x="151" y="1443"/>
                  </a:lnTo>
                  <a:lnTo>
                    <a:pt x="151" y="1443"/>
                  </a:lnTo>
                  <a:lnTo>
                    <a:pt x="151" y="1443"/>
                  </a:lnTo>
                  <a:lnTo>
                    <a:pt x="151" y="1443"/>
                  </a:lnTo>
                  <a:lnTo>
                    <a:pt x="151" y="1443"/>
                  </a:lnTo>
                  <a:lnTo>
                    <a:pt x="151" y="1443"/>
                  </a:lnTo>
                  <a:lnTo>
                    <a:pt x="151" y="1443"/>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1"/>
                  </a:lnTo>
                  <a:lnTo>
                    <a:pt x="151" y="1441"/>
                  </a:lnTo>
                  <a:lnTo>
                    <a:pt x="151" y="1441"/>
                  </a:lnTo>
                  <a:lnTo>
                    <a:pt x="151" y="1441"/>
                  </a:lnTo>
                  <a:lnTo>
                    <a:pt x="151" y="1439"/>
                  </a:lnTo>
                  <a:lnTo>
                    <a:pt x="152" y="1439"/>
                  </a:lnTo>
                  <a:lnTo>
                    <a:pt x="152" y="1439"/>
                  </a:lnTo>
                  <a:lnTo>
                    <a:pt x="152" y="1439"/>
                  </a:lnTo>
                  <a:lnTo>
                    <a:pt x="152" y="1439"/>
                  </a:lnTo>
                  <a:lnTo>
                    <a:pt x="152" y="1439"/>
                  </a:lnTo>
                  <a:lnTo>
                    <a:pt x="152" y="1434"/>
                  </a:lnTo>
                  <a:lnTo>
                    <a:pt x="160" y="1434"/>
                  </a:lnTo>
                  <a:lnTo>
                    <a:pt x="160" y="1431"/>
                  </a:lnTo>
                  <a:lnTo>
                    <a:pt x="160" y="1431"/>
                  </a:lnTo>
                  <a:lnTo>
                    <a:pt x="160" y="1431"/>
                  </a:lnTo>
                  <a:lnTo>
                    <a:pt x="160" y="1431"/>
                  </a:lnTo>
                  <a:lnTo>
                    <a:pt x="160" y="1431"/>
                  </a:lnTo>
                  <a:lnTo>
                    <a:pt x="160" y="1431"/>
                  </a:lnTo>
                  <a:lnTo>
                    <a:pt x="160" y="1430"/>
                  </a:lnTo>
                  <a:lnTo>
                    <a:pt x="160" y="1430"/>
                  </a:lnTo>
                  <a:lnTo>
                    <a:pt x="160" y="1430"/>
                  </a:lnTo>
                  <a:lnTo>
                    <a:pt x="160" y="1430"/>
                  </a:lnTo>
                  <a:lnTo>
                    <a:pt x="160" y="1430"/>
                  </a:lnTo>
                  <a:lnTo>
                    <a:pt x="167" y="1430"/>
                  </a:lnTo>
                  <a:lnTo>
                    <a:pt x="167" y="1430"/>
                  </a:lnTo>
                  <a:lnTo>
                    <a:pt x="204" y="1430"/>
                  </a:lnTo>
                  <a:lnTo>
                    <a:pt x="204" y="1430"/>
                  </a:lnTo>
                  <a:lnTo>
                    <a:pt x="204" y="1430"/>
                  </a:lnTo>
                  <a:lnTo>
                    <a:pt x="204" y="1429"/>
                  </a:lnTo>
                  <a:lnTo>
                    <a:pt x="204" y="1429"/>
                  </a:lnTo>
                  <a:lnTo>
                    <a:pt x="204" y="1426"/>
                  </a:lnTo>
                  <a:lnTo>
                    <a:pt x="204" y="1426"/>
                  </a:lnTo>
                  <a:lnTo>
                    <a:pt x="204" y="1426"/>
                  </a:lnTo>
                  <a:lnTo>
                    <a:pt x="204" y="1426"/>
                  </a:lnTo>
                  <a:lnTo>
                    <a:pt x="204" y="1426"/>
                  </a:lnTo>
                  <a:lnTo>
                    <a:pt x="204" y="1426"/>
                  </a:lnTo>
                  <a:lnTo>
                    <a:pt x="204" y="1425"/>
                  </a:lnTo>
                  <a:lnTo>
                    <a:pt x="205" y="1425"/>
                  </a:lnTo>
                  <a:lnTo>
                    <a:pt x="205" y="1425"/>
                  </a:lnTo>
                  <a:lnTo>
                    <a:pt x="206" y="1425"/>
                  </a:lnTo>
                  <a:lnTo>
                    <a:pt x="206" y="1425"/>
                  </a:lnTo>
                  <a:lnTo>
                    <a:pt x="207" y="1425"/>
                  </a:lnTo>
                  <a:lnTo>
                    <a:pt x="207" y="1420"/>
                  </a:lnTo>
                  <a:lnTo>
                    <a:pt x="207" y="1420"/>
                  </a:lnTo>
                  <a:lnTo>
                    <a:pt x="207" y="1420"/>
                  </a:lnTo>
                  <a:lnTo>
                    <a:pt x="207" y="1420"/>
                  </a:lnTo>
                  <a:lnTo>
                    <a:pt x="207"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10" y="1420"/>
                  </a:lnTo>
                  <a:lnTo>
                    <a:pt x="210" y="1420"/>
                  </a:lnTo>
                  <a:lnTo>
                    <a:pt x="211" y="1420"/>
                  </a:lnTo>
                  <a:lnTo>
                    <a:pt x="211" y="1420"/>
                  </a:lnTo>
                  <a:lnTo>
                    <a:pt x="213" y="1420"/>
                  </a:lnTo>
                  <a:lnTo>
                    <a:pt x="213" y="1420"/>
                  </a:lnTo>
                  <a:lnTo>
                    <a:pt x="217" y="1420"/>
                  </a:lnTo>
                  <a:lnTo>
                    <a:pt x="217" y="1419"/>
                  </a:lnTo>
                  <a:lnTo>
                    <a:pt x="219" y="1419"/>
                  </a:lnTo>
                  <a:lnTo>
                    <a:pt x="219" y="1419"/>
                  </a:lnTo>
                  <a:lnTo>
                    <a:pt x="219" y="1419"/>
                  </a:lnTo>
                  <a:lnTo>
                    <a:pt x="219" y="1419"/>
                  </a:lnTo>
                  <a:lnTo>
                    <a:pt x="219" y="1419"/>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21" y="1414"/>
                  </a:lnTo>
                  <a:lnTo>
                    <a:pt x="221" y="1414"/>
                  </a:lnTo>
                  <a:lnTo>
                    <a:pt x="221" y="1414"/>
                  </a:lnTo>
                  <a:lnTo>
                    <a:pt x="221" y="1414"/>
                  </a:lnTo>
                  <a:lnTo>
                    <a:pt x="222" y="1414"/>
                  </a:lnTo>
                  <a:lnTo>
                    <a:pt x="222" y="1414"/>
                  </a:lnTo>
                  <a:lnTo>
                    <a:pt x="222" y="1414"/>
                  </a:lnTo>
                  <a:lnTo>
                    <a:pt x="222" y="1414"/>
                  </a:lnTo>
                  <a:lnTo>
                    <a:pt x="223" y="1414"/>
                  </a:lnTo>
                  <a:lnTo>
                    <a:pt x="223" y="1414"/>
                  </a:lnTo>
                  <a:lnTo>
                    <a:pt x="224" y="1414"/>
                  </a:lnTo>
                  <a:lnTo>
                    <a:pt x="224" y="1414"/>
                  </a:lnTo>
                  <a:lnTo>
                    <a:pt x="226" y="1414"/>
                  </a:lnTo>
                  <a:lnTo>
                    <a:pt x="226" y="1414"/>
                  </a:lnTo>
                  <a:lnTo>
                    <a:pt x="228" y="1414"/>
                  </a:lnTo>
                  <a:lnTo>
                    <a:pt x="228" y="1414"/>
                  </a:lnTo>
                  <a:lnTo>
                    <a:pt x="233" y="1414"/>
                  </a:lnTo>
                  <a:lnTo>
                    <a:pt x="233" y="1414"/>
                  </a:lnTo>
                  <a:lnTo>
                    <a:pt x="233" y="1414"/>
                  </a:lnTo>
                  <a:lnTo>
                    <a:pt x="233" y="1413"/>
                  </a:lnTo>
                  <a:lnTo>
                    <a:pt x="236" y="1413"/>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7" y="1412"/>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8" y="1409"/>
                  </a:lnTo>
                  <a:lnTo>
                    <a:pt x="238" y="1408"/>
                  </a:lnTo>
                  <a:lnTo>
                    <a:pt x="238" y="1408"/>
                  </a:lnTo>
                  <a:lnTo>
                    <a:pt x="238" y="1408"/>
                  </a:lnTo>
                  <a:lnTo>
                    <a:pt x="238" y="1408"/>
                  </a:lnTo>
                  <a:lnTo>
                    <a:pt x="238" y="1408"/>
                  </a:lnTo>
                  <a:lnTo>
                    <a:pt x="238" y="1408"/>
                  </a:lnTo>
                  <a:lnTo>
                    <a:pt x="238" y="1408"/>
                  </a:lnTo>
                  <a:lnTo>
                    <a:pt x="238" y="1408"/>
                  </a:lnTo>
                  <a:lnTo>
                    <a:pt x="238" y="1408"/>
                  </a:lnTo>
                  <a:lnTo>
                    <a:pt x="239" y="1408"/>
                  </a:lnTo>
                  <a:lnTo>
                    <a:pt x="239" y="1408"/>
                  </a:lnTo>
                  <a:lnTo>
                    <a:pt x="239" y="1408"/>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40" y="1406"/>
                  </a:lnTo>
                  <a:lnTo>
                    <a:pt x="240" y="1406"/>
                  </a:lnTo>
                  <a:lnTo>
                    <a:pt x="240" y="1406"/>
                  </a:lnTo>
                  <a:lnTo>
                    <a:pt x="240" y="1406"/>
                  </a:lnTo>
                  <a:lnTo>
                    <a:pt x="241" y="1406"/>
                  </a:lnTo>
                  <a:lnTo>
                    <a:pt x="241" y="1406"/>
                  </a:lnTo>
                  <a:lnTo>
                    <a:pt x="243" y="1406"/>
                  </a:lnTo>
                  <a:lnTo>
                    <a:pt x="243" y="1406"/>
                  </a:lnTo>
                  <a:lnTo>
                    <a:pt x="247" y="1406"/>
                  </a:lnTo>
                  <a:lnTo>
                    <a:pt x="247" y="1405"/>
                  </a:lnTo>
                  <a:lnTo>
                    <a:pt x="247" y="1405"/>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66" y="1404"/>
                  </a:lnTo>
                  <a:lnTo>
                    <a:pt x="266" y="1401"/>
                  </a:lnTo>
                  <a:lnTo>
                    <a:pt x="266" y="1401"/>
                  </a:lnTo>
                  <a:lnTo>
                    <a:pt x="266" y="1401"/>
                  </a:lnTo>
                  <a:lnTo>
                    <a:pt x="266" y="1401"/>
                  </a:lnTo>
                  <a:lnTo>
                    <a:pt x="266" y="1400"/>
                  </a:lnTo>
                  <a:lnTo>
                    <a:pt x="266" y="1400"/>
                  </a:lnTo>
                  <a:lnTo>
                    <a:pt x="266" y="1400"/>
                  </a:lnTo>
                  <a:lnTo>
                    <a:pt x="266" y="1400"/>
                  </a:lnTo>
                  <a:lnTo>
                    <a:pt x="266" y="1400"/>
                  </a:lnTo>
                  <a:lnTo>
                    <a:pt x="268" y="1400"/>
                  </a:lnTo>
                  <a:lnTo>
                    <a:pt x="268" y="1397"/>
                  </a:lnTo>
                  <a:lnTo>
                    <a:pt x="274" y="1397"/>
                  </a:lnTo>
                  <a:lnTo>
                    <a:pt x="274" y="1397"/>
                  </a:lnTo>
                  <a:lnTo>
                    <a:pt x="280" y="1397"/>
                  </a:lnTo>
                  <a:lnTo>
                    <a:pt x="280" y="1397"/>
                  </a:lnTo>
                  <a:lnTo>
                    <a:pt x="286" y="1397"/>
                  </a:lnTo>
                  <a:lnTo>
                    <a:pt x="286" y="1396"/>
                  </a:lnTo>
                  <a:lnTo>
                    <a:pt x="288" y="1396"/>
                  </a:lnTo>
                  <a:lnTo>
                    <a:pt x="288" y="1390"/>
                  </a:lnTo>
                  <a:lnTo>
                    <a:pt x="288" y="1390"/>
                  </a:lnTo>
                  <a:lnTo>
                    <a:pt x="288" y="1389"/>
                  </a:lnTo>
                  <a:lnTo>
                    <a:pt x="288" y="1389"/>
                  </a:lnTo>
                  <a:lnTo>
                    <a:pt x="288" y="1389"/>
                  </a:lnTo>
                  <a:lnTo>
                    <a:pt x="288" y="1389"/>
                  </a:lnTo>
                  <a:lnTo>
                    <a:pt x="288" y="1387"/>
                  </a:lnTo>
                  <a:lnTo>
                    <a:pt x="288" y="1387"/>
                  </a:lnTo>
                  <a:lnTo>
                    <a:pt x="288" y="1387"/>
                  </a:lnTo>
                  <a:lnTo>
                    <a:pt x="289" y="1387"/>
                  </a:lnTo>
                  <a:lnTo>
                    <a:pt x="289" y="1387"/>
                  </a:lnTo>
                  <a:lnTo>
                    <a:pt x="290" y="1387"/>
                  </a:lnTo>
                  <a:lnTo>
                    <a:pt x="290" y="1387"/>
                  </a:lnTo>
                  <a:lnTo>
                    <a:pt x="295" y="1387"/>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5"/>
                  </a:lnTo>
                  <a:lnTo>
                    <a:pt x="297" y="1385"/>
                  </a:lnTo>
                  <a:lnTo>
                    <a:pt x="297" y="1385"/>
                  </a:lnTo>
                  <a:lnTo>
                    <a:pt x="299" y="1385"/>
                  </a:lnTo>
                  <a:lnTo>
                    <a:pt x="299" y="1385"/>
                  </a:lnTo>
                  <a:lnTo>
                    <a:pt x="301" y="1385"/>
                  </a:lnTo>
                  <a:lnTo>
                    <a:pt x="301" y="1385"/>
                  </a:lnTo>
                  <a:lnTo>
                    <a:pt x="307" y="1385"/>
                  </a:lnTo>
                  <a:lnTo>
                    <a:pt x="307" y="1383"/>
                  </a:lnTo>
                  <a:lnTo>
                    <a:pt x="307" y="1383"/>
                  </a:lnTo>
                  <a:lnTo>
                    <a:pt x="307" y="1383"/>
                  </a:lnTo>
                  <a:lnTo>
                    <a:pt x="308" y="1383"/>
                  </a:lnTo>
                  <a:lnTo>
                    <a:pt x="308" y="1383"/>
                  </a:lnTo>
                  <a:lnTo>
                    <a:pt x="309" y="1383"/>
                  </a:lnTo>
                  <a:lnTo>
                    <a:pt x="309" y="1380"/>
                  </a:lnTo>
                  <a:lnTo>
                    <a:pt x="309" y="1380"/>
                  </a:lnTo>
                  <a:lnTo>
                    <a:pt x="309" y="1380"/>
                  </a:lnTo>
                  <a:lnTo>
                    <a:pt x="309" y="1380"/>
                  </a:lnTo>
                  <a:lnTo>
                    <a:pt x="309" y="1380"/>
                  </a:lnTo>
                  <a:lnTo>
                    <a:pt x="309" y="1380"/>
                  </a:lnTo>
                  <a:lnTo>
                    <a:pt x="309" y="1378"/>
                  </a:lnTo>
                  <a:lnTo>
                    <a:pt x="309" y="1378"/>
                  </a:lnTo>
                  <a:lnTo>
                    <a:pt x="309" y="1374"/>
                  </a:lnTo>
                  <a:lnTo>
                    <a:pt x="310" y="1374"/>
                  </a:lnTo>
                  <a:lnTo>
                    <a:pt x="310" y="1372"/>
                  </a:lnTo>
                  <a:lnTo>
                    <a:pt x="322" y="1372"/>
                  </a:lnTo>
                  <a:lnTo>
                    <a:pt x="322" y="1371"/>
                  </a:lnTo>
                  <a:lnTo>
                    <a:pt x="322" y="1371"/>
                  </a:lnTo>
                  <a:lnTo>
                    <a:pt x="322" y="1371"/>
                  </a:lnTo>
                  <a:lnTo>
                    <a:pt x="322" y="1371"/>
                  </a:lnTo>
                  <a:lnTo>
                    <a:pt x="322" y="1371"/>
                  </a:lnTo>
                  <a:lnTo>
                    <a:pt x="322" y="1371"/>
                  </a:lnTo>
                  <a:lnTo>
                    <a:pt x="322" y="1371"/>
                  </a:lnTo>
                  <a:lnTo>
                    <a:pt x="326" y="1371"/>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8" y="1370"/>
                  </a:lnTo>
                  <a:lnTo>
                    <a:pt x="328" y="1368"/>
                  </a:lnTo>
                  <a:lnTo>
                    <a:pt x="328" y="1368"/>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9" y="1367"/>
                  </a:lnTo>
                  <a:lnTo>
                    <a:pt x="329" y="1367"/>
                  </a:lnTo>
                  <a:lnTo>
                    <a:pt x="330" y="1367"/>
                  </a:lnTo>
                  <a:lnTo>
                    <a:pt x="330" y="1367"/>
                  </a:lnTo>
                  <a:lnTo>
                    <a:pt x="331" y="1367"/>
                  </a:lnTo>
                  <a:lnTo>
                    <a:pt x="331" y="1367"/>
                  </a:lnTo>
                  <a:lnTo>
                    <a:pt x="332" y="1367"/>
                  </a:lnTo>
                  <a:lnTo>
                    <a:pt x="332" y="1367"/>
                  </a:lnTo>
                  <a:lnTo>
                    <a:pt x="333" y="1367"/>
                  </a:lnTo>
                  <a:lnTo>
                    <a:pt x="333" y="1367"/>
                  </a:lnTo>
                  <a:lnTo>
                    <a:pt x="335" y="1367"/>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5"/>
                  </a:lnTo>
                  <a:lnTo>
                    <a:pt x="335" y="1365"/>
                  </a:lnTo>
                  <a:lnTo>
                    <a:pt x="335" y="1365"/>
                  </a:lnTo>
                  <a:lnTo>
                    <a:pt x="335" y="1365"/>
                  </a:lnTo>
                  <a:lnTo>
                    <a:pt x="335" y="1365"/>
                  </a:lnTo>
                  <a:lnTo>
                    <a:pt x="336" y="1365"/>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7" y="1364"/>
                  </a:lnTo>
                  <a:lnTo>
                    <a:pt x="337" y="1364"/>
                  </a:lnTo>
                  <a:lnTo>
                    <a:pt x="337" y="1364"/>
                  </a:lnTo>
                  <a:lnTo>
                    <a:pt x="337" y="1364"/>
                  </a:lnTo>
                  <a:lnTo>
                    <a:pt x="337" y="1364"/>
                  </a:lnTo>
                  <a:lnTo>
                    <a:pt x="337" y="1364"/>
                  </a:lnTo>
                  <a:lnTo>
                    <a:pt x="337" y="1364"/>
                  </a:lnTo>
                  <a:lnTo>
                    <a:pt x="337" y="1364"/>
                  </a:lnTo>
                  <a:lnTo>
                    <a:pt x="338" y="1364"/>
                  </a:lnTo>
                  <a:lnTo>
                    <a:pt x="338" y="1364"/>
                  </a:lnTo>
                  <a:lnTo>
                    <a:pt x="338" y="1364"/>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40" y="1363"/>
                  </a:lnTo>
                  <a:lnTo>
                    <a:pt x="340" y="1363"/>
                  </a:lnTo>
                  <a:lnTo>
                    <a:pt x="341" y="1363"/>
                  </a:lnTo>
                  <a:lnTo>
                    <a:pt x="341" y="1363"/>
                  </a:lnTo>
                  <a:lnTo>
                    <a:pt x="342" y="1363"/>
                  </a:lnTo>
                  <a:lnTo>
                    <a:pt x="342" y="1363"/>
                  </a:lnTo>
                  <a:lnTo>
                    <a:pt x="342" y="1363"/>
                  </a:lnTo>
                  <a:lnTo>
                    <a:pt x="342" y="1362"/>
                  </a:lnTo>
                  <a:lnTo>
                    <a:pt x="342" y="1362"/>
                  </a:lnTo>
                  <a:lnTo>
                    <a:pt x="342" y="1362"/>
                  </a:lnTo>
                  <a:lnTo>
                    <a:pt x="342" y="1362"/>
                  </a:lnTo>
                  <a:lnTo>
                    <a:pt x="342" y="1362"/>
                  </a:lnTo>
                  <a:lnTo>
                    <a:pt x="342" y="1362"/>
                  </a:lnTo>
                  <a:lnTo>
                    <a:pt x="342" y="1360"/>
                  </a:lnTo>
                  <a:lnTo>
                    <a:pt x="342" y="1360"/>
                  </a:lnTo>
                  <a:lnTo>
                    <a:pt x="342" y="1360"/>
                  </a:lnTo>
                  <a:lnTo>
                    <a:pt x="342" y="1360"/>
                  </a:lnTo>
                  <a:lnTo>
                    <a:pt x="342" y="1360"/>
                  </a:lnTo>
                  <a:lnTo>
                    <a:pt x="342" y="1360"/>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4" y="1359"/>
                  </a:lnTo>
                  <a:lnTo>
                    <a:pt x="344" y="1359"/>
                  </a:lnTo>
                  <a:lnTo>
                    <a:pt x="344" y="1359"/>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4"/>
                  </a:lnTo>
                  <a:lnTo>
                    <a:pt x="344" y="1354"/>
                  </a:lnTo>
                  <a:lnTo>
                    <a:pt x="344" y="1354"/>
                  </a:lnTo>
                  <a:lnTo>
                    <a:pt x="344" y="1354"/>
                  </a:lnTo>
                  <a:lnTo>
                    <a:pt x="344"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6" y="1354"/>
                  </a:lnTo>
                  <a:lnTo>
                    <a:pt x="346" y="1354"/>
                  </a:lnTo>
                  <a:lnTo>
                    <a:pt x="346" y="1354"/>
                  </a:lnTo>
                  <a:lnTo>
                    <a:pt x="346" y="1354"/>
                  </a:lnTo>
                  <a:lnTo>
                    <a:pt x="346" y="1354"/>
                  </a:lnTo>
                  <a:lnTo>
                    <a:pt x="346" y="1354"/>
                  </a:lnTo>
                  <a:lnTo>
                    <a:pt x="347" y="1354"/>
                  </a:lnTo>
                  <a:lnTo>
                    <a:pt x="347" y="1354"/>
                  </a:lnTo>
                  <a:lnTo>
                    <a:pt x="347" y="1354"/>
                  </a:lnTo>
                  <a:lnTo>
                    <a:pt x="347" y="1354"/>
                  </a:lnTo>
                  <a:lnTo>
                    <a:pt x="348" y="1354"/>
                  </a:lnTo>
                  <a:lnTo>
                    <a:pt x="348" y="1354"/>
                  </a:lnTo>
                  <a:lnTo>
                    <a:pt x="350" y="1354"/>
                  </a:lnTo>
                  <a:lnTo>
                    <a:pt x="350" y="1353"/>
                  </a:lnTo>
                  <a:lnTo>
                    <a:pt x="350" y="1353"/>
                  </a:lnTo>
                  <a:lnTo>
                    <a:pt x="350" y="1353"/>
                  </a:lnTo>
                  <a:lnTo>
                    <a:pt x="350" y="1353"/>
                  </a:lnTo>
                  <a:lnTo>
                    <a:pt x="350" y="1353"/>
                  </a:lnTo>
                  <a:lnTo>
                    <a:pt x="351" y="1353"/>
                  </a:lnTo>
                  <a:lnTo>
                    <a:pt x="351" y="1353"/>
                  </a:lnTo>
                  <a:lnTo>
                    <a:pt x="351" y="1353"/>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2" y="1351"/>
                  </a:lnTo>
                  <a:lnTo>
                    <a:pt x="352" y="1351"/>
                  </a:lnTo>
                  <a:lnTo>
                    <a:pt x="352" y="1351"/>
                  </a:lnTo>
                  <a:lnTo>
                    <a:pt x="352" y="1351"/>
                  </a:lnTo>
                  <a:lnTo>
                    <a:pt x="354" y="1351"/>
                  </a:lnTo>
                  <a:lnTo>
                    <a:pt x="354" y="1351"/>
                  </a:lnTo>
                  <a:lnTo>
                    <a:pt x="358" y="1351"/>
                  </a:lnTo>
                  <a:lnTo>
                    <a:pt x="358" y="1351"/>
                  </a:lnTo>
                  <a:lnTo>
                    <a:pt x="377" y="1351"/>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8" y="1349"/>
                  </a:lnTo>
                  <a:lnTo>
                    <a:pt x="378" y="1349"/>
                  </a:lnTo>
                  <a:lnTo>
                    <a:pt x="378" y="1349"/>
                  </a:lnTo>
                  <a:lnTo>
                    <a:pt x="378" y="1349"/>
                  </a:lnTo>
                  <a:lnTo>
                    <a:pt x="378" y="1349"/>
                  </a:lnTo>
                  <a:lnTo>
                    <a:pt x="378" y="1349"/>
                  </a:lnTo>
                  <a:lnTo>
                    <a:pt x="378" y="1349"/>
                  </a:lnTo>
                  <a:lnTo>
                    <a:pt x="378" y="1349"/>
                  </a:lnTo>
                  <a:lnTo>
                    <a:pt x="379" y="1349"/>
                  </a:lnTo>
                  <a:lnTo>
                    <a:pt x="379" y="1349"/>
                  </a:lnTo>
                  <a:lnTo>
                    <a:pt x="380" y="1349"/>
                  </a:lnTo>
                  <a:lnTo>
                    <a:pt x="380" y="1349"/>
                  </a:lnTo>
                  <a:lnTo>
                    <a:pt x="381" y="1349"/>
                  </a:lnTo>
                  <a:lnTo>
                    <a:pt x="381" y="1349"/>
                  </a:lnTo>
                  <a:lnTo>
                    <a:pt x="382" y="1349"/>
                  </a:lnTo>
                  <a:lnTo>
                    <a:pt x="382" y="1348"/>
                  </a:lnTo>
                  <a:lnTo>
                    <a:pt x="382" y="1348"/>
                  </a:lnTo>
                  <a:lnTo>
                    <a:pt x="382" y="1348"/>
                  </a:lnTo>
                  <a:lnTo>
                    <a:pt x="382" y="1348"/>
                  </a:lnTo>
                  <a:lnTo>
                    <a:pt x="382" y="1347"/>
                  </a:lnTo>
                  <a:lnTo>
                    <a:pt x="382" y="1347"/>
                  </a:lnTo>
                  <a:lnTo>
                    <a:pt x="382" y="1347"/>
                  </a:lnTo>
                  <a:lnTo>
                    <a:pt x="382" y="1347"/>
                  </a:lnTo>
                  <a:lnTo>
                    <a:pt x="382" y="1342"/>
                  </a:lnTo>
                  <a:lnTo>
                    <a:pt x="382" y="1342"/>
                  </a:lnTo>
                  <a:lnTo>
                    <a:pt x="382" y="1342"/>
                  </a:lnTo>
                  <a:lnTo>
                    <a:pt x="382" y="1342"/>
                  </a:lnTo>
                  <a:lnTo>
                    <a:pt x="382" y="1342"/>
                  </a:lnTo>
                  <a:lnTo>
                    <a:pt x="383" y="1342"/>
                  </a:lnTo>
                  <a:lnTo>
                    <a:pt x="383" y="1342"/>
                  </a:lnTo>
                  <a:lnTo>
                    <a:pt x="383" y="1342"/>
                  </a:lnTo>
                  <a:lnTo>
                    <a:pt x="383" y="1342"/>
                  </a:lnTo>
                  <a:lnTo>
                    <a:pt x="383" y="1342"/>
                  </a:lnTo>
                  <a:lnTo>
                    <a:pt x="383" y="1342"/>
                  </a:lnTo>
                  <a:lnTo>
                    <a:pt x="383" y="1342"/>
                  </a:lnTo>
                  <a:lnTo>
                    <a:pt x="383" y="1341"/>
                  </a:lnTo>
                  <a:lnTo>
                    <a:pt x="383" y="1341"/>
                  </a:lnTo>
                  <a:lnTo>
                    <a:pt x="383" y="1341"/>
                  </a:lnTo>
                  <a:lnTo>
                    <a:pt x="383" y="1341"/>
                  </a:lnTo>
                  <a:lnTo>
                    <a:pt x="383" y="1337"/>
                  </a:lnTo>
                  <a:lnTo>
                    <a:pt x="383" y="1337"/>
                  </a:lnTo>
                  <a:lnTo>
                    <a:pt x="383" y="1336"/>
                  </a:lnTo>
                  <a:lnTo>
                    <a:pt x="383" y="1336"/>
                  </a:lnTo>
                  <a:lnTo>
                    <a:pt x="383" y="1336"/>
                  </a:lnTo>
                  <a:lnTo>
                    <a:pt x="384" y="1336"/>
                  </a:lnTo>
                  <a:lnTo>
                    <a:pt x="384" y="1336"/>
                  </a:lnTo>
                  <a:lnTo>
                    <a:pt x="387" y="1336"/>
                  </a:lnTo>
                  <a:lnTo>
                    <a:pt x="387" y="1336"/>
                  </a:lnTo>
                  <a:lnTo>
                    <a:pt x="398" y="1336"/>
                  </a:lnTo>
                  <a:lnTo>
                    <a:pt x="398" y="1336"/>
                  </a:lnTo>
                  <a:lnTo>
                    <a:pt x="398" y="1336"/>
                  </a:lnTo>
                  <a:lnTo>
                    <a:pt x="398" y="1336"/>
                  </a:lnTo>
                  <a:lnTo>
                    <a:pt x="398" y="1336"/>
                  </a:lnTo>
                  <a:lnTo>
                    <a:pt x="398" y="1336"/>
                  </a:lnTo>
                  <a:lnTo>
                    <a:pt x="398" y="1336"/>
                  </a:lnTo>
                  <a:lnTo>
                    <a:pt x="398" y="1336"/>
                  </a:lnTo>
                  <a:lnTo>
                    <a:pt x="398" y="1336"/>
                  </a:lnTo>
                  <a:lnTo>
                    <a:pt x="398" y="1335"/>
                  </a:lnTo>
                  <a:lnTo>
                    <a:pt x="398" y="1335"/>
                  </a:lnTo>
                  <a:lnTo>
                    <a:pt x="398" y="1335"/>
                  </a:lnTo>
                  <a:lnTo>
                    <a:pt x="398" y="1335"/>
                  </a:lnTo>
                  <a:lnTo>
                    <a:pt x="398" y="1334"/>
                  </a:lnTo>
                  <a:lnTo>
                    <a:pt x="398" y="1334"/>
                  </a:lnTo>
                  <a:lnTo>
                    <a:pt x="398" y="1334"/>
                  </a:lnTo>
                  <a:lnTo>
                    <a:pt x="398" y="1334"/>
                  </a:lnTo>
                  <a:lnTo>
                    <a:pt x="398" y="1334"/>
                  </a:lnTo>
                  <a:lnTo>
                    <a:pt x="399" y="1334"/>
                  </a:lnTo>
                  <a:lnTo>
                    <a:pt x="399" y="1333"/>
                  </a:lnTo>
                  <a:lnTo>
                    <a:pt x="399" y="1333"/>
                  </a:lnTo>
                  <a:lnTo>
                    <a:pt x="399" y="1333"/>
                  </a:lnTo>
                  <a:lnTo>
                    <a:pt x="399" y="1333"/>
                  </a:lnTo>
                  <a:lnTo>
                    <a:pt x="399" y="1333"/>
                  </a:lnTo>
                  <a:lnTo>
                    <a:pt x="400" y="1333"/>
                  </a:lnTo>
                  <a:lnTo>
                    <a:pt x="400" y="1332"/>
                  </a:lnTo>
                  <a:lnTo>
                    <a:pt x="400" y="1332"/>
                  </a:lnTo>
                  <a:lnTo>
                    <a:pt x="400" y="1332"/>
                  </a:lnTo>
                  <a:lnTo>
                    <a:pt x="400" y="1332"/>
                  </a:lnTo>
                  <a:lnTo>
                    <a:pt x="400" y="1332"/>
                  </a:lnTo>
                  <a:lnTo>
                    <a:pt x="402" y="1332"/>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3" y="1331"/>
                  </a:lnTo>
                  <a:lnTo>
                    <a:pt x="403" y="1331"/>
                  </a:lnTo>
                  <a:lnTo>
                    <a:pt x="404" y="1331"/>
                  </a:lnTo>
                  <a:lnTo>
                    <a:pt x="404" y="1331"/>
                  </a:lnTo>
                  <a:lnTo>
                    <a:pt x="405" y="1331"/>
                  </a:lnTo>
                  <a:lnTo>
                    <a:pt x="405" y="1331"/>
                  </a:lnTo>
                  <a:lnTo>
                    <a:pt x="405" y="1331"/>
                  </a:lnTo>
                  <a:lnTo>
                    <a:pt x="405" y="1331"/>
                  </a:lnTo>
                  <a:lnTo>
                    <a:pt x="405" y="1331"/>
                  </a:lnTo>
                  <a:lnTo>
                    <a:pt x="405" y="1331"/>
                  </a:lnTo>
                  <a:lnTo>
                    <a:pt x="406" y="1331"/>
                  </a:lnTo>
                  <a:lnTo>
                    <a:pt x="406" y="1331"/>
                  </a:lnTo>
                  <a:lnTo>
                    <a:pt x="407" y="1331"/>
                  </a:lnTo>
                  <a:lnTo>
                    <a:pt x="407" y="1331"/>
                  </a:lnTo>
                  <a:lnTo>
                    <a:pt x="409" y="1331"/>
                  </a:lnTo>
                  <a:lnTo>
                    <a:pt x="409" y="1331"/>
                  </a:lnTo>
                  <a:lnTo>
                    <a:pt x="410" y="1331"/>
                  </a:lnTo>
                  <a:lnTo>
                    <a:pt x="410" y="1331"/>
                  </a:lnTo>
                  <a:lnTo>
                    <a:pt x="412" y="1331"/>
                  </a:lnTo>
                  <a:lnTo>
                    <a:pt x="412" y="1331"/>
                  </a:lnTo>
                  <a:lnTo>
                    <a:pt x="413" y="1331"/>
                  </a:lnTo>
                  <a:lnTo>
                    <a:pt x="413" y="1331"/>
                  </a:lnTo>
                  <a:lnTo>
                    <a:pt x="415" y="1331"/>
                  </a:lnTo>
                  <a:lnTo>
                    <a:pt x="415" y="1331"/>
                  </a:lnTo>
                  <a:lnTo>
                    <a:pt x="418" y="1331"/>
                  </a:lnTo>
                  <a:lnTo>
                    <a:pt x="418" y="1331"/>
                  </a:lnTo>
                  <a:lnTo>
                    <a:pt x="424" y="1331"/>
                  </a:lnTo>
                  <a:lnTo>
                    <a:pt x="424" y="1331"/>
                  </a:lnTo>
                  <a:lnTo>
                    <a:pt x="430" y="1331"/>
                  </a:lnTo>
                  <a:lnTo>
                    <a:pt x="430" y="1331"/>
                  </a:lnTo>
                  <a:lnTo>
                    <a:pt x="430" y="1331"/>
                  </a:lnTo>
                  <a:lnTo>
                    <a:pt x="430" y="1330"/>
                  </a:lnTo>
                  <a:lnTo>
                    <a:pt x="430" y="1330"/>
                  </a:lnTo>
                  <a:lnTo>
                    <a:pt x="430" y="1330"/>
                  </a:lnTo>
                  <a:lnTo>
                    <a:pt x="430" y="1330"/>
                  </a:lnTo>
                  <a:lnTo>
                    <a:pt x="430" y="1329"/>
                  </a:lnTo>
                  <a:lnTo>
                    <a:pt x="430" y="1329"/>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1" y="1327"/>
                  </a:lnTo>
                  <a:lnTo>
                    <a:pt x="431" y="1327"/>
                  </a:lnTo>
                  <a:lnTo>
                    <a:pt x="433" y="1327"/>
                  </a:lnTo>
                  <a:lnTo>
                    <a:pt x="433" y="1327"/>
                  </a:lnTo>
                  <a:lnTo>
                    <a:pt x="436" y="1327"/>
                  </a:lnTo>
                  <a:lnTo>
                    <a:pt x="436" y="1327"/>
                  </a:lnTo>
                  <a:lnTo>
                    <a:pt x="439" y="1327"/>
                  </a:lnTo>
                  <a:lnTo>
                    <a:pt x="439" y="1327"/>
                  </a:lnTo>
                  <a:lnTo>
                    <a:pt x="447" y="1327"/>
                  </a:lnTo>
                  <a:lnTo>
                    <a:pt x="447" y="1325"/>
                  </a:lnTo>
                  <a:lnTo>
                    <a:pt x="447" y="1325"/>
                  </a:lnTo>
                  <a:lnTo>
                    <a:pt x="447"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9" y="1325"/>
                  </a:lnTo>
                  <a:lnTo>
                    <a:pt x="449" y="1325"/>
                  </a:lnTo>
                  <a:lnTo>
                    <a:pt x="450" y="1325"/>
                  </a:lnTo>
                  <a:lnTo>
                    <a:pt x="450" y="1325"/>
                  </a:lnTo>
                  <a:lnTo>
                    <a:pt x="451" y="1325"/>
                  </a:lnTo>
                  <a:lnTo>
                    <a:pt x="451" y="1325"/>
                  </a:lnTo>
                  <a:lnTo>
                    <a:pt x="453" y="1325"/>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6" y="1324"/>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8" y="1322"/>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9" y="1318"/>
                  </a:lnTo>
                  <a:lnTo>
                    <a:pt x="459" y="1318"/>
                  </a:lnTo>
                  <a:lnTo>
                    <a:pt x="460" y="1318"/>
                  </a:lnTo>
                  <a:lnTo>
                    <a:pt x="460" y="1318"/>
                  </a:lnTo>
                  <a:lnTo>
                    <a:pt x="460" y="1318"/>
                  </a:lnTo>
                  <a:lnTo>
                    <a:pt x="460" y="1318"/>
                  </a:lnTo>
                  <a:lnTo>
                    <a:pt x="461" y="1318"/>
                  </a:lnTo>
                  <a:lnTo>
                    <a:pt x="461" y="1318"/>
                  </a:lnTo>
                  <a:lnTo>
                    <a:pt x="462" y="1318"/>
                  </a:lnTo>
                  <a:lnTo>
                    <a:pt x="462" y="1318"/>
                  </a:lnTo>
                  <a:lnTo>
                    <a:pt x="463" y="1318"/>
                  </a:lnTo>
                  <a:lnTo>
                    <a:pt x="463" y="1318"/>
                  </a:lnTo>
                  <a:lnTo>
                    <a:pt x="464" y="1318"/>
                  </a:lnTo>
                  <a:lnTo>
                    <a:pt x="464" y="1318"/>
                  </a:lnTo>
                  <a:lnTo>
                    <a:pt x="470" y="1318"/>
                  </a:lnTo>
                  <a:lnTo>
                    <a:pt x="470" y="1317"/>
                  </a:lnTo>
                  <a:lnTo>
                    <a:pt x="470" y="1317"/>
                  </a:lnTo>
                  <a:lnTo>
                    <a:pt x="470" y="1317"/>
                  </a:lnTo>
                  <a:lnTo>
                    <a:pt x="470" y="1317"/>
                  </a:lnTo>
                  <a:lnTo>
                    <a:pt x="470" y="1317"/>
                  </a:lnTo>
                  <a:lnTo>
                    <a:pt x="471" y="1317"/>
                  </a:lnTo>
                  <a:lnTo>
                    <a:pt x="471" y="1317"/>
                  </a:lnTo>
                  <a:lnTo>
                    <a:pt x="471" y="1317"/>
                  </a:lnTo>
                  <a:lnTo>
                    <a:pt x="471" y="1317"/>
                  </a:lnTo>
                  <a:lnTo>
                    <a:pt x="471" y="1317"/>
                  </a:lnTo>
                  <a:lnTo>
                    <a:pt x="471" y="1317"/>
                  </a:lnTo>
                  <a:lnTo>
                    <a:pt x="471" y="1317"/>
                  </a:lnTo>
                  <a:lnTo>
                    <a:pt x="471" y="1317"/>
                  </a:lnTo>
                  <a:lnTo>
                    <a:pt x="472" y="1317"/>
                  </a:lnTo>
                  <a:lnTo>
                    <a:pt x="472" y="1317"/>
                  </a:lnTo>
                  <a:lnTo>
                    <a:pt x="472" y="1317"/>
                  </a:lnTo>
                  <a:lnTo>
                    <a:pt x="472" y="1317"/>
                  </a:lnTo>
                  <a:lnTo>
                    <a:pt x="474" y="1317"/>
                  </a:lnTo>
                  <a:lnTo>
                    <a:pt x="474" y="1316"/>
                  </a:lnTo>
                  <a:lnTo>
                    <a:pt x="475" y="1316"/>
                  </a:lnTo>
                  <a:lnTo>
                    <a:pt x="475" y="1315"/>
                  </a:lnTo>
                  <a:lnTo>
                    <a:pt x="477" y="1315"/>
                  </a:lnTo>
                  <a:lnTo>
                    <a:pt x="477" y="1315"/>
                  </a:lnTo>
                  <a:lnTo>
                    <a:pt x="477" y="1315"/>
                  </a:lnTo>
                  <a:lnTo>
                    <a:pt x="477" y="1314"/>
                  </a:lnTo>
                  <a:lnTo>
                    <a:pt x="477" y="1314"/>
                  </a:lnTo>
                  <a:lnTo>
                    <a:pt x="477" y="1314"/>
                  </a:lnTo>
                  <a:lnTo>
                    <a:pt x="510" y="1314"/>
                  </a:lnTo>
                  <a:lnTo>
                    <a:pt x="510" y="1314"/>
                  </a:lnTo>
                  <a:lnTo>
                    <a:pt x="510" y="1314"/>
                  </a:lnTo>
                  <a:lnTo>
                    <a:pt x="510" y="1314"/>
                  </a:lnTo>
                  <a:lnTo>
                    <a:pt x="510" y="1314"/>
                  </a:lnTo>
                  <a:lnTo>
                    <a:pt x="510" y="1312"/>
                  </a:lnTo>
                  <a:lnTo>
                    <a:pt x="511" y="1312"/>
                  </a:lnTo>
                  <a:lnTo>
                    <a:pt x="511" y="1309"/>
                  </a:lnTo>
                  <a:lnTo>
                    <a:pt x="511" y="1309"/>
                  </a:lnTo>
                  <a:lnTo>
                    <a:pt x="511" y="1309"/>
                  </a:lnTo>
                  <a:lnTo>
                    <a:pt x="511" y="1309"/>
                  </a:lnTo>
                  <a:lnTo>
                    <a:pt x="511" y="1308"/>
                  </a:lnTo>
                  <a:lnTo>
                    <a:pt x="511" y="1308"/>
                  </a:lnTo>
                  <a:lnTo>
                    <a:pt x="511" y="1308"/>
                  </a:lnTo>
                  <a:lnTo>
                    <a:pt x="511" y="1308"/>
                  </a:lnTo>
                  <a:lnTo>
                    <a:pt x="511" y="1308"/>
                  </a:lnTo>
                  <a:lnTo>
                    <a:pt x="511" y="1308"/>
                  </a:lnTo>
                  <a:lnTo>
                    <a:pt x="511" y="1308"/>
                  </a:lnTo>
                  <a:lnTo>
                    <a:pt x="512" y="1308"/>
                  </a:lnTo>
                  <a:lnTo>
                    <a:pt x="512" y="1308"/>
                  </a:lnTo>
                  <a:lnTo>
                    <a:pt x="514" y="1308"/>
                  </a:lnTo>
                  <a:lnTo>
                    <a:pt x="514" y="1308"/>
                  </a:lnTo>
                  <a:lnTo>
                    <a:pt x="519" y="1308"/>
                  </a:lnTo>
                  <a:lnTo>
                    <a:pt x="519" y="1308"/>
                  </a:lnTo>
                  <a:lnTo>
                    <a:pt x="519" y="1308"/>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20" y="1306"/>
                  </a:lnTo>
                  <a:lnTo>
                    <a:pt x="520" y="1306"/>
                  </a:lnTo>
                  <a:lnTo>
                    <a:pt x="520" y="1306"/>
                  </a:lnTo>
                  <a:lnTo>
                    <a:pt x="520" y="1306"/>
                  </a:lnTo>
                  <a:lnTo>
                    <a:pt x="521" y="1306"/>
                  </a:lnTo>
                  <a:lnTo>
                    <a:pt x="521" y="1306"/>
                  </a:lnTo>
                  <a:lnTo>
                    <a:pt x="522" y="1306"/>
                  </a:lnTo>
                  <a:lnTo>
                    <a:pt x="522" y="1306"/>
                  </a:lnTo>
                  <a:lnTo>
                    <a:pt x="525" y="1306"/>
                  </a:lnTo>
                  <a:lnTo>
                    <a:pt x="525" y="1306"/>
                  </a:lnTo>
                  <a:lnTo>
                    <a:pt x="525" y="1306"/>
                  </a:lnTo>
                  <a:lnTo>
                    <a:pt x="525" y="1306"/>
                  </a:lnTo>
                  <a:lnTo>
                    <a:pt x="525" y="1306"/>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6" y="1304"/>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2"/>
                  </a:lnTo>
                  <a:lnTo>
                    <a:pt x="526" y="1302"/>
                  </a:lnTo>
                  <a:lnTo>
                    <a:pt x="526" y="1302"/>
                  </a:lnTo>
                  <a:lnTo>
                    <a:pt x="527" y="1302"/>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8" y="1300"/>
                  </a:lnTo>
                  <a:lnTo>
                    <a:pt x="528" y="1300"/>
                  </a:lnTo>
                  <a:lnTo>
                    <a:pt x="529" y="1300"/>
                  </a:lnTo>
                  <a:lnTo>
                    <a:pt x="529" y="1299"/>
                  </a:lnTo>
                  <a:lnTo>
                    <a:pt x="529" y="1299"/>
                  </a:lnTo>
                  <a:lnTo>
                    <a:pt x="529" y="1299"/>
                  </a:lnTo>
                  <a:lnTo>
                    <a:pt x="530" y="1299"/>
                  </a:lnTo>
                  <a:lnTo>
                    <a:pt x="530" y="1298"/>
                  </a:lnTo>
                  <a:lnTo>
                    <a:pt x="530" y="1298"/>
                  </a:lnTo>
                  <a:lnTo>
                    <a:pt x="530" y="1298"/>
                  </a:lnTo>
                  <a:lnTo>
                    <a:pt x="530" y="1298"/>
                  </a:lnTo>
                  <a:lnTo>
                    <a:pt x="530" y="1298"/>
                  </a:lnTo>
                  <a:lnTo>
                    <a:pt x="530" y="1298"/>
                  </a:lnTo>
                  <a:lnTo>
                    <a:pt x="530" y="1298"/>
                  </a:lnTo>
                  <a:lnTo>
                    <a:pt x="530" y="1298"/>
                  </a:lnTo>
                  <a:lnTo>
                    <a:pt x="530" y="1298"/>
                  </a:lnTo>
                  <a:lnTo>
                    <a:pt x="531" y="1298"/>
                  </a:lnTo>
                  <a:lnTo>
                    <a:pt x="531" y="1298"/>
                  </a:lnTo>
                  <a:lnTo>
                    <a:pt x="531" y="1298"/>
                  </a:lnTo>
                  <a:lnTo>
                    <a:pt x="531" y="1298"/>
                  </a:lnTo>
                  <a:lnTo>
                    <a:pt x="532" y="1298"/>
                  </a:lnTo>
                  <a:lnTo>
                    <a:pt x="532" y="1298"/>
                  </a:lnTo>
                  <a:lnTo>
                    <a:pt x="532" y="1298"/>
                  </a:lnTo>
                  <a:lnTo>
                    <a:pt x="532" y="1298"/>
                  </a:lnTo>
                  <a:lnTo>
                    <a:pt x="533" y="1298"/>
                  </a:lnTo>
                  <a:lnTo>
                    <a:pt x="533" y="1298"/>
                  </a:lnTo>
                  <a:lnTo>
                    <a:pt x="534" y="1298"/>
                  </a:lnTo>
                  <a:lnTo>
                    <a:pt x="534" y="1298"/>
                  </a:lnTo>
                  <a:lnTo>
                    <a:pt x="538" y="1298"/>
                  </a:lnTo>
                  <a:lnTo>
                    <a:pt x="538" y="1298"/>
                  </a:lnTo>
                  <a:lnTo>
                    <a:pt x="548" y="1298"/>
                  </a:lnTo>
                  <a:lnTo>
                    <a:pt x="548" y="1297"/>
                  </a:lnTo>
                  <a:lnTo>
                    <a:pt x="548" y="1297"/>
                  </a:lnTo>
                  <a:lnTo>
                    <a:pt x="548" y="1297"/>
                  </a:lnTo>
                  <a:lnTo>
                    <a:pt x="548" y="1297"/>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50" y="1294"/>
                  </a:lnTo>
                  <a:lnTo>
                    <a:pt x="550" y="1294"/>
                  </a:lnTo>
                  <a:lnTo>
                    <a:pt x="551" y="1294"/>
                  </a:lnTo>
                  <a:lnTo>
                    <a:pt x="551" y="1294"/>
                  </a:lnTo>
                  <a:lnTo>
                    <a:pt x="554" y="1294"/>
                  </a:lnTo>
                  <a:lnTo>
                    <a:pt x="554" y="1293"/>
                  </a:lnTo>
                  <a:lnTo>
                    <a:pt x="554" y="1293"/>
                  </a:lnTo>
                  <a:lnTo>
                    <a:pt x="554" y="1293"/>
                  </a:lnTo>
                  <a:lnTo>
                    <a:pt x="573" y="1293"/>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4" y="1292"/>
                  </a:lnTo>
                  <a:lnTo>
                    <a:pt x="574" y="1292"/>
                  </a:lnTo>
                  <a:lnTo>
                    <a:pt x="576" y="1292"/>
                  </a:lnTo>
                  <a:lnTo>
                    <a:pt x="576" y="1292"/>
                  </a:lnTo>
                  <a:lnTo>
                    <a:pt x="579" y="1292"/>
                  </a:lnTo>
                  <a:lnTo>
                    <a:pt x="579" y="1292"/>
                  </a:lnTo>
                  <a:lnTo>
                    <a:pt x="580" y="1292"/>
                  </a:lnTo>
                  <a:lnTo>
                    <a:pt x="580" y="1292"/>
                  </a:lnTo>
                  <a:lnTo>
                    <a:pt x="581" y="1292"/>
                  </a:lnTo>
                  <a:lnTo>
                    <a:pt x="581" y="1292"/>
                  </a:lnTo>
                  <a:lnTo>
                    <a:pt x="582" y="1292"/>
                  </a:lnTo>
                  <a:lnTo>
                    <a:pt x="582" y="1292"/>
                  </a:lnTo>
                  <a:lnTo>
                    <a:pt x="582" y="1292"/>
                  </a:lnTo>
                  <a:lnTo>
                    <a:pt x="582" y="1292"/>
                  </a:lnTo>
                  <a:lnTo>
                    <a:pt x="582" y="1292"/>
                  </a:lnTo>
                  <a:lnTo>
                    <a:pt x="582" y="1291"/>
                  </a:lnTo>
                  <a:lnTo>
                    <a:pt x="582" y="1291"/>
                  </a:lnTo>
                  <a:lnTo>
                    <a:pt x="582" y="1291"/>
                  </a:lnTo>
                  <a:lnTo>
                    <a:pt x="586" y="1291"/>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7" y="1290"/>
                  </a:lnTo>
                  <a:lnTo>
                    <a:pt x="587" y="1290"/>
                  </a:lnTo>
                  <a:lnTo>
                    <a:pt x="587" y="1290"/>
                  </a:lnTo>
                  <a:lnTo>
                    <a:pt x="587" y="1290"/>
                  </a:lnTo>
                  <a:lnTo>
                    <a:pt x="587" y="1290"/>
                  </a:lnTo>
                  <a:lnTo>
                    <a:pt x="587" y="1290"/>
                  </a:lnTo>
                  <a:lnTo>
                    <a:pt x="588" y="1290"/>
                  </a:lnTo>
                  <a:lnTo>
                    <a:pt x="588" y="1290"/>
                  </a:lnTo>
                  <a:lnTo>
                    <a:pt x="588" y="1290"/>
                  </a:lnTo>
                  <a:lnTo>
                    <a:pt x="588" y="1290"/>
                  </a:lnTo>
                  <a:lnTo>
                    <a:pt x="589" y="1290"/>
                  </a:lnTo>
                  <a:lnTo>
                    <a:pt x="589" y="1290"/>
                  </a:lnTo>
                  <a:lnTo>
                    <a:pt x="590" y="1290"/>
                  </a:lnTo>
                  <a:lnTo>
                    <a:pt x="590" y="1290"/>
                  </a:lnTo>
                  <a:lnTo>
                    <a:pt x="591" y="1290"/>
                  </a:lnTo>
                  <a:lnTo>
                    <a:pt x="591" y="1290"/>
                  </a:lnTo>
                  <a:lnTo>
                    <a:pt x="592" y="1290"/>
                  </a:lnTo>
                  <a:lnTo>
                    <a:pt x="592" y="1290"/>
                  </a:lnTo>
                  <a:lnTo>
                    <a:pt x="594" y="1290"/>
                  </a:lnTo>
                  <a:lnTo>
                    <a:pt x="594" y="1289"/>
                  </a:lnTo>
                  <a:lnTo>
                    <a:pt x="595" y="1289"/>
                  </a:lnTo>
                  <a:lnTo>
                    <a:pt x="595" y="1289"/>
                  </a:lnTo>
                  <a:lnTo>
                    <a:pt x="595" y="1289"/>
                  </a:lnTo>
                  <a:lnTo>
                    <a:pt x="595" y="1288"/>
                  </a:lnTo>
                  <a:lnTo>
                    <a:pt x="596" y="1288"/>
                  </a:lnTo>
                  <a:lnTo>
                    <a:pt x="596" y="1288"/>
                  </a:lnTo>
                  <a:lnTo>
                    <a:pt x="597" y="1288"/>
                  </a:lnTo>
                  <a:lnTo>
                    <a:pt x="597" y="1287"/>
                  </a:lnTo>
                  <a:lnTo>
                    <a:pt x="598" y="1287"/>
                  </a:lnTo>
                  <a:lnTo>
                    <a:pt x="598" y="1287"/>
                  </a:lnTo>
                  <a:lnTo>
                    <a:pt x="599" y="1287"/>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600" y="1286"/>
                  </a:lnTo>
                  <a:lnTo>
                    <a:pt x="600" y="1285"/>
                  </a:lnTo>
                  <a:lnTo>
                    <a:pt x="602" y="1285"/>
                  </a:lnTo>
                  <a:lnTo>
                    <a:pt x="602" y="1285"/>
                  </a:lnTo>
                  <a:lnTo>
                    <a:pt x="605" y="1285"/>
                  </a:lnTo>
                  <a:lnTo>
                    <a:pt x="605" y="1284"/>
                  </a:lnTo>
                  <a:lnTo>
                    <a:pt x="605" y="1284"/>
                  </a:lnTo>
                  <a:lnTo>
                    <a:pt x="605" y="1284"/>
                  </a:lnTo>
                  <a:lnTo>
                    <a:pt x="605" y="1284"/>
                  </a:lnTo>
                  <a:lnTo>
                    <a:pt x="605" y="1283"/>
                  </a:lnTo>
                  <a:lnTo>
                    <a:pt x="606" y="1283"/>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1"/>
                  </a:lnTo>
                  <a:lnTo>
                    <a:pt x="606" y="1281"/>
                  </a:lnTo>
                  <a:lnTo>
                    <a:pt x="606" y="1281"/>
                  </a:lnTo>
                  <a:lnTo>
                    <a:pt x="606" y="1281"/>
                  </a:lnTo>
                  <a:lnTo>
                    <a:pt x="606" y="1281"/>
                  </a:lnTo>
                  <a:lnTo>
                    <a:pt x="606" y="1281"/>
                  </a:lnTo>
                  <a:lnTo>
                    <a:pt x="606" y="1281"/>
                  </a:lnTo>
                  <a:lnTo>
                    <a:pt x="606" y="1281"/>
                  </a:lnTo>
                  <a:lnTo>
                    <a:pt x="606" y="1281"/>
                  </a:lnTo>
                  <a:lnTo>
                    <a:pt x="607" y="1281"/>
                  </a:lnTo>
                  <a:lnTo>
                    <a:pt x="607" y="1281"/>
                  </a:lnTo>
                  <a:lnTo>
                    <a:pt x="607" y="1281"/>
                  </a:lnTo>
                  <a:lnTo>
                    <a:pt x="607" y="1281"/>
                  </a:lnTo>
                  <a:lnTo>
                    <a:pt x="607" y="1281"/>
                  </a:lnTo>
                  <a:lnTo>
                    <a:pt x="607" y="1281"/>
                  </a:lnTo>
                  <a:lnTo>
                    <a:pt x="607" y="1281"/>
                  </a:lnTo>
                  <a:lnTo>
                    <a:pt x="607" y="1281"/>
                  </a:lnTo>
                  <a:lnTo>
                    <a:pt x="608" y="1281"/>
                  </a:lnTo>
                  <a:lnTo>
                    <a:pt x="608" y="1281"/>
                  </a:lnTo>
                  <a:lnTo>
                    <a:pt x="610" y="1281"/>
                  </a:lnTo>
                  <a:lnTo>
                    <a:pt x="610" y="1281"/>
                  </a:lnTo>
                  <a:lnTo>
                    <a:pt x="612" y="1281"/>
                  </a:lnTo>
                  <a:lnTo>
                    <a:pt x="612" y="1281"/>
                  </a:lnTo>
                  <a:lnTo>
                    <a:pt x="616" y="1281"/>
                  </a:lnTo>
                  <a:lnTo>
                    <a:pt x="616" y="1281"/>
                  </a:lnTo>
                  <a:lnTo>
                    <a:pt x="629" y="1281"/>
                  </a:lnTo>
                  <a:lnTo>
                    <a:pt x="629" y="1281"/>
                  </a:lnTo>
                  <a:lnTo>
                    <a:pt x="649" y="1281"/>
                  </a:lnTo>
                  <a:lnTo>
                    <a:pt x="649" y="1280"/>
                  </a:lnTo>
                  <a:lnTo>
                    <a:pt x="649" y="1280"/>
                  </a:lnTo>
                  <a:lnTo>
                    <a:pt x="649" y="1280"/>
                  </a:lnTo>
                  <a:lnTo>
                    <a:pt x="649" y="1280"/>
                  </a:lnTo>
                  <a:lnTo>
                    <a:pt x="649" y="1278"/>
                  </a:lnTo>
                  <a:lnTo>
                    <a:pt x="649" y="1278"/>
                  </a:lnTo>
                  <a:lnTo>
                    <a:pt x="649" y="1278"/>
                  </a:lnTo>
                  <a:lnTo>
                    <a:pt x="649" y="1278"/>
                  </a:lnTo>
                  <a:lnTo>
                    <a:pt x="649" y="1278"/>
                  </a:lnTo>
                  <a:lnTo>
                    <a:pt x="649" y="1278"/>
                  </a:lnTo>
                  <a:lnTo>
                    <a:pt x="649" y="1278"/>
                  </a:lnTo>
                  <a:lnTo>
                    <a:pt x="649" y="1278"/>
                  </a:lnTo>
                  <a:lnTo>
                    <a:pt x="649" y="1278"/>
                  </a:lnTo>
                  <a:lnTo>
                    <a:pt x="650" y="1278"/>
                  </a:lnTo>
                  <a:lnTo>
                    <a:pt x="650" y="1278"/>
                  </a:lnTo>
                  <a:lnTo>
                    <a:pt x="651" y="1278"/>
                  </a:lnTo>
                  <a:lnTo>
                    <a:pt x="651" y="1278"/>
                  </a:lnTo>
                  <a:lnTo>
                    <a:pt x="653" y="1278"/>
                  </a:lnTo>
                  <a:lnTo>
                    <a:pt x="653" y="1278"/>
                  </a:lnTo>
                  <a:lnTo>
                    <a:pt x="663" y="1278"/>
                  </a:lnTo>
                  <a:lnTo>
                    <a:pt x="663" y="1277"/>
                  </a:lnTo>
                  <a:lnTo>
                    <a:pt x="663" y="1277"/>
                  </a:lnTo>
                  <a:lnTo>
                    <a:pt x="663" y="1277"/>
                  </a:lnTo>
                  <a:lnTo>
                    <a:pt x="673" y="1277"/>
                  </a:lnTo>
                  <a:lnTo>
                    <a:pt x="673" y="1276"/>
                  </a:lnTo>
                  <a:lnTo>
                    <a:pt x="673" y="1276"/>
                  </a:lnTo>
                  <a:lnTo>
                    <a:pt x="673" y="1276"/>
                  </a:lnTo>
                  <a:lnTo>
                    <a:pt x="673" y="1276"/>
                  </a:lnTo>
                  <a:lnTo>
                    <a:pt x="673" y="1276"/>
                  </a:lnTo>
                  <a:lnTo>
                    <a:pt x="673" y="1276"/>
                  </a:lnTo>
                  <a:lnTo>
                    <a:pt x="673" y="1276"/>
                  </a:lnTo>
                  <a:lnTo>
                    <a:pt x="674" y="1276"/>
                  </a:lnTo>
                  <a:lnTo>
                    <a:pt x="674" y="1276"/>
                  </a:lnTo>
                  <a:lnTo>
                    <a:pt x="674" y="1276"/>
                  </a:lnTo>
                  <a:lnTo>
                    <a:pt x="674" y="1276"/>
                  </a:lnTo>
                  <a:lnTo>
                    <a:pt x="675" y="1276"/>
                  </a:lnTo>
                  <a:lnTo>
                    <a:pt x="675" y="1276"/>
                  </a:lnTo>
                  <a:lnTo>
                    <a:pt x="677" y="1276"/>
                  </a:lnTo>
                  <a:lnTo>
                    <a:pt x="677" y="1276"/>
                  </a:lnTo>
                  <a:lnTo>
                    <a:pt x="677" y="1276"/>
                  </a:lnTo>
                  <a:lnTo>
                    <a:pt x="677" y="1276"/>
                  </a:lnTo>
                  <a:lnTo>
                    <a:pt x="677" y="1276"/>
                  </a:lnTo>
                  <a:lnTo>
                    <a:pt x="677" y="1276"/>
                  </a:lnTo>
                  <a:lnTo>
                    <a:pt x="677" y="1276"/>
                  </a:lnTo>
                  <a:lnTo>
                    <a:pt x="677" y="1275"/>
                  </a:lnTo>
                  <a:lnTo>
                    <a:pt x="677" y="1275"/>
                  </a:lnTo>
                  <a:lnTo>
                    <a:pt x="677" y="1275"/>
                  </a:lnTo>
                  <a:lnTo>
                    <a:pt x="677" y="1275"/>
                  </a:lnTo>
                  <a:lnTo>
                    <a:pt x="677" y="1275"/>
                  </a:lnTo>
                  <a:lnTo>
                    <a:pt x="677" y="1275"/>
                  </a:lnTo>
                  <a:lnTo>
                    <a:pt x="677" y="1275"/>
                  </a:lnTo>
                  <a:lnTo>
                    <a:pt x="677" y="1275"/>
                  </a:lnTo>
                  <a:lnTo>
                    <a:pt x="677" y="1275"/>
                  </a:lnTo>
                  <a:lnTo>
                    <a:pt x="677" y="1275"/>
                  </a:lnTo>
                  <a:lnTo>
                    <a:pt x="677" y="1274"/>
                  </a:lnTo>
                  <a:lnTo>
                    <a:pt x="677" y="1274"/>
                  </a:lnTo>
                  <a:lnTo>
                    <a:pt x="677" y="1273"/>
                  </a:lnTo>
                  <a:lnTo>
                    <a:pt x="677" y="1273"/>
                  </a:lnTo>
                  <a:lnTo>
                    <a:pt x="677" y="1273"/>
                  </a:lnTo>
                  <a:lnTo>
                    <a:pt x="679" y="1273"/>
                  </a:lnTo>
                  <a:lnTo>
                    <a:pt x="679" y="1271"/>
                  </a:lnTo>
                  <a:lnTo>
                    <a:pt x="680" y="1271"/>
                  </a:lnTo>
                  <a:lnTo>
                    <a:pt x="680" y="1271"/>
                  </a:lnTo>
                  <a:lnTo>
                    <a:pt x="680" y="1271"/>
                  </a:lnTo>
                  <a:lnTo>
                    <a:pt x="680" y="1271"/>
                  </a:lnTo>
                  <a:lnTo>
                    <a:pt x="680" y="1271"/>
                  </a:lnTo>
                  <a:lnTo>
                    <a:pt x="680" y="1270"/>
                  </a:lnTo>
                  <a:lnTo>
                    <a:pt x="680" y="1270"/>
                  </a:lnTo>
                  <a:lnTo>
                    <a:pt x="680" y="1270"/>
                  </a:lnTo>
                  <a:lnTo>
                    <a:pt x="680" y="1270"/>
                  </a:lnTo>
                  <a:lnTo>
                    <a:pt x="680" y="1270"/>
                  </a:lnTo>
                  <a:lnTo>
                    <a:pt x="680" y="1270"/>
                  </a:lnTo>
                  <a:lnTo>
                    <a:pt x="680" y="1270"/>
                  </a:lnTo>
                  <a:lnTo>
                    <a:pt x="680" y="1270"/>
                  </a:lnTo>
                  <a:lnTo>
                    <a:pt x="680" y="1269"/>
                  </a:lnTo>
                  <a:lnTo>
                    <a:pt x="680" y="1269"/>
                  </a:lnTo>
                  <a:lnTo>
                    <a:pt x="680" y="1269"/>
                  </a:lnTo>
                  <a:lnTo>
                    <a:pt x="680" y="1269"/>
                  </a:lnTo>
                  <a:lnTo>
                    <a:pt x="680" y="1269"/>
                  </a:lnTo>
                  <a:lnTo>
                    <a:pt x="726" y="1269"/>
                  </a:lnTo>
                  <a:lnTo>
                    <a:pt x="726" y="1266"/>
                  </a:lnTo>
                  <a:lnTo>
                    <a:pt x="726" y="1266"/>
                  </a:lnTo>
                  <a:lnTo>
                    <a:pt x="726" y="1266"/>
                  </a:lnTo>
                  <a:lnTo>
                    <a:pt x="726" y="1266"/>
                  </a:lnTo>
                  <a:lnTo>
                    <a:pt x="726" y="1266"/>
                  </a:lnTo>
                  <a:lnTo>
                    <a:pt x="728" y="1266"/>
                  </a:lnTo>
                  <a:lnTo>
                    <a:pt x="728" y="1265"/>
                  </a:lnTo>
                  <a:lnTo>
                    <a:pt x="732" y="1265"/>
                  </a:lnTo>
                  <a:lnTo>
                    <a:pt x="732" y="1265"/>
                  </a:lnTo>
                  <a:lnTo>
                    <a:pt x="736" y="1265"/>
                  </a:lnTo>
                  <a:lnTo>
                    <a:pt x="736" y="1265"/>
                  </a:lnTo>
                  <a:lnTo>
                    <a:pt x="736" y="1265"/>
                  </a:lnTo>
                  <a:lnTo>
                    <a:pt x="736" y="1265"/>
                  </a:lnTo>
                  <a:lnTo>
                    <a:pt x="736" y="1265"/>
                  </a:lnTo>
                  <a:lnTo>
                    <a:pt x="736" y="1264"/>
                  </a:lnTo>
                  <a:lnTo>
                    <a:pt x="736" y="1264"/>
                  </a:lnTo>
                  <a:lnTo>
                    <a:pt x="736" y="1264"/>
                  </a:lnTo>
                  <a:lnTo>
                    <a:pt x="736" y="1264"/>
                  </a:lnTo>
                  <a:lnTo>
                    <a:pt x="736" y="1262"/>
                  </a:lnTo>
                  <a:lnTo>
                    <a:pt x="736" y="1262"/>
                  </a:lnTo>
                  <a:lnTo>
                    <a:pt x="736" y="1262"/>
                  </a:lnTo>
                  <a:lnTo>
                    <a:pt x="737" y="1262"/>
                  </a:lnTo>
                  <a:lnTo>
                    <a:pt x="737" y="1262"/>
                  </a:lnTo>
                  <a:lnTo>
                    <a:pt x="737" y="1262"/>
                  </a:lnTo>
                  <a:lnTo>
                    <a:pt x="737" y="1261"/>
                  </a:lnTo>
                  <a:lnTo>
                    <a:pt x="737" y="1261"/>
                  </a:lnTo>
                  <a:lnTo>
                    <a:pt x="737" y="1261"/>
                  </a:lnTo>
                  <a:lnTo>
                    <a:pt x="737" y="1261"/>
                  </a:lnTo>
                  <a:lnTo>
                    <a:pt x="737" y="1261"/>
                  </a:lnTo>
                  <a:lnTo>
                    <a:pt x="743" y="1261"/>
                  </a:lnTo>
                  <a:lnTo>
                    <a:pt x="743" y="1261"/>
                  </a:lnTo>
                  <a:lnTo>
                    <a:pt x="752" y="1261"/>
                  </a:lnTo>
                  <a:lnTo>
                    <a:pt x="752" y="1259"/>
                  </a:lnTo>
                  <a:lnTo>
                    <a:pt x="752" y="1259"/>
                  </a:lnTo>
                  <a:lnTo>
                    <a:pt x="752" y="1259"/>
                  </a:lnTo>
                  <a:lnTo>
                    <a:pt x="752" y="1259"/>
                  </a:lnTo>
                  <a:lnTo>
                    <a:pt x="752" y="1259"/>
                  </a:lnTo>
                  <a:lnTo>
                    <a:pt x="752" y="1259"/>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3" y="1258"/>
                  </a:lnTo>
                  <a:lnTo>
                    <a:pt x="753" y="1258"/>
                  </a:lnTo>
                  <a:lnTo>
                    <a:pt x="753" y="1258"/>
                  </a:lnTo>
                  <a:lnTo>
                    <a:pt x="753" y="1258"/>
                  </a:lnTo>
                  <a:lnTo>
                    <a:pt x="754" y="1258"/>
                  </a:lnTo>
                  <a:lnTo>
                    <a:pt x="754" y="1258"/>
                  </a:lnTo>
                  <a:lnTo>
                    <a:pt x="754" y="1258"/>
                  </a:lnTo>
                  <a:lnTo>
                    <a:pt x="754" y="1258"/>
                  </a:lnTo>
                  <a:lnTo>
                    <a:pt x="754" y="1258"/>
                  </a:lnTo>
                  <a:lnTo>
                    <a:pt x="754" y="1258"/>
                  </a:lnTo>
                  <a:lnTo>
                    <a:pt x="755" y="1258"/>
                  </a:lnTo>
                  <a:lnTo>
                    <a:pt x="755" y="1258"/>
                  </a:lnTo>
                  <a:lnTo>
                    <a:pt x="756" y="1258"/>
                  </a:lnTo>
                  <a:lnTo>
                    <a:pt x="756" y="1258"/>
                  </a:lnTo>
                  <a:lnTo>
                    <a:pt x="756" y="1258"/>
                  </a:lnTo>
                  <a:lnTo>
                    <a:pt x="756" y="1258"/>
                  </a:lnTo>
                  <a:lnTo>
                    <a:pt x="757" y="1258"/>
                  </a:lnTo>
                  <a:lnTo>
                    <a:pt x="757" y="1258"/>
                  </a:lnTo>
                  <a:lnTo>
                    <a:pt x="758" y="1258"/>
                  </a:lnTo>
                  <a:lnTo>
                    <a:pt x="758" y="1258"/>
                  </a:lnTo>
                  <a:lnTo>
                    <a:pt x="759" y="1258"/>
                  </a:lnTo>
                  <a:lnTo>
                    <a:pt x="759" y="1258"/>
                  </a:lnTo>
                  <a:lnTo>
                    <a:pt x="760" y="1258"/>
                  </a:lnTo>
                  <a:lnTo>
                    <a:pt x="760" y="1258"/>
                  </a:lnTo>
                  <a:lnTo>
                    <a:pt x="763" y="1258"/>
                  </a:lnTo>
                  <a:lnTo>
                    <a:pt x="763"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8" y="1257"/>
                  </a:lnTo>
                  <a:lnTo>
                    <a:pt x="768" y="1256"/>
                  </a:lnTo>
                  <a:lnTo>
                    <a:pt x="768" y="1256"/>
                  </a:lnTo>
                  <a:lnTo>
                    <a:pt x="768" y="1253"/>
                  </a:lnTo>
                  <a:lnTo>
                    <a:pt x="768" y="1253"/>
                  </a:lnTo>
                  <a:lnTo>
                    <a:pt x="768" y="1253"/>
                  </a:lnTo>
                  <a:lnTo>
                    <a:pt x="777" y="1253"/>
                  </a:lnTo>
                  <a:lnTo>
                    <a:pt x="777" y="1252"/>
                  </a:lnTo>
                  <a:lnTo>
                    <a:pt x="777" y="1252"/>
                  </a:lnTo>
                  <a:lnTo>
                    <a:pt x="777" y="1252"/>
                  </a:lnTo>
                  <a:lnTo>
                    <a:pt x="777" y="1252"/>
                  </a:lnTo>
                  <a:lnTo>
                    <a:pt x="777" y="1252"/>
                  </a:lnTo>
                  <a:lnTo>
                    <a:pt x="777" y="1252"/>
                  </a:lnTo>
                  <a:lnTo>
                    <a:pt x="777" y="1252"/>
                  </a:lnTo>
                  <a:lnTo>
                    <a:pt x="778" y="1252"/>
                  </a:lnTo>
                  <a:lnTo>
                    <a:pt x="778" y="1252"/>
                  </a:lnTo>
                  <a:lnTo>
                    <a:pt x="778" y="1252"/>
                  </a:lnTo>
                  <a:lnTo>
                    <a:pt x="778" y="1252"/>
                  </a:lnTo>
                  <a:lnTo>
                    <a:pt x="778" y="1252"/>
                  </a:lnTo>
                  <a:lnTo>
                    <a:pt x="778" y="1252"/>
                  </a:lnTo>
                  <a:lnTo>
                    <a:pt x="778" y="1252"/>
                  </a:lnTo>
                  <a:lnTo>
                    <a:pt x="778" y="1252"/>
                  </a:lnTo>
                  <a:lnTo>
                    <a:pt x="779" y="1252"/>
                  </a:lnTo>
                  <a:lnTo>
                    <a:pt x="779" y="1252"/>
                  </a:lnTo>
                  <a:lnTo>
                    <a:pt x="781" y="1252"/>
                  </a:lnTo>
                  <a:lnTo>
                    <a:pt x="781" y="1252"/>
                  </a:lnTo>
                  <a:lnTo>
                    <a:pt x="782" y="1252"/>
                  </a:lnTo>
                  <a:lnTo>
                    <a:pt x="782" y="1252"/>
                  </a:lnTo>
                  <a:lnTo>
                    <a:pt x="786" y="1252"/>
                  </a:lnTo>
                  <a:lnTo>
                    <a:pt x="786" y="1251"/>
                  </a:lnTo>
                  <a:lnTo>
                    <a:pt x="792" y="1251"/>
                  </a:lnTo>
                  <a:lnTo>
                    <a:pt x="792" y="1250"/>
                  </a:lnTo>
                  <a:lnTo>
                    <a:pt x="792" y="1250"/>
                  </a:lnTo>
                  <a:lnTo>
                    <a:pt x="792" y="1250"/>
                  </a:lnTo>
                  <a:lnTo>
                    <a:pt x="792" y="1250"/>
                  </a:lnTo>
                  <a:lnTo>
                    <a:pt x="792"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4" y="1248"/>
                  </a:lnTo>
                  <a:lnTo>
                    <a:pt x="794" y="1248"/>
                  </a:lnTo>
                  <a:lnTo>
                    <a:pt x="794" y="1248"/>
                  </a:lnTo>
                  <a:lnTo>
                    <a:pt x="794" y="1248"/>
                  </a:lnTo>
                  <a:lnTo>
                    <a:pt x="795" y="1248"/>
                  </a:lnTo>
                  <a:lnTo>
                    <a:pt x="795" y="1248"/>
                  </a:lnTo>
                  <a:lnTo>
                    <a:pt x="800" y="1248"/>
                  </a:lnTo>
                  <a:lnTo>
                    <a:pt x="800" y="1247"/>
                  </a:lnTo>
                  <a:lnTo>
                    <a:pt x="800" y="1247"/>
                  </a:lnTo>
                  <a:lnTo>
                    <a:pt x="800" y="1247"/>
                  </a:lnTo>
                  <a:lnTo>
                    <a:pt x="800" y="1247"/>
                  </a:lnTo>
                  <a:lnTo>
                    <a:pt x="800" y="1246"/>
                  </a:lnTo>
                  <a:lnTo>
                    <a:pt x="800" y="1246"/>
                  </a:lnTo>
                  <a:lnTo>
                    <a:pt x="800" y="1246"/>
                  </a:lnTo>
                  <a:lnTo>
                    <a:pt x="800" y="1246"/>
                  </a:lnTo>
                  <a:lnTo>
                    <a:pt x="800" y="1246"/>
                  </a:lnTo>
                  <a:lnTo>
                    <a:pt x="800" y="1246"/>
                  </a:lnTo>
                  <a:lnTo>
                    <a:pt x="800" y="1246"/>
                  </a:lnTo>
                  <a:lnTo>
                    <a:pt x="801" y="1246"/>
                  </a:lnTo>
                  <a:lnTo>
                    <a:pt x="801" y="1246"/>
                  </a:lnTo>
                  <a:lnTo>
                    <a:pt x="801" y="1246"/>
                  </a:lnTo>
                  <a:lnTo>
                    <a:pt x="801" y="1245"/>
                  </a:lnTo>
                  <a:lnTo>
                    <a:pt x="801" y="1245"/>
                  </a:lnTo>
                  <a:lnTo>
                    <a:pt x="801" y="1245"/>
                  </a:lnTo>
                  <a:lnTo>
                    <a:pt x="801" y="1245"/>
                  </a:lnTo>
                  <a:lnTo>
                    <a:pt x="801" y="1245"/>
                  </a:lnTo>
                  <a:lnTo>
                    <a:pt x="801" y="1245"/>
                  </a:lnTo>
                  <a:lnTo>
                    <a:pt x="801" y="1245"/>
                  </a:lnTo>
                  <a:lnTo>
                    <a:pt x="801" y="1245"/>
                  </a:lnTo>
                  <a:lnTo>
                    <a:pt x="801" y="1245"/>
                  </a:lnTo>
                  <a:lnTo>
                    <a:pt x="802" y="1245"/>
                  </a:lnTo>
                  <a:lnTo>
                    <a:pt x="802" y="1245"/>
                  </a:lnTo>
                  <a:lnTo>
                    <a:pt x="802" y="1245"/>
                  </a:lnTo>
                  <a:lnTo>
                    <a:pt x="802" y="1245"/>
                  </a:lnTo>
                  <a:lnTo>
                    <a:pt x="802" y="1245"/>
                  </a:lnTo>
                  <a:lnTo>
                    <a:pt x="802" y="1245"/>
                  </a:lnTo>
                  <a:lnTo>
                    <a:pt x="802" y="1245"/>
                  </a:lnTo>
                  <a:lnTo>
                    <a:pt x="802" y="1245"/>
                  </a:lnTo>
                  <a:lnTo>
                    <a:pt x="803" y="1245"/>
                  </a:lnTo>
                  <a:lnTo>
                    <a:pt x="803" y="1245"/>
                  </a:lnTo>
                  <a:lnTo>
                    <a:pt x="804" y="1245"/>
                  </a:lnTo>
                  <a:lnTo>
                    <a:pt x="804" y="1245"/>
                  </a:lnTo>
                  <a:lnTo>
                    <a:pt x="805" y="1245"/>
                  </a:lnTo>
                  <a:lnTo>
                    <a:pt x="805" y="1245"/>
                  </a:lnTo>
                  <a:lnTo>
                    <a:pt x="806" y="1245"/>
                  </a:lnTo>
                  <a:lnTo>
                    <a:pt x="806" y="1245"/>
                  </a:lnTo>
                  <a:lnTo>
                    <a:pt x="808" y="1245"/>
                  </a:lnTo>
                  <a:lnTo>
                    <a:pt x="808" y="1245"/>
                  </a:lnTo>
                  <a:lnTo>
                    <a:pt x="810" y="1245"/>
                  </a:lnTo>
                  <a:lnTo>
                    <a:pt x="810" y="1245"/>
                  </a:lnTo>
                  <a:lnTo>
                    <a:pt x="811" y="1245"/>
                  </a:lnTo>
                  <a:lnTo>
                    <a:pt x="811" y="1245"/>
                  </a:lnTo>
                  <a:lnTo>
                    <a:pt x="813" y="1245"/>
                  </a:lnTo>
                  <a:lnTo>
                    <a:pt x="813" y="1245"/>
                  </a:lnTo>
                  <a:lnTo>
                    <a:pt x="819" y="1245"/>
                  </a:lnTo>
                  <a:lnTo>
                    <a:pt x="819" y="1245"/>
                  </a:lnTo>
                  <a:lnTo>
                    <a:pt x="827" y="1245"/>
                  </a:lnTo>
                  <a:lnTo>
                    <a:pt x="827" y="1243"/>
                  </a:lnTo>
                  <a:lnTo>
                    <a:pt x="827" y="1243"/>
                  </a:lnTo>
                  <a:lnTo>
                    <a:pt x="827" y="1243"/>
                  </a:lnTo>
                  <a:lnTo>
                    <a:pt x="827" y="1243"/>
                  </a:lnTo>
                  <a:lnTo>
                    <a:pt x="827" y="1242"/>
                  </a:lnTo>
                  <a:lnTo>
                    <a:pt x="828" y="1242"/>
                  </a:lnTo>
                  <a:lnTo>
                    <a:pt x="828" y="1242"/>
                  </a:lnTo>
                  <a:lnTo>
                    <a:pt x="828" y="1242"/>
                  </a:lnTo>
                  <a:lnTo>
                    <a:pt x="828" y="1242"/>
                  </a:lnTo>
                  <a:lnTo>
                    <a:pt x="828" y="1242"/>
                  </a:lnTo>
                  <a:lnTo>
                    <a:pt x="828" y="1242"/>
                  </a:lnTo>
                  <a:lnTo>
                    <a:pt x="828" y="1242"/>
                  </a:lnTo>
                  <a:lnTo>
                    <a:pt x="828" y="1241"/>
                  </a:lnTo>
                  <a:lnTo>
                    <a:pt x="828" y="1241"/>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9" y="1240"/>
                  </a:lnTo>
                  <a:lnTo>
                    <a:pt x="829" y="1236"/>
                  </a:lnTo>
                  <a:lnTo>
                    <a:pt x="835" y="1236"/>
                  </a:lnTo>
                  <a:lnTo>
                    <a:pt x="835" y="1236"/>
                  </a:lnTo>
                  <a:lnTo>
                    <a:pt x="835" y="1236"/>
                  </a:lnTo>
                  <a:lnTo>
                    <a:pt x="835" y="1236"/>
                  </a:lnTo>
                  <a:lnTo>
                    <a:pt x="835" y="1236"/>
                  </a:lnTo>
                  <a:lnTo>
                    <a:pt x="835" y="1236"/>
                  </a:lnTo>
                  <a:lnTo>
                    <a:pt x="836" y="1236"/>
                  </a:lnTo>
                  <a:lnTo>
                    <a:pt x="836" y="1233"/>
                  </a:lnTo>
                  <a:lnTo>
                    <a:pt x="836" y="1233"/>
                  </a:lnTo>
                  <a:lnTo>
                    <a:pt x="836" y="1233"/>
                  </a:lnTo>
                  <a:lnTo>
                    <a:pt x="836" y="1233"/>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7" y="1230"/>
                  </a:lnTo>
                  <a:lnTo>
                    <a:pt x="837" y="1230"/>
                  </a:lnTo>
                  <a:lnTo>
                    <a:pt x="838" y="1230"/>
                  </a:lnTo>
                  <a:lnTo>
                    <a:pt x="838" y="1230"/>
                  </a:lnTo>
                  <a:lnTo>
                    <a:pt x="845" y="1230"/>
                  </a:lnTo>
                  <a:lnTo>
                    <a:pt x="845" y="1229"/>
                  </a:lnTo>
                  <a:lnTo>
                    <a:pt x="845" y="1229"/>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6"/>
                  </a:lnTo>
                  <a:lnTo>
                    <a:pt x="846" y="1226"/>
                  </a:lnTo>
                  <a:lnTo>
                    <a:pt x="846" y="1226"/>
                  </a:lnTo>
                  <a:lnTo>
                    <a:pt x="847" y="1226"/>
                  </a:lnTo>
                  <a:lnTo>
                    <a:pt x="847" y="1224"/>
                  </a:lnTo>
                  <a:lnTo>
                    <a:pt x="847" y="1224"/>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8" y="1220"/>
                  </a:lnTo>
                  <a:lnTo>
                    <a:pt x="848" y="1220"/>
                  </a:lnTo>
                  <a:lnTo>
                    <a:pt x="848" y="1220"/>
                  </a:lnTo>
                  <a:lnTo>
                    <a:pt x="848" y="1220"/>
                  </a:lnTo>
                  <a:lnTo>
                    <a:pt x="848" y="1220"/>
                  </a:lnTo>
                  <a:lnTo>
                    <a:pt x="848" y="1220"/>
                  </a:lnTo>
                  <a:lnTo>
                    <a:pt x="848" y="1220"/>
                  </a:lnTo>
                  <a:lnTo>
                    <a:pt x="848" y="1220"/>
                  </a:lnTo>
                  <a:lnTo>
                    <a:pt x="849" y="1220"/>
                  </a:lnTo>
                  <a:lnTo>
                    <a:pt x="849" y="1220"/>
                  </a:lnTo>
                  <a:lnTo>
                    <a:pt x="850" y="1220"/>
                  </a:lnTo>
                  <a:lnTo>
                    <a:pt x="850" y="1220"/>
                  </a:lnTo>
                  <a:lnTo>
                    <a:pt x="851" y="1220"/>
                  </a:lnTo>
                  <a:lnTo>
                    <a:pt x="851" y="1219"/>
                  </a:lnTo>
                  <a:lnTo>
                    <a:pt x="851" y="1219"/>
                  </a:lnTo>
                  <a:lnTo>
                    <a:pt x="851" y="1219"/>
                  </a:lnTo>
                  <a:lnTo>
                    <a:pt x="851" y="1219"/>
                  </a:lnTo>
                  <a:lnTo>
                    <a:pt x="851" y="1219"/>
                  </a:lnTo>
                  <a:lnTo>
                    <a:pt x="851" y="1219"/>
                  </a:lnTo>
                  <a:lnTo>
                    <a:pt x="851" y="1218"/>
                  </a:lnTo>
                  <a:lnTo>
                    <a:pt x="851" y="1218"/>
                  </a:lnTo>
                  <a:lnTo>
                    <a:pt x="851" y="1218"/>
                  </a:lnTo>
                  <a:lnTo>
                    <a:pt x="851" y="1218"/>
                  </a:lnTo>
                  <a:lnTo>
                    <a:pt x="851" y="1218"/>
                  </a:lnTo>
                  <a:lnTo>
                    <a:pt x="851" y="1218"/>
                  </a:lnTo>
                  <a:lnTo>
                    <a:pt x="851" y="1218"/>
                  </a:lnTo>
                  <a:lnTo>
                    <a:pt x="852" y="1218"/>
                  </a:lnTo>
                  <a:lnTo>
                    <a:pt x="852" y="1218"/>
                  </a:lnTo>
                  <a:lnTo>
                    <a:pt x="881" y="1218"/>
                  </a:lnTo>
                  <a:lnTo>
                    <a:pt x="881" y="1218"/>
                  </a:lnTo>
                  <a:lnTo>
                    <a:pt x="881" y="1218"/>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6"/>
                  </a:lnTo>
                  <a:lnTo>
                    <a:pt x="881" y="1216"/>
                  </a:lnTo>
                  <a:lnTo>
                    <a:pt x="881" y="1216"/>
                  </a:lnTo>
                  <a:lnTo>
                    <a:pt x="882" y="1216"/>
                  </a:lnTo>
                  <a:lnTo>
                    <a:pt x="882" y="1216"/>
                  </a:lnTo>
                  <a:lnTo>
                    <a:pt x="882" y="1216"/>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4" y="1214"/>
                  </a:lnTo>
                  <a:lnTo>
                    <a:pt x="884" y="1214"/>
                  </a:lnTo>
                  <a:lnTo>
                    <a:pt x="884" y="1214"/>
                  </a:lnTo>
                  <a:lnTo>
                    <a:pt x="884" y="1214"/>
                  </a:lnTo>
                  <a:lnTo>
                    <a:pt x="885" y="1214"/>
                  </a:lnTo>
                  <a:lnTo>
                    <a:pt x="885" y="1214"/>
                  </a:lnTo>
                  <a:lnTo>
                    <a:pt x="886" y="1214"/>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7" y="1213"/>
                  </a:lnTo>
                  <a:lnTo>
                    <a:pt x="887" y="1212"/>
                  </a:lnTo>
                  <a:lnTo>
                    <a:pt x="887" y="1212"/>
                  </a:lnTo>
                  <a:lnTo>
                    <a:pt x="887" y="1211"/>
                  </a:lnTo>
                  <a:lnTo>
                    <a:pt x="887" y="1211"/>
                  </a:lnTo>
                  <a:lnTo>
                    <a:pt x="887" y="1211"/>
                  </a:lnTo>
                  <a:lnTo>
                    <a:pt x="887" y="1211"/>
                  </a:lnTo>
                  <a:lnTo>
                    <a:pt x="887" y="1211"/>
                  </a:lnTo>
                  <a:lnTo>
                    <a:pt x="888" y="1211"/>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9" y="1210"/>
                  </a:lnTo>
                  <a:lnTo>
                    <a:pt x="889" y="1210"/>
                  </a:lnTo>
                  <a:lnTo>
                    <a:pt x="889" y="1210"/>
                  </a:lnTo>
                  <a:lnTo>
                    <a:pt x="889" y="1210"/>
                  </a:lnTo>
                  <a:lnTo>
                    <a:pt x="889" y="1210"/>
                  </a:lnTo>
                  <a:lnTo>
                    <a:pt x="889" y="1210"/>
                  </a:lnTo>
                  <a:lnTo>
                    <a:pt x="890" y="1210"/>
                  </a:lnTo>
                  <a:lnTo>
                    <a:pt x="890" y="1210"/>
                  </a:lnTo>
                  <a:lnTo>
                    <a:pt x="890" y="1210"/>
                  </a:lnTo>
                  <a:lnTo>
                    <a:pt x="890" y="1210"/>
                  </a:lnTo>
                  <a:lnTo>
                    <a:pt x="891" y="1210"/>
                  </a:lnTo>
                  <a:lnTo>
                    <a:pt x="891" y="1210"/>
                  </a:lnTo>
                  <a:lnTo>
                    <a:pt x="891" y="1210"/>
                  </a:lnTo>
                  <a:lnTo>
                    <a:pt x="891" y="1210"/>
                  </a:lnTo>
                  <a:lnTo>
                    <a:pt x="892" y="1210"/>
                  </a:lnTo>
                  <a:lnTo>
                    <a:pt x="892" y="1210"/>
                  </a:lnTo>
                  <a:lnTo>
                    <a:pt x="892" y="1210"/>
                  </a:lnTo>
                  <a:lnTo>
                    <a:pt x="892" y="1210"/>
                  </a:lnTo>
                  <a:lnTo>
                    <a:pt x="893" y="1210"/>
                  </a:lnTo>
                  <a:lnTo>
                    <a:pt x="893" y="1210"/>
                  </a:lnTo>
                  <a:lnTo>
                    <a:pt x="894" y="1210"/>
                  </a:lnTo>
                  <a:lnTo>
                    <a:pt x="894" y="1210"/>
                  </a:lnTo>
                  <a:lnTo>
                    <a:pt x="896" y="1210"/>
                  </a:lnTo>
                  <a:lnTo>
                    <a:pt x="896" y="1210"/>
                  </a:lnTo>
                  <a:lnTo>
                    <a:pt x="899" y="1210"/>
                  </a:lnTo>
                  <a:lnTo>
                    <a:pt x="899" y="1208"/>
                  </a:lnTo>
                  <a:lnTo>
                    <a:pt x="899" y="1208"/>
                  </a:lnTo>
                  <a:lnTo>
                    <a:pt x="899" y="1207"/>
                  </a:lnTo>
                  <a:lnTo>
                    <a:pt x="899" y="1207"/>
                  </a:lnTo>
                  <a:lnTo>
                    <a:pt x="899" y="1207"/>
                  </a:lnTo>
                  <a:lnTo>
                    <a:pt x="899" y="1207"/>
                  </a:lnTo>
                  <a:lnTo>
                    <a:pt x="899" y="1207"/>
                  </a:lnTo>
                  <a:lnTo>
                    <a:pt x="899" y="1207"/>
                  </a:lnTo>
                  <a:lnTo>
                    <a:pt x="899" y="1207"/>
                  </a:lnTo>
                  <a:lnTo>
                    <a:pt x="900" y="1207"/>
                  </a:lnTo>
                  <a:lnTo>
                    <a:pt x="900" y="1207"/>
                  </a:lnTo>
                  <a:lnTo>
                    <a:pt x="900" y="1207"/>
                  </a:lnTo>
                  <a:lnTo>
                    <a:pt x="900" y="1207"/>
                  </a:lnTo>
                  <a:lnTo>
                    <a:pt x="902" y="1207"/>
                  </a:lnTo>
                  <a:lnTo>
                    <a:pt x="902" y="1207"/>
                  </a:lnTo>
                  <a:lnTo>
                    <a:pt x="907" y="1207"/>
                  </a:lnTo>
                  <a:lnTo>
                    <a:pt x="907" y="1205"/>
                  </a:lnTo>
                  <a:lnTo>
                    <a:pt x="909" y="1205"/>
                  </a:lnTo>
                  <a:lnTo>
                    <a:pt x="909" y="1204"/>
                  </a:lnTo>
                  <a:lnTo>
                    <a:pt x="910" y="1204"/>
                  </a:lnTo>
                  <a:lnTo>
                    <a:pt x="910" y="1204"/>
                  </a:lnTo>
                  <a:lnTo>
                    <a:pt x="910" y="1204"/>
                  </a:lnTo>
                  <a:lnTo>
                    <a:pt x="910"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2"/>
                  </a:lnTo>
                  <a:lnTo>
                    <a:pt x="913" y="1202"/>
                  </a:lnTo>
                  <a:lnTo>
                    <a:pt x="913" y="1202"/>
                  </a:lnTo>
                  <a:lnTo>
                    <a:pt x="913" y="1202"/>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4" y="1201"/>
                  </a:lnTo>
                  <a:lnTo>
                    <a:pt x="914" y="1201"/>
                  </a:lnTo>
                  <a:lnTo>
                    <a:pt x="914" y="1201"/>
                  </a:lnTo>
                  <a:lnTo>
                    <a:pt x="914" y="1201"/>
                  </a:lnTo>
                  <a:lnTo>
                    <a:pt x="914" y="1201"/>
                  </a:lnTo>
                  <a:lnTo>
                    <a:pt x="914" y="1201"/>
                  </a:lnTo>
                  <a:lnTo>
                    <a:pt x="915" y="1201"/>
                  </a:lnTo>
                  <a:lnTo>
                    <a:pt x="915" y="1201"/>
                  </a:lnTo>
                  <a:lnTo>
                    <a:pt x="915" y="1201"/>
                  </a:lnTo>
                  <a:lnTo>
                    <a:pt x="915" y="1201"/>
                  </a:lnTo>
                  <a:lnTo>
                    <a:pt x="916" y="1201"/>
                  </a:lnTo>
                  <a:lnTo>
                    <a:pt x="916" y="1201"/>
                  </a:lnTo>
                  <a:lnTo>
                    <a:pt x="917" y="1201"/>
                  </a:lnTo>
                  <a:lnTo>
                    <a:pt x="917" y="1201"/>
                  </a:lnTo>
                  <a:lnTo>
                    <a:pt x="918" y="1201"/>
                  </a:lnTo>
                  <a:lnTo>
                    <a:pt x="918" y="1201"/>
                  </a:lnTo>
                  <a:lnTo>
                    <a:pt x="920" y="1201"/>
                  </a:lnTo>
                  <a:lnTo>
                    <a:pt x="920" y="1201"/>
                  </a:lnTo>
                  <a:lnTo>
                    <a:pt x="923" y="1201"/>
                  </a:lnTo>
                  <a:lnTo>
                    <a:pt x="923" y="1201"/>
                  </a:lnTo>
                  <a:lnTo>
                    <a:pt x="928" y="1201"/>
                  </a:lnTo>
                  <a:lnTo>
                    <a:pt x="928" y="1199"/>
                  </a:lnTo>
                  <a:lnTo>
                    <a:pt x="929" y="1199"/>
                  </a:lnTo>
                  <a:lnTo>
                    <a:pt x="929" y="1199"/>
                  </a:lnTo>
                  <a:lnTo>
                    <a:pt x="931" y="1199"/>
                  </a:lnTo>
                  <a:lnTo>
                    <a:pt x="931" y="1198"/>
                  </a:lnTo>
                  <a:lnTo>
                    <a:pt x="932" y="1198"/>
                  </a:lnTo>
                  <a:lnTo>
                    <a:pt x="932" y="1197"/>
                  </a:lnTo>
                  <a:lnTo>
                    <a:pt x="932" y="1197"/>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3" y="1196"/>
                  </a:lnTo>
                  <a:lnTo>
                    <a:pt x="933" y="1196"/>
                  </a:lnTo>
                  <a:lnTo>
                    <a:pt x="933" y="1196"/>
                  </a:lnTo>
                  <a:lnTo>
                    <a:pt x="933" y="1196"/>
                  </a:lnTo>
                  <a:lnTo>
                    <a:pt x="933" y="1196"/>
                  </a:lnTo>
                  <a:lnTo>
                    <a:pt x="933" y="1196"/>
                  </a:lnTo>
                  <a:lnTo>
                    <a:pt x="933" y="1196"/>
                  </a:lnTo>
                  <a:lnTo>
                    <a:pt x="933" y="1192"/>
                  </a:lnTo>
                  <a:lnTo>
                    <a:pt x="934" y="1192"/>
                  </a:lnTo>
                  <a:lnTo>
                    <a:pt x="934" y="1192"/>
                  </a:lnTo>
                  <a:lnTo>
                    <a:pt x="935" y="1192"/>
                  </a:lnTo>
                  <a:lnTo>
                    <a:pt x="935" y="1192"/>
                  </a:lnTo>
                  <a:lnTo>
                    <a:pt x="935" y="1192"/>
                  </a:lnTo>
                  <a:lnTo>
                    <a:pt x="935" y="1192"/>
                  </a:lnTo>
                  <a:lnTo>
                    <a:pt x="935" y="1192"/>
                  </a:lnTo>
                  <a:lnTo>
                    <a:pt x="935" y="1192"/>
                  </a:lnTo>
                  <a:lnTo>
                    <a:pt x="936" y="1192"/>
                  </a:lnTo>
                  <a:lnTo>
                    <a:pt x="936" y="1192"/>
                  </a:lnTo>
                  <a:lnTo>
                    <a:pt x="936" y="1192"/>
                  </a:lnTo>
                  <a:lnTo>
                    <a:pt x="936" y="1192"/>
                  </a:lnTo>
                  <a:lnTo>
                    <a:pt x="938" y="1192"/>
                  </a:lnTo>
                  <a:lnTo>
                    <a:pt x="938" y="1192"/>
                  </a:lnTo>
                  <a:lnTo>
                    <a:pt x="943" y="1192"/>
                  </a:lnTo>
                  <a:lnTo>
                    <a:pt x="943" y="1190"/>
                  </a:lnTo>
                  <a:lnTo>
                    <a:pt x="943" y="1190"/>
                  </a:lnTo>
                  <a:lnTo>
                    <a:pt x="943" y="1190"/>
                  </a:lnTo>
                  <a:lnTo>
                    <a:pt x="943" y="1190"/>
                  </a:lnTo>
                  <a:lnTo>
                    <a:pt x="943" y="1190"/>
                  </a:lnTo>
                  <a:lnTo>
                    <a:pt x="943" y="1190"/>
                  </a:lnTo>
                  <a:lnTo>
                    <a:pt x="943" y="1190"/>
                  </a:lnTo>
                  <a:lnTo>
                    <a:pt x="943" y="1190"/>
                  </a:lnTo>
                  <a:lnTo>
                    <a:pt x="943" y="1190"/>
                  </a:lnTo>
                  <a:lnTo>
                    <a:pt x="944" y="1190"/>
                  </a:lnTo>
                  <a:lnTo>
                    <a:pt x="944" y="1190"/>
                  </a:lnTo>
                  <a:lnTo>
                    <a:pt x="945" y="1190"/>
                  </a:lnTo>
                  <a:lnTo>
                    <a:pt x="945" y="1190"/>
                  </a:lnTo>
                  <a:lnTo>
                    <a:pt x="945" y="1190"/>
                  </a:lnTo>
                  <a:lnTo>
                    <a:pt x="945" y="1190"/>
                  </a:lnTo>
                  <a:lnTo>
                    <a:pt x="946" y="1190"/>
                  </a:lnTo>
                  <a:lnTo>
                    <a:pt x="946" y="1189"/>
                  </a:lnTo>
                  <a:lnTo>
                    <a:pt x="946" y="1189"/>
                  </a:lnTo>
                  <a:lnTo>
                    <a:pt x="946" y="1189"/>
                  </a:lnTo>
                  <a:lnTo>
                    <a:pt x="946" y="1189"/>
                  </a:lnTo>
                  <a:lnTo>
                    <a:pt x="946" y="1189"/>
                  </a:lnTo>
                  <a:lnTo>
                    <a:pt x="946" y="1189"/>
                  </a:lnTo>
                  <a:lnTo>
                    <a:pt x="946"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8" y="1189"/>
                  </a:lnTo>
                  <a:lnTo>
                    <a:pt x="948" y="1187"/>
                  </a:lnTo>
                  <a:lnTo>
                    <a:pt x="948" y="1187"/>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9" y="1186"/>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50" y="1185"/>
                  </a:lnTo>
                  <a:lnTo>
                    <a:pt x="950" y="1185"/>
                  </a:lnTo>
                  <a:lnTo>
                    <a:pt x="950" y="1185"/>
                  </a:lnTo>
                  <a:lnTo>
                    <a:pt x="950" y="1185"/>
                  </a:lnTo>
                  <a:lnTo>
                    <a:pt x="950" y="1185"/>
                  </a:lnTo>
                  <a:lnTo>
                    <a:pt x="950" y="1185"/>
                  </a:lnTo>
                  <a:lnTo>
                    <a:pt x="951" y="1185"/>
                  </a:lnTo>
                  <a:lnTo>
                    <a:pt x="951" y="1185"/>
                  </a:lnTo>
                  <a:lnTo>
                    <a:pt x="951" y="1185"/>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3"/>
                  </a:lnTo>
                  <a:lnTo>
                    <a:pt x="952" y="1183"/>
                  </a:lnTo>
                  <a:lnTo>
                    <a:pt x="952" y="1183"/>
                  </a:lnTo>
                  <a:lnTo>
                    <a:pt x="952" y="1183"/>
                  </a:lnTo>
                  <a:lnTo>
                    <a:pt x="952" y="1183"/>
                  </a:lnTo>
                  <a:lnTo>
                    <a:pt x="955" y="1183"/>
                  </a:lnTo>
                  <a:lnTo>
                    <a:pt x="955" y="1183"/>
                  </a:lnTo>
                  <a:lnTo>
                    <a:pt x="955" y="1183"/>
                  </a:lnTo>
                  <a:lnTo>
                    <a:pt x="955" y="1183"/>
                  </a:lnTo>
                  <a:lnTo>
                    <a:pt x="955" y="1183"/>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77"/>
                  </a:lnTo>
                  <a:lnTo>
                    <a:pt x="955" y="1177"/>
                  </a:lnTo>
                  <a:lnTo>
                    <a:pt x="955" y="1177"/>
                  </a:lnTo>
                  <a:lnTo>
                    <a:pt x="955" y="1177"/>
                  </a:lnTo>
                  <a:lnTo>
                    <a:pt x="955" y="1176"/>
                  </a:lnTo>
                  <a:lnTo>
                    <a:pt x="955" y="1176"/>
                  </a:lnTo>
                  <a:lnTo>
                    <a:pt x="955" y="1176"/>
                  </a:lnTo>
                  <a:lnTo>
                    <a:pt x="955" y="1176"/>
                  </a:lnTo>
                  <a:lnTo>
                    <a:pt x="955" y="1176"/>
                  </a:lnTo>
                  <a:lnTo>
                    <a:pt x="957" y="1176"/>
                  </a:lnTo>
                  <a:lnTo>
                    <a:pt x="957" y="1175"/>
                  </a:lnTo>
                  <a:lnTo>
                    <a:pt x="957" y="1175"/>
                  </a:lnTo>
                  <a:lnTo>
                    <a:pt x="957" y="1175"/>
                  </a:lnTo>
                  <a:lnTo>
                    <a:pt x="958" y="1175"/>
                  </a:lnTo>
                  <a:lnTo>
                    <a:pt x="958" y="1175"/>
                  </a:lnTo>
                  <a:lnTo>
                    <a:pt x="965" y="1175"/>
                  </a:lnTo>
                  <a:lnTo>
                    <a:pt x="965" y="1175"/>
                  </a:lnTo>
                  <a:lnTo>
                    <a:pt x="989" y="1175"/>
                  </a:lnTo>
                  <a:lnTo>
                    <a:pt x="989" y="1175"/>
                  </a:lnTo>
                  <a:lnTo>
                    <a:pt x="989" y="1175"/>
                  </a:lnTo>
                  <a:lnTo>
                    <a:pt x="989" y="1173"/>
                  </a:lnTo>
                  <a:lnTo>
                    <a:pt x="989" y="1173"/>
                  </a:lnTo>
                  <a:lnTo>
                    <a:pt x="989" y="1173"/>
                  </a:lnTo>
                  <a:lnTo>
                    <a:pt x="989" y="1173"/>
                  </a:lnTo>
                  <a:lnTo>
                    <a:pt x="989" y="1173"/>
                  </a:lnTo>
                  <a:lnTo>
                    <a:pt x="989" y="1173"/>
                  </a:lnTo>
                  <a:lnTo>
                    <a:pt x="989" y="1173"/>
                  </a:lnTo>
                  <a:lnTo>
                    <a:pt x="989" y="1173"/>
                  </a:lnTo>
                  <a:lnTo>
                    <a:pt x="989" y="1173"/>
                  </a:lnTo>
                  <a:lnTo>
                    <a:pt x="990" y="1173"/>
                  </a:lnTo>
                  <a:lnTo>
                    <a:pt x="990" y="1173"/>
                  </a:lnTo>
                  <a:lnTo>
                    <a:pt x="991" y="1173"/>
                  </a:lnTo>
                  <a:lnTo>
                    <a:pt x="991" y="1173"/>
                  </a:lnTo>
                  <a:lnTo>
                    <a:pt x="1002" y="1173"/>
                  </a:lnTo>
                  <a:lnTo>
                    <a:pt x="1002" y="1169"/>
                  </a:lnTo>
                  <a:lnTo>
                    <a:pt x="1002" y="1169"/>
                  </a:lnTo>
                  <a:lnTo>
                    <a:pt x="1002" y="1169"/>
                  </a:lnTo>
                  <a:lnTo>
                    <a:pt x="1002" y="1169"/>
                  </a:lnTo>
                  <a:lnTo>
                    <a:pt x="1002" y="1169"/>
                  </a:lnTo>
                  <a:lnTo>
                    <a:pt x="1002" y="1169"/>
                  </a:lnTo>
                  <a:lnTo>
                    <a:pt x="1002" y="1169"/>
                  </a:lnTo>
                  <a:lnTo>
                    <a:pt x="1002" y="1169"/>
                  </a:lnTo>
                  <a:lnTo>
                    <a:pt x="1002" y="1167"/>
                  </a:lnTo>
                  <a:lnTo>
                    <a:pt x="1002" y="1167"/>
                  </a:lnTo>
                  <a:lnTo>
                    <a:pt x="1002" y="1167"/>
                  </a:lnTo>
                  <a:lnTo>
                    <a:pt x="1002" y="1167"/>
                  </a:lnTo>
                  <a:lnTo>
                    <a:pt x="1002" y="1167"/>
                  </a:lnTo>
                  <a:lnTo>
                    <a:pt x="1003" y="1167"/>
                  </a:lnTo>
                  <a:lnTo>
                    <a:pt x="1003" y="1167"/>
                  </a:lnTo>
                  <a:lnTo>
                    <a:pt x="1004" y="1167"/>
                  </a:lnTo>
                  <a:lnTo>
                    <a:pt x="1004" y="1164"/>
                  </a:lnTo>
                  <a:lnTo>
                    <a:pt x="1004" y="1164"/>
                  </a:lnTo>
                  <a:lnTo>
                    <a:pt x="1004" y="1164"/>
                  </a:lnTo>
                  <a:lnTo>
                    <a:pt x="1004" y="1164"/>
                  </a:lnTo>
                  <a:lnTo>
                    <a:pt x="1004" y="1158"/>
                  </a:lnTo>
                  <a:lnTo>
                    <a:pt x="1004" y="1158"/>
                  </a:lnTo>
                  <a:lnTo>
                    <a:pt x="1004" y="1157"/>
                  </a:lnTo>
                  <a:lnTo>
                    <a:pt x="1004" y="1157"/>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5" y="1156"/>
                  </a:lnTo>
                  <a:lnTo>
                    <a:pt x="1005" y="1156"/>
                  </a:lnTo>
                  <a:lnTo>
                    <a:pt x="1005" y="1156"/>
                  </a:lnTo>
                  <a:lnTo>
                    <a:pt x="1005" y="1156"/>
                  </a:lnTo>
                  <a:lnTo>
                    <a:pt x="1005" y="1156"/>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6" y="1155"/>
                  </a:lnTo>
                  <a:lnTo>
                    <a:pt x="1006" y="1155"/>
                  </a:lnTo>
                  <a:lnTo>
                    <a:pt x="1006" y="1155"/>
                  </a:lnTo>
                  <a:lnTo>
                    <a:pt x="1006" y="1155"/>
                  </a:lnTo>
                  <a:lnTo>
                    <a:pt x="1007" y="1155"/>
                  </a:lnTo>
                  <a:lnTo>
                    <a:pt x="1007" y="1155"/>
                  </a:lnTo>
                  <a:lnTo>
                    <a:pt x="1008" y="1155"/>
                  </a:lnTo>
                  <a:lnTo>
                    <a:pt x="1008" y="1155"/>
                  </a:lnTo>
                  <a:lnTo>
                    <a:pt x="1009" y="1155"/>
                  </a:lnTo>
                  <a:lnTo>
                    <a:pt x="1009" y="1155"/>
                  </a:lnTo>
                  <a:lnTo>
                    <a:pt x="1010" y="1155"/>
                  </a:lnTo>
                  <a:lnTo>
                    <a:pt x="1010" y="1155"/>
                  </a:lnTo>
                  <a:lnTo>
                    <a:pt x="1011" y="1155"/>
                  </a:lnTo>
                  <a:lnTo>
                    <a:pt x="1011" y="1155"/>
                  </a:lnTo>
                  <a:lnTo>
                    <a:pt x="1013" y="1155"/>
                  </a:lnTo>
                  <a:lnTo>
                    <a:pt x="1013" y="1155"/>
                  </a:lnTo>
                  <a:lnTo>
                    <a:pt x="1015" y="1155"/>
                  </a:lnTo>
                  <a:lnTo>
                    <a:pt x="1015" y="1155"/>
                  </a:lnTo>
                  <a:lnTo>
                    <a:pt x="1017" y="1155"/>
                  </a:lnTo>
                  <a:lnTo>
                    <a:pt x="1017" y="1155"/>
                  </a:lnTo>
                  <a:lnTo>
                    <a:pt x="1020" y="1155"/>
                  </a:lnTo>
                  <a:lnTo>
                    <a:pt x="1020" y="1155"/>
                  </a:lnTo>
                  <a:lnTo>
                    <a:pt x="1023" y="1155"/>
                  </a:lnTo>
                  <a:lnTo>
                    <a:pt x="1023" y="1155"/>
                  </a:lnTo>
                  <a:lnTo>
                    <a:pt x="1028" y="1155"/>
                  </a:lnTo>
                  <a:lnTo>
                    <a:pt x="1028" y="1155"/>
                  </a:lnTo>
                  <a:lnTo>
                    <a:pt x="1037" y="1155"/>
                  </a:lnTo>
                  <a:lnTo>
                    <a:pt x="1037" y="1155"/>
                  </a:lnTo>
                  <a:lnTo>
                    <a:pt x="1037" y="1155"/>
                  </a:lnTo>
                  <a:lnTo>
                    <a:pt x="1037" y="1155"/>
                  </a:lnTo>
                  <a:lnTo>
                    <a:pt x="1037" y="1155"/>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8" y="1154"/>
                  </a:lnTo>
                  <a:lnTo>
                    <a:pt x="1038" y="1154"/>
                  </a:lnTo>
                  <a:lnTo>
                    <a:pt x="1039" y="1154"/>
                  </a:lnTo>
                  <a:lnTo>
                    <a:pt x="1039" y="1154"/>
                  </a:lnTo>
                  <a:lnTo>
                    <a:pt x="1045" y="1154"/>
                  </a:lnTo>
                  <a:lnTo>
                    <a:pt x="1045" y="1154"/>
                  </a:lnTo>
                  <a:lnTo>
                    <a:pt x="1052" y="1154"/>
                  </a:lnTo>
                  <a:lnTo>
                    <a:pt x="1052" y="1154"/>
                  </a:lnTo>
                  <a:lnTo>
                    <a:pt x="1061" y="1154"/>
                  </a:lnTo>
                  <a:lnTo>
                    <a:pt x="1061" y="1150"/>
                  </a:lnTo>
                  <a:lnTo>
                    <a:pt x="1061" y="1150"/>
                  </a:lnTo>
                  <a:lnTo>
                    <a:pt x="1061" y="1150"/>
                  </a:lnTo>
                  <a:lnTo>
                    <a:pt x="1061" y="1150"/>
                  </a:lnTo>
                  <a:lnTo>
                    <a:pt x="1061" y="1150"/>
                  </a:lnTo>
                  <a:lnTo>
                    <a:pt x="1062" y="1150"/>
                  </a:lnTo>
                  <a:lnTo>
                    <a:pt x="1062" y="1150"/>
                  </a:lnTo>
                  <a:lnTo>
                    <a:pt x="1067" y="1150"/>
                  </a:lnTo>
                  <a:lnTo>
                    <a:pt x="1067" y="1148"/>
                  </a:lnTo>
                  <a:lnTo>
                    <a:pt x="1067" y="1148"/>
                  </a:lnTo>
                  <a:lnTo>
                    <a:pt x="1067" y="1148"/>
                  </a:lnTo>
                  <a:lnTo>
                    <a:pt x="1067" y="1148"/>
                  </a:lnTo>
                  <a:lnTo>
                    <a:pt x="1067" y="1148"/>
                  </a:lnTo>
                  <a:lnTo>
                    <a:pt x="1069" y="1148"/>
                  </a:lnTo>
                  <a:lnTo>
                    <a:pt x="1069" y="1146"/>
                  </a:lnTo>
                  <a:lnTo>
                    <a:pt x="1069" y="1146"/>
                  </a:lnTo>
                  <a:lnTo>
                    <a:pt x="1069" y="1146"/>
                  </a:lnTo>
                  <a:lnTo>
                    <a:pt x="1069" y="1146"/>
                  </a:lnTo>
                  <a:lnTo>
                    <a:pt x="1069" y="1143"/>
                  </a:lnTo>
                  <a:lnTo>
                    <a:pt x="1069" y="1143"/>
                  </a:lnTo>
                  <a:lnTo>
                    <a:pt x="1069" y="1143"/>
                  </a:lnTo>
                  <a:lnTo>
                    <a:pt x="1069" y="1143"/>
                  </a:lnTo>
                  <a:lnTo>
                    <a:pt x="1069" y="1143"/>
                  </a:lnTo>
                  <a:lnTo>
                    <a:pt x="1069" y="1143"/>
                  </a:lnTo>
                  <a:lnTo>
                    <a:pt x="1069" y="1143"/>
                  </a:lnTo>
                  <a:lnTo>
                    <a:pt x="1069" y="1143"/>
                  </a:lnTo>
                  <a:lnTo>
                    <a:pt x="1069" y="1139"/>
                  </a:lnTo>
                  <a:lnTo>
                    <a:pt x="1071" y="1139"/>
                  </a:lnTo>
                  <a:lnTo>
                    <a:pt x="1071" y="1139"/>
                  </a:lnTo>
                  <a:lnTo>
                    <a:pt x="1074" y="1139"/>
                  </a:lnTo>
                  <a:lnTo>
                    <a:pt x="1074" y="1138"/>
                  </a:lnTo>
                  <a:lnTo>
                    <a:pt x="1077" y="1138"/>
                  </a:lnTo>
                  <a:lnTo>
                    <a:pt x="1077" y="1138"/>
                  </a:lnTo>
                  <a:lnTo>
                    <a:pt x="1101" y="1138"/>
                  </a:lnTo>
                  <a:lnTo>
                    <a:pt x="1101" y="1136"/>
                  </a:lnTo>
                  <a:lnTo>
                    <a:pt x="1101" y="1136"/>
                  </a:lnTo>
                  <a:lnTo>
                    <a:pt x="1101" y="1136"/>
                  </a:lnTo>
                  <a:lnTo>
                    <a:pt x="1102" y="1136"/>
                  </a:lnTo>
                  <a:lnTo>
                    <a:pt x="1102" y="1136"/>
                  </a:lnTo>
                  <a:lnTo>
                    <a:pt x="1102" y="1136"/>
                  </a:lnTo>
                  <a:lnTo>
                    <a:pt x="1102" y="1136"/>
                  </a:lnTo>
                  <a:lnTo>
                    <a:pt x="1102" y="1136"/>
                  </a:lnTo>
                  <a:lnTo>
                    <a:pt x="1102" y="1136"/>
                  </a:lnTo>
                  <a:lnTo>
                    <a:pt x="1104" y="1136"/>
                  </a:lnTo>
                  <a:lnTo>
                    <a:pt x="1104"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30" y="1136"/>
                  </a:lnTo>
                  <a:lnTo>
                    <a:pt x="1130" y="1136"/>
                  </a:lnTo>
                  <a:lnTo>
                    <a:pt x="1130" y="1136"/>
                  </a:lnTo>
                  <a:lnTo>
                    <a:pt x="1130" y="1136"/>
                  </a:lnTo>
                  <a:lnTo>
                    <a:pt x="1130" y="1136"/>
                  </a:lnTo>
                  <a:lnTo>
                    <a:pt x="1130" y="1136"/>
                  </a:lnTo>
                  <a:lnTo>
                    <a:pt x="1131" y="1136"/>
                  </a:lnTo>
                  <a:lnTo>
                    <a:pt x="1131" y="1136"/>
                  </a:lnTo>
                  <a:lnTo>
                    <a:pt x="1132" y="1136"/>
                  </a:lnTo>
                  <a:lnTo>
                    <a:pt x="1132" y="1136"/>
                  </a:lnTo>
                  <a:lnTo>
                    <a:pt x="1134" y="1136"/>
                  </a:lnTo>
                  <a:lnTo>
                    <a:pt x="1134" y="1136"/>
                  </a:lnTo>
                  <a:lnTo>
                    <a:pt x="1135" y="1136"/>
                  </a:lnTo>
                  <a:lnTo>
                    <a:pt x="1135" y="1136"/>
                  </a:lnTo>
                  <a:lnTo>
                    <a:pt x="1137" y="1136"/>
                  </a:lnTo>
                  <a:lnTo>
                    <a:pt x="1137" y="1136"/>
                  </a:lnTo>
                  <a:lnTo>
                    <a:pt x="1138" y="1136"/>
                  </a:lnTo>
                  <a:lnTo>
                    <a:pt x="1138" y="1136"/>
                  </a:lnTo>
                  <a:lnTo>
                    <a:pt x="1141" y="1136"/>
                  </a:lnTo>
                  <a:lnTo>
                    <a:pt x="1141" y="1136"/>
                  </a:lnTo>
                  <a:lnTo>
                    <a:pt x="1144" y="1136"/>
                  </a:lnTo>
                  <a:lnTo>
                    <a:pt x="1144" y="1136"/>
                  </a:lnTo>
                  <a:lnTo>
                    <a:pt x="1147" y="1136"/>
                  </a:lnTo>
                  <a:lnTo>
                    <a:pt x="1147" y="1136"/>
                  </a:lnTo>
                  <a:lnTo>
                    <a:pt x="1150" y="1136"/>
                  </a:lnTo>
                  <a:lnTo>
                    <a:pt x="1150" y="1136"/>
                  </a:lnTo>
                  <a:lnTo>
                    <a:pt x="1179" y="1136"/>
                  </a:lnTo>
                  <a:lnTo>
                    <a:pt x="1179" y="1135"/>
                  </a:lnTo>
                  <a:lnTo>
                    <a:pt x="1179" y="1135"/>
                  </a:lnTo>
                  <a:lnTo>
                    <a:pt x="1179" y="1135"/>
                  </a:lnTo>
                  <a:lnTo>
                    <a:pt x="1179" y="1135"/>
                  </a:lnTo>
                  <a:lnTo>
                    <a:pt x="1179" y="1135"/>
                  </a:lnTo>
                  <a:lnTo>
                    <a:pt x="1179" y="1135"/>
                  </a:lnTo>
                  <a:lnTo>
                    <a:pt x="1179" y="1135"/>
                  </a:lnTo>
                  <a:lnTo>
                    <a:pt x="1180" y="1135"/>
                  </a:lnTo>
                  <a:lnTo>
                    <a:pt x="1180" y="1135"/>
                  </a:lnTo>
                  <a:lnTo>
                    <a:pt x="1181" y="1135"/>
                  </a:lnTo>
                  <a:lnTo>
                    <a:pt x="1181" y="1134"/>
                  </a:lnTo>
                  <a:lnTo>
                    <a:pt x="1181" y="1134"/>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2" y="1133"/>
                  </a:lnTo>
                  <a:lnTo>
                    <a:pt x="1182" y="1133"/>
                  </a:lnTo>
                  <a:lnTo>
                    <a:pt x="1182" y="1133"/>
                  </a:lnTo>
                  <a:lnTo>
                    <a:pt x="1182" y="1133"/>
                  </a:lnTo>
                  <a:lnTo>
                    <a:pt x="1182" y="1133"/>
                  </a:lnTo>
                  <a:lnTo>
                    <a:pt x="1182" y="1133"/>
                  </a:lnTo>
                  <a:lnTo>
                    <a:pt x="1183" y="1133"/>
                  </a:lnTo>
                  <a:lnTo>
                    <a:pt x="1183" y="1133"/>
                  </a:lnTo>
                  <a:lnTo>
                    <a:pt x="1184" y="1133"/>
                  </a:lnTo>
                  <a:lnTo>
                    <a:pt x="1184" y="1133"/>
                  </a:lnTo>
                  <a:lnTo>
                    <a:pt x="1185" y="1133"/>
                  </a:lnTo>
                  <a:lnTo>
                    <a:pt x="1185" y="1133"/>
                  </a:lnTo>
                  <a:lnTo>
                    <a:pt x="1186" y="1133"/>
                  </a:lnTo>
                  <a:lnTo>
                    <a:pt x="1186" y="1133"/>
                  </a:lnTo>
                  <a:lnTo>
                    <a:pt x="1190" y="1133"/>
                  </a:lnTo>
                  <a:lnTo>
                    <a:pt x="1190" y="1133"/>
                  </a:lnTo>
                  <a:lnTo>
                    <a:pt x="1195" y="1133"/>
                  </a:lnTo>
                  <a:lnTo>
                    <a:pt x="1195" y="1133"/>
                  </a:lnTo>
                  <a:lnTo>
                    <a:pt x="1202" y="1133"/>
                  </a:lnTo>
                  <a:lnTo>
                    <a:pt x="1202" y="1133"/>
                  </a:lnTo>
                  <a:lnTo>
                    <a:pt x="1213" y="1133"/>
                  </a:lnTo>
                  <a:lnTo>
                    <a:pt x="1213" y="1133"/>
                  </a:lnTo>
                  <a:lnTo>
                    <a:pt x="1223" y="1133"/>
                  </a:lnTo>
                  <a:lnTo>
                    <a:pt x="1223" y="1132"/>
                  </a:lnTo>
                  <a:lnTo>
                    <a:pt x="1223" y="1132"/>
                  </a:lnTo>
                  <a:lnTo>
                    <a:pt x="1223" y="1132"/>
                  </a:lnTo>
                  <a:lnTo>
                    <a:pt x="1223" y="1132"/>
                  </a:lnTo>
                  <a:lnTo>
                    <a:pt x="1223" y="1132"/>
                  </a:lnTo>
                  <a:lnTo>
                    <a:pt x="1223" y="1132"/>
                  </a:lnTo>
                  <a:lnTo>
                    <a:pt x="1223" y="1132"/>
                  </a:lnTo>
                  <a:lnTo>
                    <a:pt x="1223" y="1132"/>
                  </a:lnTo>
                  <a:lnTo>
                    <a:pt x="1223" y="1131"/>
                  </a:lnTo>
                  <a:lnTo>
                    <a:pt x="1223" y="1131"/>
                  </a:lnTo>
                  <a:lnTo>
                    <a:pt x="1223" y="1131"/>
                  </a:lnTo>
                  <a:lnTo>
                    <a:pt x="1224" y="1131"/>
                  </a:lnTo>
                  <a:lnTo>
                    <a:pt x="1224" y="1131"/>
                  </a:lnTo>
                  <a:lnTo>
                    <a:pt x="1224" y="1131"/>
                  </a:lnTo>
                  <a:lnTo>
                    <a:pt x="1224" y="1131"/>
                  </a:lnTo>
                  <a:lnTo>
                    <a:pt x="1224" y="1131"/>
                  </a:lnTo>
                  <a:lnTo>
                    <a:pt x="1224" y="1129"/>
                  </a:lnTo>
                  <a:lnTo>
                    <a:pt x="1225" y="1129"/>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6" y="1126"/>
                  </a:lnTo>
                  <a:lnTo>
                    <a:pt x="1226" y="1126"/>
                  </a:lnTo>
                  <a:lnTo>
                    <a:pt x="1232" y="1126"/>
                  </a:lnTo>
                  <a:lnTo>
                    <a:pt x="1232" y="1126"/>
                  </a:lnTo>
                  <a:lnTo>
                    <a:pt x="1238" y="1126"/>
                  </a:lnTo>
                  <a:lnTo>
                    <a:pt x="1238" y="1126"/>
                  </a:lnTo>
                  <a:lnTo>
                    <a:pt x="1249" y="1126"/>
                  </a:lnTo>
                  <a:lnTo>
                    <a:pt x="1249" y="1124"/>
                  </a:lnTo>
                  <a:lnTo>
                    <a:pt x="1249" y="1124"/>
                  </a:lnTo>
                  <a:lnTo>
                    <a:pt x="1249" y="1123"/>
                  </a:lnTo>
                  <a:lnTo>
                    <a:pt x="1249" y="1123"/>
                  </a:lnTo>
                  <a:lnTo>
                    <a:pt x="1249" y="1123"/>
                  </a:lnTo>
                  <a:lnTo>
                    <a:pt x="1249" y="1123"/>
                  </a:lnTo>
                  <a:lnTo>
                    <a:pt x="1249" y="1123"/>
                  </a:lnTo>
                  <a:lnTo>
                    <a:pt x="1249" y="1123"/>
                  </a:lnTo>
                  <a:lnTo>
                    <a:pt x="1249" y="1123"/>
                  </a:lnTo>
                  <a:lnTo>
                    <a:pt x="1250" y="1123"/>
                  </a:lnTo>
                  <a:lnTo>
                    <a:pt x="1250" y="1123"/>
                  </a:lnTo>
                  <a:lnTo>
                    <a:pt x="1250" y="1123"/>
                  </a:lnTo>
                  <a:lnTo>
                    <a:pt x="1250" y="1123"/>
                  </a:lnTo>
                  <a:lnTo>
                    <a:pt x="1250" y="1123"/>
                  </a:lnTo>
                  <a:lnTo>
                    <a:pt x="1250" y="1123"/>
                  </a:lnTo>
                  <a:lnTo>
                    <a:pt x="1250" y="1123"/>
                  </a:lnTo>
                  <a:lnTo>
                    <a:pt x="1250" y="1123"/>
                  </a:lnTo>
                  <a:lnTo>
                    <a:pt x="1251" y="1123"/>
                  </a:lnTo>
                  <a:lnTo>
                    <a:pt x="1251" y="1123"/>
                  </a:lnTo>
                  <a:lnTo>
                    <a:pt x="1251" y="1123"/>
                  </a:lnTo>
                  <a:lnTo>
                    <a:pt x="1251" y="1123"/>
                  </a:lnTo>
                  <a:lnTo>
                    <a:pt x="1252" y="1123"/>
                  </a:lnTo>
                  <a:lnTo>
                    <a:pt x="1252" y="1123"/>
                  </a:lnTo>
                  <a:lnTo>
                    <a:pt x="1253" y="1123"/>
                  </a:lnTo>
                  <a:lnTo>
                    <a:pt x="1253" y="1123"/>
                  </a:lnTo>
                  <a:lnTo>
                    <a:pt x="1255" y="1123"/>
                  </a:lnTo>
                  <a:lnTo>
                    <a:pt x="1255" y="1123"/>
                  </a:lnTo>
                  <a:lnTo>
                    <a:pt x="1259" y="1123"/>
                  </a:lnTo>
                  <a:lnTo>
                    <a:pt x="1259" y="1123"/>
                  </a:lnTo>
                  <a:lnTo>
                    <a:pt x="1263" y="1123"/>
                  </a:lnTo>
                  <a:lnTo>
                    <a:pt x="1263" y="1123"/>
                  </a:lnTo>
                  <a:lnTo>
                    <a:pt x="1270" y="1123"/>
                  </a:lnTo>
                  <a:lnTo>
                    <a:pt x="1270" y="1123"/>
                  </a:lnTo>
                  <a:lnTo>
                    <a:pt x="1318" y="1123"/>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9" y="1122"/>
                  </a:lnTo>
                  <a:lnTo>
                    <a:pt x="1319" y="1121"/>
                  </a:lnTo>
                  <a:lnTo>
                    <a:pt x="1322" y="1121"/>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3" y="1120"/>
                  </a:lnTo>
                  <a:lnTo>
                    <a:pt x="1323" y="1120"/>
                  </a:lnTo>
                  <a:lnTo>
                    <a:pt x="1325" y="1120"/>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6" y="1118"/>
                  </a:lnTo>
                  <a:lnTo>
                    <a:pt x="1326" y="1118"/>
                  </a:lnTo>
                  <a:lnTo>
                    <a:pt x="1326" y="1118"/>
                  </a:lnTo>
                  <a:lnTo>
                    <a:pt x="1326" y="1118"/>
                  </a:lnTo>
                  <a:lnTo>
                    <a:pt x="1326" y="1118"/>
                  </a:lnTo>
                  <a:lnTo>
                    <a:pt x="1326" y="1117"/>
                  </a:lnTo>
                  <a:lnTo>
                    <a:pt x="1326" y="1117"/>
                  </a:lnTo>
                  <a:lnTo>
                    <a:pt x="1326" y="1117"/>
                  </a:lnTo>
                  <a:lnTo>
                    <a:pt x="1326" y="1117"/>
                  </a:lnTo>
                  <a:lnTo>
                    <a:pt x="1326" y="1116"/>
                  </a:lnTo>
                  <a:lnTo>
                    <a:pt x="1326" y="1116"/>
                  </a:lnTo>
                  <a:lnTo>
                    <a:pt x="1326" y="1116"/>
                  </a:lnTo>
                  <a:lnTo>
                    <a:pt x="1326" y="1116"/>
                  </a:lnTo>
                  <a:lnTo>
                    <a:pt x="1326" y="1116"/>
                  </a:lnTo>
                  <a:lnTo>
                    <a:pt x="1326" y="1116"/>
                  </a:lnTo>
                  <a:lnTo>
                    <a:pt x="1326" y="1116"/>
                  </a:lnTo>
                  <a:lnTo>
                    <a:pt x="1327" y="1116"/>
                  </a:lnTo>
                  <a:lnTo>
                    <a:pt x="1327" y="1116"/>
                  </a:lnTo>
                  <a:lnTo>
                    <a:pt x="1327" y="1116"/>
                  </a:lnTo>
                  <a:lnTo>
                    <a:pt x="1327" y="1116"/>
                  </a:lnTo>
                  <a:lnTo>
                    <a:pt x="1327" y="1116"/>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9" y="1115"/>
                  </a:lnTo>
                  <a:lnTo>
                    <a:pt x="1329" y="1115"/>
                  </a:lnTo>
                  <a:lnTo>
                    <a:pt x="1329" y="1115"/>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30" y="1114"/>
                  </a:lnTo>
                  <a:lnTo>
                    <a:pt x="1330" y="1114"/>
                  </a:lnTo>
                  <a:lnTo>
                    <a:pt x="1330" y="1114"/>
                  </a:lnTo>
                  <a:lnTo>
                    <a:pt x="1330" y="1114"/>
                  </a:lnTo>
                  <a:lnTo>
                    <a:pt x="1330" y="1114"/>
                  </a:lnTo>
                  <a:lnTo>
                    <a:pt x="1330" y="1114"/>
                  </a:lnTo>
                  <a:lnTo>
                    <a:pt x="1330" y="1114"/>
                  </a:lnTo>
                  <a:lnTo>
                    <a:pt x="1330" y="1114"/>
                  </a:lnTo>
                  <a:lnTo>
                    <a:pt x="1331" y="1114"/>
                  </a:lnTo>
                  <a:lnTo>
                    <a:pt x="1331" y="1114"/>
                  </a:lnTo>
                  <a:lnTo>
                    <a:pt x="1331" y="1114"/>
                  </a:lnTo>
                  <a:lnTo>
                    <a:pt x="1331" y="1114"/>
                  </a:lnTo>
                  <a:lnTo>
                    <a:pt x="1331" y="1114"/>
                  </a:lnTo>
                  <a:lnTo>
                    <a:pt x="1331" y="1114"/>
                  </a:lnTo>
                  <a:lnTo>
                    <a:pt x="1332" y="1114"/>
                  </a:lnTo>
                  <a:lnTo>
                    <a:pt x="1332" y="1114"/>
                  </a:lnTo>
                  <a:lnTo>
                    <a:pt x="1332" y="1114"/>
                  </a:lnTo>
                  <a:lnTo>
                    <a:pt x="1332" y="1114"/>
                  </a:lnTo>
                  <a:lnTo>
                    <a:pt x="1333" y="1114"/>
                  </a:lnTo>
                  <a:lnTo>
                    <a:pt x="1333" y="1114"/>
                  </a:lnTo>
                  <a:lnTo>
                    <a:pt x="1333" y="1114"/>
                  </a:lnTo>
                  <a:lnTo>
                    <a:pt x="1333" y="1114"/>
                  </a:lnTo>
                  <a:lnTo>
                    <a:pt x="1334" y="1114"/>
                  </a:lnTo>
                  <a:lnTo>
                    <a:pt x="1334" y="1114"/>
                  </a:lnTo>
                  <a:lnTo>
                    <a:pt x="1335" y="1114"/>
                  </a:lnTo>
                  <a:lnTo>
                    <a:pt x="1335" y="1114"/>
                  </a:lnTo>
                  <a:lnTo>
                    <a:pt x="1337" y="1114"/>
                  </a:lnTo>
                  <a:lnTo>
                    <a:pt x="1337" y="1113"/>
                  </a:lnTo>
                  <a:lnTo>
                    <a:pt x="1337" y="1113"/>
                  </a:lnTo>
                  <a:lnTo>
                    <a:pt x="1337" y="1113"/>
                  </a:lnTo>
                  <a:lnTo>
                    <a:pt x="1337" y="1113"/>
                  </a:lnTo>
                  <a:lnTo>
                    <a:pt x="1337" y="1113"/>
                  </a:lnTo>
                  <a:lnTo>
                    <a:pt x="1337" y="1113"/>
                  </a:lnTo>
                  <a:lnTo>
                    <a:pt x="1337" y="1110"/>
                  </a:lnTo>
                  <a:lnTo>
                    <a:pt x="1337" y="1110"/>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8" y="1106"/>
                  </a:lnTo>
                  <a:lnTo>
                    <a:pt x="1338" y="1106"/>
                  </a:lnTo>
                  <a:lnTo>
                    <a:pt x="1338" y="1106"/>
                  </a:lnTo>
                  <a:lnTo>
                    <a:pt x="1338" y="1106"/>
                  </a:lnTo>
                  <a:lnTo>
                    <a:pt x="1338" y="1106"/>
                  </a:lnTo>
                  <a:lnTo>
                    <a:pt x="1338" y="1106"/>
                  </a:lnTo>
                  <a:lnTo>
                    <a:pt x="1338" y="1106"/>
                  </a:lnTo>
                  <a:lnTo>
                    <a:pt x="1338" y="1106"/>
                  </a:lnTo>
                  <a:lnTo>
                    <a:pt x="1339" y="1106"/>
                  </a:lnTo>
                  <a:lnTo>
                    <a:pt x="1339" y="1106"/>
                  </a:lnTo>
                  <a:lnTo>
                    <a:pt x="1340" y="1106"/>
                  </a:lnTo>
                  <a:lnTo>
                    <a:pt x="1340" y="1106"/>
                  </a:lnTo>
                  <a:lnTo>
                    <a:pt x="1341" y="1106"/>
                  </a:lnTo>
                  <a:lnTo>
                    <a:pt x="1341" y="1106"/>
                  </a:lnTo>
                  <a:lnTo>
                    <a:pt x="1343" y="1106"/>
                  </a:lnTo>
                  <a:lnTo>
                    <a:pt x="1343" y="1106"/>
                  </a:lnTo>
                  <a:lnTo>
                    <a:pt x="1354" y="1106"/>
                  </a:lnTo>
                  <a:lnTo>
                    <a:pt x="1354" y="1106"/>
                  </a:lnTo>
                  <a:lnTo>
                    <a:pt x="1354" y="1106"/>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1"/>
                  </a:lnTo>
                  <a:lnTo>
                    <a:pt x="1354" y="1101"/>
                  </a:lnTo>
                  <a:lnTo>
                    <a:pt x="1354" y="1101"/>
                  </a:lnTo>
                  <a:lnTo>
                    <a:pt x="1354" y="1101"/>
                  </a:lnTo>
                  <a:lnTo>
                    <a:pt x="1354" y="1101"/>
                  </a:lnTo>
                  <a:lnTo>
                    <a:pt x="1354" y="1101"/>
                  </a:lnTo>
                  <a:lnTo>
                    <a:pt x="1354" y="1101"/>
                  </a:lnTo>
                  <a:lnTo>
                    <a:pt x="1354" y="1101"/>
                  </a:lnTo>
                  <a:lnTo>
                    <a:pt x="1354" y="1101"/>
                  </a:lnTo>
                  <a:lnTo>
                    <a:pt x="1354" y="1101"/>
                  </a:lnTo>
                  <a:lnTo>
                    <a:pt x="1354" y="1101"/>
                  </a:lnTo>
                  <a:lnTo>
                    <a:pt x="1354" y="1101"/>
                  </a:lnTo>
                  <a:lnTo>
                    <a:pt x="1354" y="1100"/>
                  </a:lnTo>
                  <a:lnTo>
                    <a:pt x="1354" y="1100"/>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5" y="1099"/>
                  </a:lnTo>
                  <a:lnTo>
                    <a:pt x="1355" y="1099"/>
                  </a:lnTo>
                  <a:lnTo>
                    <a:pt x="1355" y="1099"/>
                  </a:lnTo>
                  <a:lnTo>
                    <a:pt x="1355" y="1099"/>
                  </a:lnTo>
                  <a:lnTo>
                    <a:pt x="1356" y="1099"/>
                  </a:lnTo>
                  <a:lnTo>
                    <a:pt x="1356" y="1099"/>
                  </a:lnTo>
                  <a:lnTo>
                    <a:pt x="1356" y="1099"/>
                  </a:lnTo>
                  <a:lnTo>
                    <a:pt x="1356" y="1099"/>
                  </a:lnTo>
                  <a:lnTo>
                    <a:pt x="1359" y="1099"/>
                  </a:lnTo>
                  <a:lnTo>
                    <a:pt x="1359" y="1098"/>
                  </a:lnTo>
                  <a:lnTo>
                    <a:pt x="1359" y="1098"/>
                  </a:lnTo>
                  <a:lnTo>
                    <a:pt x="1359" y="1098"/>
                  </a:lnTo>
                  <a:lnTo>
                    <a:pt x="1359" y="1098"/>
                  </a:lnTo>
                  <a:lnTo>
                    <a:pt x="1359" y="1098"/>
                  </a:lnTo>
                  <a:lnTo>
                    <a:pt x="1359" y="1098"/>
                  </a:lnTo>
                  <a:lnTo>
                    <a:pt x="1359" y="1098"/>
                  </a:lnTo>
                  <a:lnTo>
                    <a:pt x="1359" y="1098"/>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60" y="1094"/>
                  </a:lnTo>
                  <a:lnTo>
                    <a:pt x="1360" y="1094"/>
                  </a:lnTo>
                  <a:lnTo>
                    <a:pt x="1361" y="1094"/>
                  </a:lnTo>
                  <a:lnTo>
                    <a:pt x="1361" y="1094"/>
                  </a:lnTo>
                  <a:lnTo>
                    <a:pt x="1363" y="1094"/>
                  </a:lnTo>
                  <a:lnTo>
                    <a:pt x="1363" y="1092"/>
                  </a:lnTo>
                  <a:lnTo>
                    <a:pt x="1363" y="1092"/>
                  </a:lnTo>
                  <a:lnTo>
                    <a:pt x="1363" y="1092"/>
                  </a:lnTo>
                  <a:lnTo>
                    <a:pt x="1364" y="1092"/>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5" y="1091"/>
                  </a:lnTo>
                  <a:lnTo>
                    <a:pt x="1365" y="1091"/>
                  </a:lnTo>
                  <a:lnTo>
                    <a:pt x="1365" y="1091"/>
                  </a:lnTo>
                  <a:lnTo>
                    <a:pt x="1365" y="1091"/>
                  </a:lnTo>
                  <a:lnTo>
                    <a:pt x="1365" y="1091"/>
                  </a:lnTo>
                  <a:lnTo>
                    <a:pt x="1365" y="1091"/>
                  </a:lnTo>
                  <a:lnTo>
                    <a:pt x="1365" y="1091"/>
                  </a:lnTo>
                  <a:lnTo>
                    <a:pt x="1365" y="1091"/>
                  </a:lnTo>
                  <a:lnTo>
                    <a:pt x="1366" y="1091"/>
                  </a:lnTo>
                  <a:lnTo>
                    <a:pt x="1366" y="1091"/>
                  </a:lnTo>
                  <a:lnTo>
                    <a:pt x="1366" y="1091"/>
                  </a:lnTo>
                  <a:lnTo>
                    <a:pt x="1366" y="1090"/>
                  </a:lnTo>
                  <a:lnTo>
                    <a:pt x="1366" y="1090"/>
                  </a:lnTo>
                  <a:lnTo>
                    <a:pt x="1366" y="1090"/>
                  </a:lnTo>
                  <a:lnTo>
                    <a:pt x="1366" y="1090"/>
                  </a:lnTo>
                  <a:lnTo>
                    <a:pt x="1366" y="1090"/>
                  </a:lnTo>
                  <a:lnTo>
                    <a:pt x="1366" y="1090"/>
                  </a:lnTo>
                  <a:lnTo>
                    <a:pt x="1366" y="1088"/>
                  </a:lnTo>
                  <a:lnTo>
                    <a:pt x="1366" y="1088"/>
                  </a:lnTo>
                  <a:lnTo>
                    <a:pt x="1366" y="1088"/>
                  </a:lnTo>
                  <a:lnTo>
                    <a:pt x="1366" y="1088"/>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7" y="1083"/>
                  </a:lnTo>
                  <a:lnTo>
                    <a:pt x="1367" y="1083"/>
                  </a:lnTo>
                  <a:lnTo>
                    <a:pt x="1368" y="1083"/>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9" y="1082"/>
                  </a:lnTo>
                  <a:lnTo>
                    <a:pt x="1369" y="1082"/>
                  </a:lnTo>
                  <a:lnTo>
                    <a:pt x="1369" y="1082"/>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77"/>
                  </a:lnTo>
                  <a:lnTo>
                    <a:pt x="1369" y="1077"/>
                  </a:lnTo>
                  <a:lnTo>
                    <a:pt x="1369" y="1077"/>
                  </a:lnTo>
                  <a:lnTo>
                    <a:pt x="1369" y="1077"/>
                  </a:lnTo>
                  <a:lnTo>
                    <a:pt x="1369" y="1077"/>
                  </a:lnTo>
                  <a:lnTo>
                    <a:pt x="1369" y="1077"/>
                  </a:lnTo>
                  <a:lnTo>
                    <a:pt x="1369" y="1077"/>
                  </a:lnTo>
                  <a:lnTo>
                    <a:pt x="1369" y="1077"/>
                  </a:lnTo>
                  <a:lnTo>
                    <a:pt x="1369" y="1076"/>
                  </a:lnTo>
                  <a:lnTo>
                    <a:pt x="1369" y="1076"/>
                  </a:lnTo>
                  <a:lnTo>
                    <a:pt x="1369" y="1074"/>
                  </a:lnTo>
                  <a:lnTo>
                    <a:pt x="1369" y="1074"/>
                  </a:lnTo>
                  <a:lnTo>
                    <a:pt x="1369" y="1074"/>
                  </a:lnTo>
                  <a:lnTo>
                    <a:pt x="1370" y="1074"/>
                  </a:lnTo>
                  <a:lnTo>
                    <a:pt x="1370" y="1074"/>
                  </a:lnTo>
                  <a:lnTo>
                    <a:pt x="1375" y="1074"/>
                  </a:lnTo>
                  <a:lnTo>
                    <a:pt x="1375" y="1074"/>
                  </a:lnTo>
                  <a:lnTo>
                    <a:pt x="1375" y="1074"/>
                  </a:lnTo>
                  <a:lnTo>
                    <a:pt x="1375" y="1073"/>
                  </a:lnTo>
                  <a:lnTo>
                    <a:pt x="1375" y="1073"/>
                  </a:lnTo>
                  <a:lnTo>
                    <a:pt x="1375" y="1072"/>
                  </a:lnTo>
                  <a:lnTo>
                    <a:pt x="1380" y="1072"/>
                  </a:lnTo>
                  <a:lnTo>
                    <a:pt x="1380" y="1069"/>
                  </a:lnTo>
                  <a:lnTo>
                    <a:pt x="1381" y="1069"/>
                  </a:lnTo>
                  <a:lnTo>
                    <a:pt x="1381" y="1069"/>
                  </a:lnTo>
                  <a:lnTo>
                    <a:pt x="1382" y="1069"/>
                  </a:lnTo>
                  <a:lnTo>
                    <a:pt x="1382" y="1069"/>
                  </a:lnTo>
                  <a:lnTo>
                    <a:pt x="1385" y="1069"/>
                  </a:lnTo>
                  <a:lnTo>
                    <a:pt x="1385" y="1068"/>
                  </a:lnTo>
                  <a:lnTo>
                    <a:pt x="1385" y="1068"/>
                  </a:lnTo>
                  <a:lnTo>
                    <a:pt x="1385" y="1064"/>
                  </a:lnTo>
                  <a:lnTo>
                    <a:pt x="1385" y="1064"/>
                  </a:lnTo>
                  <a:lnTo>
                    <a:pt x="1385" y="1064"/>
                  </a:lnTo>
                  <a:lnTo>
                    <a:pt x="1386" y="1064"/>
                  </a:lnTo>
                  <a:lnTo>
                    <a:pt x="1386" y="1064"/>
                  </a:lnTo>
                  <a:lnTo>
                    <a:pt x="1387" y="1064"/>
                  </a:lnTo>
                  <a:lnTo>
                    <a:pt x="1387" y="1064"/>
                  </a:lnTo>
                  <a:lnTo>
                    <a:pt x="1387" y="1064"/>
                  </a:lnTo>
                  <a:lnTo>
                    <a:pt x="1387" y="1064"/>
                  </a:lnTo>
                  <a:lnTo>
                    <a:pt x="1387" y="1064"/>
                  </a:lnTo>
                  <a:lnTo>
                    <a:pt x="1387" y="1064"/>
                  </a:lnTo>
                  <a:lnTo>
                    <a:pt x="1387" y="1064"/>
                  </a:lnTo>
                  <a:lnTo>
                    <a:pt x="1387" y="1064"/>
                  </a:lnTo>
                  <a:lnTo>
                    <a:pt x="1388" y="1064"/>
                  </a:lnTo>
                  <a:lnTo>
                    <a:pt x="1388" y="1064"/>
                  </a:lnTo>
                  <a:lnTo>
                    <a:pt x="1388" y="1064"/>
                  </a:lnTo>
                  <a:lnTo>
                    <a:pt x="1388" y="1063"/>
                  </a:lnTo>
                  <a:lnTo>
                    <a:pt x="1388" y="1063"/>
                  </a:lnTo>
                  <a:lnTo>
                    <a:pt x="1388" y="1063"/>
                  </a:lnTo>
                  <a:lnTo>
                    <a:pt x="1388" y="1063"/>
                  </a:lnTo>
                  <a:lnTo>
                    <a:pt x="1388" y="1062"/>
                  </a:lnTo>
                  <a:lnTo>
                    <a:pt x="1388" y="1062"/>
                  </a:lnTo>
                  <a:lnTo>
                    <a:pt x="1388" y="1061"/>
                  </a:lnTo>
                  <a:lnTo>
                    <a:pt x="1388" y="1061"/>
                  </a:lnTo>
                  <a:lnTo>
                    <a:pt x="1388" y="1061"/>
                  </a:lnTo>
                  <a:lnTo>
                    <a:pt x="1389" y="1061"/>
                  </a:lnTo>
                  <a:lnTo>
                    <a:pt x="1389" y="1061"/>
                  </a:lnTo>
                  <a:lnTo>
                    <a:pt x="1389" y="1061"/>
                  </a:lnTo>
                  <a:lnTo>
                    <a:pt x="1389" y="1061"/>
                  </a:lnTo>
                  <a:lnTo>
                    <a:pt x="1390" y="1061"/>
                  </a:lnTo>
                  <a:lnTo>
                    <a:pt x="1390" y="1060"/>
                  </a:lnTo>
                  <a:lnTo>
                    <a:pt x="1390" y="1060"/>
                  </a:lnTo>
                  <a:lnTo>
                    <a:pt x="1390" y="1060"/>
                  </a:lnTo>
                  <a:lnTo>
                    <a:pt x="1390" y="1060"/>
                  </a:lnTo>
                  <a:lnTo>
                    <a:pt x="1390" y="1060"/>
                  </a:lnTo>
                  <a:lnTo>
                    <a:pt x="1390" y="1060"/>
                  </a:lnTo>
                  <a:lnTo>
                    <a:pt x="1390" y="1060"/>
                  </a:lnTo>
                  <a:lnTo>
                    <a:pt x="1390" y="1060"/>
                  </a:lnTo>
                  <a:lnTo>
                    <a:pt x="1390"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2" y="1060"/>
                  </a:lnTo>
                  <a:lnTo>
                    <a:pt x="1392" y="1060"/>
                  </a:lnTo>
                  <a:lnTo>
                    <a:pt x="1396" y="1060"/>
                  </a:lnTo>
                  <a:lnTo>
                    <a:pt x="1396" y="1059"/>
                  </a:lnTo>
                  <a:lnTo>
                    <a:pt x="1396" y="1059"/>
                  </a:lnTo>
                  <a:lnTo>
                    <a:pt x="1396" y="1059"/>
                  </a:lnTo>
                  <a:lnTo>
                    <a:pt x="1397" y="1059"/>
                  </a:lnTo>
                  <a:lnTo>
                    <a:pt x="1397" y="1059"/>
                  </a:lnTo>
                  <a:lnTo>
                    <a:pt x="1399" y="1059"/>
                  </a:lnTo>
                  <a:lnTo>
                    <a:pt x="1399" y="1059"/>
                  </a:lnTo>
                  <a:lnTo>
                    <a:pt x="1399" y="1059"/>
                  </a:lnTo>
                  <a:lnTo>
                    <a:pt x="1399" y="1057"/>
                  </a:lnTo>
                  <a:lnTo>
                    <a:pt x="1399" y="1057"/>
                  </a:lnTo>
                  <a:lnTo>
                    <a:pt x="1399" y="1056"/>
                  </a:lnTo>
                  <a:lnTo>
                    <a:pt x="1399" y="1056"/>
                  </a:lnTo>
                  <a:lnTo>
                    <a:pt x="1399" y="1056"/>
                  </a:lnTo>
                  <a:lnTo>
                    <a:pt x="1403" y="1056"/>
                  </a:lnTo>
                  <a:lnTo>
                    <a:pt x="1403" y="1056"/>
                  </a:lnTo>
                  <a:lnTo>
                    <a:pt x="1403" y="1056"/>
                  </a:lnTo>
                  <a:lnTo>
                    <a:pt x="1403" y="1054"/>
                  </a:lnTo>
                  <a:lnTo>
                    <a:pt x="1404" y="1054"/>
                  </a:lnTo>
                  <a:lnTo>
                    <a:pt x="1404" y="1054"/>
                  </a:lnTo>
                  <a:lnTo>
                    <a:pt x="1404" y="1054"/>
                  </a:lnTo>
                  <a:lnTo>
                    <a:pt x="1404" y="1054"/>
                  </a:lnTo>
                  <a:lnTo>
                    <a:pt x="1404" y="1054"/>
                  </a:lnTo>
                  <a:lnTo>
                    <a:pt x="1404" y="1054"/>
                  </a:lnTo>
                  <a:lnTo>
                    <a:pt x="1404" y="1054"/>
                  </a:lnTo>
                  <a:lnTo>
                    <a:pt x="1404" y="1054"/>
                  </a:lnTo>
                  <a:lnTo>
                    <a:pt x="1404" y="1054"/>
                  </a:lnTo>
                  <a:lnTo>
                    <a:pt x="1404" y="1053"/>
                  </a:lnTo>
                  <a:lnTo>
                    <a:pt x="1404" y="1053"/>
                  </a:lnTo>
                  <a:lnTo>
                    <a:pt x="1404" y="1053"/>
                  </a:lnTo>
                  <a:lnTo>
                    <a:pt x="1404" y="1053"/>
                  </a:lnTo>
                  <a:lnTo>
                    <a:pt x="1404" y="1053"/>
                  </a:lnTo>
                  <a:lnTo>
                    <a:pt x="1404" y="1053"/>
                  </a:lnTo>
                  <a:lnTo>
                    <a:pt x="1404" y="1053"/>
                  </a:lnTo>
                  <a:lnTo>
                    <a:pt x="1404" y="1053"/>
                  </a:lnTo>
                  <a:lnTo>
                    <a:pt x="1404"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6" y="1053"/>
                  </a:lnTo>
                  <a:lnTo>
                    <a:pt x="1406" y="1053"/>
                  </a:lnTo>
                  <a:lnTo>
                    <a:pt x="1406" y="1053"/>
                  </a:lnTo>
                  <a:lnTo>
                    <a:pt x="1406" y="1053"/>
                  </a:lnTo>
                  <a:lnTo>
                    <a:pt x="1407" y="1053"/>
                  </a:lnTo>
                  <a:lnTo>
                    <a:pt x="1407" y="1053"/>
                  </a:lnTo>
                  <a:lnTo>
                    <a:pt x="1408" y="1053"/>
                  </a:lnTo>
                  <a:lnTo>
                    <a:pt x="1408" y="1053"/>
                  </a:lnTo>
                  <a:lnTo>
                    <a:pt x="1408" y="1053"/>
                  </a:lnTo>
                  <a:lnTo>
                    <a:pt x="1408" y="1053"/>
                  </a:lnTo>
                  <a:lnTo>
                    <a:pt x="1408" y="1053"/>
                  </a:lnTo>
                  <a:lnTo>
                    <a:pt x="1408" y="1052"/>
                  </a:lnTo>
                  <a:lnTo>
                    <a:pt x="1408" y="1052"/>
                  </a:lnTo>
                  <a:lnTo>
                    <a:pt x="1408" y="1050"/>
                  </a:lnTo>
                  <a:lnTo>
                    <a:pt x="1408" y="1050"/>
                  </a:lnTo>
                  <a:lnTo>
                    <a:pt x="1408" y="1050"/>
                  </a:lnTo>
                  <a:lnTo>
                    <a:pt x="1408" y="1050"/>
                  </a:lnTo>
                  <a:lnTo>
                    <a:pt x="1408" y="1049"/>
                  </a:lnTo>
                  <a:lnTo>
                    <a:pt x="1408" y="1049"/>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7"/>
                  </a:lnTo>
                  <a:lnTo>
                    <a:pt x="1410" y="1047"/>
                  </a:lnTo>
                  <a:lnTo>
                    <a:pt x="1410" y="1046"/>
                  </a:lnTo>
                  <a:lnTo>
                    <a:pt x="1410" y="1046"/>
                  </a:lnTo>
                  <a:lnTo>
                    <a:pt x="1410" y="1046"/>
                  </a:lnTo>
                  <a:lnTo>
                    <a:pt x="1410" y="1046"/>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3" y="1044"/>
                  </a:lnTo>
                  <a:lnTo>
                    <a:pt x="1413" y="1043"/>
                  </a:lnTo>
                  <a:lnTo>
                    <a:pt x="1413" y="1043"/>
                  </a:lnTo>
                  <a:lnTo>
                    <a:pt x="1413" y="1043"/>
                  </a:lnTo>
                  <a:lnTo>
                    <a:pt x="1413" y="1043"/>
                  </a:lnTo>
                  <a:lnTo>
                    <a:pt x="1413" y="1043"/>
                  </a:lnTo>
                  <a:lnTo>
                    <a:pt x="1414" y="1043"/>
                  </a:lnTo>
                  <a:lnTo>
                    <a:pt x="1414" y="1043"/>
                  </a:lnTo>
                  <a:lnTo>
                    <a:pt x="1421" y="1043"/>
                  </a:lnTo>
                  <a:lnTo>
                    <a:pt x="1421" y="1042"/>
                  </a:lnTo>
                  <a:lnTo>
                    <a:pt x="1422" y="1042"/>
                  </a:lnTo>
                  <a:lnTo>
                    <a:pt x="1422" y="1042"/>
                  </a:lnTo>
                  <a:lnTo>
                    <a:pt x="1423" y="1042"/>
                  </a:lnTo>
                  <a:lnTo>
                    <a:pt x="1423" y="1042"/>
                  </a:lnTo>
                  <a:lnTo>
                    <a:pt x="1425" y="1042"/>
                  </a:lnTo>
                  <a:lnTo>
                    <a:pt x="1425" y="1042"/>
                  </a:lnTo>
                  <a:lnTo>
                    <a:pt x="1432" y="1042"/>
                  </a:lnTo>
                  <a:lnTo>
                    <a:pt x="1432" y="1042"/>
                  </a:lnTo>
                  <a:lnTo>
                    <a:pt x="1432" y="1042"/>
                  </a:lnTo>
                  <a:lnTo>
                    <a:pt x="1432" y="1042"/>
                  </a:lnTo>
                  <a:lnTo>
                    <a:pt x="1432" y="1042"/>
                  </a:lnTo>
                  <a:lnTo>
                    <a:pt x="1432" y="1042"/>
                  </a:lnTo>
                  <a:lnTo>
                    <a:pt x="1434" y="1042"/>
                  </a:lnTo>
                  <a:lnTo>
                    <a:pt x="1434" y="1041"/>
                  </a:lnTo>
                  <a:lnTo>
                    <a:pt x="1434" y="1041"/>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6" y="1040"/>
                  </a:lnTo>
                  <a:lnTo>
                    <a:pt x="1436" y="1040"/>
                  </a:lnTo>
                  <a:lnTo>
                    <a:pt x="1437" y="1040"/>
                  </a:lnTo>
                  <a:lnTo>
                    <a:pt x="1437" y="1040"/>
                  </a:lnTo>
                  <a:lnTo>
                    <a:pt x="1438" y="1040"/>
                  </a:lnTo>
                  <a:lnTo>
                    <a:pt x="1438" y="1039"/>
                  </a:lnTo>
                  <a:lnTo>
                    <a:pt x="1438" y="1039"/>
                  </a:lnTo>
                  <a:lnTo>
                    <a:pt x="1438" y="1039"/>
                  </a:lnTo>
                  <a:lnTo>
                    <a:pt x="1438" y="1039"/>
                  </a:lnTo>
                  <a:lnTo>
                    <a:pt x="1438" y="1038"/>
                  </a:lnTo>
                  <a:lnTo>
                    <a:pt x="1438" y="1038"/>
                  </a:lnTo>
                  <a:lnTo>
                    <a:pt x="1438" y="1038"/>
                  </a:lnTo>
                  <a:lnTo>
                    <a:pt x="1439" y="1038"/>
                  </a:lnTo>
                  <a:lnTo>
                    <a:pt x="1439" y="1038"/>
                  </a:lnTo>
                  <a:lnTo>
                    <a:pt x="1441" y="1038"/>
                  </a:lnTo>
                  <a:lnTo>
                    <a:pt x="1441" y="1038"/>
                  </a:lnTo>
                  <a:lnTo>
                    <a:pt x="1453" y="1038"/>
                  </a:lnTo>
                  <a:lnTo>
                    <a:pt x="1453" y="1038"/>
                  </a:lnTo>
                  <a:lnTo>
                    <a:pt x="1453" y="1038"/>
                  </a:lnTo>
                  <a:lnTo>
                    <a:pt x="1453" y="1037"/>
                  </a:lnTo>
                  <a:lnTo>
                    <a:pt x="1453" y="1037"/>
                  </a:lnTo>
                  <a:lnTo>
                    <a:pt x="1453" y="1037"/>
                  </a:lnTo>
                  <a:lnTo>
                    <a:pt x="1454" y="1037"/>
                  </a:lnTo>
                  <a:lnTo>
                    <a:pt x="1454" y="1036"/>
                  </a:lnTo>
                  <a:lnTo>
                    <a:pt x="1455" y="1036"/>
                  </a:lnTo>
                  <a:lnTo>
                    <a:pt x="1455" y="1036"/>
                  </a:lnTo>
                  <a:lnTo>
                    <a:pt x="1455" y="1036"/>
                  </a:lnTo>
                  <a:lnTo>
                    <a:pt x="1455" y="1036"/>
                  </a:lnTo>
                  <a:lnTo>
                    <a:pt x="1455" y="1036"/>
                  </a:lnTo>
                  <a:lnTo>
                    <a:pt x="1455" y="1036"/>
                  </a:lnTo>
                  <a:lnTo>
                    <a:pt x="1455" y="1036"/>
                  </a:lnTo>
                  <a:lnTo>
                    <a:pt x="1455" y="1036"/>
                  </a:lnTo>
                  <a:lnTo>
                    <a:pt x="1456" y="1036"/>
                  </a:lnTo>
                  <a:lnTo>
                    <a:pt x="1456" y="1036"/>
                  </a:lnTo>
                  <a:lnTo>
                    <a:pt x="1457" y="1036"/>
                  </a:lnTo>
                  <a:lnTo>
                    <a:pt x="1457" y="1035"/>
                  </a:lnTo>
                  <a:lnTo>
                    <a:pt x="1457" y="1035"/>
                  </a:lnTo>
                  <a:lnTo>
                    <a:pt x="1457" y="1035"/>
                  </a:lnTo>
                  <a:lnTo>
                    <a:pt x="1474" y="1035"/>
                  </a:lnTo>
                  <a:lnTo>
                    <a:pt x="1474" y="1034"/>
                  </a:lnTo>
                  <a:lnTo>
                    <a:pt x="1474" y="1034"/>
                  </a:lnTo>
                  <a:lnTo>
                    <a:pt x="1474" y="1034"/>
                  </a:lnTo>
                  <a:lnTo>
                    <a:pt x="1474" y="1034"/>
                  </a:lnTo>
                  <a:lnTo>
                    <a:pt x="1474" y="1033"/>
                  </a:lnTo>
                  <a:lnTo>
                    <a:pt x="1475" y="1033"/>
                  </a:lnTo>
                  <a:lnTo>
                    <a:pt x="1475" y="1033"/>
                  </a:lnTo>
                  <a:lnTo>
                    <a:pt x="1475" y="1033"/>
                  </a:lnTo>
                  <a:lnTo>
                    <a:pt x="1475" y="1032"/>
                  </a:lnTo>
                  <a:lnTo>
                    <a:pt x="1475" y="1032"/>
                  </a:lnTo>
                  <a:lnTo>
                    <a:pt x="1475" y="1032"/>
                  </a:lnTo>
                  <a:lnTo>
                    <a:pt x="1476" y="1032"/>
                  </a:lnTo>
                  <a:lnTo>
                    <a:pt x="1476" y="1032"/>
                  </a:lnTo>
                  <a:lnTo>
                    <a:pt x="1476" y="1032"/>
                  </a:lnTo>
                  <a:lnTo>
                    <a:pt x="1476" y="1031"/>
                  </a:lnTo>
                  <a:lnTo>
                    <a:pt x="1478" y="1031"/>
                  </a:lnTo>
                  <a:lnTo>
                    <a:pt x="1478" y="1029"/>
                  </a:lnTo>
                  <a:lnTo>
                    <a:pt x="1478" y="1029"/>
                  </a:lnTo>
                  <a:lnTo>
                    <a:pt x="1478" y="1029"/>
                  </a:lnTo>
                  <a:lnTo>
                    <a:pt x="1478" y="1029"/>
                  </a:lnTo>
                  <a:lnTo>
                    <a:pt x="1478" y="1029"/>
                  </a:lnTo>
                  <a:lnTo>
                    <a:pt x="1478" y="1029"/>
                  </a:lnTo>
                  <a:lnTo>
                    <a:pt x="1478" y="1029"/>
                  </a:lnTo>
                  <a:lnTo>
                    <a:pt x="1478" y="1029"/>
                  </a:lnTo>
                  <a:lnTo>
                    <a:pt x="1478" y="1028"/>
                  </a:lnTo>
                  <a:lnTo>
                    <a:pt x="1479" y="1028"/>
                  </a:lnTo>
                  <a:lnTo>
                    <a:pt x="1479" y="1027"/>
                  </a:lnTo>
                  <a:lnTo>
                    <a:pt x="1482" y="1027"/>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3" y="1026"/>
                  </a:lnTo>
                  <a:lnTo>
                    <a:pt x="1483" y="1026"/>
                  </a:lnTo>
                  <a:lnTo>
                    <a:pt x="1483" y="1026"/>
                  </a:lnTo>
                  <a:lnTo>
                    <a:pt x="1483" y="1026"/>
                  </a:lnTo>
                  <a:lnTo>
                    <a:pt x="1483" y="1026"/>
                  </a:lnTo>
                  <a:lnTo>
                    <a:pt x="1483" y="1025"/>
                  </a:lnTo>
                  <a:lnTo>
                    <a:pt x="1483" y="1025"/>
                  </a:lnTo>
                  <a:lnTo>
                    <a:pt x="1483" y="1024"/>
                  </a:lnTo>
                  <a:lnTo>
                    <a:pt x="1483" y="1024"/>
                  </a:lnTo>
                  <a:lnTo>
                    <a:pt x="1483" y="1024"/>
                  </a:lnTo>
                  <a:lnTo>
                    <a:pt x="1484" y="1024"/>
                  </a:lnTo>
                  <a:lnTo>
                    <a:pt x="1484" y="1021"/>
                  </a:lnTo>
                  <a:lnTo>
                    <a:pt x="1484" y="1021"/>
                  </a:lnTo>
                  <a:lnTo>
                    <a:pt x="1484" y="1020"/>
                  </a:lnTo>
                  <a:lnTo>
                    <a:pt x="1484" y="1020"/>
                  </a:lnTo>
                  <a:lnTo>
                    <a:pt x="1484" y="1020"/>
                  </a:lnTo>
                  <a:lnTo>
                    <a:pt x="1484" y="1020"/>
                  </a:lnTo>
                  <a:lnTo>
                    <a:pt x="1484" y="1020"/>
                  </a:lnTo>
                  <a:lnTo>
                    <a:pt x="1484" y="1020"/>
                  </a:lnTo>
                  <a:lnTo>
                    <a:pt x="1484" y="1019"/>
                  </a:lnTo>
                  <a:lnTo>
                    <a:pt x="1484" y="1019"/>
                  </a:lnTo>
                  <a:lnTo>
                    <a:pt x="1484" y="1017"/>
                  </a:lnTo>
                  <a:lnTo>
                    <a:pt x="1484" y="1017"/>
                  </a:lnTo>
                  <a:lnTo>
                    <a:pt x="1484" y="1017"/>
                  </a:lnTo>
                  <a:lnTo>
                    <a:pt x="1484" y="1017"/>
                  </a:lnTo>
                  <a:lnTo>
                    <a:pt x="1484" y="1017"/>
                  </a:lnTo>
                  <a:lnTo>
                    <a:pt x="1485" y="1017"/>
                  </a:lnTo>
                  <a:lnTo>
                    <a:pt x="1485" y="1016"/>
                  </a:lnTo>
                  <a:lnTo>
                    <a:pt x="1485" y="1016"/>
                  </a:lnTo>
                  <a:lnTo>
                    <a:pt x="1485" y="1016"/>
                  </a:lnTo>
                  <a:lnTo>
                    <a:pt x="1485" y="1016"/>
                  </a:lnTo>
                  <a:lnTo>
                    <a:pt x="1485" y="1014"/>
                  </a:lnTo>
                  <a:lnTo>
                    <a:pt x="1486" y="1014"/>
                  </a:lnTo>
                  <a:lnTo>
                    <a:pt x="1486" y="1014"/>
                  </a:lnTo>
                  <a:lnTo>
                    <a:pt x="1487" y="1014"/>
                  </a:lnTo>
                  <a:lnTo>
                    <a:pt x="1487" y="1014"/>
                  </a:lnTo>
                  <a:lnTo>
                    <a:pt x="1489" y="1014"/>
                  </a:lnTo>
                  <a:lnTo>
                    <a:pt x="1489" y="1014"/>
                  </a:lnTo>
                  <a:lnTo>
                    <a:pt x="1495" y="1014"/>
                  </a:lnTo>
                  <a:lnTo>
                    <a:pt x="1495" y="1012"/>
                  </a:lnTo>
                  <a:lnTo>
                    <a:pt x="1507" y="1012"/>
                  </a:lnTo>
                  <a:lnTo>
                    <a:pt x="1507" y="1012"/>
                  </a:lnTo>
                  <a:lnTo>
                    <a:pt x="1535" y="1012"/>
                  </a:lnTo>
                  <a:lnTo>
                    <a:pt x="1535" y="1011"/>
                  </a:lnTo>
                  <a:lnTo>
                    <a:pt x="1535" y="1011"/>
                  </a:lnTo>
                  <a:lnTo>
                    <a:pt x="1535" y="1011"/>
                  </a:lnTo>
                  <a:lnTo>
                    <a:pt x="1535" y="1011"/>
                  </a:lnTo>
                  <a:lnTo>
                    <a:pt x="1535" y="1011"/>
                  </a:lnTo>
                  <a:lnTo>
                    <a:pt x="1536" y="1011"/>
                  </a:lnTo>
                  <a:lnTo>
                    <a:pt x="1536" y="1011"/>
                  </a:lnTo>
                  <a:lnTo>
                    <a:pt x="1536" y="1011"/>
                  </a:lnTo>
                  <a:lnTo>
                    <a:pt x="1536" y="1011"/>
                  </a:lnTo>
                  <a:lnTo>
                    <a:pt x="1537" y="1011"/>
                  </a:lnTo>
                  <a:lnTo>
                    <a:pt x="1537" y="1011"/>
                  </a:lnTo>
                  <a:lnTo>
                    <a:pt x="1538" y="1011"/>
                  </a:lnTo>
                  <a:lnTo>
                    <a:pt x="1538" y="1011"/>
                  </a:lnTo>
                  <a:lnTo>
                    <a:pt x="1539" y="1011"/>
                  </a:lnTo>
                  <a:lnTo>
                    <a:pt x="1539" y="1011"/>
                  </a:lnTo>
                  <a:lnTo>
                    <a:pt x="1541" y="1011"/>
                  </a:lnTo>
                  <a:lnTo>
                    <a:pt x="1541" y="1011"/>
                  </a:lnTo>
                  <a:lnTo>
                    <a:pt x="1544" y="1011"/>
                  </a:lnTo>
                  <a:lnTo>
                    <a:pt x="1544" y="1011"/>
                  </a:lnTo>
                  <a:lnTo>
                    <a:pt x="1549" y="1011"/>
                  </a:lnTo>
                  <a:lnTo>
                    <a:pt x="1549" y="1011"/>
                  </a:lnTo>
                  <a:lnTo>
                    <a:pt x="1558" y="1011"/>
                  </a:lnTo>
                  <a:lnTo>
                    <a:pt x="1558" y="1011"/>
                  </a:lnTo>
                  <a:lnTo>
                    <a:pt x="1576" y="1011"/>
                  </a:lnTo>
                  <a:lnTo>
                    <a:pt x="1576" y="1011"/>
                  </a:lnTo>
                  <a:lnTo>
                    <a:pt x="1626" y="1011"/>
                  </a:lnTo>
                  <a:lnTo>
                    <a:pt x="1626" y="1010"/>
                  </a:lnTo>
                  <a:lnTo>
                    <a:pt x="1628" y="1010"/>
                  </a:lnTo>
                  <a:lnTo>
                    <a:pt x="1628" y="1010"/>
                  </a:lnTo>
                  <a:lnTo>
                    <a:pt x="1631" y="1010"/>
                  </a:lnTo>
                  <a:lnTo>
                    <a:pt x="1631" y="1010"/>
                  </a:lnTo>
                  <a:lnTo>
                    <a:pt x="1637" y="1010"/>
                  </a:lnTo>
                  <a:lnTo>
                    <a:pt x="1637" y="1010"/>
                  </a:lnTo>
                  <a:lnTo>
                    <a:pt x="1679" y="1010"/>
                  </a:lnTo>
                  <a:lnTo>
                    <a:pt x="1679" y="1010"/>
                  </a:lnTo>
                  <a:lnTo>
                    <a:pt x="1679" y="1010"/>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81" y="1007"/>
                  </a:lnTo>
                  <a:lnTo>
                    <a:pt x="1681" y="1007"/>
                  </a:lnTo>
                  <a:lnTo>
                    <a:pt x="1683" y="1007"/>
                  </a:lnTo>
                  <a:lnTo>
                    <a:pt x="1683" y="1007"/>
                  </a:lnTo>
                  <a:lnTo>
                    <a:pt x="1687" y="1007"/>
                  </a:lnTo>
                  <a:lnTo>
                    <a:pt x="1687" y="1007"/>
                  </a:lnTo>
                  <a:lnTo>
                    <a:pt x="1695" y="1007"/>
                  </a:lnTo>
                  <a:lnTo>
                    <a:pt x="1695" y="1006"/>
                  </a:lnTo>
                  <a:lnTo>
                    <a:pt x="1695" y="1006"/>
                  </a:lnTo>
                  <a:lnTo>
                    <a:pt x="1695" y="1006"/>
                  </a:lnTo>
                  <a:lnTo>
                    <a:pt x="1698" y="1006"/>
                  </a:lnTo>
                  <a:lnTo>
                    <a:pt x="1698" y="1005"/>
                  </a:lnTo>
                  <a:lnTo>
                    <a:pt x="1698" y="1005"/>
                  </a:lnTo>
                  <a:lnTo>
                    <a:pt x="1698" y="1005"/>
                  </a:lnTo>
                  <a:lnTo>
                    <a:pt x="1699" y="1005"/>
                  </a:lnTo>
                  <a:lnTo>
                    <a:pt x="1699" y="1004"/>
                  </a:lnTo>
                  <a:lnTo>
                    <a:pt x="1699" y="1004"/>
                  </a:lnTo>
                  <a:lnTo>
                    <a:pt x="1699" y="1004"/>
                  </a:lnTo>
                  <a:lnTo>
                    <a:pt x="1699" y="1004"/>
                  </a:lnTo>
                  <a:lnTo>
                    <a:pt x="1699" y="1003"/>
                  </a:lnTo>
                  <a:lnTo>
                    <a:pt x="1699" y="1003"/>
                  </a:lnTo>
                  <a:lnTo>
                    <a:pt x="1699" y="999"/>
                  </a:lnTo>
                  <a:lnTo>
                    <a:pt x="1699" y="999"/>
                  </a:lnTo>
                  <a:lnTo>
                    <a:pt x="1699" y="999"/>
                  </a:lnTo>
                  <a:lnTo>
                    <a:pt x="1699" y="999"/>
                  </a:lnTo>
                  <a:lnTo>
                    <a:pt x="1699" y="999"/>
                  </a:lnTo>
                  <a:lnTo>
                    <a:pt x="1699" y="999"/>
                  </a:lnTo>
                  <a:lnTo>
                    <a:pt x="1699" y="998"/>
                  </a:lnTo>
                  <a:lnTo>
                    <a:pt x="1699" y="998"/>
                  </a:lnTo>
                  <a:lnTo>
                    <a:pt x="1699" y="997"/>
                  </a:lnTo>
                  <a:lnTo>
                    <a:pt x="1700" y="997"/>
                  </a:lnTo>
                  <a:lnTo>
                    <a:pt x="1700" y="996"/>
                  </a:lnTo>
                  <a:lnTo>
                    <a:pt x="1700" y="996"/>
                  </a:lnTo>
                  <a:lnTo>
                    <a:pt x="1700" y="996"/>
                  </a:lnTo>
                  <a:lnTo>
                    <a:pt x="1700" y="996"/>
                  </a:lnTo>
                  <a:lnTo>
                    <a:pt x="1700" y="996"/>
                  </a:lnTo>
                  <a:lnTo>
                    <a:pt x="1700" y="996"/>
                  </a:lnTo>
                  <a:lnTo>
                    <a:pt x="1700" y="996"/>
                  </a:lnTo>
                  <a:lnTo>
                    <a:pt x="1702" y="996"/>
                  </a:lnTo>
                  <a:lnTo>
                    <a:pt x="1702" y="993"/>
                  </a:lnTo>
                  <a:lnTo>
                    <a:pt x="1702" y="993"/>
                  </a:lnTo>
                  <a:lnTo>
                    <a:pt x="1702" y="993"/>
                  </a:lnTo>
                  <a:lnTo>
                    <a:pt x="1702" y="993"/>
                  </a:lnTo>
                  <a:lnTo>
                    <a:pt x="1702" y="993"/>
                  </a:lnTo>
                  <a:lnTo>
                    <a:pt x="1702" y="993"/>
                  </a:lnTo>
                  <a:lnTo>
                    <a:pt x="1702" y="993"/>
                  </a:lnTo>
                  <a:lnTo>
                    <a:pt x="1702" y="993"/>
                  </a:lnTo>
                  <a:lnTo>
                    <a:pt x="1702" y="993"/>
                  </a:lnTo>
                  <a:lnTo>
                    <a:pt x="1703" y="993"/>
                  </a:lnTo>
                  <a:lnTo>
                    <a:pt x="1703" y="993"/>
                  </a:lnTo>
                  <a:lnTo>
                    <a:pt x="1703" y="993"/>
                  </a:lnTo>
                  <a:lnTo>
                    <a:pt x="1703" y="993"/>
                  </a:lnTo>
                  <a:lnTo>
                    <a:pt x="1706" y="993"/>
                  </a:lnTo>
                  <a:lnTo>
                    <a:pt x="1706" y="992"/>
                  </a:lnTo>
                  <a:lnTo>
                    <a:pt x="1706" y="992"/>
                  </a:lnTo>
                  <a:lnTo>
                    <a:pt x="1706" y="992"/>
                  </a:lnTo>
                  <a:lnTo>
                    <a:pt x="1737" y="992"/>
                  </a:lnTo>
                  <a:lnTo>
                    <a:pt x="1737" y="992"/>
                  </a:lnTo>
                  <a:lnTo>
                    <a:pt x="1799" y="992"/>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800" y="987"/>
                  </a:lnTo>
                  <a:lnTo>
                    <a:pt x="1800" y="987"/>
                  </a:lnTo>
                  <a:lnTo>
                    <a:pt x="1800" y="987"/>
                  </a:lnTo>
                  <a:lnTo>
                    <a:pt x="1800" y="987"/>
                  </a:lnTo>
                  <a:lnTo>
                    <a:pt x="1800" y="987"/>
                  </a:lnTo>
                  <a:lnTo>
                    <a:pt x="1800" y="987"/>
                  </a:lnTo>
                  <a:lnTo>
                    <a:pt x="1800" y="987"/>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1" y="976"/>
                  </a:lnTo>
                  <a:lnTo>
                    <a:pt x="1801" y="976"/>
                  </a:lnTo>
                  <a:lnTo>
                    <a:pt x="1801" y="976"/>
                  </a:lnTo>
                  <a:lnTo>
                    <a:pt x="1801" y="976"/>
                  </a:lnTo>
                  <a:lnTo>
                    <a:pt x="1801" y="976"/>
                  </a:lnTo>
                  <a:lnTo>
                    <a:pt x="1801" y="976"/>
                  </a:lnTo>
                  <a:lnTo>
                    <a:pt x="1801" y="976"/>
                  </a:lnTo>
                  <a:lnTo>
                    <a:pt x="1801" y="976"/>
                  </a:lnTo>
                  <a:lnTo>
                    <a:pt x="1801" y="976"/>
                  </a:lnTo>
                  <a:lnTo>
                    <a:pt x="1801" y="975"/>
                  </a:lnTo>
                  <a:lnTo>
                    <a:pt x="1801" y="975"/>
                  </a:lnTo>
                  <a:lnTo>
                    <a:pt x="1801" y="975"/>
                  </a:lnTo>
                  <a:lnTo>
                    <a:pt x="1802" y="975"/>
                  </a:lnTo>
                  <a:lnTo>
                    <a:pt x="1802" y="975"/>
                  </a:lnTo>
                  <a:lnTo>
                    <a:pt x="1802" y="975"/>
                  </a:lnTo>
                  <a:lnTo>
                    <a:pt x="1802" y="975"/>
                  </a:lnTo>
                  <a:lnTo>
                    <a:pt x="1803" y="975"/>
                  </a:lnTo>
                  <a:lnTo>
                    <a:pt x="1803" y="975"/>
                  </a:lnTo>
                  <a:lnTo>
                    <a:pt x="1804" y="975"/>
                  </a:lnTo>
                  <a:lnTo>
                    <a:pt x="1804" y="975"/>
                  </a:lnTo>
                  <a:lnTo>
                    <a:pt x="1808" y="975"/>
                  </a:lnTo>
                  <a:lnTo>
                    <a:pt x="1808" y="975"/>
                  </a:lnTo>
                  <a:lnTo>
                    <a:pt x="1814" y="975"/>
                  </a:lnTo>
                  <a:lnTo>
                    <a:pt x="1814" y="974"/>
                  </a:lnTo>
                  <a:lnTo>
                    <a:pt x="1814" y="974"/>
                  </a:lnTo>
                  <a:lnTo>
                    <a:pt x="1814" y="970"/>
                  </a:lnTo>
                  <a:lnTo>
                    <a:pt x="1814" y="970"/>
                  </a:lnTo>
                  <a:lnTo>
                    <a:pt x="1814" y="970"/>
                  </a:lnTo>
                  <a:lnTo>
                    <a:pt x="1814" y="970"/>
                  </a:lnTo>
                  <a:lnTo>
                    <a:pt x="1814" y="970"/>
                  </a:lnTo>
                  <a:lnTo>
                    <a:pt x="1815" y="970"/>
                  </a:lnTo>
                  <a:lnTo>
                    <a:pt x="1815" y="968"/>
                  </a:lnTo>
                  <a:lnTo>
                    <a:pt x="1817" y="968"/>
                  </a:lnTo>
                  <a:lnTo>
                    <a:pt x="1817" y="966"/>
                  </a:lnTo>
                  <a:lnTo>
                    <a:pt x="1817" y="966"/>
                  </a:lnTo>
                  <a:lnTo>
                    <a:pt x="1817" y="966"/>
                  </a:lnTo>
                  <a:lnTo>
                    <a:pt x="1820" y="966"/>
                  </a:lnTo>
                  <a:lnTo>
                    <a:pt x="1820" y="966"/>
                  </a:lnTo>
                  <a:lnTo>
                    <a:pt x="1844" y="966"/>
                  </a:lnTo>
                  <a:lnTo>
                    <a:pt x="1844" y="964"/>
                  </a:lnTo>
                  <a:lnTo>
                    <a:pt x="1845" y="964"/>
                  </a:lnTo>
                  <a:lnTo>
                    <a:pt x="1845" y="963"/>
                  </a:lnTo>
                  <a:lnTo>
                    <a:pt x="1845" y="963"/>
                  </a:lnTo>
                  <a:lnTo>
                    <a:pt x="1845" y="963"/>
                  </a:lnTo>
                  <a:lnTo>
                    <a:pt x="1846" y="963"/>
                  </a:lnTo>
                  <a:lnTo>
                    <a:pt x="1846" y="963"/>
                  </a:lnTo>
                  <a:lnTo>
                    <a:pt x="1847" y="963"/>
                  </a:lnTo>
                  <a:lnTo>
                    <a:pt x="1847" y="963"/>
                  </a:lnTo>
                  <a:lnTo>
                    <a:pt x="1852" y="963"/>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58"/>
                  </a:lnTo>
                  <a:lnTo>
                    <a:pt x="1852" y="958"/>
                  </a:lnTo>
                  <a:lnTo>
                    <a:pt x="1852" y="958"/>
                  </a:lnTo>
                  <a:lnTo>
                    <a:pt x="1852" y="958"/>
                  </a:lnTo>
                  <a:lnTo>
                    <a:pt x="1852" y="958"/>
                  </a:lnTo>
                  <a:lnTo>
                    <a:pt x="1852" y="958"/>
                  </a:lnTo>
                  <a:lnTo>
                    <a:pt x="1852" y="958"/>
                  </a:lnTo>
                  <a:lnTo>
                    <a:pt x="1852" y="958"/>
                  </a:lnTo>
                  <a:lnTo>
                    <a:pt x="1852" y="956"/>
                  </a:lnTo>
                  <a:lnTo>
                    <a:pt x="1852" y="956"/>
                  </a:lnTo>
                  <a:lnTo>
                    <a:pt x="1852" y="954"/>
                  </a:lnTo>
                  <a:lnTo>
                    <a:pt x="1852" y="954"/>
                  </a:lnTo>
                  <a:lnTo>
                    <a:pt x="1852" y="954"/>
                  </a:lnTo>
                  <a:lnTo>
                    <a:pt x="1852" y="954"/>
                  </a:lnTo>
                  <a:lnTo>
                    <a:pt x="1852" y="954"/>
                  </a:lnTo>
                  <a:lnTo>
                    <a:pt x="1853" y="954"/>
                  </a:lnTo>
                  <a:lnTo>
                    <a:pt x="1853" y="954"/>
                  </a:lnTo>
                  <a:lnTo>
                    <a:pt x="1853" y="954"/>
                  </a:lnTo>
                  <a:lnTo>
                    <a:pt x="1853" y="952"/>
                  </a:lnTo>
                  <a:lnTo>
                    <a:pt x="1854" y="952"/>
                  </a:lnTo>
                  <a:lnTo>
                    <a:pt x="1854" y="952"/>
                  </a:lnTo>
                  <a:lnTo>
                    <a:pt x="1855" y="952"/>
                  </a:lnTo>
                  <a:lnTo>
                    <a:pt x="1855" y="952"/>
                  </a:lnTo>
                  <a:lnTo>
                    <a:pt x="1860" y="952"/>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1" y="948"/>
                  </a:lnTo>
                  <a:lnTo>
                    <a:pt x="1861" y="948"/>
                  </a:lnTo>
                  <a:lnTo>
                    <a:pt x="1863" y="948"/>
                  </a:lnTo>
                  <a:lnTo>
                    <a:pt x="1863" y="948"/>
                  </a:lnTo>
                  <a:lnTo>
                    <a:pt x="1868" y="948"/>
                  </a:lnTo>
                  <a:lnTo>
                    <a:pt x="1868" y="948"/>
                  </a:lnTo>
                  <a:lnTo>
                    <a:pt x="1870" y="948"/>
                  </a:lnTo>
                  <a:lnTo>
                    <a:pt x="1870" y="946"/>
                  </a:lnTo>
                  <a:lnTo>
                    <a:pt x="1870" y="946"/>
                  </a:lnTo>
                  <a:lnTo>
                    <a:pt x="1870" y="946"/>
                  </a:lnTo>
                  <a:lnTo>
                    <a:pt x="1870" y="946"/>
                  </a:lnTo>
                  <a:lnTo>
                    <a:pt x="1870" y="945"/>
                  </a:lnTo>
                  <a:lnTo>
                    <a:pt x="1870" y="945"/>
                  </a:lnTo>
                  <a:lnTo>
                    <a:pt x="1870" y="945"/>
                  </a:lnTo>
                  <a:lnTo>
                    <a:pt x="1870" y="945"/>
                  </a:lnTo>
                  <a:lnTo>
                    <a:pt x="1870" y="942"/>
                  </a:lnTo>
                  <a:lnTo>
                    <a:pt x="1870" y="942"/>
                  </a:lnTo>
                  <a:lnTo>
                    <a:pt x="1870" y="942"/>
                  </a:lnTo>
                  <a:lnTo>
                    <a:pt x="1870" y="942"/>
                  </a:lnTo>
                  <a:lnTo>
                    <a:pt x="1870" y="942"/>
                  </a:lnTo>
                  <a:lnTo>
                    <a:pt x="1870" y="942"/>
                  </a:lnTo>
                  <a:lnTo>
                    <a:pt x="1870" y="942"/>
                  </a:lnTo>
                  <a:lnTo>
                    <a:pt x="1871" y="942"/>
                  </a:lnTo>
                  <a:lnTo>
                    <a:pt x="1871" y="942"/>
                  </a:lnTo>
                  <a:lnTo>
                    <a:pt x="1871" y="942"/>
                  </a:lnTo>
                  <a:lnTo>
                    <a:pt x="1871" y="942"/>
                  </a:lnTo>
                  <a:lnTo>
                    <a:pt x="1872" y="942"/>
                  </a:lnTo>
                  <a:lnTo>
                    <a:pt x="1872" y="942"/>
                  </a:lnTo>
                  <a:lnTo>
                    <a:pt x="1873" y="942"/>
                  </a:lnTo>
                  <a:lnTo>
                    <a:pt x="1873" y="942"/>
                  </a:lnTo>
                  <a:lnTo>
                    <a:pt x="1874" y="942"/>
                  </a:lnTo>
                  <a:lnTo>
                    <a:pt x="1874" y="942"/>
                  </a:lnTo>
                  <a:lnTo>
                    <a:pt x="1876" y="942"/>
                  </a:lnTo>
                  <a:lnTo>
                    <a:pt x="1876"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1"/>
                  </a:lnTo>
                  <a:lnTo>
                    <a:pt x="1890" y="941"/>
                  </a:lnTo>
                  <a:lnTo>
                    <a:pt x="1890" y="941"/>
                  </a:lnTo>
                  <a:lnTo>
                    <a:pt x="1891" y="941"/>
                  </a:lnTo>
                  <a:lnTo>
                    <a:pt x="1891" y="939"/>
                  </a:lnTo>
                  <a:lnTo>
                    <a:pt x="1891" y="939"/>
                  </a:lnTo>
                  <a:lnTo>
                    <a:pt x="1891" y="939"/>
                  </a:lnTo>
                  <a:lnTo>
                    <a:pt x="1894" y="939"/>
                  </a:lnTo>
                  <a:lnTo>
                    <a:pt x="1894" y="939"/>
                  </a:lnTo>
                  <a:lnTo>
                    <a:pt x="1895" y="939"/>
                  </a:lnTo>
                  <a:lnTo>
                    <a:pt x="1895" y="939"/>
                  </a:lnTo>
                  <a:lnTo>
                    <a:pt x="1901" y="939"/>
                  </a:lnTo>
                  <a:lnTo>
                    <a:pt x="1901" y="938"/>
                  </a:lnTo>
                  <a:lnTo>
                    <a:pt x="1901" y="938"/>
                  </a:lnTo>
                  <a:lnTo>
                    <a:pt x="1901" y="938"/>
                  </a:lnTo>
                  <a:lnTo>
                    <a:pt x="1901" y="938"/>
                  </a:lnTo>
                  <a:lnTo>
                    <a:pt x="1901" y="938"/>
                  </a:lnTo>
                  <a:lnTo>
                    <a:pt x="1901" y="938"/>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2" y="937"/>
                  </a:lnTo>
                  <a:lnTo>
                    <a:pt x="1902" y="936"/>
                  </a:lnTo>
                  <a:lnTo>
                    <a:pt x="1903" y="936"/>
                  </a:lnTo>
                  <a:lnTo>
                    <a:pt x="1903" y="934"/>
                  </a:lnTo>
                  <a:lnTo>
                    <a:pt x="1903" y="934"/>
                  </a:lnTo>
                  <a:lnTo>
                    <a:pt x="1903" y="934"/>
                  </a:lnTo>
                  <a:lnTo>
                    <a:pt x="1903" y="934"/>
                  </a:lnTo>
                  <a:lnTo>
                    <a:pt x="1903" y="934"/>
                  </a:lnTo>
                  <a:lnTo>
                    <a:pt x="1903" y="934"/>
                  </a:lnTo>
                  <a:lnTo>
                    <a:pt x="1903" y="934"/>
                  </a:lnTo>
                  <a:lnTo>
                    <a:pt x="1904" y="934"/>
                  </a:lnTo>
                  <a:lnTo>
                    <a:pt x="1904" y="934"/>
                  </a:lnTo>
                  <a:lnTo>
                    <a:pt x="1904" y="934"/>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5" y="932"/>
                  </a:lnTo>
                  <a:lnTo>
                    <a:pt x="1905" y="932"/>
                  </a:lnTo>
                  <a:lnTo>
                    <a:pt x="1906" y="932"/>
                  </a:lnTo>
                  <a:lnTo>
                    <a:pt x="1906" y="932"/>
                  </a:lnTo>
                  <a:lnTo>
                    <a:pt x="1907" y="932"/>
                  </a:lnTo>
                  <a:lnTo>
                    <a:pt x="1907" y="932"/>
                  </a:lnTo>
                  <a:lnTo>
                    <a:pt x="1907" y="932"/>
                  </a:lnTo>
                  <a:lnTo>
                    <a:pt x="1907" y="932"/>
                  </a:lnTo>
                  <a:lnTo>
                    <a:pt x="1909" y="932"/>
                  </a:lnTo>
                  <a:lnTo>
                    <a:pt x="1909" y="932"/>
                  </a:lnTo>
                  <a:lnTo>
                    <a:pt x="1910" y="932"/>
                  </a:lnTo>
                  <a:lnTo>
                    <a:pt x="1910" y="932"/>
                  </a:lnTo>
                  <a:lnTo>
                    <a:pt x="1912" y="932"/>
                  </a:lnTo>
                  <a:lnTo>
                    <a:pt x="1912" y="932"/>
                  </a:lnTo>
                  <a:lnTo>
                    <a:pt x="1926" y="932"/>
                  </a:lnTo>
                  <a:lnTo>
                    <a:pt x="1926" y="929"/>
                  </a:lnTo>
                  <a:lnTo>
                    <a:pt x="1927" y="929"/>
                  </a:lnTo>
                  <a:lnTo>
                    <a:pt x="1927" y="929"/>
                  </a:lnTo>
                  <a:lnTo>
                    <a:pt x="1929" y="929"/>
                  </a:lnTo>
                  <a:lnTo>
                    <a:pt x="1929" y="929"/>
                  </a:lnTo>
                  <a:lnTo>
                    <a:pt x="1936" y="929"/>
                  </a:lnTo>
                  <a:lnTo>
                    <a:pt x="1936" y="929"/>
                  </a:lnTo>
                  <a:lnTo>
                    <a:pt x="1943" y="929"/>
                  </a:lnTo>
                  <a:lnTo>
                    <a:pt x="1943" y="925"/>
                  </a:lnTo>
                  <a:lnTo>
                    <a:pt x="1943" y="925"/>
                  </a:lnTo>
                  <a:lnTo>
                    <a:pt x="1943" y="925"/>
                  </a:lnTo>
                  <a:lnTo>
                    <a:pt x="1944" y="925"/>
                  </a:lnTo>
                  <a:lnTo>
                    <a:pt x="1944" y="924"/>
                  </a:lnTo>
                  <a:lnTo>
                    <a:pt x="1944" y="924"/>
                  </a:lnTo>
                  <a:lnTo>
                    <a:pt x="1944" y="924"/>
                  </a:lnTo>
                  <a:lnTo>
                    <a:pt x="1944" y="924"/>
                  </a:lnTo>
                  <a:lnTo>
                    <a:pt x="1944" y="921"/>
                  </a:lnTo>
                  <a:lnTo>
                    <a:pt x="1944" y="921"/>
                  </a:lnTo>
                  <a:lnTo>
                    <a:pt x="1944" y="921"/>
                  </a:lnTo>
                  <a:lnTo>
                    <a:pt x="1944" y="921"/>
                  </a:lnTo>
                  <a:lnTo>
                    <a:pt x="1944" y="921"/>
                  </a:lnTo>
                  <a:lnTo>
                    <a:pt x="1944" y="921"/>
                  </a:lnTo>
                  <a:lnTo>
                    <a:pt x="1944" y="921"/>
                  </a:lnTo>
                  <a:lnTo>
                    <a:pt x="1944" y="921"/>
                  </a:lnTo>
                  <a:lnTo>
                    <a:pt x="1944" y="920"/>
                  </a:lnTo>
                  <a:lnTo>
                    <a:pt x="1944" y="920"/>
                  </a:lnTo>
                  <a:lnTo>
                    <a:pt x="1944" y="920"/>
                  </a:lnTo>
                  <a:lnTo>
                    <a:pt x="1945" y="920"/>
                  </a:lnTo>
                  <a:lnTo>
                    <a:pt x="1945" y="920"/>
                  </a:lnTo>
                  <a:lnTo>
                    <a:pt x="1945" y="920"/>
                  </a:lnTo>
                  <a:lnTo>
                    <a:pt x="1945" y="920"/>
                  </a:lnTo>
                  <a:lnTo>
                    <a:pt x="1945" y="920"/>
                  </a:lnTo>
                  <a:lnTo>
                    <a:pt x="1945" y="920"/>
                  </a:lnTo>
                  <a:lnTo>
                    <a:pt x="1945" y="920"/>
                  </a:lnTo>
                  <a:lnTo>
                    <a:pt x="1945" y="920"/>
                  </a:lnTo>
                  <a:lnTo>
                    <a:pt x="1945" y="920"/>
                  </a:lnTo>
                  <a:lnTo>
                    <a:pt x="1945" y="919"/>
                  </a:lnTo>
                  <a:lnTo>
                    <a:pt x="1945" y="919"/>
                  </a:lnTo>
                  <a:lnTo>
                    <a:pt x="1945" y="919"/>
                  </a:lnTo>
                  <a:lnTo>
                    <a:pt x="1945" y="919"/>
                  </a:lnTo>
                  <a:lnTo>
                    <a:pt x="1945" y="919"/>
                  </a:lnTo>
                  <a:lnTo>
                    <a:pt x="1945" y="919"/>
                  </a:lnTo>
                  <a:lnTo>
                    <a:pt x="1945" y="916"/>
                  </a:lnTo>
                  <a:lnTo>
                    <a:pt x="1945" y="916"/>
                  </a:lnTo>
                  <a:lnTo>
                    <a:pt x="1945" y="916"/>
                  </a:lnTo>
                  <a:lnTo>
                    <a:pt x="1945" y="916"/>
                  </a:lnTo>
                  <a:lnTo>
                    <a:pt x="1945" y="916"/>
                  </a:lnTo>
                  <a:lnTo>
                    <a:pt x="1945" y="916"/>
                  </a:lnTo>
                  <a:lnTo>
                    <a:pt x="1945" y="916"/>
                  </a:lnTo>
                  <a:lnTo>
                    <a:pt x="1948" y="916"/>
                  </a:lnTo>
                  <a:lnTo>
                    <a:pt x="1948" y="916"/>
                  </a:lnTo>
                  <a:lnTo>
                    <a:pt x="1948" y="916"/>
                  </a:lnTo>
                  <a:lnTo>
                    <a:pt x="1948" y="916"/>
                  </a:lnTo>
                  <a:lnTo>
                    <a:pt x="1948" y="916"/>
                  </a:lnTo>
                  <a:lnTo>
                    <a:pt x="1948" y="916"/>
                  </a:lnTo>
                  <a:lnTo>
                    <a:pt x="1948" y="916"/>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51" y="915"/>
                  </a:lnTo>
                  <a:lnTo>
                    <a:pt x="1951" y="915"/>
                  </a:lnTo>
                  <a:lnTo>
                    <a:pt x="1951" y="915"/>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5" y="910"/>
                  </a:lnTo>
                  <a:lnTo>
                    <a:pt x="1955" y="910"/>
                  </a:lnTo>
                  <a:lnTo>
                    <a:pt x="1958" y="910"/>
                  </a:lnTo>
                  <a:lnTo>
                    <a:pt x="1958" y="910"/>
                  </a:lnTo>
                  <a:lnTo>
                    <a:pt x="1963" y="910"/>
                  </a:lnTo>
                  <a:lnTo>
                    <a:pt x="1963" y="910"/>
                  </a:lnTo>
                  <a:lnTo>
                    <a:pt x="1968" y="910"/>
                  </a:lnTo>
                  <a:lnTo>
                    <a:pt x="1968" y="910"/>
                  </a:lnTo>
                  <a:lnTo>
                    <a:pt x="2021" y="910"/>
                  </a:lnTo>
                  <a:lnTo>
                    <a:pt x="2021" y="910"/>
                  </a:lnTo>
                  <a:lnTo>
                    <a:pt x="2032" y="910"/>
                  </a:lnTo>
                  <a:lnTo>
                    <a:pt x="2032" y="910"/>
                  </a:lnTo>
                  <a:lnTo>
                    <a:pt x="2055" y="910"/>
                  </a:lnTo>
                  <a:lnTo>
                    <a:pt x="2055" y="908"/>
                  </a:lnTo>
                  <a:lnTo>
                    <a:pt x="2055" y="908"/>
                  </a:lnTo>
                  <a:lnTo>
                    <a:pt x="2055" y="908"/>
                  </a:lnTo>
                  <a:lnTo>
                    <a:pt x="2055" y="908"/>
                  </a:lnTo>
                  <a:lnTo>
                    <a:pt x="2055" y="908"/>
                  </a:lnTo>
                  <a:lnTo>
                    <a:pt x="2055" y="908"/>
                  </a:lnTo>
                  <a:lnTo>
                    <a:pt x="2055" y="908"/>
                  </a:lnTo>
                  <a:lnTo>
                    <a:pt x="2055" y="908"/>
                  </a:lnTo>
                  <a:lnTo>
                    <a:pt x="2055" y="907"/>
                  </a:lnTo>
                  <a:lnTo>
                    <a:pt x="2055" y="907"/>
                  </a:lnTo>
                  <a:lnTo>
                    <a:pt x="2055"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8" y="899"/>
                  </a:lnTo>
                  <a:lnTo>
                    <a:pt x="2058" y="898"/>
                  </a:lnTo>
                  <a:lnTo>
                    <a:pt x="2058" y="898"/>
                  </a:lnTo>
                  <a:lnTo>
                    <a:pt x="2058" y="898"/>
                  </a:lnTo>
                  <a:lnTo>
                    <a:pt x="2058" y="898"/>
                  </a:lnTo>
                  <a:lnTo>
                    <a:pt x="2058" y="898"/>
                  </a:lnTo>
                  <a:lnTo>
                    <a:pt x="2058" y="898"/>
                  </a:lnTo>
                  <a:lnTo>
                    <a:pt x="2058" y="896"/>
                  </a:lnTo>
                  <a:lnTo>
                    <a:pt x="2059" y="896"/>
                  </a:lnTo>
                  <a:lnTo>
                    <a:pt x="2059" y="894"/>
                  </a:lnTo>
                  <a:lnTo>
                    <a:pt x="2059" y="894"/>
                  </a:lnTo>
                  <a:lnTo>
                    <a:pt x="2059" y="894"/>
                  </a:lnTo>
                  <a:lnTo>
                    <a:pt x="2059" y="894"/>
                  </a:lnTo>
                  <a:lnTo>
                    <a:pt x="2059" y="893"/>
                  </a:lnTo>
                  <a:lnTo>
                    <a:pt x="2059" y="893"/>
                  </a:lnTo>
                  <a:lnTo>
                    <a:pt x="2059" y="893"/>
                  </a:lnTo>
                  <a:lnTo>
                    <a:pt x="2059" y="893"/>
                  </a:lnTo>
                  <a:lnTo>
                    <a:pt x="2059" y="892"/>
                  </a:lnTo>
                  <a:lnTo>
                    <a:pt x="2059" y="892"/>
                  </a:lnTo>
                  <a:lnTo>
                    <a:pt x="2059" y="892"/>
                  </a:lnTo>
                  <a:lnTo>
                    <a:pt x="2059" y="892"/>
                  </a:lnTo>
                  <a:lnTo>
                    <a:pt x="2059" y="892"/>
                  </a:lnTo>
                  <a:lnTo>
                    <a:pt x="2060" y="892"/>
                  </a:lnTo>
                  <a:lnTo>
                    <a:pt x="2060" y="892"/>
                  </a:lnTo>
                  <a:lnTo>
                    <a:pt x="2060" y="892"/>
                  </a:lnTo>
                  <a:lnTo>
                    <a:pt x="2060" y="892"/>
                  </a:lnTo>
                  <a:lnTo>
                    <a:pt x="2061" y="892"/>
                  </a:lnTo>
                  <a:lnTo>
                    <a:pt x="2061" y="892"/>
                  </a:lnTo>
                  <a:lnTo>
                    <a:pt x="2064" y="892"/>
                  </a:lnTo>
                  <a:lnTo>
                    <a:pt x="2064" y="892"/>
                  </a:lnTo>
                  <a:lnTo>
                    <a:pt x="2077" y="892"/>
                  </a:lnTo>
                  <a:lnTo>
                    <a:pt x="2077" y="891"/>
                  </a:lnTo>
                  <a:lnTo>
                    <a:pt x="2077" y="891"/>
                  </a:lnTo>
                  <a:lnTo>
                    <a:pt x="2077" y="891"/>
                  </a:lnTo>
                  <a:lnTo>
                    <a:pt x="2077" y="891"/>
                  </a:lnTo>
                  <a:lnTo>
                    <a:pt x="2077" y="891"/>
                  </a:lnTo>
                  <a:lnTo>
                    <a:pt x="2077" y="891"/>
                  </a:lnTo>
                  <a:lnTo>
                    <a:pt x="2077" y="889"/>
                  </a:lnTo>
                  <a:lnTo>
                    <a:pt x="2077" y="889"/>
                  </a:lnTo>
                  <a:lnTo>
                    <a:pt x="2077" y="889"/>
                  </a:lnTo>
                  <a:lnTo>
                    <a:pt x="2077" y="889"/>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8" y="887"/>
                  </a:lnTo>
                  <a:lnTo>
                    <a:pt x="2078" y="887"/>
                  </a:lnTo>
                  <a:lnTo>
                    <a:pt x="2078" y="887"/>
                  </a:lnTo>
                  <a:lnTo>
                    <a:pt x="2078" y="887"/>
                  </a:lnTo>
                  <a:lnTo>
                    <a:pt x="2078" y="887"/>
                  </a:lnTo>
                  <a:lnTo>
                    <a:pt x="2078" y="887"/>
                  </a:lnTo>
                  <a:lnTo>
                    <a:pt x="2078" y="887"/>
                  </a:lnTo>
                  <a:lnTo>
                    <a:pt x="2078" y="887"/>
                  </a:lnTo>
                  <a:lnTo>
                    <a:pt x="2079" y="887"/>
                  </a:lnTo>
                  <a:lnTo>
                    <a:pt x="2079" y="887"/>
                  </a:lnTo>
                  <a:lnTo>
                    <a:pt x="2080" y="887"/>
                  </a:lnTo>
                  <a:lnTo>
                    <a:pt x="2080" y="886"/>
                  </a:lnTo>
                  <a:lnTo>
                    <a:pt x="2080" y="886"/>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2" y="885"/>
                  </a:lnTo>
                  <a:lnTo>
                    <a:pt x="2082" y="885"/>
                  </a:lnTo>
                  <a:lnTo>
                    <a:pt x="2082" y="885"/>
                  </a:lnTo>
                  <a:lnTo>
                    <a:pt x="2082" y="885"/>
                  </a:lnTo>
                  <a:lnTo>
                    <a:pt x="2083" y="885"/>
                  </a:lnTo>
                  <a:lnTo>
                    <a:pt x="2083" y="885"/>
                  </a:lnTo>
                  <a:lnTo>
                    <a:pt x="2085" y="885"/>
                  </a:lnTo>
                  <a:lnTo>
                    <a:pt x="2085" y="884"/>
                  </a:lnTo>
                  <a:lnTo>
                    <a:pt x="2085" y="884"/>
                  </a:lnTo>
                  <a:lnTo>
                    <a:pt x="2085" y="884"/>
                  </a:lnTo>
                  <a:lnTo>
                    <a:pt x="2085" y="884"/>
                  </a:lnTo>
                  <a:lnTo>
                    <a:pt x="2085" y="884"/>
                  </a:lnTo>
                  <a:lnTo>
                    <a:pt x="2086" y="884"/>
                  </a:lnTo>
                  <a:lnTo>
                    <a:pt x="2086" y="884"/>
                  </a:lnTo>
                  <a:lnTo>
                    <a:pt x="2086" y="884"/>
                  </a:lnTo>
                  <a:lnTo>
                    <a:pt x="2086" y="884"/>
                  </a:lnTo>
                  <a:lnTo>
                    <a:pt x="2087" y="884"/>
                  </a:lnTo>
                  <a:lnTo>
                    <a:pt x="2087" y="884"/>
                  </a:lnTo>
                  <a:lnTo>
                    <a:pt x="2088" y="884"/>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9" y="883"/>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6" y="882"/>
                  </a:lnTo>
                  <a:lnTo>
                    <a:pt x="2136" y="882"/>
                  </a:lnTo>
                  <a:lnTo>
                    <a:pt x="2138" y="882"/>
                  </a:lnTo>
                  <a:lnTo>
                    <a:pt x="2138" y="881"/>
                  </a:lnTo>
                  <a:lnTo>
                    <a:pt x="2138" y="881"/>
                  </a:lnTo>
                  <a:lnTo>
                    <a:pt x="2138" y="881"/>
                  </a:lnTo>
                  <a:lnTo>
                    <a:pt x="2141" y="881"/>
                  </a:lnTo>
                  <a:lnTo>
                    <a:pt x="2141" y="881"/>
                  </a:lnTo>
                  <a:lnTo>
                    <a:pt x="2144" y="881"/>
                  </a:lnTo>
                  <a:lnTo>
                    <a:pt x="2144" y="880"/>
                  </a:lnTo>
                  <a:lnTo>
                    <a:pt x="2144" y="880"/>
                  </a:lnTo>
                  <a:lnTo>
                    <a:pt x="2144" y="880"/>
                  </a:lnTo>
                  <a:lnTo>
                    <a:pt x="2144" y="880"/>
                  </a:lnTo>
                  <a:lnTo>
                    <a:pt x="2144" y="880"/>
                  </a:lnTo>
                  <a:lnTo>
                    <a:pt x="2144" y="880"/>
                  </a:lnTo>
                  <a:lnTo>
                    <a:pt x="2144" y="878"/>
                  </a:lnTo>
                  <a:lnTo>
                    <a:pt x="2144" y="878"/>
                  </a:lnTo>
                  <a:lnTo>
                    <a:pt x="2144" y="878"/>
                  </a:lnTo>
                  <a:lnTo>
                    <a:pt x="2144" y="878"/>
                  </a:lnTo>
                  <a:lnTo>
                    <a:pt x="2144" y="878"/>
                  </a:lnTo>
                  <a:lnTo>
                    <a:pt x="2144" y="878"/>
                  </a:lnTo>
                  <a:lnTo>
                    <a:pt x="2144" y="878"/>
                  </a:lnTo>
                  <a:lnTo>
                    <a:pt x="2145" y="878"/>
                  </a:lnTo>
                  <a:lnTo>
                    <a:pt x="2145" y="878"/>
                  </a:lnTo>
                  <a:lnTo>
                    <a:pt x="2147" y="878"/>
                  </a:lnTo>
                  <a:lnTo>
                    <a:pt x="2147" y="878"/>
                  </a:lnTo>
                  <a:lnTo>
                    <a:pt x="2149" y="878"/>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51" y="877"/>
                  </a:lnTo>
                  <a:lnTo>
                    <a:pt x="2151" y="871"/>
                  </a:lnTo>
                  <a:lnTo>
                    <a:pt x="2151" y="871"/>
                  </a:lnTo>
                  <a:lnTo>
                    <a:pt x="2151" y="871"/>
                  </a:lnTo>
                  <a:lnTo>
                    <a:pt x="2151" y="871"/>
                  </a:lnTo>
                  <a:lnTo>
                    <a:pt x="2151" y="871"/>
                  </a:lnTo>
                  <a:lnTo>
                    <a:pt x="2151" y="871"/>
                  </a:lnTo>
                  <a:lnTo>
                    <a:pt x="2151" y="871"/>
                  </a:lnTo>
                  <a:lnTo>
                    <a:pt x="2151" y="871"/>
                  </a:lnTo>
                  <a:lnTo>
                    <a:pt x="2151" y="870"/>
                  </a:lnTo>
                  <a:lnTo>
                    <a:pt x="2151" y="870"/>
                  </a:lnTo>
                  <a:lnTo>
                    <a:pt x="2151" y="870"/>
                  </a:lnTo>
                  <a:lnTo>
                    <a:pt x="2151" y="870"/>
                  </a:lnTo>
                  <a:lnTo>
                    <a:pt x="2151" y="870"/>
                  </a:lnTo>
                  <a:lnTo>
                    <a:pt x="2151" y="870"/>
                  </a:lnTo>
                  <a:lnTo>
                    <a:pt x="2151" y="870"/>
                  </a:lnTo>
                  <a:lnTo>
                    <a:pt x="2151" y="870"/>
                  </a:lnTo>
                  <a:lnTo>
                    <a:pt x="2151" y="870"/>
                  </a:lnTo>
                  <a:lnTo>
                    <a:pt x="2152" y="870"/>
                  </a:lnTo>
                  <a:lnTo>
                    <a:pt x="2152" y="869"/>
                  </a:lnTo>
                  <a:lnTo>
                    <a:pt x="2152" y="869"/>
                  </a:lnTo>
                  <a:lnTo>
                    <a:pt x="2152" y="869"/>
                  </a:lnTo>
                  <a:lnTo>
                    <a:pt x="2152" y="869"/>
                  </a:lnTo>
                  <a:lnTo>
                    <a:pt x="2152" y="869"/>
                  </a:lnTo>
                  <a:lnTo>
                    <a:pt x="2152" y="869"/>
                  </a:lnTo>
                  <a:lnTo>
                    <a:pt x="2152" y="869"/>
                  </a:lnTo>
                  <a:lnTo>
                    <a:pt x="2152" y="869"/>
                  </a:lnTo>
                  <a:lnTo>
                    <a:pt x="2152" y="869"/>
                  </a:lnTo>
                  <a:lnTo>
                    <a:pt x="2153" y="869"/>
                  </a:lnTo>
                  <a:lnTo>
                    <a:pt x="2153" y="869"/>
                  </a:lnTo>
                  <a:lnTo>
                    <a:pt x="2153" y="869"/>
                  </a:lnTo>
                  <a:lnTo>
                    <a:pt x="2153"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7"/>
                  </a:lnTo>
                  <a:lnTo>
                    <a:pt x="2154" y="867"/>
                  </a:lnTo>
                  <a:lnTo>
                    <a:pt x="2154" y="867"/>
                  </a:lnTo>
                  <a:lnTo>
                    <a:pt x="2154" y="867"/>
                  </a:lnTo>
                  <a:lnTo>
                    <a:pt x="2154" y="867"/>
                  </a:lnTo>
                  <a:lnTo>
                    <a:pt x="2154" y="867"/>
                  </a:lnTo>
                  <a:lnTo>
                    <a:pt x="2154" y="867"/>
                  </a:lnTo>
                  <a:lnTo>
                    <a:pt x="2154" y="867"/>
                  </a:lnTo>
                  <a:lnTo>
                    <a:pt x="2154" y="867"/>
                  </a:lnTo>
                  <a:lnTo>
                    <a:pt x="2155" y="867"/>
                  </a:lnTo>
                  <a:lnTo>
                    <a:pt x="2155" y="863"/>
                  </a:lnTo>
                  <a:lnTo>
                    <a:pt x="2155" y="863"/>
                  </a:lnTo>
                  <a:lnTo>
                    <a:pt x="2155" y="863"/>
                  </a:lnTo>
                  <a:lnTo>
                    <a:pt x="2158" y="863"/>
                  </a:lnTo>
                  <a:lnTo>
                    <a:pt x="2158" y="863"/>
                  </a:lnTo>
                  <a:lnTo>
                    <a:pt x="2175" y="863"/>
                  </a:lnTo>
                  <a:lnTo>
                    <a:pt x="2175" y="862"/>
                  </a:lnTo>
                  <a:lnTo>
                    <a:pt x="2175" y="862"/>
                  </a:lnTo>
                  <a:lnTo>
                    <a:pt x="2175" y="862"/>
                  </a:lnTo>
                  <a:lnTo>
                    <a:pt x="2175" y="862"/>
                  </a:lnTo>
                  <a:lnTo>
                    <a:pt x="2175" y="862"/>
                  </a:lnTo>
                  <a:lnTo>
                    <a:pt x="2175" y="862"/>
                  </a:lnTo>
                  <a:lnTo>
                    <a:pt x="2175" y="862"/>
                  </a:lnTo>
                  <a:lnTo>
                    <a:pt x="2175" y="862"/>
                  </a:lnTo>
                  <a:lnTo>
                    <a:pt x="2175" y="862"/>
                  </a:lnTo>
                  <a:lnTo>
                    <a:pt x="2176" y="862"/>
                  </a:lnTo>
                  <a:lnTo>
                    <a:pt x="2176" y="862"/>
                  </a:lnTo>
                  <a:lnTo>
                    <a:pt x="2178" y="862"/>
                  </a:lnTo>
                  <a:lnTo>
                    <a:pt x="2178" y="861"/>
                  </a:lnTo>
                  <a:lnTo>
                    <a:pt x="2182" y="861"/>
                  </a:lnTo>
                  <a:lnTo>
                    <a:pt x="2182" y="856"/>
                  </a:lnTo>
                  <a:lnTo>
                    <a:pt x="2182" y="856"/>
                  </a:lnTo>
                  <a:lnTo>
                    <a:pt x="2182" y="856"/>
                  </a:lnTo>
                  <a:lnTo>
                    <a:pt x="2182" y="856"/>
                  </a:lnTo>
                  <a:lnTo>
                    <a:pt x="2182" y="856"/>
                  </a:lnTo>
                  <a:lnTo>
                    <a:pt x="2182" y="856"/>
                  </a:lnTo>
                  <a:lnTo>
                    <a:pt x="2182" y="856"/>
                  </a:lnTo>
                  <a:lnTo>
                    <a:pt x="2183" y="856"/>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1"/>
                  </a:lnTo>
                  <a:lnTo>
                    <a:pt x="2183" y="851"/>
                  </a:lnTo>
                  <a:lnTo>
                    <a:pt x="2183" y="851"/>
                  </a:lnTo>
                  <a:lnTo>
                    <a:pt x="2183" y="851"/>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5" y="849"/>
                  </a:lnTo>
                  <a:lnTo>
                    <a:pt x="2185" y="849"/>
                  </a:lnTo>
                  <a:lnTo>
                    <a:pt x="2185" y="849"/>
                  </a:lnTo>
                  <a:lnTo>
                    <a:pt x="2185" y="848"/>
                  </a:lnTo>
                  <a:lnTo>
                    <a:pt x="2185" y="848"/>
                  </a:lnTo>
                  <a:lnTo>
                    <a:pt x="2185" y="848"/>
                  </a:lnTo>
                  <a:lnTo>
                    <a:pt x="2185" y="848"/>
                  </a:lnTo>
                  <a:lnTo>
                    <a:pt x="2185" y="848"/>
                  </a:lnTo>
                  <a:lnTo>
                    <a:pt x="2185" y="848"/>
                  </a:lnTo>
                  <a:lnTo>
                    <a:pt x="2185" y="848"/>
                  </a:lnTo>
                  <a:lnTo>
                    <a:pt x="2185" y="848"/>
                  </a:lnTo>
                  <a:lnTo>
                    <a:pt x="2185" y="844"/>
                  </a:lnTo>
                  <a:lnTo>
                    <a:pt x="2185" y="844"/>
                  </a:lnTo>
                  <a:lnTo>
                    <a:pt x="2185" y="844"/>
                  </a:lnTo>
                  <a:lnTo>
                    <a:pt x="2186" y="844"/>
                  </a:lnTo>
                  <a:lnTo>
                    <a:pt x="2186" y="840"/>
                  </a:lnTo>
                  <a:lnTo>
                    <a:pt x="2186" y="840"/>
                  </a:lnTo>
                  <a:lnTo>
                    <a:pt x="2186" y="840"/>
                  </a:lnTo>
                  <a:lnTo>
                    <a:pt x="2186" y="840"/>
                  </a:lnTo>
                  <a:lnTo>
                    <a:pt x="2186" y="840"/>
                  </a:lnTo>
                  <a:lnTo>
                    <a:pt x="2186" y="840"/>
                  </a:lnTo>
                  <a:lnTo>
                    <a:pt x="2186" y="840"/>
                  </a:lnTo>
                  <a:lnTo>
                    <a:pt x="2186" y="840"/>
                  </a:lnTo>
                  <a:lnTo>
                    <a:pt x="2186" y="840"/>
                  </a:lnTo>
                  <a:lnTo>
                    <a:pt x="2187" y="840"/>
                  </a:lnTo>
                  <a:lnTo>
                    <a:pt x="2187" y="840"/>
                  </a:lnTo>
                  <a:lnTo>
                    <a:pt x="2187" y="840"/>
                  </a:lnTo>
                  <a:lnTo>
                    <a:pt x="2187" y="840"/>
                  </a:lnTo>
                  <a:lnTo>
                    <a:pt x="2187" y="840"/>
                  </a:lnTo>
                  <a:lnTo>
                    <a:pt x="2187" y="840"/>
                  </a:lnTo>
                  <a:lnTo>
                    <a:pt x="2187" y="840"/>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8" y="837"/>
                  </a:lnTo>
                  <a:lnTo>
                    <a:pt x="2188" y="837"/>
                  </a:lnTo>
                  <a:lnTo>
                    <a:pt x="2190" y="837"/>
                  </a:lnTo>
                  <a:lnTo>
                    <a:pt x="2190" y="837"/>
                  </a:lnTo>
                  <a:lnTo>
                    <a:pt x="2193" y="837"/>
                  </a:lnTo>
                  <a:lnTo>
                    <a:pt x="2193" y="837"/>
                  </a:lnTo>
                  <a:lnTo>
                    <a:pt x="2214" y="837"/>
                  </a:lnTo>
                  <a:lnTo>
                    <a:pt x="2214" y="837"/>
                  </a:lnTo>
                  <a:lnTo>
                    <a:pt x="2214" y="837"/>
                  </a:lnTo>
                  <a:lnTo>
                    <a:pt x="2214" y="837"/>
                  </a:lnTo>
                  <a:lnTo>
                    <a:pt x="2214" y="837"/>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4"/>
                  </a:lnTo>
                  <a:lnTo>
                    <a:pt x="2215" y="834"/>
                  </a:lnTo>
                  <a:lnTo>
                    <a:pt x="2215" y="833"/>
                  </a:lnTo>
                  <a:lnTo>
                    <a:pt x="2215" y="833"/>
                  </a:lnTo>
                  <a:lnTo>
                    <a:pt x="2215" y="833"/>
                  </a:lnTo>
                  <a:lnTo>
                    <a:pt x="2215" y="833"/>
                  </a:lnTo>
                  <a:lnTo>
                    <a:pt x="2215" y="833"/>
                  </a:lnTo>
                  <a:lnTo>
                    <a:pt x="2216" y="833"/>
                  </a:lnTo>
                  <a:lnTo>
                    <a:pt x="2216" y="833"/>
                  </a:lnTo>
                  <a:lnTo>
                    <a:pt x="2217" y="833"/>
                  </a:lnTo>
                  <a:lnTo>
                    <a:pt x="2217" y="833"/>
                  </a:lnTo>
                  <a:lnTo>
                    <a:pt x="2217" y="833"/>
                  </a:lnTo>
                  <a:lnTo>
                    <a:pt x="2217" y="831"/>
                  </a:lnTo>
                  <a:lnTo>
                    <a:pt x="2217" y="831"/>
                  </a:lnTo>
                  <a:lnTo>
                    <a:pt x="2217" y="829"/>
                  </a:lnTo>
                  <a:lnTo>
                    <a:pt x="2217" y="829"/>
                  </a:lnTo>
                  <a:lnTo>
                    <a:pt x="2217" y="829"/>
                  </a:lnTo>
                  <a:lnTo>
                    <a:pt x="2217" y="829"/>
                  </a:lnTo>
                  <a:lnTo>
                    <a:pt x="2217" y="828"/>
                  </a:lnTo>
                  <a:lnTo>
                    <a:pt x="2217" y="828"/>
                  </a:lnTo>
                  <a:lnTo>
                    <a:pt x="2217" y="828"/>
                  </a:lnTo>
                  <a:lnTo>
                    <a:pt x="2217" y="828"/>
                  </a:lnTo>
                  <a:lnTo>
                    <a:pt x="2217" y="828"/>
                  </a:lnTo>
                  <a:lnTo>
                    <a:pt x="2217" y="828"/>
                  </a:lnTo>
                  <a:lnTo>
                    <a:pt x="2217" y="827"/>
                  </a:lnTo>
                  <a:lnTo>
                    <a:pt x="2217" y="827"/>
                  </a:lnTo>
                  <a:lnTo>
                    <a:pt x="2217" y="827"/>
                  </a:lnTo>
                  <a:lnTo>
                    <a:pt x="2218" y="827"/>
                  </a:lnTo>
                  <a:lnTo>
                    <a:pt x="2218" y="827"/>
                  </a:lnTo>
                  <a:lnTo>
                    <a:pt x="2218" y="827"/>
                  </a:lnTo>
                  <a:lnTo>
                    <a:pt x="2218" y="825"/>
                  </a:lnTo>
                  <a:lnTo>
                    <a:pt x="2218" y="825"/>
                  </a:lnTo>
                  <a:lnTo>
                    <a:pt x="2218" y="823"/>
                  </a:lnTo>
                  <a:lnTo>
                    <a:pt x="2218" y="823"/>
                  </a:lnTo>
                  <a:lnTo>
                    <a:pt x="2218" y="823"/>
                  </a:lnTo>
                  <a:lnTo>
                    <a:pt x="2221" y="823"/>
                  </a:lnTo>
                  <a:lnTo>
                    <a:pt x="2221" y="821"/>
                  </a:lnTo>
                  <a:lnTo>
                    <a:pt x="2221" y="821"/>
                  </a:lnTo>
                  <a:lnTo>
                    <a:pt x="2221" y="821"/>
                  </a:lnTo>
                  <a:lnTo>
                    <a:pt x="2221" y="821"/>
                  </a:lnTo>
                  <a:lnTo>
                    <a:pt x="2221" y="821"/>
                  </a:lnTo>
                  <a:lnTo>
                    <a:pt x="2221" y="821"/>
                  </a:lnTo>
                  <a:lnTo>
                    <a:pt x="2221" y="821"/>
                  </a:lnTo>
                  <a:lnTo>
                    <a:pt x="2221" y="821"/>
                  </a:lnTo>
                  <a:lnTo>
                    <a:pt x="2221" y="820"/>
                  </a:lnTo>
                  <a:lnTo>
                    <a:pt x="2221" y="820"/>
                  </a:lnTo>
                  <a:lnTo>
                    <a:pt x="2221" y="820"/>
                  </a:lnTo>
                  <a:lnTo>
                    <a:pt x="2231" y="820"/>
                  </a:lnTo>
                  <a:lnTo>
                    <a:pt x="2231" y="818"/>
                  </a:lnTo>
                  <a:lnTo>
                    <a:pt x="2231" y="818"/>
                  </a:lnTo>
                  <a:lnTo>
                    <a:pt x="2231" y="818"/>
                  </a:lnTo>
                  <a:lnTo>
                    <a:pt x="2231" y="818"/>
                  </a:lnTo>
                  <a:lnTo>
                    <a:pt x="2231" y="818"/>
                  </a:lnTo>
                  <a:lnTo>
                    <a:pt x="2231" y="818"/>
                  </a:lnTo>
                  <a:lnTo>
                    <a:pt x="2231" y="818"/>
                  </a:lnTo>
                  <a:lnTo>
                    <a:pt x="2231" y="818"/>
                  </a:lnTo>
                  <a:lnTo>
                    <a:pt x="2231" y="818"/>
                  </a:lnTo>
                  <a:lnTo>
                    <a:pt x="2233" y="818"/>
                  </a:lnTo>
                  <a:lnTo>
                    <a:pt x="2233" y="818"/>
                  </a:lnTo>
                  <a:lnTo>
                    <a:pt x="2239" y="818"/>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40" y="814"/>
                  </a:lnTo>
                  <a:lnTo>
                    <a:pt x="2240" y="814"/>
                  </a:lnTo>
                  <a:lnTo>
                    <a:pt x="2240" y="814"/>
                  </a:lnTo>
                  <a:lnTo>
                    <a:pt x="2240" y="814"/>
                  </a:lnTo>
                  <a:lnTo>
                    <a:pt x="2240" y="814"/>
                  </a:lnTo>
                  <a:lnTo>
                    <a:pt x="2240" y="814"/>
                  </a:lnTo>
                  <a:lnTo>
                    <a:pt x="2241" y="814"/>
                  </a:lnTo>
                  <a:lnTo>
                    <a:pt x="2241" y="814"/>
                  </a:lnTo>
                  <a:lnTo>
                    <a:pt x="2241" y="814"/>
                  </a:lnTo>
                  <a:lnTo>
                    <a:pt x="2241" y="814"/>
                  </a:lnTo>
                  <a:lnTo>
                    <a:pt x="2243" y="814"/>
                  </a:lnTo>
                  <a:lnTo>
                    <a:pt x="2243" y="814"/>
                  </a:lnTo>
                  <a:lnTo>
                    <a:pt x="2249" y="814"/>
                  </a:lnTo>
                  <a:lnTo>
                    <a:pt x="2249" y="814"/>
                  </a:lnTo>
                  <a:lnTo>
                    <a:pt x="2265" y="814"/>
                  </a:lnTo>
                  <a:lnTo>
                    <a:pt x="2265" y="813"/>
                  </a:lnTo>
                  <a:lnTo>
                    <a:pt x="2266" y="813"/>
                  </a:lnTo>
                  <a:lnTo>
                    <a:pt x="2266" y="812"/>
                  </a:lnTo>
                  <a:lnTo>
                    <a:pt x="2266" y="812"/>
                  </a:lnTo>
                  <a:lnTo>
                    <a:pt x="2266" y="812"/>
                  </a:lnTo>
                  <a:lnTo>
                    <a:pt x="2266" y="812"/>
                  </a:lnTo>
                  <a:lnTo>
                    <a:pt x="2266" y="812"/>
                  </a:lnTo>
                  <a:lnTo>
                    <a:pt x="2266" y="812"/>
                  </a:lnTo>
                  <a:lnTo>
                    <a:pt x="2266" y="812"/>
                  </a:lnTo>
                  <a:lnTo>
                    <a:pt x="2266" y="812"/>
                  </a:lnTo>
                  <a:lnTo>
                    <a:pt x="2266" y="812"/>
                  </a:lnTo>
                  <a:lnTo>
                    <a:pt x="2267" y="812"/>
                  </a:lnTo>
                  <a:lnTo>
                    <a:pt x="2267" y="812"/>
                  </a:lnTo>
                  <a:lnTo>
                    <a:pt x="2267" y="812"/>
                  </a:lnTo>
                  <a:lnTo>
                    <a:pt x="2267" y="812"/>
                  </a:lnTo>
                  <a:lnTo>
                    <a:pt x="2269" y="812"/>
                  </a:lnTo>
                  <a:lnTo>
                    <a:pt x="2269" y="812"/>
                  </a:lnTo>
                  <a:lnTo>
                    <a:pt x="2273" y="812"/>
                  </a:lnTo>
                  <a:lnTo>
                    <a:pt x="2273" y="810"/>
                  </a:lnTo>
                  <a:lnTo>
                    <a:pt x="2273" y="810"/>
                  </a:lnTo>
                  <a:lnTo>
                    <a:pt x="2273" y="810"/>
                  </a:lnTo>
                  <a:lnTo>
                    <a:pt x="2273" y="810"/>
                  </a:lnTo>
                  <a:lnTo>
                    <a:pt x="2273" y="810"/>
                  </a:lnTo>
                  <a:lnTo>
                    <a:pt x="2273" y="810"/>
                  </a:lnTo>
                  <a:lnTo>
                    <a:pt x="2273" y="810"/>
                  </a:lnTo>
                  <a:lnTo>
                    <a:pt x="2273" y="810"/>
                  </a:lnTo>
                  <a:lnTo>
                    <a:pt x="2273" y="809"/>
                  </a:lnTo>
                  <a:lnTo>
                    <a:pt x="2275" y="809"/>
                  </a:lnTo>
                  <a:lnTo>
                    <a:pt x="2275" y="809"/>
                  </a:lnTo>
                  <a:lnTo>
                    <a:pt x="2277" y="809"/>
                  </a:lnTo>
                  <a:lnTo>
                    <a:pt x="2277" y="808"/>
                  </a:lnTo>
                  <a:lnTo>
                    <a:pt x="2277" y="808"/>
                  </a:lnTo>
                  <a:lnTo>
                    <a:pt x="2277" y="808"/>
                  </a:lnTo>
                  <a:lnTo>
                    <a:pt x="2277" y="808"/>
                  </a:lnTo>
                  <a:lnTo>
                    <a:pt x="2277" y="808"/>
                  </a:lnTo>
                  <a:lnTo>
                    <a:pt x="2278" y="808"/>
                  </a:lnTo>
                  <a:lnTo>
                    <a:pt x="2278" y="808"/>
                  </a:lnTo>
                  <a:lnTo>
                    <a:pt x="2278" y="808"/>
                  </a:lnTo>
                  <a:lnTo>
                    <a:pt x="2278" y="808"/>
                  </a:lnTo>
                  <a:lnTo>
                    <a:pt x="2279" y="808"/>
                  </a:lnTo>
                  <a:lnTo>
                    <a:pt x="2279" y="808"/>
                  </a:lnTo>
                  <a:lnTo>
                    <a:pt x="2279" y="808"/>
                  </a:lnTo>
                  <a:lnTo>
                    <a:pt x="2279" y="808"/>
                  </a:lnTo>
                  <a:lnTo>
                    <a:pt x="2280" y="808"/>
                  </a:lnTo>
                  <a:lnTo>
                    <a:pt x="2280" y="808"/>
                  </a:lnTo>
                  <a:lnTo>
                    <a:pt x="2282" y="808"/>
                  </a:lnTo>
                  <a:lnTo>
                    <a:pt x="2282" y="808"/>
                  </a:lnTo>
                  <a:lnTo>
                    <a:pt x="2283" y="808"/>
                  </a:lnTo>
                  <a:lnTo>
                    <a:pt x="2283" y="808"/>
                  </a:lnTo>
                  <a:lnTo>
                    <a:pt x="2285" y="808"/>
                  </a:lnTo>
                  <a:lnTo>
                    <a:pt x="2285" y="808"/>
                  </a:lnTo>
                  <a:lnTo>
                    <a:pt x="2288" y="808"/>
                  </a:lnTo>
                  <a:lnTo>
                    <a:pt x="2288" y="808"/>
                  </a:lnTo>
                  <a:lnTo>
                    <a:pt x="2292" y="808"/>
                  </a:lnTo>
                  <a:lnTo>
                    <a:pt x="2292" y="807"/>
                  </a:lnTo>
                  <a:lnTo>
                    <a:pt x="2293" y="807"/>
                  </a:lnTo>
                  <a:lnTo>
                    <a:pt x="2293" y="806"/>
                  </a:lnTo>
                  <a:lnTo>
                    <a:pt x="2294" y="806"/>
                  </a:lnTo>
                  <a:lnTo>
                    <a:pt x="2294" y="806"/>
                  </a:lnTo>
                  <a:lnTo>
                    <a:pt x="2298" y="806"/>
                  </a:lnTo>
                  <a:lnTo>
                    <a:pt x="2298" y="806"/>
                  </a:lnTo>
                  <a:lnTo>
                    <a:pt x="2298" y="806"/>
                  </a:lnTo>
                  <a:lnTo>
                    <a:pt x="2298" y="806"/>
                  </a:lnTo>
                  <a:lnTo>
                    <a:pt x="2298" y="806"/>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1"/>
                  </a:lnTo>
                  <a:lnTo>
                    <a:pt x="2299" y="801"/>
                  </a:lnTo>
                  <a:lnTo>
                    <a:pt x="2299" y="800"/>
                  </a:lnTo>
                  <a:lnTo>
                    <a:pt x="2308" y="800"/>
                  </a:lnTo>
                  <a:lnTo>
                    <a:pt x="2308" y="799"/>
                  </a:lnTo>
                  <a:lnTo>
                    <a:pt x="2311" y="799"/>
                  </a:lnTo>
                  <a:lnTo>
                    <a:pt x="2311" y="799"/>
                  </a:lnTo>
                  <a:lnTo>
                    <a:pt x="2350" y="799"/>
                  </a:lnTo>
                  <a:lnTo>
                    <a:pt x="2350" y="798"/>
                  </a:lnTo>
                  <a:lnTo>
                    <a:pt x="2350" y="798"/>
                  </a:lnTo>
                  <a:lnTo>
                    <a:pt x="2350" y="797"/>
                  </a:lnTo>
                  <a:lnTo>
                    <a:pt x="2351" y="797"/>
                  </a:lnTo>
                  <a:lnTo>
                    <a:pt x="2351" y="797"/>
                  </a:lnTo>
                  <a:lnTo>
                    <a:pt x="2365" y="797"/>
                  </a:lnTo>
                  <a:lnTo>
                    <a:pt x="2365" y="796"/>
                  </a:lnTo>
                  <a:lnTo>
                    <a:pt x="2365" y="796"/>
                  </a:lnTo>
                  <a:lnTo>
                    <a:pt x="2365" y="796"/>
                  </a:lnTo>
                  <a:lnTo>
                    <a:pt x="2365" y="796"/>
                  </a:lnTo>
                  <a:lnTo>
                    <a:pt x="2365" y="796"/>
                  </a:lnTo>
                  <a:lnTo>
                    <a:pt x="2365" y="796"/>
                  </a:lnTo>
                  <a:lnTo>
                    <a:pt x="2365" y="796"/>
                  </a:lnTo>
                  <a:lnTo>
                    <a:pt x="2366" y="796"/>
                  </a:lnTo>
                  <a:lnTo>
                    <a:pt x="2366" y="796"/>
                  </a:lnTo>
                  <a:lnTo>
                    <a:pt x="2367" y="796"/>
                  </a:lnTo>
                  <a:lnTo>
                    <a:pt x="2367" y="796"/>
                  </a:lnTo>
                  <a:lnTo>
                    <a:pt x="2369" y="796"/>
                  </a:lnTo>
                  <a:lnTo>
                    <a:pt x="2369" y="796"/>
                  </a:lnTo>
                  <a:lnTo>
                    <a:pt x="2371" y="796"/>
                  </a:lnTo>
                  <a:lnTo>
                    <a:pt x="2371" y="796"/>
                  </a:lnTo>
                  <a:lnTo>
                    <a:pt x="2382" y="796"/>
                  </a:lnTo>
                  <a:lnTo>
                    <a:pt x="2382"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11" y="796"/>
                  </a:lnTo>
                  <a:lnTo>
                    <a:pt x="2411" y="796"/>
                  </a:lnTo>
                  <a:lnTo>
                    <a:pt x="2413" y="796"/>
                  </a:lnTo>
                  <a:lnTo>
                    <a:pt x="2413" y="796"/>
                  </a:lnTo>
                  <a:lnTo>
                    <a:pt x="2417" y="796"/>
                  </a:lnTo>
                  <a:lnTo>
                    <a:pt x="2417" y="796"/>
                  </a:lnTo>
                  <a:lnTo>
                    <a:pt x="2422" y="796"/>
                  </a:lnTo>
                  <a:lnTo>
                    <a:pt x="2422" y="796"/>
                  </a:lnTo>
                  <a:lnTo>
                    <a:pt x="2428" y="796"/>
                  </a:lnTo>
                  <a:lnTo>
                    <a:pt x="2428" y="796"/>
                  </a:lnTo>
                  <a:lnTo>
                    <a:pt x="2439" y="796"/>
                  </a:lnTo>
                  <a:lnTo>
                    <a:pt x="2439" y="796"/>
                  </a:lnTo>
                  <a:lnTo>
                    <a:pt x="2451" y="796"/>
                  </a:lnTo>
                  <a:lnTo>
                    <a:pt x="2451" y="796"/>
                  </a:lnTo>
                  <a:lnTo>
                    <a:pt x="2451" y="796"/>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2" y="795"/>
                  </a:lnTo>
                  <a:lnTo>
                    <a:pt x="2452" y="795"/>
                  </a:lnTo>
                  <a:lnTo>
                    <a:pt x="2452" y="795"/>
                  </a:lnTo>
                  <a:lnTo>
                    <a:pt x="2452" y="795"/>
                  </a:lnTo>
                  <a:lnTo>
                    <a:pt x="2453" y="795"/>
                  </a:lnTo>
                  <a:lnTo>
                    <a:pt x="2453" y="795"/>
                  </a:lnTo>
                  <a:lnTo>
                    <a:pt x="2453" y="795"/>
                  </a:lnTo>
                  <a:lnTo>
                    <a:pt x="2453" y="795"/>
                  </a:lnTo>
                  <a:lnTo>
                    <a:pt x="2454" y="795"/>
                  </a:lnTo>
                  <a:lnTo>
                    <a:pt x="2454" y="795"/>
                  </a:lnTo>
                  <a:lnTo>
                    <a:pt x="2456" y="795"/>
                  </a:lnTo>
                  <a:lnTo>
                    <a:pt x="2456" y="795"/>
                  </a:lnTo>
                  <a:lnTo>
                    <a:pt x="2457" y="795"/>
                  </a:lnTo>
                  <a:lnTo>
                    <a:pt x="2457" y="795"/>
                  </a:lnTo>
                  <a:lnTo>
                    <a:pt x="2468" y="795"/>
                  </a:lnTo>
                  <a:lnTo>
                    <a:pt x="2468" y="793"/>
                  </a:lnTo>
                  <a:lnTo>
                    <a:pt x="2468" y="793"/>
                  </a:lnTo>
                  <a:lnTo>
                    <a:pt x="2468" y="793"/>
                  </a:lnTo>
                  <a:lnTo>
                    <a:pt x="2469" y="793"/>
                  </a:lnTo>
                  <a:lnTo>
                    <a:pt x="2469" y="793"/>
                  </a:lnTo>
                  <a:lnTo>
                    <a:pt x="2469" y="793"/>
                  </a:lnTo>
                  <a:lnTo>
                    <a:pt x="2469" y="793"/>
                  </a:lnTo>
                  <a:lnTo>
                    <a:pt x="2471" y="793"/>
                  </a:lnTo>
                  <a:lnTo>
                    <a:pt x="2471" y="789"/>
                  </a:lnTo>
                  <a:lnTo>
                    <a:pt x="2471" y="789"/>
                  </a:lnTo>
                  <a:lnTo>
                    <a:pt x="2471" y="789"/>
                  </a:lnTo>
                  <a:lnTo>
                    <a:pt x="2471" y="789"/>
                  </a:lnTo>
                  <a:lnTo>
                    <a:pt x="2471" y="788"/>
                  </a:lnTo>
                  <a:lnTo>
                    <a:pt x="2472" y="788"/>
                  </a:lnTo>
                  <a:lnTo>
                    <a:pt x="2472" y="788"/>
                  </a:lnTo>
                  <a:lnTo>
                    <a:pt x="2472" y="788"/>
                  </a:lnTo>
                  <a:lnTo>
                    <a:pt x="2472" y="788"/>
                  </a:lnTo>
                  <a:lnTo>
                    <a:pt x="2474" y="788"/>
                  </a:lnTo>
                  <a:lnTo>
                    <a:pt x="2474" y="788"/>
                  </a:lnTo>
                  <a:lnTo>
                    <a:pt x="2476" y="788"/>
                  </a:lnTo>
                  <a:lnTo>
                    <a:pt x="2476" y="788"/>
                  </a:lnTo>
                  <a:lnTo>
                    <a:pt x="2481" y="788"/>
                  </a:lnTo>
                  <a:lnTo>
                    <a:pt x="2481" y="788"/>
                  </a:lnTo>
                  <a:lnTo>
                    <a:pt x="2488" y="788"/>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9" y="784"/>
                  </a:lnTo>
                  <a:lnTo>
                    <a:pt x="2489" y="784"/>
                  </a:lnTo>
                  <a:lnTo>
                    <a:pt x="2490" y="784"/>
                  </a:lnTo>
                  <a:lnTo>
                    <a:pt x="2490" y="784"/>
                  </a:lnTo>
                  <a:lnTo>
                    <a:pt x="2492" y="784"/>
                  </a:lnTo>
                  <a:lnTo>
                    <a:pt x="2492" y="784"/>
                  </a:lnTo>
                  <a:lnTo>
                    <a:pt x="2493" y="784"/>
                  </a:lnTo>
                  <a:lnTo>
                    <a:pt x="2493" y="784"/>
                  </a:lnTo>
                  <a:lnTo>
                    <a:pt x="2495" y="784"/>
                  </a:lnTo>
                  <a:lnTo>
                    <a:pt x="2495" y="784"/>
                  </a:lnTo>
                  <a:lnTo>
                    <a:pt x="2496" y="784"/>
                  </a:lnTo>
                  <a:lnTo>
                    <a:pt x="2496" y="784"/>
                  </a:lnTo>
                  <a:lnTo>
                    <a:pt x="2499" y="784"/>
                  </a:lnTo>
                  <a:lnTo>
                    <a:pt x="2499" y="784"/>
                  </a:lnTo>
                  <a:lnTo>
                    <a:pt x="2503" y="784"/>
                  </a:lnTo>
                  <a:lnTo>
                    <a:pt x="2503" y="784"/>
                  </a:lnTo>
                  <a:lnTo>
                    <a:pt x="2514" y="784"/>
                  </a:lnTo>
                  <a:lnTo>
                    <a:pt x="2514" y="784"/>
                  </a:lnTo>
                  <a:lnTo>
                    <a:pt x="2524" y="784"/>
                  </a:lnTo>
                  <a:lnTo>
                    <a:pt x="2524" y="782"/>
                  </a:lnTo>
                  <a:lnTo>
                    <a:pt x="2526" y="782"/>
                  </a:lnTo>
                  <a:lnTo>
                    <a:pt x="2526" y="780"/>
                  </a:lnTo>
                  <a:lnTo>
                    <a:pt x="2526" y="780"/>
                  </a:lnTo>
                  <a:lnTo>
                    <a:pt x="2526" y="780"/>
                  </a:lnTo>
                  <a:lnTo>
                    <a:pt x="2526" y="780"/>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2"/>
                  </a:lnTo>
                  <a:lnTo>
                    <a:pt x="2526" y="772"/>
                  </a:lnTo>
                  <a:lnTo>
                    <a:pt x="2526" y="772"/>
                  </a:lnTo>
                  <a:lnTo>
                    <a:pt x="2526" y="772"/>
                  </a:lnTo>
                  <a:lnTo>
                    <a:pt x="2526" y="772"/>
                  </a:lnTo>
                  <a:lnTo>
                    <a:pt x="2526" y="772"/>
                  </a:lnTo>
                  <a:lnTo>
                    <a:pt x="2526" y="772"/>
                  </a:lnTo>
                  <a:lnTo>
                    <a:pt x="2526" y="772"/>
                  </a:lnTo>
                  <a:lnTo>
                    <a:pt x="2526" y="772"/>
                  </a:lnTo>
                  <a:lnTo>
                    <a:pt x="2527" y="772"/>
                  </a:lnTo>
                  <a:lnTo>
                    <a:pt x="2527" y="772"/>
                  </a:lnTo>
                  <a:lnTo>
                    <a:pt x="2531" y="772"/>
                  </a:lnTo>
                  <a:lnTo>
                    <a:pt x="2531" y="771"/>
                  </a:lnTo>
                  <a:lnTo>
                    <a:pt x="2531" y="771"/>
                  </a:lnTo>
                  <a:lnTo>
                    <a:pt x="2531" y="771"/>
                  </a:lnTo>
                  <a:lnTo>
                    <a:pt x="2531" y="771"/>
                  </a:lnTo>
                  <a:lnTo>
                    <a:pt x="2531" y="771"/>
                  </a:lnTo>
                  <a:lnTo>
                    <a:pt x="2531" y="771"/>
                  </a:lnTo>
                  <a:lnTo>
                    <a:pt x="2531" y="769"/>
                  </a:lnTo>
                  <a:lnTo>
                    <a:pt x="2531" y="769"/>
                  </a:lnTo>
                  <a:lnTo>
                    <a:pt x="2531" y="769"/>
                  </a:lnTo>
                  <a:lnTo>
                    <a:pt x="2531" y="769"/>
                  </a:lnTo>
                  <a:lnTo>
                    <a:pt x="2531" y="769"/>
                  </a:lnTo>
                  <a:lnTo>
                    <a:pt x="2531" y="769"/>
                  </a:lnTo>
                  <a:lnTo>
                    <a:pt x="2531" y="769"/>
                  </a:lnTo>
                  <a:lnTo>
                    <a:pt x="2531" y="769"/>
                  </a:lnTo>
                  <a:lnTo>
                    <a:pt x="2531" y="768"/>
                  </a:lnTo>
                  <a:lnTo>
                    <a:pt x="2531" y="768"/>
                  </a:lnTo>
                  <a:lnTo>
                    <a:pt x="2531" y="768"/>
                  </a:lnTo>
                  <a:lnTo>
                    <a:pt x="2531" y="768"/>
                  </a:lnTo>
                  <a:lnTo>
                    <a:pt x="2531" y="768"/>
                  </a:lnTo>
                  <a:lnTo>
                    <a:pt x="2531" y="768"/>
                  </a:lnTo>
                  <a:lnTo>
                    <a:pt x="2531" y="768"/>
                  </a:lnTo>
                  <a:lnTo>
                    <a:pt x="2531" y="768"/>
                  </a:lnTo>
                  <a:lnTo>
                    <a:pt x="2531" y="768"/>
                  </a:lnTo>
                  <a:lnTo>
                    <a:pt x="2532" y="768"/>
                  </a:lnTo>
                  <a:lnTo>
                    <a:pt x="2532" y="767"/>
                  </a:lnTo>
                  <a:lnTo>
                    <a:pt x="2532" y="767"/>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4" y="766"/>
                  </a:lnTo>
                  <a:lnTo>
                    <a:pt x="2534" y="766"/>
                  </a:lnTo>
                  <a:lnTo>
                    <a:pt x="2537" y="766"/>
                  </a:lnTo>
                  <a:lnTo>
                    <a:pt x="2537" y="766"/>
                  </a:lnTo>
                  <a:lnTo>
                    <a:pt x="2541" y="766"/>
                  </a:lnTo>
                  <a:lnTo>
                    <a:pt x="2541" y="766"/>
                  </a:lnTo>
                  <a:lnTo>
                    <a:pt x="2590" y="766"/>
                  </a:lnTo>
                  <a:lnTo>
                    <a:pt x="2590" y="766"/>
                  </a:lnTo>
                  <a:lnTo>
                    <a:pt x="2590" y="766"/>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1" y="765"/>
                  </a:lnTo>
                  <a:lnTo>
                    <a:pt x="2591" y="765"/>
                  </a:lnTo>
                  <a:lnTo>
                    <a:pt x="2591" y="765"/>
                  </a:lnTo>
                  <a:lnTo>
                    <a:pt x="2591" y="765"/>
                  </a:lnTo>
                  <a:lnTo>
                    <a:pt x="2591" y="765"/>
                  </a:lnTo>
                  <a:lnTo>
                    <a:pt x="2591" y="765"/>
                  </a:lnTo>
                  <a:lnTo>
                    <a:pt x="2591" y="765"/>
                  </a:lnTo>
                  <a:lnTo>
                    <a:pt x="2591" y="765"/>
                  </a:lnTo>
                  <a:lnTo>
                    <a:pt x="2592" y="765"/>
                  </a:lnTo>
                  <a:lnTo>
                    <a:pt x="2592" y="765"/>
                  </a:lnTo>
                  <a:lnTo>
                    <a:pt x="2593" y="765"/>
                  </a:lnTo>
                  <a:lnTo>
                    <a:pt x="2593" y="765"/>
                  </a:lnTo>
                  <a:lnTo>
                    <a:pt x="2596" y="765"/>
                  </a:lnTo>
                  <a:lnTo>
                    <a:pt x="2596" y="765"/>
                  </a:lnTo>
                  <a:lnTo>
                    <a:pt x="2599" y="765"/>
                  </a:lnTo>
                  <a:lnTo>
                    <a:pt x="2599" y="765"/>
                  </a:lnTo>
                  <a:lnTo>
                    <a:pt x="2604" y="765"/>
                  </a:lnTo>
                  <a:lnTo>
                    <a:pt x="2604" y="765"/>
                  </a:lnTo>
                  <a:lnTo>
                    <a:pt x="2604" y="765"/>
                  </a:lnTo>
                  <a:lnTo>
                    <a:pt x="2604" y="765"/>
                  </a:lnTo>
                  <a:lnTo>
                    <a:pt x="2605" y="765"/>
                  </a:lnTo>
                  <a:lnTo>
                    <a:pt x="2605" y="765"/>
                  </a:lnTo>
                  <a:lnTo>
                    <a:pt x="2605" y="765"/>
                  </a:lnTo>
                  <a:lnTo>
                    <a:pt x="2605" y="765"/>
                  </a:lnTo>
                  <a:lnTo>
                    <a:pt x="2605" y="765"/>
                  </a:lnTo>
                  <a:lnTo>
                    <a:pt x="2605" y="765"/>
                  </a:lnTo>
                  <a:lnTo>
                    <a:pt x="2607" y="765"/>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8" y="762"/>
                  </a:lnTo>
                  <a:lnTo>
                    <a:pt x="2608" y="761"/>
                  </a:lnTo>
                  <a:lnTo>
                    <a:pt x="2608" y="761"/>
                  </a:lnTo>
                  <a:lnTo>
                    <a:pt x="2608" y="761"/>
                  </a:lnTo>
                  <a:lnTo>
                    <a:pt x="2608" y="761"/>
                  </a:lnTo>
                  <a:lnTo>
                    <a:pt x="2608" y="761"/>
                  </a:lnTo>
                  <a:lnTo>
                    <a:pt x="2608" y="761"/>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9" y="760"/>
                  </a:lnTo>
                  <a:lnTo>
                    <a:pt x="2609" y="760"/>
                  </a:lnTo>
                  <a:lnTo>
                    <a:pt x="2612" y="760"/>
                  </a:lnTo>
                  <a:lnTo>
                    <a:pt x="2612" y="760"/>
                  </a:lnTo>
                  <a:lnTo>
                    <a:pt x="2612" y="760"/>
                  </a:lnTo>
                  <a:lnTo>
                    <a:pt x="2612" y="760"/>
                  </a:lnTo>
                  <a:lnTo>
                    <a:pt x="2613" y="760"/>
                  </a:lnTo>
                  <a:lnTo>
                    <a:pt x="2613" y="760"/>
                  </a:lnTo>
                  <a:lnTo>
                    <a:pt x="2630" y="760"/>
                  </a:lnTo>
                  <a:lnTo>
                    <a:pt x="2630" y="758"/>
                  </a:lnTo>
                  <a:lnTo>
                    <a:pt x="2630" y="758"/>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1" y="752"/>
                  </a:lnTo>
                  <a:lnTo>
                    <a:pt x="2631" y="752"/>
                  </a:lnTo>
                  <a:lnTo>
                    <a:pt x="2637" y="752"/>
                  </a:lnTo>
                  <a:lnTo>
                    <a:pt x="2637" y="751"/>
                  </a:lnTo>
                  <a:lnTo>
                    <a:pt x="2637" y="751"/>
                  </a:lnTo>
                  <a:lnTo>
                    <a:pt x="2637" y="751"/>
                  </a:lnTo>
                  <a:lnTo>
                    <a:pt x="2637" y="751"/>
                  </a:lnTo>
                  <a:lnTo>
                    <a:pt x="2637" y="751"/>
                  </a:lnTo>
                  <a:lnTo>
                    <a:pt x="2637" y="751"/>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8" y="750"/>
                  </a:lnTo>
                  <a:lnTo>
                    <a:pt x="2638" y="750"/>
                  </a:lnTo>
                  <a:lnTo>
                    <a:pt x="2638" y="750"/>
                  </a:lnTo>
                  <a:lnTo>
                    <a:pt x="2638" y="750"/>
                  </a:lnTo>
                  <a:lnTo>
                    <a:pt x="2638" y="750"/>
                  </a:lnTo>
                  <a:lnTo>
                    <a:pt x="2638" y="750"/>
                  </a:lnTo>
                  <a:lnTo>
                    <a:pt x="2638" y="750"/>
                  </a:lnTo>
                  <a:lnTo>
                    <a:pt x="2638" y="748"/>
                  </a:lnTo>
                  <a:lnTo>
                    <a:pt x="2638" y="748"/>
                  </a:lnTo>
                  <a:lnTo>
                    <a:pt x="2638" y="748"/>
                  </a:lnTo>
                  <a:lnTo>
                    <a:pt x="2638" y="748"/>
                  </a:lnTo>
                  <a:lnTo>
                    <a:pt x="2638" y="748"/>
                  </a:lnTo>
                  <a:lnTo>
                    <a:pt x="2639" y="748"/>
                  </a:lnTo>
                  <a:lnTo>
                    <a:pt x="2639" y="748"/>
                  </a:lnTo>
                  <a:lnTo>
                    <a:pt x="2639" y="748"/>
                  </a:lnTo>
                  <a:lnTo>
                    <a:pt x="2639" y="748"/>
                  </a:lnTo>
                  <a:lnTo>
                    <a:pt x="2645" y="748"/>
                  </a:lnTo>
                  <a:lnTo>
                    <a:pt x="2645" y="748"/>
                  </a:lnTo>
                  <a:lnTo>
                    <a:pt x="2645" y="748"/>
                  </a:lnTo>
                  <a:lnTo>
                    <a:pt x="2645" y="748"/>
                  </a:lnTo>
                  <a:lnTo>
                    <a:pt x="2645" y="748"/>
                  </a:lnTo>
                  <a:lnTo>
                    <a:pt x="2645" y="748"/>
                  </a:lnTo>
                  <a:lnTo>
                    <a:pt x="2645" y="748"/>
                  </a:lnTo>
                  <a:lnTo>
                    <a:pt x="2645" y="746"/>
                  </a:lnTo>
                  <a:lnTo>
                    <a:pt x="2645" y="746"/>
                  </a:lnTo>
                  <a:lnTo>
                    <a:pt x="2645" y="746"/>
                  </a:lnTo>
                  <a:lnTo>
                    <a:pt x="2645" y="746"/>
                  </a:lnTo>
                  <a:lnTo>
                    <a:pt x="2645" y="744"/>
                  </a:lnTo>
                  <a:lnTo>
                    <a:pt x="2645" y="744"/>
                  </a:lnTo>
                  <a:lnTo>
                    <a:pt x="2645" y="744"/>
                  </a:lnTo>
                  <a:lnTo>
                    <a:pt x="2645" y="744"/>
                  </a:lnTo>
                  <a:lnTo>
                    <a:pt x="2645" y="744"/>
                  </a:lnTo>
                  <a:lnTo>
                    <a:pt x="2645" y="744"/>
                  </a:lnTo>
                  <a:lnTo>
                    <a:pt x="2645" y="744"/>
                  </a:lnTo>
                  <a:lnTo>
                    <a:pt x="2645" y="744"/>
                  </a:lnTo>
                  <a:lnTo>
                    <a:pt x="2645" y="744"/>
                  </a:lnTo>
                  <a:lnTo>
                    <a:pt x="2646" y="744"/>
                  </a:lnTo>
                  <a:lnTo>
                    <a:pt x="2646" y="744"/>
                  </a:lnTo>
                  <a:lnTo>
                    <a:pt x="2647" y="744"/>
                  </a:lnTo>
                  <a:lnTo>
                    <a:pt x="2647" y="744"/>
                  </a:lnTo>
                  <a:lnTo>
                    <a:pt x="2647" y="744"/>
                  </a:lnTo>
                  <a:lnTo>
                    <a:pt x="2647" y="743"/>
                  </a:lnTo>
                  <a:lnTo>
                    <a:pt x="2648" y="743"/>
                  </a:lnTo>
                  <a:lnTo>
                    <a:pt x="2648" y="743"/>
                  </a:lnTo>
                  <a:lnTo>
                    <a:pt x="2649" y="743"/>
                  </a:lnTo>
                  <a:lnTo>
                    <a:pt x="2649" y="743"/>
                  </a:lnTo>
                  <a:lnTo>
                    <a:pt x="2651" y="743"/>
                  </a:lnTo>
                  <a:lnTo>
                    <a:pt x="2651" y="743"/>
                  </a:lnTo>
                  <a:lnTo>
                    <a:pt x="2651" y="743"/>
                  </a:lnTo>
                  <a:lnTo>
                    <a:pt x="2651" y="743"/>
                  </a:lnTo>
                  <a:lnTo>
                    <a:pt x="2651" y="743"/>
                  </a:lnTo>
                  <a:lnTo>
                    <a:pt x="2651" y="742"/>
                  </a:lnTo>
                  <a:lnTo>
                    <a:pt x="2651" y="742"/>
                  </a:lnTo>
                  <a:lnTo>
                    <a:pt x="2651" y="742"/>
                  </a:lnTo>
                  <a:lnTo>
                    <a:pt x="2651" y="742"/>
                  </a:lnTo>
                  <a:lnTo>
                    <a:pt x="2651" y="740"/>
                  </a:lnTo>
                  <a:lnTo>
                    <a:pt x="2651" y="740"/>
                  </a:lnTo>
                  <a:lnTo>
                    <a:pt x="2651" y="740"/>
                  </a:lnTo>
                  <a:lnTo>
                    <a:pt x="2651" y="740"/>
                  </a:lnTo>
                  <a:lnTo>
                    <a:pt x="2651" y="739"/>
                  </a:lnTo>
                  <a:lnTo>
                    <a:pt x="2653" y="739"/>
                  </a:lnTo>
                  <a:lnTo>
                    <a:pt x="2653" y="739"/>
                  </a:lnTo>
                  <a:lnTo>
                    <a:pt x="2657" y="739"/>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8" y="736"/>
                  </a:lnTo>
                  <a:lnTo>
                    <a:pt x="2658" y="736"/>
                  </a:lnTo>
                  <a:lnTo>
                    <a:pt x="2658" y="736"/>
                  </a:lnTo>
                  <a:lnTo>
                    <a:pt x="2658" y="734"/>
                  </a:lnTo>
                  <a:lnTo>
                    <a:pt x="2658" y="734"/>
                  </a:lnTo>
                  <a:lnTo>
                    <a:pt x="2658" y="734"/>
                  </a:lnTo>
                  <a:lnTo>
                    <a:pt x="2658" y="734"/>
                  </a:lnTo>
                  <a:lnTo>
                    <a:pt x="2658" y="734"/>
                  </a:lnTo>
                  <a:lnTo>
                    <a:pt x="2660" y="734"/>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1" y="730"/>
                  </a:lnTo>
                  <a:lnTo>
                    <a:pt x="2661" y="730"/>
                  </a:lnTo>
                  <a:lnTo>
                    <a:pt x="2661" y="730"/>
                  </a:lnTo>
                  <a:lnTo>
                    <a:pt x="2661" y="724"/>
                  </a:lnTo>
                  <a:lnTo>
                    <a:pt x="2661" y="724"/>
                  </a:lnTo>
                  <a:lnTo>
                    <a:pt x="2661" y="723"/>
                  </a:lnTo>
                  <a:lnTo>
                    <a:pt x="2661" y="723"/>
                  </a:lnTo>
                  <a:lnTo>
                    <a:pt x="2661" y="723"/>
                  </a:lnTo>
                  <a:lnTo>
                    <a:pt x="2662" y="723"/>
                  </a:lnTo>
                  <a:lnTo>
                    <a:pt x="2662" y="721"/>
                  </a:lnTo>
                  <a:lnTo>
                    <a:pt x="2662" y="721"/>
                  </a:lnTo>
                  <a:lnTo>
                    <a:pt x="2662" y="721"/>
                  </a:lnTo>
                  <a:lnTo>
                    <a:pt x="2663" y="721"/>
                  </a:lnTo>
                  <a:lnTo>
                    <a:pt x="2663" y="721"/>
                  </a:lnTo>
                  <a:lnTo>
                    <a:pt x="2665" y="721"/>
                  </a:lnTo>
                  <a:lnTo>
                    <a:pt x="2665" y="721"/>
                  </a:lnTo>
                  <a:lnTo>
                    <a:pt x="2681" y="721"/>
                  </a:lnTo>
                  <a:lnTo>
                    <a:pt x="2681" y="718"/>
                  </a:lnTo>
                  <a:lnTo>
                    <a:pt x="2682" y="718"/>
                  </a:lnTo>
                  <a:lnTo>
                    <a:pt x="2682" y="718"/>
                  </a:lnTo>
                  <a:lnTo>
                    <a:pt x="2683" y="718"/>
                  </a:lnTo>
                  <a:lnTo>
                    <a:pt x="2683" y="717"/>
                  </a:lnTo>
                  <a:lnTo>
                    <a:pt x="2683" y="717"/>
                  </a:lnTo>
                  <a:lnTo>
                    <a:pt x="2683" y="717"/>
                  </a:lnTo>
                  <a:lnTo>
                    <a:pt x="2683" y="717"/>
                  </a:lnTo>
                  <a:lnTo>
                    <a:pt x="2683" y="717"/>
                  </a:lnTo>
                  <a:lnTo>
                    <a:pt x="2683" y="717"/>
                  </a:lnTo>
                  <a:lnTo>
                    <a:pt x="2683" y="717"/>
                  </a:lnTo>
                  <a:lnTo>
                    <a:pt x="2683" y="717"/>
                  </a:lnTo>
                  <a:lnTo>
                    <a:pt x="2683" y="716"/>
                  </a:lnTo>
                  <a:lnTo>
                    <a:pt x="2683" y="716"/>
                  </a:lnTo>
                  <a:lnTo>
                    <a:pt x="2683" y="716"/>
                  </a:lnTo>
                  <a:lnTo>
                    <a:pt x="2684" y="716"/>
                  </a:lnTo>
                  <a:lnTo>
                    <a:pt x="2684" y="712"/>
                  </a:lnTo>
                  <a:lnTo>
                    <a:pt x="2684" y="712"/>
                  </a:lnTo>
                  <a:lnTo>
                    <a:pt x="2684" y="708"/>
                  </a:lnTo>
                  <a:lnTo>
                    <a:pt x="2684" y="708"/>
                  </a:lnTo>
                  <a:lnTo>
                    <a:pt x="2684" y="708"/>
                  </a:lnTo>
                  <a:lnTo>
                    <a:pt x="2687" y="708"/>
                  </a:lnTo>
                  <a:lnTo>
                    <a:pt x="2687" y="706"/>
                  </a:lnTo>
                  <a:lnTo>
                    <a:pt x="2687" y="706"/>
                  </a:lnTo>
                  <a:lnTo>
                    <a:pt x="2687" y="706"/>
                  </a:lnTo>
                  <a:lnTo>
                    <a:pt x="2687" y="706"/>
                  </a:lnTo>
                  <a:lnTo>
                    <a:pt x="2687" y="700"/>
                  </a:lnTo>
                  <a:lnTo>
                    <a:pt x="2687" y="700"/>
                  </a:lnTo>
                  <a:lnTo>
                    <a:pt x="2687" y="700"/>
                  </a:lnTo>
                  <a:lnTo>
                    <a:pt x="2687" y="700"/>
                  </a:lnTo>
                  <a:lnTo>
                    <a:pt x="2687" y="694"/>
                  </a:lnTo>
                  <a:lnTo>
                    <a:pt x="2687" y="694"/>
                  </a:lnTo>
                  <a:lnTo>
                    <a:pt x="2687" y="694"/>
                  </a:lnTo>
                  <a:lnTo>
                    <a:pt x="2687" y="694"/>
                  </a:lnTo>
                  <a:lnTo>
                    <a:pt x="2687" y="694"/>
                  </a:lnTo>
                  <a:lnTo>
                    <a:pt x="2687" y="694"/>
                  </a:lnTo>
                  <a:lnTo>
                    <a:pt x="2687" y="694"/>
                  </a:lnTo>
                  <a:lnTo>
                    <a:pt x="2688" y="694"/>
                  </a:lnTo>
                  <a:lnTo>
                    <a:pt x="2688" y="687"/>
                  </a:lnTo>
                  <a:lnTo>
                    <a:pt x="2688" y="687"/>
                  </a:lnTo>
                  <a:lnTo>
                    <a:pt x="2688" y="687"/>
                  </a:lnTo>
                  <a:lnTo>
                    <a:pt x="2688" y="687"/>
                  </a:lnTo>
                  <a:lnTo>
                    <a:pt x="2688" y="687"/>
                  </a:lnTo>
                  <a:lnTo>
                    <a:pt x="2688" y="687"/>
                  </a:lnTo>
                  <a:lnTo>
                    <a:pt x="2688" y="687"/>
                  </a:lnTo>
                  <a:lnTo>
                    <a:pt x="2688" y="687"/>
                  </a:lnTo>
                  <a:lnTo>
                    <a:pt x="2688" y="686"/>
                  </a:lnTo>
                  <a:lnTo>
                    <a:pt x="2688" y="686"/>
                  </a:lnTo>
                  <a:lnTo>
                    <a:pt x="2688" y="682"/>
                  </a:lnTo>
                  <a:lnTo>
                    <a:pt x="2688" y="682"/>
                  </a:lnTo>
                  <a:lnTo>
                    <a:pt x="2688" y="682"/>
                  </a:lnTo>
                  <a:lnTo>
                    <a:pt x="2689" y="682"/>
                  </a:lnTo>
                  <a:lnTo>
                    <a:pt x="2689" y="678"/>
                  </a:lnTo>
                  <a:lnTo>
                    <a:pt x="2690" y="678"/>
                  </a:lnTo>
                  <a:lnTo>
                    <a:pt x="2690" y="678"/>
                  </a:lnTo>
                  <a:lnTo>
                    <a:pt x="2690" y="678"/>
                  </a:lnTo>
                  <a:lnTo>
                    <a:pt x="2690" y="678"/>
                  </a:lnTo>
                  <a:lnTo>
                    <a:pt x="2690" y="678"/>
                  </a:lnTo>
                  <a:lnTo>
                    <a:pt x="2690" y="677"/>
                  </a:lnTo>
                  <a:lnTo>
                    <a:pt x="2690" y="677"/>
                  </a:lnTo>
                  <a:lnTo>
                    <a:pt x="2690" y="677"/>
                  </a:lnTo>
                  <a:lnTo>
                    <a:pt x="2690" y="677"/>
                  </a:lnTo>
                  <a:lnTo>
                    <a:pt x="2690" y="677"/>
                  </a:lnTo>
                  <a:lnTo>
                    <a:pt x="2690" y="677"/>
                  </a:lnTo>
                  <a:lnTo>
                    <a:pt x="2690" y="676"/>
                  </a:lnTo>
                  <a:lnTo>
                    <a:pt x="2690" y="676"/>
                  </a:lnTo>
                  <a:lnTo>
                    <a:pt x="2690"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4"/>
                  </a:lnTo>
                  <a:lnTo>
                    <a:pt x="2693" y="674"/>
                  </a:lnTo>
                  <a:lnTo>
                    <a:pt x="2693" y="674"/>
                  </a:lnTo>
                  <a:lnTo>
                    <a:pt x="2693" y="674"/>
                  </a:lnTo>
                  <a:lnTo>
                    <a:pt x="2693" y="674"/>
                  </a:lnTo>
                  <a:lnTo>
                    <a:pt x="2693" y="674"/>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4" y="671"/>
                  </a:lnTo>
                  <a:lnTo>
                    <a:pt x="2694" y="671"/>
                  </a:lnTo>
                  <a:lnTo>
                    <a:pt x="2697" y="671"/>
                  </a:lnTo>
                  <a:lnTo>
                    <a:pt x="2697" y="671"/>
                  </a:lnTo>
                  <a:lnTo>
                    <a:pt x="2702" y="671"/>
                  </a:lnTo>
                  <a:lnTo>
                    <a:pt x="2702" y="671"/>
                  </a:lnTo>
                  <a:lnTo>
                    <a:pt x="2702" y="671"/>
                  </a:lnTo>
                  <a:lnTo>
                    <a:pt x="2702" y="666"/>
                  </a:lnTo>
                  <a:lnTo>
                    <a:pt x="2707" y="666"/>
                  </a:lnTo>
                  <a:lnTo>
                    <a:pt x="2707" y="666"/>
                  </a:lnTo>
                  <a:lnTo>
                    <a:pt x="2712" y="666"/>
                  </a:lnTo>
                  <a:lnTo>
                    <a:pt x="2712" y="660"/>
                  </a:lnTo>
                  <a:lnTo>
                    <a:pt x="2712" y="660"/>
                  </a:lnTo>
                  <a:lnTo>
                    <a:pt x="2712" y="660"/>
                  </a:lnTo>
                  <a:lnTo>
                    <a:pt x="2713" y="660"/>
                  </a:lnTo>
                  <a:lnTo>
                    <a:pt x="2713" y="658"/>
                  </a:lnTo>
                  <a:lnTo>
                    <a:pt x="2713" y="658"/>
                  </a:lnTo>
                  <a:lnTo>
                    <a:pt x="2713" y="658"/>
                  </a:lnTo>
                  <a:lnTo>
                    <a:pt x="2713" y="658"/>
                  </a:lnTo>
                  <a:lnTo>
                    <a:pt x="2713" y="658"/>
                  </a:lnTo>
                  <a:lnTo>
                    <a:pt x="2713" y="658"/>
                  </a:lnTo>
                  <a:lnTo>
                    <a:pt x="2713" y="658"/>
                  </a:lnTo>
                  <a:lnTo>
                    <a:pt x="2713" y="658"/>
                  </a:lnTo>
                  <a:lnTo>
                    <a:pt x="2713" y="658"/>
                  </a:lnTo>
                  <a:lnTo>
                    <a:pt x="2714" y="658"/>
                  </a:lnTo>
                  <a:lnTo>
                    <a:pt x="2714" y="658"/>
                  </a:lnTo>
                  <a:lnTo>
                    <a:pt x="2716" y="658"/>
                  </a:lnTo>
                  <a:lnTo>
                    <a:pt x="2716" y="658"/>
                  </a:lnTo>
                  <a:lnTo>
                    <a:pt x="2735" y="658"/>
                  </a:lnTo>
                  <a:lnTo>
                    <a:pt x="2735" y="658"/>
                  </a:lnTo>
                  <a:lnTo>
                    <a:pt x="2735" y="658"/>
                  </a:lnTo>
                  <a:lnTo>
                    <a:pt x="2735" y="657"/>
                  </a:lnTo>
                  <a:lnTo>
                    <a:pt x="2735" y="657"/>
                  </a:lnTo>
                  <a:lnTo>
                    <a:pt x="2735" y="657"/>
                  </a:lnTo>
                  <a:lnTo>
                    <a:pt x="2735" y="657"/>
                  </a:lnTo>
                  <a:lnTo>
                    <a:pt x="2735" y="657"/>
                  </a:lnTo>
                  <a:lnTo>
                    <a:pt x="2735" y="657"/>
                  </a:lnTo>
                  <a:lnTo>
                    <a:pt x="2735" y="657"/>
                  </a:lnTo>
                  <a:lnTo>
                    <a:pt x="2735" y="657"/>
                  </a:lnTo>
                  <a:lnTo>
                    <a:pt x="2735" y="655"/>
                  </a:lnTo>
                  <a:lnTo>
                    <a:pt x="2735" y="655"/>
                  </a:lnTo>
                  <a:lnTo>
                    <a:pt x="2735" y="655"/>
                  </a:lnTo>
                  <a:lnTo>
                    <a:pt x="2735" y="655"/>
                  </a:lnTo>
                  <a:lnTo>
                    <a:pt x="2735" y="655"/>
                  </a:lnTo>
                  <a:lnTo>
                    <a:pt x="2735" y="655"/>
                  </a:lnTo>
                  <a:lnTo>
                    <a:pt x="2735" y="655"/>
                  </a:lnTo>
                  <a:lnTo>
                    <a:pt x="2735" y="655"/>
                  </a:lnTo>
                  <a:lnTo>
                    <a:pt x="2735" y="654"/>
                  </a:lnTo>
                  <a:lnTo>
                    <a:pt x="2735" y="654"/>
                  </a:lnTo>
                  <a:lnTo>
                    <a:pt x="2735" y="654"/>
                  </a:lnTo>
                  <a:lnTo>
                    <a:pt x="2735" y="654"/>
                  </a:lnTo>
                  <a:lnTo>
                    <a:pt x="2735" y="654"/>
                  </a:lnTo>
                  <a:lnTo>
                    <a:pt x="2735" y="654"/>
                  </a:lnTo>
                  <a:lnTo>
                    <a:pt x="2735" y="654"/>
                  </a:lnTo>
                  <a:lnTo>
                    <a:pt x="2735" y="654"/>
                  </a:lnTo>
                  <a:lnTo>
                    <a:pt x="2735" y="654"/>
                  </a:lnTo>
                  <a:lnTo>
                    <a:pt x="2736" y="654"/>
                  </a:lnTo>
                  <a:lnTo>
                    <a:pt x="2736" y="654"/>
                  </a:lnTo>
                  <a:lnTo>
                    <a:pt x="2748" y="654"/>
                  </a:lnTo>
                  <a:lnTo>
                    <a:pt x="2748" y="653"/>
                  </a:lnTo>
                  <a:lnTo>
                    <a:pt x="2752" y="653"/>
                  </a:lnTo>
                  <a:lnTo>
                    <a:pt x="2752" y="653"/>
                  </a:lnTo>
                  <a:lnTo>
                    <a:pt x="2775" y="653"/>
                  </a:lnTo>
                  <a:lnTo>
                    <a:pt x="2775" y="652"/>
                  </a:lnTo>
                  <a:lnTo>
                    <a:pt x="2775" y="652"/>
                  </a:lnTo>
                  <a:lnTo>
                    <a:pt x="2775" y="652"/>
                  </a:lnTo>
                  <a:lnTo>
                    <a:pt x="2775" y="652"/>
                  </a:lnTo>
                  <a:lnTo>
                    <a:pt x="2775" y="652"/>
                  </a:lnTo>
                  <a:lnTo>
                    <a:pt x="2775" y="652"/>
                  </a:lnTo>
                  <a:lnTo>
                    <a:pt x="2775" y="651"/>
                  </a:lnTo>
                  <a:lnTo>
                    <a:pt x="2782" y="651"/>
                  </a:lnTo>
                  <a:lnTo>
                    <a:pt x="2782" y="649"/>
                  </a:lnTo>
                  <a:lnTo>
                    <a:pt x="2782" y="649"/>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3" y="647"/>
                  </a:lnTo>
                  <a:lnTo>
                    <a:pt x="2783" y="647"/>
                  </a:lnTo>
                  <a:lnTo>
                    <a:pt x="2783" y="647"/>
                  </a:lnTo>
                  <a:lnTo>
                    <a:pt x="2783" y="647"/>
                  </a:lnTo>
                  <a:lnTo>
                    <a:pt x="2783" y="647"/>
                  </a:lnTo>
                  <a:lnTo>
                    <a:pt x="2783" y="647"/>
                  </a:lnTo>
                  <a:lnTo>
                    <a:pt x="2783" y="647"/>
                  </a:lnTo>
                  <a:lnTo>
                    <a:pt x="2783" y="647"/>
                  </a:lnTo>
                  <a:lnTo>
                    <a:pt x="2783" y="647"/>
                  </a:lnTo>
                  <a:lnTo>
                    <a:pt x="2783" y="643"/>
                  </a:lnTo>
                  <a:lnTo>
                    <a:pt x="2791" y="643"/>
                  </a:lnTo>
                  <a:lnTo>
                    <a:pt x="2791" y="642"/>
                  </a:lnTo>
                  <a:lnTo>
                    <a:pt x="2792" y="642"/>
                  </a:lnTo>
                  <a:lnTo>
                    <a:pt x="2792" y="638"/>
                  </a:lnTo>
                  <a:lnTo>
                    <a:pt x="2794" y="638"/>
                  </a:lnTo>
                  <a:lnTo>
                    <a:pt x="2794" y="637"/>
                  </a:lnTo>
                  <a:lnTo>
                    <a:pt x="2794" y="637"/>
                  </a:lnTo>
                  <a:lnTo>
                    <a:pt x="2794" y="637"/>
                  </a:lnTo>
                  <a:lnTo>
                    <a:pt x="2794" y="637"/>
                  </a:lnTo>
                  <a:lnTo>
                    <a:pt x="2794" y="637"/>
                  </a:lnTo>
                  <a:lnTo>
                    <a:pt x="2794" y="637"/>
                  </a:lnTo>
                  <a:lnTo>
                    <a:pt x="2794" y="633"/>
                  </a:lnTo>
                  <a:lnTo>
                    <a:pt x="2794" y="633"/>
                  </a:lnTo>
                  <a:lnTo>
                    <a:pt x="2794" y="633"/>
                  </a:lnTo>
                  <a:lnTo>
                    <a:pt x="2794" y="633"/>
                  </a:lnTo>
                  <a:lnTo>
                    <a:pt x="2794" y="633"/>
                  </a:lnTo>
                  <a:lnTo>
                    <a:pt x="2794" y="633"/>
                  </a:lnTo>
                  <a:lnTo>
                    <a:pt x="2794" y="633"/>
                  </a:lnTo>
                  <a:lnTo>
                    <a:pt x="2794" y="633"/>
                  </a:lnTo>
                  <a:lnTo>
                    <a:pt x="2794" y="632"/>
                  </a:lnTo>
                  <a:lnTo>
                    <a:pt x="2794" y="632"/>
                  </a:lnTo>
                  <a:lnTo>
                    <a:pt x="2794" y="632"/>
                  </a:lnTo>
                  <a:lnTo>
                    <a:pt x="2794" y="632"/>
                  </a:lnTo>
                  <a:lnTo>
                    <a:pt x="2794" y="631"/>
                  </a:lnTo>
                  <a:lnTo>
                    <a:pt x="2794" y="631"/>
                  </a:lnTo>
                  <a:lnTo>
                    <a:pt x="2794" y="631"/>
                  </a:lnTo>
                  <a:lnTo>
                    <a:pt x="2795" y="631"/>
                  </a:lnTo>
                  <a:lnTo>
                    <a:pt x="2795" y="628"/>
                  </a:lnTo>
                  <a:lnTo>
                    <a:pt x="2798" y="628"/>
                  </a:lnTo>
                  <a:lnTo>
                    <a:pt x="2798" y="626"/>
                  </a:lnTo>
                  <a:lnTo>
                    <a:pt x="2799" y="626"/>
                  </a:lnTo>
                  <a:lnTo>
                    <a:pt x="2799" y="626"/>
                  </a:lnTo>
                  <a:lnTo>
                    <a:pt x="2837" y="626"/>
                  </a:lnTo>
                  <a:lnTo>
                    <a:pt x="2837" y="625"/>
                  </a:lnTo>
                  <a:lnTo>
                    <a:pt x="2837" y="625"/>
                  </a:lnTo>
                  <a:lnTo>
                    <a:pt x="2837" y="623"/>
                  </a:lnTo>
                  <a:lnTo>
                    <a:pt x="2837" y="623"/>
                  </a:lnTo>
                  <a:lnTo>
                    <a:pt x="2837" y="623"/>
                  </a:lnTo>
                  <a:lnTo>
                    <a:pt x="2840" y="623"/>
                  </a:lnTo>
                  <a:lnTo>
                    <a:pt x="2840" y="619"/>
                  </a:lnTo>
                  <a:lnTo>
                    <a:pt x="2842" y="619"/>
                  </a:lnTo>
                  <a:lnTo>
                    <a:pt x="2842" y="619"/>
                  </a:lnTo>
                  <a:lnTo>
                    <a:pt x="2842" y="619"/>
                  </a:lnTo>
                  <a:lnTo>
                    <a:pt x="2842" y="619"/>
                  </a:lnTo>
                  <a:lnTo>
                    <a:pt x="2842" y="619"/>
                  </a:lnTo>
                  <a:lnTo>
                    <a:pt x="2842" y="615"/>
                  </a:lnTo>
                  <a:lnTo>
                    <a:pt x="2843" y="615"/>
                  </a:lnTo>
                  <a:lnTo>
                    <a:pt x="2843" y="615"/>
                  </a:lnTo>
                  <a:lnTo>
                    <a:pt x="2844" y="615"/>
                  </a:lnTo>
                  <a:lnTo>
                    <a:pt x="2844" y="615"/>
                  </a:lnTo>
                  <a:lnTo>
                    <a:pt x="2848" y="615"/>
                  </a:lnTo>
                  <a:lnTo>
                    <a:pt x="2848" y="615"/>
                  </a:lnTo>
                  <a:lnTo>
                    <a:pt x="2853" y="615"/>
                  </a:lnTo>
                  <a:lnTo>
                    <a:pt x="2853" y="612"/>
                  </a:lnTo>
                  <a:lnTo>
                    <a:pt x="2855" y="612"/>
                  </a:lnTo>
                  <a:lnTo>
                    <a:pt x="2855" y="611"/>
                  </a:lnTo>
                  <a:lnTo>
                    <a:pt x="2856" y="611"/>
                  </a:lnTo>
                  <a:lnTo>
                    <a:pt x="2856" y="611"/>
                  </a:lnTo>
                  <a:lnTo>
                    <a:pt x="2866" y="611"/>
                  </a:lnTo>
                  <a:lnTo>
                    <a:pt x="2866" y="611"/>
                  </a:lnTo>
                  <a:lnTo>
                    <a:pt x="2891" y="611"/>
                  </a:lnTo>
                  <a:lnTo>
                    <a:pt x="2891" y="610"/>
                  </a:lnTo>
                  <a:lnTo>
                    <a:pt x="2895" y="610"/>
                  </a:lnTo>
                  <a:lnTo>
                    <a:pt x="2895" y="599"/>
                  </a:lnTo>
                  <a:lnTo>
                    <a:pt x="2896" y="599"/>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8" y="598"/>
                  </a:lnTo>
                  <a:lnTo>
                    <a:pt x="2898" y="596"/>
                  </a:lnTo>
                  <a:lnTo>
                    <a:pt x="2898" y="596"/>
                  </a:lnTo>
                  <a:lnTo>
                    <a:pt x="2898" y="596"/>
                  </a:lnTo>
                  <a:lnTo>
                    <a:pt x="2898" y="596"/>
                  </a:lnTo>
                  <a:lnTo>
                    <a:pt x="2898" y="593"/>
                  </a:lnTo>
                  <a:lnTo>
                    <a:pt x="2898" y="593"/>
                  </a:lnTo>
                  <a:lnTo>
                    <a:pt x="2898" y="593"/>
                  </a:lnTo>
                  <a:lnTo>
                    <a:pt x="2898" y="593"/>
                  </a:lnTo>
                  <a:lnTo>
                    <a:pt x="2898" y="593"/>
                  </a:lnTo>
                  <a:lnTo>
                    <a:pt x="2898" y="593"/>
                  </a:lnTo>
                  <a:lnTo>
                    <a:pt x="2898" y="593"/>
                  </a:lnTo>
                  <a:lnTo>
                    <a:pt x="2898" y="593"/>
                  </a:lnTo>
                  <a:lnTo>
                    <a:pt x="2898" y="593"/>
                  </a:lnTo>
                  <a:lnTo>
                    <a:pt x="2899" y="593"/>
                  </a:lnTo>
                  <a:lnTo>
                    <a:pt x="2899" y="593"/>
                  </a:lnTo>
                  <a:lnTo>
                    <a:pt x="2900" y="593"/>
                  </a:lnTo>
                  <a:lnTo>
                    <a:pt x="2900" y="593"/>
                  </a:lnTo>
                  <a:lnTo>
                    <a:pt x="2901" y="593"/>
                  </a:lnTo>
                  <a:lnTo>
                    <a:pt x="2901" y="593"/>
                  </a:lnTo>
                  <a:lnTo>
                    <a:pt x="2902" y="593"/>
                  </a:lnTo>
                  <a:lnTo>
                    <a:pt x="2902" y="590"/>
                  </a:lnTo>
                  <a:lnTo>
                    <a:pt x="2903" y="590"/>
                  </a:lnTo>
                  <a:lnTo>
                    <a:pt x="2903" y="582"/>
                  </a:lnTo>
                  <a:lnTo>
                    <a:pt x="2904" y="582"/>
                  </a:lnTo>
                  <a:lnTo>
                    <a:pt x="2904" y="579"/>
                  </a:lnTo>
                  <a:lnTo>
                    <a:pt x="2904" y="579"/>
                  </a:lnTo>
                  <a:lnTo>
                    <a:pt x="2904" y="577"/>
                  </a:lnTo>
                  <a:lnTo>
                    <a:pt x="2904" y="577"/>
                  </a:lnTo>
                  <a:lnTo>
                    <a:pt x="2904" y="577"/>
                  </a:lnTo>
                  <a:lnTo>
                    <a:pt x="2904" y="577"/>
                  </a:lnTo>
                  <a:lnTo>
                    <a:pt x="2904" y="577"/>
                  </a:lnTo>
                  <a:lnTo>
                    <a:pt x="2904" y="577"/>
                  </a:lnTo>
                  <a:lnTo>
                    <a:pt x="2904" y="577"/>
                  </a:lnTo>
                  <a:lnTo>
                    <a:pt x="2906" y="577"/>
                  </a:lnTo>
                  <a:lnTo>
                    <a:pt x="2906" y="577"/>
                  </a:lnTo>
                  <a:lnTo>
                    <a:pt x="2909" y="577"/>
                  </a:lnTo>
                  <a:lnTo>
                    <a:pt x="2909" y="577"/>
                  </a:lnTo>
                  <a:lnTo>
                    <a:pt x="2913" y="577"/>
                  </a:lnTo>
                  <a:lnTo>
                    <a:pt x="2913" y="577"/>
                  </a:lnTo>
                  <a:lnTo>
                    <a:pt x="2917" y="577"/>
                  </a:lnTo>
                  <a:lnTo>
                    <a:pt x="2917" y="568"/>
                  </a:lnTo>
                  <a:lnTo>
                    <a:pt x="2917" y="568"/>
                  </a:lnTo>
                  <a:lnTo>
                    <a:pt x="2917" y="568"/>
                  </a:lnTo>
                  <a:lnTo>
                    <a:pt x="2918" y="568"/>
                  </a:lnTo>
                  <a:lnTo>
                    <a:pt x="2918" y="568"/>
                  </a:lnTo>
                  <a:lnTo>
                    <a:pt x="2938" y="568"/>
                  </a:lnTo>
                  <a:lnTo>
                    <a:pt x="2938" y="567"/>
                  </a:lnTo>
                  <a:lnTo>
                    <a:pt x="2938" y="567"/>
                  </a:lnTo>
                  <a:lnTo>
                    <a:pt x="2938" y="567"/>
                  </a:lnTo>
                  <a:lnTo>
                    <a:pt x="2939" y="567"/>
                  </a:lnTo>
                  <a:lnTo>
                    <a:pt x="2939" y="567"/>
                  </a:lnTo>
                  <a:lnTo>
                    <a:pt x="2943" y="567"/>
                  </a:lnTo>
                  <a:lnTo>
                    <a:pt x="2943" y="567"/>
                  </a:lnTo>
                  <a:lnTo>
                    <a:pt x="2943" y="567"/>
                  </a:lnTo>
                  <a:lnTo>
                    <a:pt x="2943" y="565"/>
                  </a:lnTo>
                  <a:lnTo>
                    <a:pt x="2943" y="565"/>
                  </a:lnTo>
                  <a:lnTo>
                    <a:pt x="2943" y="562"/>
                  </a:lnTo>
                  <a:lnTo>
                    <a:pt x="2943" y="562"/>
                  </a:lnTo>
                  <a:lnTo>
                    <a:pt x="2943" y="562"/>
                  </a:lnTo>
                  <a:lnTo>
                    <a:pt x="2943" y="562"/>
                  </a:lnTo>
                  <a:lnTo>
                    <a:pt x="2943" y="562"/>
                  </a:lnTo>
                  <a:lnTo>
                    <a:pt x="2943" y="562"/>
                  </a:lnTo>
                  <a:lnTo>
                    <a:pt x="2943" y="562"/>
                  </a:lnTo>
                  <a:lnTo>
                    <a:pt x="2943" y="562"/>
                  </a:lnTo>
                  <a:lnTo>
                    <a:pt x="2943" y="562"/>
                  </a:lnTo>
                  <a:lnTo>
                    <a:pt x="2944" y="562"/>
                  </a:lnTo>
                  <a:lnTo>
                    <a:pt x="2944" y="562"/>
                  </a:lnTo>
                  <a:lnTo>
                    <a:pt x="2945" y="562"/>
                  </a:lnTo>
                  <a:lnTo>
                    <a:pt x="2945" y="561"/>
                  </a:lnTo>
                  <a:lnTo>
                    <a:pt x="2947" y="561"/>
                  </a:lnTo>
                  <a:lnTo>
                    <a:pt x="2947" y="561"/>
                  </a:lnTo>
                  <a:lnTo>
                    <a:pt x="2950" y="561"/>
                  </a:lnTo>
                  <a:lnTo>
                    <a:pt x="2950" y="552"/>
                  </a:lnTo>
                  <a:lnTo>
                    <a:pt x="2950" y="552"/>
                  </a:lnTo>
                  <a:lnTo>
                    <a:pt x="2950" y="552"/>
                  </a:lnTo>
                  <a:lnTo>
                    <a:pt x="2950" y="552"/>
                  </a:lnTo>
                  <a:lnTo>
                    <a:pt x="2950" y="551"/>
                  </a:lnTo>
                  <a:lnTo>
                    <a:pt x="2950" y="551"/>
                  </a:lnTo>
                  <a:lnTo>
                    <a:pt x="2950" y="551"/>
                  </a:lnTo>
                  <a:lnTo>
                    <a:pt x="2950" y="551"/>
                  </a:lnTo>
                  <a:lnTo>
                    <a:pt x="2950" y="551"/>
                  </a:lnTo>
                  <a:lnTo>
                    <a:pt x="2951" y="551"/>
                  </a:lnTo>
                  <a:lnTo>
                    <a:pt x="2951" y="547"/>
                  </a:lnTo>
                  <a:lnTo>
                    <a:pt x="2951" y="547"/>
                  </a:lnTo>
                  <a:lnTo>
                    <a:pt x="2951" y="547"/>
                  </a:lnTo>
                  <a:lnTo>
                    <a:pt x="2951" y="547"/>
                  </a:lnTo>
                  <a:lnTo>
                    <a:pt x="2951" y="545"/>
                  </a:lnTo>
                  <a:lnTo>
                    <a:pt x="2952" y="545"/>
                  </a:lnTo>
                  <a:lnTo>
                    <a:pt x="2952" y="543"/>
                  </a:lnTo>
                  <a:lnTo>
                    <a:pt x="2953" y="543"/>
                  </a:lnTo>
                  <a:lnTo>
                    <a:pt x="2953" y="540"/>
                  </a:lnTo>
                  <a:lnTo>
                    <a:pt x="2962" y="540"/>
                  </a:lnTo>
                  <a:lnTo>
                    <a:pt x="2962" y="539"/>
                  </a:lnTo>
                  <a:lnTo>
                    <a:pt x="2962" y="539"/>
                  </a:lnTo>
                  <a:lnTo>
                    <a:pt x="2962" y="539"/>
                  </a:lnTo>
                  <a:lnTo>
                    <a:pt x="2962" y="539"/>
                  </a:lnTo>
                  <a:lnTo>
                    <a:pt x="2962" y="539"/>
                  </a:lnTo>
                  <a:lnTo>
                    <a:pt x="2962" y="539"/>
                  </a:lnTo>
                  <a:lnTo>
                    <a:pt x="2962" y="539"/>
                  </a:lnTo>
                  <a:lnTo>
                    <a:pt x="2962" y="539"/>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4" y="538"/>
                  </a:lnTo>
                  <a:lnTo>
                    <a:pt x="2964"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7" y="538"/>
                  </a:lnTo>
                  <a:lnTo>
                    <a:pt x="2967" y="538"/>
                  </a:lnTo>
                  <a:lnTo>
                    <a:pt x="2967" y="538"/>
                  </a:lnTo>
                  <a:lnTo>
                    <a:pt x="2967" y="538"/>
                  </a:lnTo>
                  <a:lnTo>
                    <a:pt x="2967" y="538"/>
                  </a:lnTo>
                  <a:lnTo>
                    <a:pt x="2967" y="538"/>
                  </a:lnTo>
                  <a:lnTo>
                    <a:pt x="2968" y="538"/>
                  </a:lnTo>
                  <a:lnTo>
                    <a:pt x="2968" y="538"/>
                  </a:lnTo>
                  <a:lnTo>
                    <a:pt x="2972" y="538"/>
                  </a:lnTo>
                  <a:lnTo>
                    <a:pt x="2972" y="528"/>
                  </a:lnTo>
                  <a:lnTo>
                    <a:pt x="2972" y="528"/>
                  </a:lnTo>
                  <a:lnTo>
                    <a:pt x="2972" y="527"/>
                  </a:lnTo>
                  <a:lnTo>
                    <a:pt x="3045" y="527"/>
                  </a:lnTo>
                  <a:lnTo>
                    <a:pt x="3045" y="527"/>
                  </a:lnTo>
                  <a:lnTo>
                    <a:pt x="3045" y="527"/>
                  </a:lnTo>
                  <a:lnTo>
                    <a:pt x="3045" y="527"/>
                  </a:lnTo>
                  <a:lnTo>
                    <a:pt x="3046" y="527"/>
                  </a:lnTo>
                  <a:lnTo>
                    <a:pt x="3046" y="523"/>
                  </a:lnTo>
                  <a:lnTo>
                    <a:pt x="3046" y="523"/>
                  </a:lnTo>
                  <a:lnTo>
                    <a:pt x="3046" y="522"/>
                  </a:lnTo>
                  <a:lnTo>
                    <a:pt x="3046" y="522"/>
                  </a:lnTo>
                  <a:lnTo>
                    <a:pt x="3046" y="522"/>
                  </a:lnTo>
                  <a:lnTo>
                    <a:pt x="3047" y="522"/>
                  </a:lnTo>
                  <a:lnTo>
                    <a:pt x="3047" y="522"/>
                  </a:lnTo>
                  <a:lnTo>
                    <a:pt x="3047" y="522"/>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8" y="521"/>
                  </a:lnTo>
                  <a:lnTo>
                    <a:pt x="3048" y="521"/>
                  </a:lnTo>
                  <a:lnTo>
                    <a:pt x="3048" y="521"/>
                  </a:lnTo>
                  <a:lnTo>
                    <a:pt x="3048" y="521"/>
                  </a:lnTo>
                  <a:lnTo>
                    <a:pt x="3048" y="521"/>
                  </a:lnTo>
                  <a:lnTo>
                    <a:pt x="3048" y="521"/>
                  </a:lnTo>
                  <a:lnTo>
                    <a:pt x="3048" y="521"/>
                  </a:lnTo>
                  <a:lnTo>
                    <a:pt x="3048" y="521"/>
                  </a:lnTo>
                  <a:lnTo>
                    <a:pt x="3049" y="521"/>
                  </a:lnTo>
                  <a:lnTo>
                    <a:pt x="3049" y="521"/>
                  </a:lnTo>
                  <a:lnTo>
                    <a:pt x="3050" y="521"/>
                  </a:lnTo>
                  <a:lnTo>
                    <a:pt x="3050" y="521"/>
                  </a:lnTo>
                  <a:lnTo>
                    <a:pt x="3057" y="521"/>
                  </a:lnTo>
                  <a:lnTo>
                    <a:pt x="3057" y="520"/>
                  </a:lnTo>
                  <a:lnTo>
                    <a:pt x="3057" y="520"/>
                  </a:lnTo>
                  <a:lnTo>
                    <a:pt x="3057" y="520"/>
                  </a:lnTo>
                  <a:lnTo>
                    <a:pt x="3058" y="520"/>
                  </a:lnTo>
                  <a:lnTo>
                    <a:pt x="3058" y="511"/>
                  </a:lnTo>
                  <a:lnTo>
                    <a:pt x="3058" y="511"/>
                  </a:lnTo>
                  <a:lnTo>
                    <a:pt x="3058" y="510"/>
                  </a:lnTo>
                  <a:lnTo>
                    <a:pt x="3060" y="510"/>
                  </a:lnTo>
                  <a:lnTo>
                    <a:pt x="3060" y="510"/>
                  </a:lnTo>
                  <a:lnTo>
                    <a:pt x="3075" y="510"/>
                  </a:lnTo>
                  <a:lnTo>
                    <a:pt x="3075" y="500"/>
                  </a:lnTo>
                  <a:lnTo>
                    <a:pt x="3075" y="500"/>
                  </a:lnTo>
                  <a:lnTo>
                    <a:pt x="3075" y="492"/>
                  </a:lnTo>
                  <a:lnTo>
                    <a:pt x="3075" y="492"/>
                  </a:lnTo>
                  <a:lnTo>
                    <a:pt x="3075" y="492"/>
                  </a:lnTo>
                  <a:lnTo>
                    <a:pt x="3075" y="492"/>
                  </a:lnTo>
                  <a:lnTo>
                    <a:pt x="3075" y="492"/>
                  </a:lnTo>
                  <a:lnTo>
                    <a:pt x="3075" y="492"/>
                  </a:lnTo>
                  <a:lnTo>
                    <a:pt x="3075" y="492"/>
                  </a:lnTo>
                  <a:lnTo>
                    <a:pt x="3076" y="492"/>
                  </a:lnTo>
                  <a:lnTo>
                    <a:pt x="3076" y="490"/>
                  </a:lnTo>
                  <a:lnTo>
                    <a:pt x="3101" y="490"/>
                  </a:lnTo>
                  <a:lnTo>
                    <a:pt x="3101" y="490"/>
                  </a:lnTo>
                  <a:lnTo>
                    <a:pt x="3156" y="490"/>
                  </a:lnTo>
                  <a:lnTo>
                    <a:pt x="3156" y="488"/>
                  </a:lnTo>
                  <a:lnTo>
                    <a:pt x="3156" y="488"/>
                  </a:lnTo>
                  <a:lnTo>
                    <a:pt x="3156" y="488"/>
                  </a:lnTo>
                  <a:lnTo>
                    <a:pt x="3157" y="488"/>
                  </a:lnTo>
                  <a:lnTo>
                    <a:pt x="3157" y="488"/>
                  </a:lnTo>
                  <a:lnTo>
                    <a:pt x="3157" y="488"/>
                  </a:lnTo>
                  <a:lnTo>
                    <a:pt x="3157" y="488"/>
                  </a:lnTo>
                  <a:lnTo>
                    <a:pt x="3159" y="488"/>
                  </a:lnTo>
                  <a:lnTo>
                    <a:pt x="3159" y="488"/>
                  </a:lnTo>
                  <a:lnTo>
                    <a:pt x="3169" y="488"/>
                  </a:lnTo>
                  <a:lnTo>
                    <a:pt x="3169" y="488"/>
                  </a:lnTo>
                  <a:lnTo>
                    <a:pt x="3169" y="488"/>
                  </a:lnTo>
                  <a:lnTo>
                    <a:pt x="3169" y="479"/>
                  </a:lnTo>
                  <a:lnTo>
                    <a:pt x="3169" y="479"/>
                  </a:lnTo>
                  <a:lnTo>
                    <a:pt x="3169" y="479"/>
                  </a:lnTo>
                  <a:lnTo>
                    <a:pt x="3169" y="479"/>
                  </a:lnTo>
                  <a:lnTo>
                    <a:pt x="3169" y="479"/>
                  </a:lnTo>
                  <a:lnTo>
                    <a:pt x="3169" y="479"/>
                  </a:lnTo>
                  <a:lnTo>
                    <a:pt x="3169" y="479"/>
                  </a:lnTo>
                  <a:lnTo>
                    <a:pt x="3169" y="479"/>
                  </a:lnTo>
                  <a:lnTo>
                    <a:pt x="3169" y="479"/>
                  </a:lnTo>
                  <a:lnTo>
                    <a:pt x="3171" y="479"/>
                  </a:lnTo>
                  <a:lnTo>
                    <a:pt x="3171" y="479"/>
                  </a:lnTo>
                  <a:lnTo>
                    <a:pt x="3172" y="479"/>
                  </a:lnTo>
                  <a:lnTo>
                    <a:pt x="3172" y="479"/>
                  </a:lnTo>
                  <a:lnTo>
                    <a:pt x="3175" y="479"/>
                  </a:lnTo>
                  <a:lnTo>
                    <a:pt x="3175" y="476"/>
                  </a:lnTo>
                  <a:lnTo>
                    <a:pt x="3175" y="476"/>
                  </a:lnTo>
                  <a:lnTo>
                    <a:pt x="3175" y="476"/>
                  </a:lnTo>
                  <a:lnTo>
                    <a:pt x="3175" y="476"/>
                  </a:lnTo>
                  <a:lnTo>
                    <a:pt x="3175" y="476"/>
                  </a:lnTo>
                  <a:lnTo>
                    <a:pt x="3175" y="476"/>
                  </a:lnTo>
                  <a:lnTo>
                    <a:pt x="3175" y="476"/>
                  </a:lnTo>
                  <a:lnTo>
                    <a:pt x="3176" y="476"/>
                  </a:lnTo>
                  <a:lnTo>
                    <a:pt x="3176" y="476"/>
                  </a:lnTo>
                  <a:lnTo>
                    <a:pt x="3176" y="476"/>
                  </a:lnTo>
                  <a:lnTo>
                    <a:pt x="3176" y="476"/>
                  </a:lnTo>
                  <a:lnTo>
                    <a:pt x="3176" y="476"/>
                  </a:lnTo>
                  <a:lnTo>
                    <a:pt x="3176" y="476"/>
                  </a:lnTo>
                  <a:lnTo>
                    <a:pt x="3178" y="476"/>
                  </a:lnTo>
                  <a:lnTo>
                    <a:pt x="3178" y="476"/>
                  </a:lnTo>
                  <a:lnTo>
                    <a:pt x="3182" y="476"/>
                  </a:lnTo>
                  <a:lnTo>
                    <a:pt x="3182"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7"/>
                  </a:lnTo>
                  <a:lnTo>
                    <a:pt x="3185" y="457"/>
                  </a:lnTo>
                  <a:lnTo>
                    <a:pt x="3185" y="457"/>
                  </a:lnTo>
                  <a:lnTo>
                    <a:pt x="3186" y="457"/>
                  </a:lnTo>
                  <a:lnTo>
                    <a:pt x="3186" y="457"/>
                  </a:lnTo>
                  <a:lnTo>
                    <a:pt x="3186" y="457"/>
                  </a:lnTo>
                  <a:lnTo>
                    <a:pt x="3186" y="455"/>
                  </a:lnTo>
                  <a:lnTo>
                    <a:pt x="3186" y="455"/>
                  </a:lnTo>
                  <a:lnTo>
                    <a:pt x="3186" y="455"/>
                  </a:lnTo>
                  <a:lnTo>
                    <a:pt x="3186" y="455"/>
                  </a:lnTo>
                  <a:lnTo>
                    <a:pt x="3186" y="454"/>
                  </a:lnTo>
                  <a:lnTo>
                    <a:pt x="3186" y="454"/>
                  </a:lnTo>
                  <a:lnTo>
                    <a:pt x="3186" y="454"/>
                  </a:lnTo>
                  <a:lnTo>
                    <a:pt x="3187" y="454"/>
                  </a:lnTo>
                  <a:lnTo>
                    <a:pt x="3187" y="445"/>
                  </a:lnTo>
                  <a:lnTo>
                    <a:pt x="3187" y="445"/>
                  </a:lnTo>
                  <a:lnTo>
                    <a:pt x="3187" y="445"/>
                  </a:lnTo>
                  <a:lnTo>
                    <a:pt x="3187" y="445"/>
                  </a:lnTo>
                  <a:lnTo>
                    <a:pt x="3187" y="445"/>
                  </a:lnTo>
                  <a:lnTo>
                    <a:pt x="3187" y="445"/>
                  </a:lnTo>
                  <a:lnTo>
                    <a:pt x="3187" y="445"/>
                  </a:lnTo>
                  <a:lnTo>
                    <a:pt x="3188" y="445"/>
                  </a:lnTo>
                  <a:lnTo>
                    <a:pt x="3188" y="440"/>
                  </a:lnTo>
                  <a:lnTo>
                    <a:pt x="3189" y="440"/>
                  </a:lnTo>
                  <a:lnTo>
                    <a:pt x="3189" y="440"/>
                  </a:lnTo>
                  <a:lnTo>
                    <a:pt x="3189" y="440"/>
                  </a:lnTo>
                  <a:lnTo>
                    <a:pt x="3189" y="438"/>
                  </a:lnTo>
                  <a:lnTo>
                    <a:pt x="3189" y="438"/>
                  </a:lnTo>
                  <a:lnTo>
                    <a:pt x="3189" y="438"/>
                  </a:lnTo>
                  <a:lnTo>
                    <a:pt x="3189" y="438"/>
                  </a:lnTo>
                  <a:lnTo>
                    <a:pt x="3189" y="438"/>
                  </a:lnTo>
                  <a:lnTo>
                    <a:pt x="3189" y="438"/>
                  </a:lnTo>
                  <a:lnTo>
                    <a:pt x="3189" y="438"/>
                  </a:lnTo>
                  <a:lnTo>
                    <a:pt x="3189" y="438"/>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4"/>
                  </a:lnTo>
                  <a:lnTo>
                    <a:pt x="3189" y="434"/>
                  </a:lnTo>
                  <a:lnTo>
                    <a:pt x="3189" y="430"/>
                  </a:lnTo>
                  <a:lnTo>
                    <a:pt x="3189" y="430"/>
                  </a:lnTo>
                  <a:lnTo>
                    <a:pt x="3189" y="430"/>
                  </a:lnTo>
                  <a:lnTo>
                    <a:pt x="3189" y="430"/>
                  </a:lnTo>
                  <a:lnTo>
                    <a:pt x="3189" y="430"/>
                  </a:lnTo>
                  <a:lnTo>
                    <a:pt x="3189" y="430"/>
                  </a:lnTo>
                  <a:lnTo>
                    <a:pt x="3189" y="430"/>
                  </a:lnTo>
                  <a:lnTo>
                    <a:pt x="3190" y="430"/>
                  </a:lnTo>
                  <a:lnTo>
                    <a:pt x="3190" y="425"/>
                  </a:lnTo>
                  <a:lnTo>
                    <a:pt x="3190" y="425"/>
                  </a:lnTo>
                  <a:lnTo>
                    <a:pt x="3190" y="425"/>
                  </a:lnTo>
                  <a:lnTo>
                    <a:pt x="3190" y="425"/>
                  </a:lnTo>
                  <a:lnTo>
                    <a:pt x="3190" y="425"/>
                  </a:lnTo>
                  <a:lnTo>
                    <a:pt x="3191" y="425"/>
                  </a:lnTo>
                  <a:lnTo>
                    <a:pt x="3191" y="425"/>
                  </a:lnTo>
                  <a:lnTo>
                    <a:pt x="3191" y="425"/>
                  </a:lnTo>
                  <a:lnTo>
                    <a:pt x="3191" y="425"/>
                  </a:lnTo>
                  <a:lnTo>
                    <a:pt x="3192" y="425"/>
                  </a:lnTo>
                  <a:lnTo>
                    <a:pt x="3192" y="420"/>
                  </a:lnTo>
                  <a:lnTo>
                    <a:pt x="3192" y="420"/>
                  </a:lnTo>
                  <a:lnTo>
                    <a:pt x="3192" y="420"/>
                  </a:lnTo>
                  <a:lnTo>
                    <a:pt x="3192" y="420"/>
                  </a:lnTo>
                  <a:lnTo>
                    <a:pt x="3192" y="420"/>
                  </a:lnTo>
                  <a:lnTo>
                    <a:pt x="3192" y="420"/>
                  </a:lnTo>
                  <a:lnTo>
                    <a:pt x="3192" y="408"/>
                  </a:lnTo>
                  <a:lnTo>
                    <a:pt x="3192" y="408"/>
                  </a:lnTo>
                  <a:lnTo>
                    <a:pt x="3192" y="404"/>
                  </a:lnTo>
                  <a:lnTo>
                    <a:pt x="3192" y="404"/>
                  </a:lnTo>
                  <a:lnTo>
                    <a:pt x="3192" y="402"/>
                  </a:lnTo>
                  <a:lnTo>
                    <a:pt x="3192" y="402"/>
                  </a:lnTo>
                  <a:lnTo>
                    <a:pt x="3192" y="402"/>
                  </a:lnTo>
                  <a:lnTo>
                    <a:pt x="3193" y="402"/>
                  </a:lnTo>
                  <a:lnTo>
                    <a:pt x="3193" y="394"/>
                  </a:lnTo>
                  <a:lnTo>
                    <a:pt x="3193" y="394"/>
                  </a:lnTo>
                  <a:lnTo>
                    <a:pt x="3193" y="394"/>
                  </a:lnTo>
                  <a:lnTo>
                    <a:pt x="3193" y="394"/>
                  </a:lnTo>
                  <a:lnTo>
                    <a:pt x="3193" y="394"/>
                  </a:lnTo>
                  <a:lnTo>
                    <a:pt x="3193" y="394"/>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4" y="391"/>
                  </a:lnTo>
                  <a:lnTo>
                    <a:pt x="3194" y="391"/>
                  </a:lnTo>
                  <a:lnTo>
                    <a:pt x="3194" y="391"/>
                  </a:lnTo>
                  <a:lnTo>
                    <a:pt x="3194" y="391"/>
                  </a:lnTo>
                  <a:lnTo>
                    <a:pt x="3194" y="391"/>
                  </a:lnTo>
                  <a:lnTo>
                    <a:pt x="3194" y="391"/>
                  </a:lnTo>
                  <a:lnTo>
                    <a:pt x="3194" y="391"/>
                  </a:lnTo>
                  <a:lnTo>
                    <a:pt x="3194" y="391"/>
                  </a:lnTo>
                  <a:lnTo>
                    <a:pt x="3195" y="391"/>
                  </a:lnTo>
                  <a:lnTo>
                    <a:pt x="3195" y="391"/>
                  </a:lnTo>
                  <a:lnTo>
                    <a:pt x="3196" y="391"/>
                  </a:lnTo>
                  <a:lnTo>
                    <a:pt x="3196" y="391"/>
                  </a:lnTo>
                  <a:lnTo>
                    <a:pt x="3197" y="391"/>
                  </a:lnTo>
                  <a:lnTo>
                    <a:pt x="3197" y="391"/>
                  </a:lnTo>
                  <a:lnTo>
                    <a:pt x="3201" y="391"/>
                  </a:lnTo>
                  <a:lnTo>
                    <a:pt x="3201" y="385"/>
                  </a:lnTo>
                  <a:lnTo>
                    <a:pt x="3202" y="385"/>
                  </a:lnTo>
                  <a:lnTo>
                    <a:pt x="3202" y="384"/>
                  </a:lnTo>
                  <a:lnTo>
                    <a:pt x="3202" y="384"/>
                  </a:lnTo>
                  <a:lnTo>
                    <a:pt x="3202" y="384"/>
                  </a:lnTo>
                  <a:lnTo>
                    <a:pt x="3203" y="384"/>
                  </a:lnTo>
                  <a:lnTo>
                    <a:pt x="3203" y="377"/>
                  </a:lnTo>
                  <a:lnTo>
                    <a:pt x="3216" y="377"/>
                  </a:lnTo>
                  <a:lnTo>
                    <a:pt x="3216" y="375"/>
                  </a:lnTo>
                  <a:lnTo>
                    <a:pt x="3216" y="375"/>
                  </a:lnTo>
                  <a:lnTo>
                    <a:pt x="3216" y="368"/>
                  </a:lnTo>
                  <a:lnTo>
                    <a:pt x="3216" y="368"/>
                  </a:lnTo>
                  <a:lnTo>
                    <a:pt x="3216" y="365"/>
                  </a:lnTo>
                  <a:lnTo>
                    <a:pt x="3216" y="365"/>
                  </a:lnTo>
                  <a:lnTo>
                    <a:pt x="3216" y="365"/>
                  </a:lnTo>
                  <a:lnTo>
                    <a:pt x="3216" y="365"/>
                  </a:lnTo>
                  <a:lnTo>
                    <a:pt x="3216" y="364"/>
                  </a:lnTo>
                  <a:lnTo>
                    <a:pt x="3216" y="364"/>
                  </a:lnTo>
                  <a:lnTo>
                    <a:pt x="3216" y="364"/>
                  </a:lnTo>
                  <a:lnTo>
                    <a:pt x="3216" y="364"/>
                  </a:lnTo>
                  <a:lnTo>
                    <a:pt x="3216" y="361"/>
                  </a:lnTo>
                  <a:lnTo>
                    <a:pt x="3216" y="361"/>
                  </a:lnTo>
                  <a:lnTo>
                    <a:pt x="3216" y="357"/>
                  </a:lnTo>
                  <a:lnTo>
                    <a:pt x="3216" y="357"/>
                  </a:lnTo>
                  <a:lnTo>
                    <a:pt x="3216" y="353"/>
                  </a:lnTo>
                  <a:lnTo>
                    <a:pt x="3216" y="353"/>
                  </a:lnTo>
                  <a:lnTo>
                    <a:pt x="3216" y="353"/>
                  </a:lnTo>
                  <a:lnTo>
                    <a:pt x="3216" y="353"/>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7" y="350"/>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8" y="345"/>
                  </a:lnTo>
                  <a:lnTo>
                    <a:pt x="3218" y="345"/>
                  </a:lnTo>
                  <a:lnTo>
                    <a:pt x="3218" y="345"/>
                  </a:lnTo>
                  <a:lnTo>
                    <a:pt x="3218" y="344"/>
                  </a:lnTo>
                  <a:lnTo>
                    <a:pt x="3218" y="344"/>
                  </a:lnTo>
                  <a:lnTo>
                    <a:pt x="3218" y="331"/>
                  </a:lnTo>
                  <a:lnTo>
                    <a:pt x="3218" y="331"/>
                  </a:lnTo>
                  <a:lnTo>
                    <a:pt x="3218" y="324"/>
                  </a:lnTo>
                  <a:lnTo>
                    <a:pt x="3218" y="324"/>
                  </a:lnTo>
                  <a:lnTo>
                    <a:pt x="3218" y="324"/>
                  </a:lnTo>
                  <a:lnTo>
                    <a:pt x="3218" y="324"/>
                  </a:lnTo>
                  <a:lnTo>
                    <a:pt x="3218" y="324"/>
                  </a:lnTo>
                  <a:lnTo>
                    <a:pt x="3243" y="324"/>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1"/>
                  </a:lnTo>
                  <a:lnTo>
                    <a:pt x="3243" y="321"/>
                  </a:lnTo>
                  <a:lnTo>
                    <a:pt x="3243" y="321"/>
                  </a:lnTo>
                  <a:lnTo>
                    <a:pt x="3244" y="321"/>
                  </a:lnTo>
                  <a:lnTo>
                    <a:pt x="3244" y="319"/>
                  </a:lnTo>
                  <a:lnTo>
                    <a:pt x="3244" y="319"/>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5" y="316"/>
                  </a:lnTo>
                  <a:lnTo>
                    <a:pt x="3245" y="316"/>
                  </a:lnTo>
                  <a:lnTo>
                    <a:pt x="3245" y="316"/>
                  </a:lnTo>
                  <a:lnTo>
                    <a:pt x="3245" y="285"/>
                  </a:lnTo>
                  <a:lnTo>
                    <a:pt x="3245" y="285"/>
                  </a:lnTo>
                  <a:lnTo>
                    <a:pt x="3245" y="285"/>
                  </a:lnTo>
                  <a:lnTo>
                    <a:pt x="3246" y="285"/>
                  </a:lnTo>
                  <a:lnTo>
                    <a:pt x="3246" y="283"/>
                  </a:lnTo>
                  <a:lnTo>
                    <a:pt x="3246" y="283"/>
                  </a:lnTo>
                  <a:lnTo>
                    <a:pt x="3246" y="283"/>
                  </a:lnTo>
                  <a:lnTo>
                    <a:pt x="3247" y="283"/>
                  </a:lnTo>
                  <a:lnTo>
                    <a:pt x="3247" y="281"/>
                  </a:lnTo>
                  <a:lnTo>
                    <a:pt x="3247" y="281"/>
                  </a:lnTo>
                  <a:lnTo>
                    <a:pt x="3247" y="281"/>
                  </a:lnTo>
                  <a:lnTo>
                    <a:pt x="3248" y="281"/>
                  </a:lnTo>
                  <a:lnTo>
                    <a:pt x="3248" y="276"/>
                  </a:lnTo>
                  <a:lnTo>
                    <a:pt x="3248" y="276"/>
                  </a:lnTo>
                  <a:lnTo>
                    <a:pt x="3248" y="276"/>
                  </a:lnTo>
                  <a:lnTo>
                    <a:pt x="3248" y="276"/>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9" y="275"/>
                  </a:lnTo>
                  <a:lnTo>
                    <a:pt x="3249" y="268"/>
                  </a:lnTo>
                  <a:lnTo>
                    <a:pt x="3249" y="268"/>
                  </a:lnTo>
                  <a:lnTo>
                    <a:pt x="3249" y="268"/>
                  </a:lnTo>
                  <a:lnTo>
                    <a:pt x="3249" y="268"/>
                  </a:lnTo>
                  <a:lnTo>
                    <a:pt x="3249" y="268"/>
                  </a:lnTo>
                  <a:lnTo>
                    <a:pt x="3249" y="268"/>
                  </a:lnTo>
                  <a:lnTo>
                    <a:pt x="3249" y="268"/>
                  </a:lnTo>
                  <a:lnTo>
                    <a:pt x="3249" y="268"/>
                  </a:lnTo>
                  <a:lnTo>
                    <a:pt x="3249" y="261"/>
                  </a:lnTo>
                  <a:lnTo>
                    <a:pt x="3249" y="261"/>
                  </a:lnTo>
                  <a:lnTo>
                    <a:pt x="3249" y="261"/>
                  </a:lnTo>
                  <a:lnTo>
                    <a:pt x="3249" y="261"/>
                  </a:lnTo>
                  <a:lnTo>
                    <a:pt x="3249" y="247"/>
                  </a:lnTo>
                  <a:lnTo>
                    <a:pt x="3249" y="247"/>
                  </a:lnTo>
                  <a:lnTo>
                    <a:pt x="3249" y="247"/>
                  </a:lnTo>
                  <a:lnTo>
                    <a:pt x="3249" y="247"/>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38"/>
                  </a:lnTo>
                  <a:lnTo>
                    <a:pt x="3250" y="238"/>
                  </a:lnTo>
                  <a:lnTo>
                    <a:pt x="3250" y="236"/>
                  </a:lnTo>
                  <a:lnTo>
                    <a:pt x="3250" y="236"/>
                  </a:lnTo>
                  <a:lnTo>
                    <a:pt x="3250" y="221"/>
                  </a:lnTo>
                  <a:lnTo>
                    <a:pt x="3251" y="221"/>
                  </a:lnTo>
                  <a:lnTo>
                    <a:pt x="3251" y="220"/>
                  </a:lnTo>
                  <a:lnTo>
                    <a:pt x="3251" y="220"/>
                  </a:lnTo>
                  <a:lnTo>
                    <a:pt x="3251" y="220"/>
                  </a:lnTo>
                  <a:lnTo>
                    <a:pt x="3252" y="220"/>
                  </a:lnTo>
                  <a:lnTo>
                    <a:pt x="3252" y="219"/>
                  </a:lnTo>
                  <a:lnTo>
                    <a:pt x="3252" y="219"/>
                  </a:lnTo>
                  <a:lnTo>
                    <a:pt x="3252" y="213"/>
                  </a:lnTo>
                  <a:lnTo>
                    <a:pt x="3252" y="213"/>
                  </a:lnTo>
                  <a:lnTo>
                    <a:pt x="3252" y="212"/>
                  </a:lnTo>
                  <a:lnTo>
                    <a:pt x="3252" y="212"/>
                  </a:lnTo>
                  <a:lnTo>
                    <a:pt x="3252" y="211"/>
                  </a:lnTo>
                  <a:lnTo>
                    <a:pt x="3252" y="211"/>
                  </a:lnTo>
                  <a:lnTo>
                    <a:pt x="3252" y="211"/>
                  </a:lnTo>
                  <a:lnTo>
                    <a:pt x="3252" y="211"/>
                  </a:lnTo>
                  <a:lnTo>
                    <a:pt x="3252" y="211"/>
                  </a:lnTo>
                  <a:lnTo>
                    <a:pt x="3252" y="211"/>
                  </a:lnTo>
                  <a:lnTo>
                    <a:pt x="3252" y="211"/>
                  </a:lnTo>
                  <a:lnTo>
                    <a:pt x="3252" y="211"/>
                  </a:lnTo>
                  <a:lnTo>
                    <a:pt x="3252" y="204"/>
                  </a:lnTo>
                  <a:lnTo>
                    <a:pt x="3252" y="204"/>
                  </a:lnTo>
                  <a:lnTo>
                    <a:pt x="3252" y="204"/>
                  </a:lnTo>
                  <a:lnTo>
                    <a:pt x="3253" y="204"/>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195"/>
                  </a:lnTo>
                  <a:lnTo>
                    <a:pt x="3253" y="195"/>
                  </a:lnTo>
                  <a:lnTo>
                    <a:pt x="3253" y="188"/>
                  </a:lnTo>
                  <a:lnTo>
                    <a:pt x="3253" y="188"/>
                  </a:lnTo>
                  <a:lnTo>
                    <a:pt x="3253" y="188"/>
                  </a:lnTo>
                  <a:lnTo>
                    <a:pt x="3253" y="188"/>
                  </a:lnTo>
                  <a:lnTo>
                    <a:pt x="3253" y="183"/>
                  </a:lnTo>
                  <a:lnTo>
                    <a:pt x="3253" y="183"/>
                  </a:lnTo>
                  <a:lnTo>
                    <a:pt x="3253" y="177"/>
                  </a:lnTo>
                  <a:lnTo>
                    <a:pt x="3253" y="177"/>
                  </a:lnTo>
                  <a:lnTo>
                    <a:pt x="3253" y="158"/>
                  </a:lnTo>
                  <a:lnTo>
                    <a:pt x="3253" y="158"/>
                  </a:lnTo>
                  <a:lnTo>
                    <a:pt x="3253" y="158"/>
                  </a:lnTo>
                  <a:lnTo>
                    <a:pt x="3253" y="158"/>
                  </a:lnTo>
                  <a:lnTo>
                    <a:pt x="3253" y="137"/>
                  </a:lnTo>
                  <a:lnTo>
                    <a:pt x="3253" y="137"/>
                  </a:lnTo>
                  <a:lnTo>
                    <a:pt x="3253" y="133"/>
                  </a:lnTo>
                  <a:lnTo>
                    <a:pt x="3253" y="133"/>
                  </a:lnTo>
                  <a:lnTo>
                    <a:pt x="3253" y="133"/>
                  </a:lnTo>
                  <a:lnTo>
                    <a:pt x="3253" y="133"/>
                  </a:lnTo>
                  <a:lnTo>
                    <a:pt x="3253" y="133"/>
                  </a:lnTo>
                  <a:lnTo>
                    <a:pt x="3253" y="133"/>
                  </a:lnTo>
                  <a:lnTo>
                    <a:pt x="3253" y="133"/>
                  </a:lnTo>
                  <a:lnTo>
                    <a:pt x="3272" y="133"/>
                  </a:lnTo>
                  <a:lnTo>
                    <a:pt x="3272" y="101"/>
                  </a:lnTo>
                  <a:lnTo>
                    <a:pt x="3272" y="101"/>
                  </a:lnTo>
                  <a:lnTo>
                    <a:pt x="3272" y="101"/>
                  </a:lnTo>
                  <a:lnTo>
                    <a:pt x="3273" y="101"/>
                  </a:lnTo>
                  <a:lnTo>
                    <a:pt x="3273" y="101"/>
                  </a:lnTo>
                  <a:lnTo>
                    <a:pt x="3273" y="101"/>
                  </a:lnTo>
                  <a:lnTo>
                    <a:pt x="3273" y="87"/>
                  </a:lnTo>
                  <a:lnTo>
                    <a:pt x="3273" y="87"/>
                  </a:lnTo>
                  <a:lnTo>
                    <a:pt x="3273" y="87"/>
                  </a:lnTo>
                  <a:lnTo>
                    <a:pt x="3273" y="87"/>
                  </a:lnTo>
                  <a:lnTo>
                    <a:pt x="3273" y="87"/>
                  </a:lnTo>
                  <a:lnTo>
                    <a:pt x="3273" y="87"/>
                  </a:lnTo>
                  <a:lnTo>
                    <a:pt x="3273" y="87"/>
                  </a:lnTo>
                  <a:lnTo>
                    <a:pt x="3273" y="87"/>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4" y="83"/>
                  </a:lnTo>
                  <a:lnTo>
                    <a:pt x="3274" y="83"/>
                  </a:lnTo>
                  <a:lnTo>
                    <a:pt x="3274" y="83"/>
                  </a:lnTo>
                  <a:lnTo>
                    <a:pt x="3274" y="83"/>
                  </a:lnTo>
                  <a:lnTo>
                    <a:pt x="3277" y="83"/>
                  </a:lnTo>
                  <a:lnTo>
                    <a:pt x="3277" y="29"/>
                  </a:lnTo>
                  <a:lnTo>
                    <a:pt x="3277" y="29"/>
                  </a:lnTo>
                  <a:lnTo>
                    <a:pt x="3277" y="29"/>
                  </a:lnTo>
                  <a:lnTo>
                    <a:pt x="3295" y="29"/>
                  </a:lnTo>
                  <a:lnTo>
                    <a:pt x="3295" y="3"/>
                  </a:lnTo>
                  <a:lnTo>
                    <a:pt x="3295" y="3"/>
                  </a:lnTo>
                  <a:lnTo>
                    <a:pt x="3295" y="3"/>
                  </a:lnTo>
                  <a:lnTo>
                    <a:pt x="3296" y="3"/>
                  </a:lnTo>
                  <a:lnTo>
                    <a:pt x="3296" y="0"/>
                  </a:lnTo>
                  <a:lnTo>
                    <a:pt x="3296" y="0"/>
                  </a:lnTo>
                  <a:lnTo>
                    <a:pt x="3296" y="0"/>
                  </a:lnTo>
                  <a:lnTo>
                    <a:pt x="3297" y="0"/>
                  </a:lnTo>
                  <a:lnTo>
                    <a:pt x="3297" y="0"/>
                  </a:lnTo>
                  <a:lnTo>
                    <a:pt x="3298" y="0"/>
                  </a:lnTo>
                  <a:lnTo>
                    <a:pt x="3298" y="0"/>
                  </a:lnTo>
                  <a:lnTo>
                    <a:pt x="3299" y="0"/>
                  </a:lnTo>
                  <a:lnTo>
                    <a:pt x="3299" y="0"/>
                  </a:lnTo>
                  <a:lnTo>
                    <a:pt x="3299" y="0"/>
                  </a:lnTo>
                  <a:lnTo>
                    <a:pt x="3299" y="0"/>
                  </a:lnTo>
                  <a:lnTo>
                    <a:pt x="3299" y="0"/>
                  </a:lnTo>
                  <a:lnTo>
                    <a:pt x="3299" y="0"/>
                  </a:lnTo>
                  <a:lnTo>
                    <a:pt x="3301" y="0"/>
                  </a:lnTo>
                  <a:lnTo>
                    <a:pt x="3301" y="0"/>
                  </a:lnTo>
                  <a:lnTo>
                    <a:pt x="3301" y="0"/>
                  </a:lnTo>
                  <a:lnTo>
                    <a:pt x="3301" y="0"/>
                  </a:lnTo>
                  <a:lnTo>
                    <a:pt x="3301" y="0"/>
                  </a:lnTo>
                  <a:lnTo>
                    <a:pt x="3301" y="0"/>
                  </a:lnTo>
                  <a:lnTo>
                    <a:pt x="3301" y="0"/>
                  </a:lnTo>
                  <a:lnTo>
                    <a:pt x="3301"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7" y="0"/>
                  </a:lnTo>
                  <a:lnTo>
                    <a:pt x="3317" y="0"/>
                  </a:lnTo>
                  <a:lnTo>
                    <a:pt x="3317" y="0"/>
                  </a:lnTo>
                  <a:lnTo>
                    <a:pt x="3317" y="0"/>
                  </a:lnTo>
                  <a:lnTo>
                    <a:pt x="3338" y="0"/>
                  </a:lnTo>
                  <a:lnTo>
                    <a:pt x="3338"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1" y="0"/>
                  </a:lnTo>
                  <a:lnTo>
                    <a:pt x="3341" y="0"/>
                  </a:lnTo>
                  <a:lnTo>
                    <a:pt x="3341" y="0"/>
                  </a:lnTo>
                  <a:lnTo>
                    <a:pt x="3341" y="0"/>
                  </a:lnTo>
                  <a:lnTo>
                    <a:pt x="3353" y="0"/>
                  </a:lnTo>
                  <a:lnTo>
                    <a:pt x="3353" y="0"/>
                  </a:lnTo>
                  <a:lnTo>
                    <a:pt x="3353" y="0"/>
                  </a:lnTo>
                  <a:lnTo>
                    <a:pt x="3353" y="0"/>
                  </a:lnTo>
                  <a:lnTo>
                    <a:pt x="3354" y="0"/>
                  </a:lnTo>
                  <a:lnTo>
                    <a:pt x="3354" y="0"/>
                  </a:lnTo>
                  <a:lnTo>
                    <a:pt x="3354" y="0"/>
                  </a:lnTo>
                  <a:lnTo>
                    <a:pt x="3354" y="0"/>
                  </a:lnTo>
                  <a:lnTo>
                    <a:pt x="3355" y="0"/>
                  </a:lnTo>
                  <a:lnTo>
                    <a:pt x="3355"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899"/>
                  </a:lnTo>
                  <a:lnTo>
                    <a:pt x="3383" y="899"/>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83"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72" y="0"/>
                  </a:lnTo>
                  <a:lnTo>
                    <a:pt x="3355" y="0"/>
                  </a:lnTo>
                  <a:lnTo>
                    <a:pt x="3355" y="0"/>
                  </a:lnTo>
                  <a:lnTo>
                    <a:pt x="3354" y="0"/>
                  </a:lnTo>
                  <a:lnTo>
                    <a:pt x="3354" y="0"/>
                  </a:lnTo>
                  <a:lnTo>
                    <a:pt x="3354" y="0"/>
                  </a:lnTo>
                  <a:lnTo>
                    <a:pt x="3354" y="0"/>
                  </a:lnTo>
                  <a:lnTo>
                    <a:pt x="3353" y="0"/>
                  </a:lnTo>
                  <a:lnTo>
                    <a:pt x="3353" y="0"/>
                  </a:lnTo>
                  <a:lnTo>
                    <a:pt x="3353" y="0"/>
                  </a:lnTo>
                  <a:lnTo>
                    <a:pt x="3353" y="0"/>
                  </a:lnTo>
                  <a:lnTo>
                    <a:pt x="3341" y="0"/>
                  </a:lnTo>
                  <a:lnTo>
                    <a:pt x="3341" y="0"/>
                  </a:lnTo>
                  <a:lnTo>
                    <a:pt x="3341" y="0"/>
                  </a:lnTo>
                  <a:lnTo>
                    <a:pt x="3341"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40" y="0"/>
                  </a:lnTo>
                  <a:lnTo>
                    <a:pt x="3338" y="0"/>
                  </a:lnTo>
                  <a:lnTo>
                    <a:pt x="3338" y="0"/>
                  </a:lnTo>
                  <a:lnTo>
                    <a:pt x="3317" y="0"/>
                  </a:lnTo>
                  <a:lnTo>
                    <a:pt x="3317" y="0"/>
                  </a:lnTo>
                  <a:lnTo>
                    <a:pt x="3317" y="0"/>
                  </a:lnTo>
                  <a:lnTo>
                    <a:pt x="3317"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6"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15" y="0"/>
                  </a:lnTo>
                  <a:lnTo>
                    <a:pt x="3301" y="0"/>
                  </a:lnTo>
                  <a:lnTo>
                    <a:pt x="3301" y="0"/>
                  </a:lnTo>
                  <a:lnTo>
                    <a:pt x="3301" y="0"/>
                  </a:lnTo>
                  <a:lnTo>
                    <a:pt x="3301" y="0"/>
                  </a:lnTo>
                  <a:lnTo>
                    <a:pt x="3301" y="0"/>
                  </a:lnTo>
                  <a:lnTo>
                    <a:pt x="3301" y="0"/>
                  </a:lnTo>
                  <a:lnTo>
                    <a:pt x="3301" y="0"/>
                  </a:lnTo>
                  <a:lnTo>
                    <a:pt x="3301" y="0"/>
                  </a:lnTo>
                  <a:lnTo>
                    <a:pt x="3299" y="0"/>
                  </a:lnTo>
                  <a:lnTo>
                    <a:pt x="3299" y="0"/>
                  </a:lnTo>
                  <a:lnTo>
                    <a:pt x="3299" y="0"/>
                  </a:lnTo>
                  <a:lnTo>
                    <a:pt x="3299" y="0"/>
                  </a:lnTo>
                  <a:lnTo>
                    <a:pt x="3299" y="0"/>
                  </a:lnTo>
                  <a:lnTo>
                    <a:pt x="3299" y="0"/>
                  </a:lnTo>
                  <a:lnTo>
                    <a:pt x="3298" y="0"/>
                  </a:lnTo>
                  <a:lnTo>
                    <a:pt x="3298" y="0"/>
                  </a:lnTo>
                  <a:lnTo>
                    <a:pt x="3297" y="0"/>
                  </a:lnTo>
                  <a:lnTo>
                    <a:pt x="3297" y="0"/>
                  </a:lnTo>
                  <a:lnTo>
                    <a:pt x="3296" y="0"/>
                  </a:lnTo>
                  <a:lnTo>
                    <a:pt x="3296" y="0"/>
                  </a:lnTo>
                  <a:lnTo>
                    <a:pt x="3296" y="0"/>
                  </a:lnTo>
                  <a:lnTo>
                    <a:pt x="3296" y="3"/>
                  </a:lnTo>
                  <a:lnTo>
                    <a:pt x="3295" y="3"/>
                  </a:lnTo>
                  <a:lnTo>
                    <a:pt x="3295" y="3"/>
                  </a:lnTo>
                  <a:lnTo>
                    <a:pt x="3295" y="3"/>
                  </a:lnTo>
                  <a:lnTo>
                    <a:pt x="3295" y="29"/>
                  </a:lnTo>
                  <a:lnTo>
                    <a:pt x="3277" y="29"/>
                  </a:lnTo>
                  <a:lnTo>
                    <a:pt x="3277" y="29"/>
                  </a:lnTo>
                  <a:lnTo>
                    <a:pt x="3277" y="29"/>
                  </a:lnTo>
                  <a:lnTo>
                    <a:pt x="3277" y="83"/>
                  </a:lnTo>
                  <a:lnTo>
                    <a:pt x="3274" y="83"/>
                  </a:lnTo>
                  <a:lnTo>
                    <a:pt x="3274" y="83"/>
                  </a:lnTo>
                  <a:lnTo>
                    <a:pt x="3274" y="83"/>
                  </a:lnTo>
                  <a:lnTo>
                    <a:pt x="3274"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3"/>
                  </a:lnTo>
                  <a:lnTo>
                    <a:pt x="3273" y="87"/>
                  </a:lnTo>
                  <a:lnTo>
                    <a:pt x="3273" y="87"/>
                  </a:lnTo>
                  <a:lnTo>
                    <a:pt x="3273" y="87"/>
                  </a:lnTo>
                  <a:lnTo>
                    <a:pt x="3273" y="87"/>
                  </a:lnTo>
                  <a:lnTo>
                    <a:pt x="3273" y="87"/>
                  </a:lnTo>
                  <a:lnTo>
                    <a:pt x="3273" y="87"/>
                  </a:lnTo>
                  <a:lnTo>
                    <a:pt x="3273" y="87"/>
                  </a:lnTo>
                  <a:lnTo>
                    <a:pt x="3273" y="87"/>
                  </a:lnTo>
                  <a:lnTo>
                    <a:pt x="3273" y="101"/>
                  </a:lnTo>
                  <a:lnTo>
                    <a:pt x="3273" y="101"/>
                  </a:lnTo>
                  <a:lnTo>
                    <a:pt x="3273" y="101"/>
                  </a:lnTo>
                  <a:lnTo>
                    <a:pt x="3272" y="101"/>
                  </a:lnTo>
                  <a:lnTo>
                    <a:pt x="3272" y="101"/>
                  </a:lnTo>
                  <a:lnTo>
                    <a:pt x="3272" y="101"/>
                  </a:lnTo>
                  <a:lnTo>
                    <a:pt x="3272" y="133"/>
                  </a:lnTo>
                  <a:lnTo>
                    <a:pt x="3253" y="133"/>
                  </a:lnTo>
                  <a:lnTo>
                    <a:pt x="3253" y="133"/>
                  </a:lnTo>
                  <a:lnTo>
                    <a:pt x="3253" y="133"/>
                  </a:lnTo>
                  <a:lnTo>
                    <a:pt x="3253" y="133"/>
                  </a:lnTo>
                  <a:lnTo>
                    <a:pt x="3253" y="133"/>
                  </a:lnTo>
                  <a:lnTo>
                    <a:pt x="3253" y="133"/>
                  </a:lnTo>
                  <a:lnTo>
                    <a:pt x="3253" y="133"/>
                  </a:lnTo>
                  <a:lnTo>
                    <a:pt x="3253" y="137"/>
                  </a:lnTo>
                  <a:lnTo>
                    <a:pt x="3253" y="137"/>
                  </a:lnTo>
                  <a:lnTo>
                    <a:pt x="3253" y="158"/>
                  </a:lnTo>
                  <a:lnTo>
                    <a:pt x="3253" y="158"/>
                  </a:lnTo>
                  <a:lnTo>
                    <a:pt x="3253" y="158"/>
                  </a:lnTo>
                  <a:lnTo>
                    <a:pt x="3253" y="158"/>
                  </a:lnTo>
                  <a:lnTo>
                    <a:pt x="3253" y="177"/>
                  </a:lnTo>
                  <a:lnTo>
                    <a:pt x="3253" y="177"/>
                  </a:lnTo>
                  <a:lnTo>
                    <a:pt x="3253" y="183"/>
                  </a:lnTo>
                  <a:lnTo>
                    <a:pt x="3253" y="183"/>
                  </a:lnTo>
                  <a:lnTo>
                    <a:pt x="3253" y="188"/>
                  </a:lnTo>
                  <a:lnTo>
                    <a:pt x="3253" y="188"/>
                  </a:lnTo>
                  <a:lnTo>
                    <a:pt x="3253" y="188"/>
                  </a:lnTo>
                  <a:lnTo>
                    <a:pt x="3253" y="188"/>
                  </a:lnTo>
                  <a:lnTo>
                    <a:pt x="3253" y="195"/>
                  </a:lnTo>
                  <a:lnTo>
                    <a:pt x="3253" y="195"/>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3"/>
                  </a:lnTo>
                  <a:lnTo>
                    <a:pt x="3253" y="204"/>
                  </a:lnTo>
                  <a:lnTo>
                    <a:pt x="3252" y="204"/>
                  </a:lnTo>
                  <a:lnTo>
                    <a:pt x="3252" y="204"/>
                  </a:lnTo>
                  <a:lnTo>
                    <a:pt x="3252" y="204"/>
                  </a:lnTo>
                  <a:lnTo>
                    <a:pt x="3252" y="211"/>
                  </a:lnTo>
                  <a:lnTo>
                    <a:pt x="3252" y="211"/>
                  </a:lnTo>
                  <a:lnTo>
                    <a:pt x="3252" y="211"/>
                  </a:lnTo>
                  <a:lnTo>
                    <a:pt x="3252" y="211"/>
                  </a:lnTo>
                  <a:lnTo>
                    <a:pt x="3252" y="211"/>
                  </a:lnTo>
                  <a:lnTo>
                    <a:pt x="3252" y="211"/>
                  </a:lnTo>
                  <a:lnTo>
                    <a:pt x="3252" y="211"/>
                  </a:lnTo>
                  <a:lnTo>
                    <a:pt x="3252" y="211"/>
                  </a:lnTo>
                  <a:lnTo>
                    <a:pt x="3252" y="212"/>
                  </a:lnTo>
                  <a:lnTo>
                    <a:pt x="3252" y="212"/>
                  </a:lnTo>
                  <a:lnTo>
                    <a:pt x="3252" y="213"/>
                  </a:lnTo>
                  <a:lnTo>
                    <a:pt x="3252" y="213"/>
                  </a:lnTo>
                  <a:lnTo>
                    <a:pt x="3252" y="219"/>
                  </a:lnTo>
                  <a:lnTo>
                    <a:pt x="3252" y="219"/>
                  </a:lnTo>
                  <a:lnTo>
                    <a:pt x="3252" y="899"/>
                  </a:lnTo>
                  <a:lnTo>
                    <a:pt x="3251" y="899"/>
                  </a:lnTo>
                  <a:lnTo>
                    <a:pt x="3251" y="899"/>
                  </a:lnTo>
                  <a:lnTo>
                    <a:pt x="3251" y="899"/>
                  </a:lnTo>
                  <a:lnTo>
                    <a:pt x="3251" y="221"/>
                  </a:lnTo>
                  <a:lnTo>
                    <a:pt x="3250" y="221"/>
                  </a:lnTo>
                  <a:lnTo>
                    <a:pt x="3250" y="236"/>
                  </a:lnTo>
                  <a:lnTo>
                    <a:pt x="3250" y="236"/>
                  </a:lnTo>
                  <a:lnTo>
                    <a:pt x="3250" y="238"/>
                  </a:lnTo>
                  <a:lnTo>
                    <a:pt x="3249" y="238"/>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4"/>
                  </a:lnTo>
                  <a:lnTo>
                    <a:pt x="3249" y="247"/>
                  </a:lnTo>
                  <a:lnTo>
                    <a:pt x="3249" y="247"/>
                  </a:lnTo>
                  <a:lnTo>
                    <a:pt x="3249" y="247"/>
                  </a:lnTo>
                  <a:lnTo>
                    <a:pt x="3249" y="247"/>
                  </a:lnTo>
                  <a:lnTo>
                    <a:pt x="3249" y="261"/>
                  </a:lnTo>
                  <a:lnTo>
                    <a:pt x="3249" y="261"/>
                  </a:lnTo>
                  <a:lnTo>
                    <a:pt x="3249" y="261"/>
                  </a:lnTo>
                  <a:lnTo>
                    <a:pt x="3249" y="261"/>
                  </a:lnTo>
                  <a:lnTo>
                    <a:pt x="3249" y="268"/>
                  </a:lnTo>
                  <a:lnTo>
                    <a:pt x="3249" y="268"/>
                  </a:lnTo>
                  <a:lnTo>
                    <a:pt x="3249" y="268"/>
                  </a:lnTo>
                  <a:lnTo>
                    <a:pt x="3249" y="268"/>
                  </a:lnTo>
                  <a:lnTo>
                    <a:pt x="3249" y="268"/>
                  </a:lnTo>
                  <a:lnTo>
                    <a:pt x="3249" y="268"/>
                  </a:lnTo>
                  <a:lnTo>
                    <a:pt x="3249" y="268"/>
                  </a:lnTo>
                  <a:lnTo>
                    <a:pt x="3249" y="268"/>
                  </a:lnTo>
                  <a:lnTo>
                    <a:pt x="3249"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5"/>
                  </a:lnTo>
                  <a:lnTo>
                    <a:pt x="3248" y="276"/>
                  </a:lnTo>
                  <a:lnTo>
                    <a:pt x="3248" y="276"/>
                  </a:lnTo>
                  <a:lnTo>
                    <a:pt x="3248" y="276"/>
                  </a:lnTo>
                  <a:lnTo>
                    <a:pt x="3248" y="276"/>
                  </a:lnTo>
                  <a:lnTo>
                    <a:pt x="3248" y="281"/>
                  </a:lnTo>
                  <a:lnTo>
                    <a:pt x="3247" y="281"/>
                  </a:lnTo>
                  <a:lnTo>
                    <a:pt x="3247" y="281"/>
                  </a:lnTo>
                  <a:lnTo>
                    <a:pt x="3247" y="281"/>
                  </a:lnTo>
                  <a:lnTo>
                    <a:pt x="3247" y="283"/>
                  </a:lnTo>
                  <a:lnTo>
                    <a:pt x="3246" y="283"/>
                  </a:lnTo>
                  <a:lnTo>
                    <a:pt x="3246" y="283"/>
                  </a:lnTo>
                  <a:lnTo>
                    <a:pt x="3246" y="283"/>
                  </a:lnTo>
                  <a:lnTo>
                    <a:pt x="3246" y="285"/>
                  </a:lnTo>
                  <a:lnTo>
                    <a:pt x="3245" y="285"/>
                  </a:lnTo>
                  <a:lnTo>
                    <a:pt x="3245" y="285"/>
                  </a:lnTo>
                  <a:lnTo>
                    <a:pt x="3245" y="285"/>
                  </a:lnTo>
                  <a:lnTo>
                    <a:pt x="3245" y="316"/>
                  </a:lnTo>
                  <a:lnTo>
                    <a:pt x="3245" y="316"/>
                  </a:lnTo>
                  <a:lnTo>
                    <a:pt x="3245"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6"/>
                  </a:lnTo>
                  <a:lnTo>
                    <a:pt x="3244" y="319"/>
                  </a:lnTo>
                  <a:lnTo>
                    <a:pt x="3244" y="319"/>
                  </a:lnTo>
                  <a:lnTo>
                    <a:pt x="3244" y="321"/>
                  </a:lnTo>
                  <a:lnTo>
                    <a:pt x="3243" y="321"/>
                  </a:lnTo>
                  <a:lnTo>
                    <a:pt x="3243" y="321"/>
                  </a:lnTo>
                  <a:lnTo>
                    <a:pt x="3243" y="321"/>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2"/>
                  </a:lnTo>
                  <a:lnTo>
                    <a:pt x="3243" y="324"/>
                  </a:lnTo>
                  <a:lnTo>
                    <a:pt x="3218" y="324"/>
                  </a:lnTo>
                  <a:lnTo>
                    <a:pt x="3218" y="324"/>
                  </a:lnTo>
                  <a:lnTo>
                    <a:pt x="3218" y="324"/>
                  </a:lnTo>
                  <a:lnTo>
                    <a:pt x="3218" y="324"/>
                  </a:lnTo>
                  <a:lnTo>
                    <a:pt x="3218" y="324"/>
                  </a:lnTo>
                  <a:lnTo>
                    <a:pt x="3218" y="331"/>
                  </a:lnTo>
                  <a:lnTo>
                    <a:pt x="3218" y="331"/>
                  </a:lnTo>
                  <a:lnTo>
                    <a:pt x="3218" y="344"/>
                  </a:lnTo>
                  <a:lnTo>
                    <a:pt x="3218" y="344"/>
                  </a:lnTo>
                  <a:lnTo>
                    <a:pt x="3218" y="345"/>
                  </a:lnTo>
                  <a:lnTo>
                    <a:pt x="3218" y="345"/>
                  </a:lnTo>
                  <a:lnTo>
                    <a:pt x="3218"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45"/>
                  </a:lnTo>
                  <a:lnTo>
                    <a:pt x="3217"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0"/>
                  </a:lnTo>
                  <a:lnTo>
                    <a:pt x="3216" y="353"/>
                  </a:lnTo>
                  <a:lnTo>
                    <a:pt x="3216" y="353"/>
                  </a:lnTo>
                  <a:lnTo>
                    <a:pt x="3216" y="353"/>
                  </a:lnTo>
                  <a:lnTo>
                    <a:pt x="3216" y="353"/>
                  </a:lnTo>
                  <a:lnTo>
                    <a:pt x="3216" y="357"/>
                  </a:lnTo>
                  <a:lnTo>
                    <a:pt x="3216" y="357"/>
                  </a:lnTo>
                  <a:lnTo>
                    <a:pt x="3216" y="361"/>
                  </a:lnTo>
                  <a:lnTo>
                    <a:pt x="3216" y="361"/>
                  </a:lnTo>
                  <a:lnTo>
                    <a:pt x="3216" y="364"/>
                  </a:lnTo>
                  <a:lnTo>
                    <a:pt x="3216" y="364"/>
                  </a:lnTo>
                  <a:lnTo>
                    <a:pt x="3216" y="364"/>
                  </a:lnTo>
                  <a:lnTo>
                    <a:pt x="3216" y="364"/>
                  </a:lnTo>
                  <a:lnTo>
                    <a:pt x="3216" y="365"/>
                  </a:lnTo>
                  <a:lnTo>
                    <a:pt x="3216" y="365"/>
                  </a:lnTo>
                  <a:lnTo>
                    <a:pt x="3216" y="365"/>
                  </a:lnTo>
                  <a:lnTo>
                    <a:pt x="3216" y="365"/>
                  </a:lnTo>
                  <a:lnTo>
                    <a:pt x="3216" y="368"/>
                  </a:lnTo>
                  <a:lnTo>
                    <a:pt x="3216" y="368"/>
                  </a:lnTo>
                  <a:lnTo>
                    <a:pt x="3216" y="375"/>
                  </a:lnTo>
                  <a:lnTo>
                    <a:pt x="3216" y="375"/>
                  </a:lnTo>
                  <a:lnTo>
                    <a:pt x="3216" y="377"/>
                  </a:lnTo>
                  <a:lnTo>
                    <a:pt x="3203" y="377"/>
                  </a:lnTo>
                  <a:lnTo>
                    <a:pt x="3203" y="384"/>
                  </a:lnTo>
                  <a:lnTo>
                    <a:pt x="3202" y="384"/>
                  </a:lnTo>
                  <a:lnTo>
                    <a:pt x="3202" y="384"/>
                  </a:lnTo>
                  <a:lnTo>
                    <a:pt x="3202" y="384"/>
                  </a:lnTo>
                  <a:lnTo>
                    <a:pt x="3202" y="385"/>
                  </a:lnTo>
                  <a:lnTo>
                    <a:pt x="3201" y="385"/>
                  </a:lnTo>
                  <a:lnTo>
                    <a:pt x="3201" y="391"/>
                  </a:lnTo>
                  <a:lnTo>
                    <a:pt x="3197" y="391"/>
                  </a:lnTo>
                  <a:lnTo>
                    <a:pt x="3197" y="391"/>
                  </a:lnTo>
                  <a:lnTo>
                    <a:pt x="3196" y="391"/>
                  </a:lnTo>
                  <a:lnTo>
                    <a:pt x="3196" y="391"/>
                  </a:lnTo>
                  <a:lnTo>
                    <a:pt x="3195" y="391"/>
                  </a:lnTo>
                  <a:lnTo>
                    <a:pt x="3195" y="391"/>
                  </a:lnTo>
                  <a:lnTo>
                    <a:pt x="3194" y="391"/>
                  </a:lnTo>
                  <a:lnTo>
                    <a:pt x="3194" y="391"/>
                  </a:lnTo>
                  <a:lnTo>
                    <a:pt x="3194" y="391"/>
                  </a:lnTo>
                  <a:lnTo>
                    <a:pt x="3194" y="391"/>
                  </a:lnTo>
                  <a:lnTo>
                    <a:pt x="3194" y="391"/>
                  </a:lnTo>
                  <a:lnTo>
                    <a:pt x="3194" y="391"/>
                  </a:lnTo>
                  <a:lnTo>
                    <a:pt x="3194" y="391"/>
                  </a:lnTo>
                  <a:lnTo>
                    <a:pt x="3194"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1"/>
                  </a:lnTo>
                  <a:lnTo>
                    <a:pt x="3193" y="394"/>
                  </a:lnTo>
                  <a:lnTo>
                    <a:pt x="3193" y="394"/>
                  </a:lnTo>
                  <a:lnTo>
                    <a:pt x="3193" y="394"/>
                  </a:lnTo>
                  <a:lnTo>
                    <a:pt x="3193" y="394"/>
                  </a:lnTo>
                  <a:lnTo>
                    <a:pt x="3193" y="394"/>
                  </a:lnTo>
                  <a:lnTo>
                    <a:pt x="3193" y="394"/>
                  </a:lnTo>
                  <a:lnTo>
                    <a:pt x="3193" y="402"/>
                  </a:lnTo>
                  <a:lnTo>
                    <a:pt x="3192" y="402"/>
                  </a:lnTo>
                  <a:lnTo>
                    <a:pt x="3192" y="402"/>
                  </a:lnTo>
                  <a:lnTo>
                    <a:pt x="3192" y="402"/>
                  </a:lnTo>
                  <a:lnTo>
                    <a:pt x="3192" y="404"/>
                  </a:lnTo>
                  <a:lnTo>
                    <a:pt x="3192" y="404"/>
                  </a:lnTo>
                  <a:lnTo>
                    <a:pt x="3192" y="408"/>
                  </a:lnTo>
                  <a:lnTo>
                    <a:pt x="3192" y="408"/>
                  </a:lnTo>
                  <a:lnTo>
                    <a:pt x="3192" y="420"/>
                  </a:lnTo>
                  <a:lnTo>
                    <a:pt x="3192" y="420"/>
                  </a:lnTo>
                  <a:lnTo>
                    <a:pt x="3192" y="420"/>
                  </a:lnTo>
                  <a:lnTo>
                    <a:pt x="3192" y="420"/>
                  </a:lnTo>
                  <a:lnTo>
                    <a:pt x="3192" y="420"/>
                  </a:lnTo>
                  <a:lnTo>
                    <a:pt x="3192" y="420"/>
                  </a:lnTo>
                  <a:lnTo>
                    <a:pt x="3192" y="425"/>
                  </a:lnTo>
                  <a:lnTo>
                    <a:pt x="3191" y="425"/>
                  </a:lnTo>
                  <a:lnTo>
                    <a:pt x="3191" y="425"/>
                  </a:lnTo>
                  <a:lnTo>
                    <a:pt x="3191" y="425"/>
                  </a:lnTo>
                  <a:lnTo>
                    <a:pt x="3191" y="425"/>
                  </a:lnTo>
                  <a:lnTo>
                    <a:pt x="3190" y="425"/>
                  </a:lnTo>
                  <a:lnTo>
                    <a:pt x="3190" y="425"/>
                  </a:lnTo>
                  <a:lnTo>
                    <a:pt x="3190" y="425"/>
                  </a:lnTo>
                  <a:lnTo>
                    <a:pt x="3190" y="425"/>
                  </a:lnTo>
                  <a:lnTo>
                    <a:pt x="3190" y="425"/>
                  </a:lnTo>
                  <a:lnTo>
                    <a:pt x="3190" y="430"/>
                  </a:lnTo>
                  <a:lnTo>
                    <a:pt x="3189" y="430"/>
                  </a:lnTo>
                  <a:lnTo>
                    <a:pt x="3189" y="899"/>
                  </a:lnTo>
                  <a:lnTo>
                    <a:pt x="3189" y="899"/>
                  </a:lnTo>
                  <a:lnTo>
                    <a:pt x="3189" y="899"/>
                  </a:lnTo>
                  <a:lnTo>
                    <a:pt x="3189" y="899"/>
                  </a:lnTo>
                  <a:lnTo>
                    <a:pt x="3189" y="430"/>
                  </a:lnTo>
                  <a:lnTo>
                    <a:pt x="3189" y="430"/>
                  </a:lnTo>
                  <a:lnTo>
                    <a:pt x="3189" y="434"/>
                  </a:lnTo>
                  <a:lnTo>
                    <a:pt x="3189" y="434"/>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7"/>
                  </a:lnTo>
                  <a:lnTo>
                    <a:pt x="3189" y="438"/>
                  </a:lnTo>
                  <a:lnTo>
                    <a:pt x="3189" y="438"/>
                  </a:lnTo>
                  <a:lnTo>
                    <a:pt x="3189" y="438"/>
                  </a:lnTo>
                  <a:lnTo>
                    <a:pt x="3189" y="438"/>
                  </a:lnTo>
                  <a:lnTo>
                    <a:pt x="3189" y="438"/>
                  </a:lnTo>
                  <a:lnTo>
                    <a:pt x="3189" y="438"/>
                  </a:lnTo>
                  <a:lnTo>
                    <a:pt x="3189" y="438"/>
                  </a:lnTo>
                  <a:lnTo>
                    <a:pt x="3189" y="438"/>
                  </a:lnTo>
                  <a:lnTo>
                    <a:pt x="3189" y="440"/>
                  </a:lnTo>
                  <a:lnTo>
                    <a:pt x="3189" y="440"/>
                  </a:lnTo>
                  <a:lnTo>
                    <a:pt x="3189" y="440"/>
                  </a:lnTo>
                  <a:lnTo>
                    <a:pt x="3188" y="440"/>
                  </a:lnTo>
                  <a:lnTo>
                    <a:pt x="3188" y="445"/>
                  </a:lnTo>
                  <a:lnTo>
                    <a:pt x="3187" y="445"/>
                  </a:lnTo>
                  <a:lnTo>
                    <a:pt x="3187" y="445"/>
                  </a:lnTo>
                  <a:lnTo>
                    <a:pt x="3187" y="445"/>
                  </a:lnTo>
                  <a:lnTo>
                    <a:pt x="3187" y="445"/>
                  </a:lnTo>
                  <a:lnTo>
                    <a:pt x="3187" y="445"/>
                  </a:lnTo>
                  <a:lnTo>
                    <a:pt x="3187" y="445"/>
                  </a:lnTo>
                  <a:lnTo>
                    <a:pt x="3187" y="445"/>
                  </a:lnTo>
                  <a:lnTo>
                    <a:pt x="3187" y="454"/>
                  </a:lnTo>
                  <a:lnTo>
                    <a:pt x="3186" y="454"/>
                  </a:lnTo>
                  <a:lnTo>
                    <a:pt x="3186" y="454"/>
                  </a:lnTo>
                  <a:lnTo>
                    <a:pt x="3186" y="454"/>
                  </a:lnTo>
                  <a:lnTo>
                    <a:pt x="3186" y="455"/>
                  </a:lnTo>
                  <a:lnTo>
                    <a:pt x="3186" y="455"/>
                  </a:lnTo>
                  <a:lnTo>
                    <a:pt x="3186" y="455"/>
                  </a:lnTo>
                  <a:lnTo>
                    <a:pt x="3186" y="455"/>
                  </a:lnTo>
                  <a:lnTo>
                    <a:pt x="3186" y="899"/>
                  </a:lnTo>
                  <a:lnTo>
                    <a:pt x="3186" y="899"/>
                  </a:lnTo>
                  <a:lnTo>
                    <a:pt x="3186" y="899"/>
                  </a:lnTo>
                  <a:lnTo>
                    <a:pt x="3185" y="899"/>
                  </a:lnTo>
                  <a:lnTo>
                    <a:pt x="3185" y="899"/>
                  </a:lnTo>
                  <a:lnTo>
                    <a:pt x="3185" y="899"/>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58"/>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5" y="469"/>
                  </a:lnTo>
                  <a:lnTo>
                    <a:pt x="3182" y="469"/>
                  </a:lnTo>
                  <a:lnTo>
                    <a:pt x="3182" y="476"/>
                  </a:lnTo>
                  <a:lnTo>
                    <a:pt x="3178" y="476"/>
                  </a:lnTo>
                  <a:lnTo>
                    <a:pt x="3178" y="476"/>
                  </a:lnTo>
                  <a:lnTo>
                    <a:pt x="3176" y="476"/>
                  </a:lnTo>
                  <a:lnTo>
                    <a:pt x="3176" y="476"/>
                  </a:lnTo>
                  <a:lnTo>
                    <a:pt x="3176" y="476"/>
                  </a:lnTo>
                  <a:lnTo>
                    <a:pt x="3176" y="476"/>
                  </a:lnTo>
                  <a:lnTo>
                    <a:pt x="3176" y="476"/>
                  </a:lnTo>
                  <a:lnTo>
                    <a:pt x="3176" y="476"/>
                  </a:lnTo>
                  <a:lnTo>
                    <a:pt x="3175" y="476"/>
                  </a:lnTo>
                  <a:lnTo>
                    <a:pt x="3175" y="476"/>
                  </a:lnTo>
                  <a:lnTo>
                    <a:pt x="3175" y="476"/>
                  </a:lnTo>
                  <a:lnTo>
                    <a:pt x="3175" y="476"/>
                  </a:lnTo>
                  <a:lnTo>
                    <a:pt x="3175" y="476"/>
                  </a:lnTo>
                  <a:lnTo>
                    <a:pt x="3175" y="476"/>
                  </a:lnTo>
                  <a:lnTo>
                    <a:pt x="3175" y="476"/>
                  </a:lnTo>
                  <a:lnTo>
                    <a:pt x="3175" y="479"/>
                  </a:lnTo>
                  <a:lnTo>
                    <a:pt x="3172" y="479"/>
                  </a:lnTo>
                  <a:lnTo>
                    <a:pt x="3172" y="479"/>
                  </a:lnTo>
                  <a:lnTo>
                    <a:pt x="3171" y="479"/>
                  </a:lnTo>
                  <a:lnTo>
                    <a:pt x="3171" y="479"/>
                  </a:lnTo>
                  <a:lnTo>
                    <a:pt x="3169" y="479"/>
                  </a:lnTo>
                  <a:lnTo>
                    <a:pt x="3169" y="479"/>
                  </a:lnTo>
                  <a:lnTo>
                    <a:pt x="3169" y="479"/>
                  </a:lnTo>
                  <a:lnTo>
                    <a:pt x="3169" y="479"/>
                  </a:lnTo>
                  <a:lnTo>
                    <a:pt x="3169" y="479"/>
                  </a:lnTo>
                  <a:lnTo>
                    <a:pt x="3169" y="479"/>
                  </a:lnTo>
                  <a:lnTo>
                    <a:pt x="3169" y="479"/>
                  </a:lnTo>
                  <a:lnTo>
                    <a:pt x="3169" y="479"/>
                  </a:lnTo>
                  <a:lnTo>
                    <a:pt x="3169" y="479"/>
                  </a:lnTo>
                  <a:lnTo>
                    <a:pt x="3169" y="488"/>
                  </a:lnTo>
                  <a:lnTo>
                    <a:pt x="3169" y="488"/>
                  </a:lnTo>
                  <a:lnTo>
                    <a:pt x="3169" y="488"/>
                  </a:lnTo>
                  <a:lnTo>
                    <a:pt x="3159" y="488"/>
                  </a:lnTo>
                  <a:lnTo>
                    <a:pt x="3159" y="488"/>
                  </a:lnTo>
                  <a:lnTo>
                    <a:pt x="3157" y="488"/>
                  </a:lnTo>
                  <a:lnTo>
                    <a:pt x="3157" y="488"/>
                  </a:lnTo>
                  <a:lnTo>
                    <a:pt x="3157" y="488"/>
                  </a:lnTo>
                  <a:lnTo>
                    <a:pt x="3157" y="488"/>
                  </a:lnTo>
                  <a:lnTo>
                    <a:pt x="3156" y="488"/>
                  </a:lnTo>
                  <a:lnTo>
                    <a:pt x="3156" y="488"/>
                  </a:lnTo>
                  <a:lnTo>
                    <a:pt x="3156" y="488"/>
                  </a:lnTo>
                  <a:lnTo>
                    <a:pt x="3156" y="490"/>
                  </a:lnTo>
                  <a:lnTo>
                    <a:pt x="3101" y="490"/>
                  </a:lnTo>
                  <a:lnTo>
                    <a:pt x="3101" y="490"/>
                  </a:lnTo>
                  <a:lnTo>
                    <a:pt x="3076" y="490"/>
                  </a:lnTo>
                  <a:lnTo>
                    <a:pt x="3076" y="492"/>
                  </a:lnTo>
                  <a:lnTo>
                    <a:pt x="3075" y="492"/>
                  </a:lnTo>
                  <a:lnTo>
                    <a:pt x="3075" y="492"/>
                  </a:lnTo>
                  <a:lnTo>
                    <a:pt x="3075" y="492"/>
                  </a:lnTo>
                  <a:lnTo>
                    <a:pt x="3075" y="492"/>
                  </a:lnTo>
                  <a:lnTo>
                    <a:pt x="3075" y="492"/>
                  </a:lnTo>
                  <a:lnTo>
                    <a:pt x="3075" y="492"/>
                  </a:lnTo>
                  <a:lnTo>
                    <a:pt x="3075" y="492"/>
                  </a:lnTo>
                  <a:lnTo>
                    <a:pt x="3075" y="500"/>
                  </a:lnTo>
                  <a:lnTo>
                    <a:pt x="3075" y="500"/>
                  </a:lnTo>
                  <a:lnTo>
                    <a:pt x="3075" y="510"/>
                  </a:lnTo>
                  <a:lnTo>
                    <a:pt x="3060" y="510"/>
                  </a:lnTo>
                  <a:lnTo>
                    <a:pt x="3060" y="510"/>
                  </a:lnTo>
                  <a:lnTo>
                    <a:pt x="3058" y="510"/>
                  </a:lnTo>
                  <a:lnTo>
                    <a:pt x="3058" y="511"/>
                  </a:lnTo>
                  <a:lnTo>
                    <a:pt x="3058" y="511"/>
                  </a:lnTo>
                  <a:lnTo>
                    <a:pt x="3058" y="520"/>
                  </a:lnTo>
                  <a:lnTo>
                    <a:pt x="3057" y="520"/>
                  </a:lnTo>
                  <a:lnTo>
                    <a:pt x="3057" y="520"/>
                  </a:lnTo>
                  <a:lnTo>
                    <a:pt x="3057" y="520"/>
                  </a:lnTo>
                  <a:lnTo>
                    <a:pt x="3057" y="521"/>
                  </a:lnTo>
                  <a:lnTo>
                    <a:pt x="3050" y="521"/>
                  </a:lnTo>
                  <a:lnTo>
                    <a:pt x="3050" y="521"/>
                  </a:lnTo>
                  <a:lnTo>
                    <a:pt x="3049" y="521"/>
                  </a:lnTo>
                  <a:lnTo>
                    <a:pt x="3049" y="521"/>
                  </a:lnTo>
                  <a:lnTo>
                    <a:pt x="3048" y="521"/>
                  </a:lnTo>
                  <a:lnTo>
                    <a:pt x="3048" y="521"/>
                  </a:lnTo>
                  <a:lnTo>
                    <a:pt x="3048" y="521"/>
                  </a:lnTo>
                  <a:lnTo>
                    <a:pt x="3048" y="521"/>
                  </a:lnTo>
                  <a:lnTo>
                    <a:pt x="3048" y="521"/>
                  </a:lnTo>
                  <a:lnTo>
                    <a:pt x="3048" y="521"/>
                  </a:lnTo>
                  <a:lnTo>
                    <a:pt x="3048" y="521"/>
                  </a:lnTo>
                  <a:lnTo>
                    <a:pt x="3048"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1"/>
                  </a:lnTo>
                  <a:lnTo>
                    <a:pt x="3047" y="522"/>
                  </a:lnTo>
                  <a:lnTo>
                    <a:pt x="3047" y="522"/>
                  </a:lnTo>
                  <a:lnTo>
                    <a:pt x="3047" y="522"/>
                  </a:lnTo>
                  <a:lnTo>
                    <a:pt x="3046" y="522"/>
                  </a:lnTo>
                  <a:lnTo>
                    <a:pt x="3046" y="522"/>
                  </a:lnTo>
                  <a:lnTo>
                    <a:pt x="3046" y="522"/>
                  </a:lnTo>
                  <a:lnTo>
                    <a:pt x="3046" y="523"/>
                  </a:lnTo>
                  <a:lnTo>
                    <a:pt x="3046" y="523"/>
                  </a:lnTo>
                  <a:lnTo>
                    <a:pt x="3046" y="899"/>
                  </a:lnTo>
                  <a:lnTo>
                    <a:pt x="3045" y="899"/>
                  </a:lnTo>
                  <a:lnTo>
                    <a:pt x="3045" y="899"/>
                  </a:lnTo>
                  <a:lnTo>
                    <a:pt x="3045" y="899"/>
                  </a:lnTo>
                  <a:lnTo>
                    <a:pt x="3045" y="527"/>
                  </a:lnTo>
                  <a:lnTo>
                    <a:pt x="2972" y="527"/>
                  </a:lnTo>
                  <a:lnTo>
                    <a:pt x="2972" y="528"/>
                  </a:lnTo>
                  <a:lnTo>
                    <a:pt x="2972" y="528"/>
                  </a:lnTo>
                  <a:lnTo>
                    <a:pt x="2972" y="538"/>
                  </a:lnTo>
                  <a:lnTo>
                    <a:pt x="2968" y="538"/>
                  </a:lnTo>
                  <a:lnTo>
                    <a:pt x="2968" y="538"/>
                  </a:lnTo>
                  <a:lnTo>
                    <a:pt x="2967" y="538"/>
                  </a:lnTo>
                  <a:lnTo>
                    <a:pt x="2967" y="538"/>
                  </a:lnTo>
                  <a:lnTo>
                    <a:pt x="2967" y="538"/>
                  </a:lnTo>
                  <a:lnTo>
                    <a:pt x="2967" y="538"/>
                  </a:lnTo>
                  <a:lnTo>
                    <a:pt x="2967" y="538"/>
                  </a:lnTo>
                  <a:lnTo>
                    <a:pt x="2967"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6" y="538"/>
                  </a:lnTo>
                  <a:lnTo>
                    <a:pt x="2964" y="538"/>
                  </a:lnTo>
                  <a:lnTo>
                    <a:pt x="2964"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8"/>
                  </a:lnTo>
                  <a:lnTo>
                    <a:pt x="2962" y="539"/>
                  </a:lnTo>
                  <a:lnTo>
                    <a:pt x="2962" y="539"/>
                  </a:lnTo>
                  <a:lnTo>
                    <a:pt x="2962" y="539"/>
                  </a:lnTo>
                  <a:lnTo>
                    <a:pt x="2962" y="539"/>
                  </a:lnTo>
                  <a:lnTo>
                    <a:pt x="2962" y="539"/>
                  </a:lnTo>
                  <a:lnTo>
                    <a:pt x="2962" y="539"/>
                  </a:lnTo>
                  <a:lnTo>
                    <a:pt x="2962" y="539"/>
                  </a:lnTo>
                  <a:lnTo>
                    <a:pt x="2962" y="539"/>
                  </a:lnTo>
                  <a:lnTo>
                    <a:pt x="2962" y="540"/>
                  </a:lnTo>
                  <a:lnTo>
                    <a:pt x="2953" y="540"/>
                  </a:lnTo>
                  <a:lnTo>
                    <a:pt x="2953" y="543"/>
                  </a:lnTo>
                  <a:lnTo>
                    <a:pt x="2952" y="543"/>
                  </a:lnTo>
                  <a:lnTo>
                    <a:pt x="2952" y="545"/>
                  </a:lnTo>
                  <a:lnTo>
                    <a:pt x="2951" y="545"/>
                  </a:lnTo>
                  <a:lnTo>
                    <a:pt x="2951" y="547"/>
                  </a:lnTo>
                  <a:lnTo>
                    <a:pt x="2951" y="547"/>
                  </a:lnTo>
                  <a:lnTo>
                    <a:pt x="2951" y="547"/>
                  </a:lnTo>
                  <a:lnTo>
                    <a:pt x="2951" y="547"/>
                  </a:lnTo>
                  <a:lnTo>
                    <a:pt x="2951" y="551"/>
                  </a:lnTo>
                  <a:lnTo>
                    <a:pt x="2950" y="551"/>
                  </a:lnTo>
                  <a:lnTo>
                    <a:pt x="2950" y="551"/>
                  </a:lnTo>
                  <a:lnTo>
                    <a:pt x="2950" y="551"/>
                  </a:lnTo>
                  <a:lnTo>
                    <a:pt x="2950" y="551"/>
                  </a:lnTo>
                  <a:lnTo>
                    <a:pt x="2950" y="551"/>
                  </a:lnTo>
                  <a:lnTo>
                    <a:pt x="2950" y="552"/>
                  </a:lnTo>
                  <a:lnTo>
                    <a:pt x="2950" y="552"/>
                  </a:lnTo>
                  <a:lnTo>
                    <a:pt x="2950" y="552"/>
                  </a:lnTo>
                  <a:lnTo>
                    <a:pt x="2950" y="552"/>
                  </a:lnTo>
                  <a:lnTo>
                    <a:pt x="2950" y="561"/>
                  </a:lnTo>
                  <a:lnTo>
                    <a:pt x="2947" y="561"/>
                  </a:lnTo>
                  <a:lnTo>
                    <a:pt x="2947" y="561"/>
                  </a:lnTo>
                  <a:lnTo>
                    <a:pt x="2945" y="561"/>
                  </a:lnTo>
                  <a:lnTo>
                    <a:pt x="2945" y="562"/>
                  </a:lnTo>
                  <a:lnTo>
                    <a:pt x="2944" y="562"/>
                  </a:lnTo>
                  <a:lnTo>
                    <a:pt x="2944" y="562"/>
                  </a:lnTo>
                  <a:lnTo>
                    <a:pt x="2943" y="562"/>
                  </a:lnTo>
                  <a:lnTo>
                    <a:pt x="2943" y="562"/>
                  </a:lnTo>
                  <a:lnTo>
                    <a:pt x="2943" y="562"/>
                  </a:lnTo>
                  <a:lnTo>
                    <a:pt x="2943" y="562"/>
                  </a:lnTo>
                  <a:lnTo>
                    <a:pt x="2943" y="562"/>
                  </a:lnTo>
                  <a:lnTo>
                    <a:pt x="2943" y="562"/>
                  </a:lnTo>
                  <a:lnTo>
                    <a:pt x="2943" y="562"/>
                  </a:lnTo>
                  <a:lnTo>
                    <a:pt x="2943" y="562"/>
                  </a:lnTo>
                  <a:lnTo>
                    <a:pt x="2943" y="562"/>
                  </a:lnTo>
                  <a:lnTo>
                    <a:pt x="2943" y="565"/>
                  </a:lnTo>
                  <a:lnTo>
                    <a:pt x="2943" y="565"/>
                  </a:lnTo>
                  <a:lnTo>
                    <a:pt x="2943" y="567"/>
                  </a:lnTo>
                  <a:lnTo>
                    <a:pt x="2943" y="567"/>
                  </a:lnTo>
                  <a:lnTo>
                    <a:pt x="2943" y="567"/>
                  </a:lnTo>
                  <a:lnTo>
                    <a:pt x="2939" y="567"/>
                  </a:lnTo>
                  <a:lnTo>
                    <a:pt x="2939" y="567"/>
                  </a:lnTo>
                  <a:lnTo>
                    <a:pt x="2938" y="567"/>
                  </a:lnTo>
                  <a:lnTo>
                    <a:pt x="2938" y="567"/>
                  </a:lnTo>
                  <a:lnTo>
                    <a:pt x="2938" y="567"/>
                  </a:lnTo>
                  <a:lnTo>
                    <a:pt x="2938" y="568"/>
                  </a:lnTo>
                  <a:lnTo>
                    <a:pt x="2918" y="568"/>
                  </a:lnTo>
                  <a:lnTo>
                    <a:pt x="2918" y="568"/>
                  </a:lnTo>
                  <a:lnTo>
                    <a:pt x="2917" y="568"/>
                  </a:lnTo>
                  <a:lnTo>
                    <a:pt x="2917" y="568"/>
                  </a:lnTo>
                  <a:lnTo>
                    <a:pt x="2917" y="568"/>
                  </a:lnTo>
                  <a:lnTo>
                    <a:pt x="2917" y="577"/>
                  </a:lnTo>
                  <a:lnTo>
                    <a:pt x="2913" y="577"/>
                  </a:lnTo>
                  <a:lnTo>
                    <a:pt x="2913" y="577"/>
                  </a:lnTo>
                  <a:lnTo>
                    <a:pt x="2909" y="577"/>
                  </a:lnTo>
                  <a:lnTo>
                    <a:pt x="2909" y="577"/>
                  </a:lnTo>
                  <a:lnTo>
                    <a:pt x="2906" y="577"/>
                  </a:lnTo>
                  <a:lnTo>
                    <a:pt x="2906" y="577"/>
                  </a:lnTo>
                  <a:lnTo>
                    <a:pt x="2904" y="577"/>
                  </a:lnTo>
                  <a:lnTo>
                    <a:pt x="2904" y="577"/>
                  </a:lnTo>
                  <a:lnTo>
                    <a:pt x="2904" y="577"/>
                  </a:lnTo>
                  <a:lnTo>
                    <a:pt x="2904" y="577"/>
                  </a:lnTo>
                  <a:lnTo>
                    <a:pt x="2904" y="577"/>
                  </a:lnTo>
                  <a:lnTo>
                    <a:pt x="2904" y="577"/>
                  </a:lnTo>
                  <a:lnTo>
                    <a:pt x="2904" y="577"/>
                  </a:lnTo>
                  <a:lnTo>
                    <a:pt x="2904" y="579"/>
                  </a:lnTo>
                  <a:lnTo>
                    <a:pt x="2904" y="579"/>
                  </a:lnTo>
                  <a:lnTo>
                    <a:pt x="2904" y="582"/>
                  </a:lnTo>
                  <a:lnTo>
                    <a:pt x="2903" y="582"/>
                  </a:lnTo>
                  <a:lnTo>
                    <a:pt x="2903" y="590"/>
                  </a:lnTo>
                  <a:lnTo>
                    <a:pt x="2902" y="590"/>
                  </a:lnTo>
                  <a:lnTo>
                    <a:pt x="2902" y="593"/>
                  </a:lnTo>
                  <a:lnTo>
                    <a:pt x="2901" y="593"/>
                  </a:lnTo>
                  <a:lnTo>
                    <a:pt x="2901" y="899"/>
                  </a:lnTo>
                  <a:lnTo>
                    <a:pt x="2900" y="899"/>
                  </a:lnTo>
                  <a:lnTo>
                    <a:pt x="2900" y="899"/>
                  </a:lnTo>
                  <a:lnTo>
                    <a:pt x="2899" y="899"/>
                  </a:lnTo>
                  <a:lnTo>
                    <a:pt x="2899" y="593"/>
                  </a:lnTo>
                  <a:lnTo>
                    <a:pt x="2898" y="593"/>
                  </a:lnTo>
                  <a:lnTo>
                    <a:pt x="2898" y="593"/>
                  </a:lnTo>
                  <a:lnTo>
                    <a:pt x="2898" y="593"/>
                  </a:lnTo>
                  <a:lnTo>
                    <a:pt x="2898" y="899"/>
                  </a:lnTo>
                  <a:lnTo>
                    <a:pt x="2898" y="899"/>
                  </a:lnTo>
                  <a:lnTo>
                    <a:pt x="2898" y="899"/>
                  </a:lnTo>
                  <a:lnTo>
                    <a:pt x="2898" y="899"/>
                  </a:lnTo>
                  <a:lnTo>
                    <a:pt x="2898" y="593"/>
                  </a:lnTo>
                  <a:lnTo>
                    <a:pt x="2898" y="593"/>
                  </a:lnTo>
                  <a:lnTo>
                    <a:pt x="2898" y="899"/>
                  </a:lnTo>
                  <a:lnTo>
                    <a:pt x="2898" y="899"/>
                  </a:lnTo>
                  <a:lnTo>
                    <a:pt x="2898" y="899"/>
                  </a:lnTo>
                  <a:lnTo>
                    <a:pt x="2898" y="899"/>
                  </a:lnTo>
                  <a:lnTo>
                    <a:pt x="2898"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8"/>
                  </a:lnTo>
                  <a:lnTo>
                    <a:pt x="2896" y="599"/>
                  </a:lnTo>
                  <a:lnTo>
                    <a:pt x="2895" y="599"/>
                  </a:lnTo>
                  <a:lnTo>
                    <a:pt x="2895" y="610"/>
                  </a:lnTo>
                  <a:lnTo>
                    <a:pt x="2891" y="610"/>
                  </a:lnTo>
                  <a:lnTo>
                    <a:pt x="2891" y="611"/>
                  </a:lnTo>
                  <a:lnTo>
                    <a:pt x="2866" y="611"/>
                  </a:lnTo>
                  <a:lnTo>
                    <a:pt x="2866" y="611"/>
                  </a:lnTo>
                  <a:lnTo>
                    <a:pt x="2856" y="611"/>
                  </a:lnTo>
                  <a:lnTo>
                    <a:pt x="2856" y="611"/>
                  </a:lnTo>
                  <a:lnTo>
                    <a:pt x="2855" y="611"/>
                  </a:lnTo>
                  <a:lnTo>
                    <a:pt x="2855" y="612"/>
                  </a:lnTo>
                  <a:lnTo>
                    <a:pt x="2853" y="612"/>
                  </a:lnTo>
                  <a:lnTo>
                    <a:pt x="2853" y="899"/>
                  </a:lnTo>
                  <a:lnTo>
                    <a:pt x="2848" y="899"/>
                  </a:lnTo>
                  <a:lnTo>
                    <a:pt x="2848" y="899"/>
                  </a:lnTo>
                  <a:lnTo>
                    <a:pt x="2844" y="899"/>
                  </a:lnTo>
                  <a:lnTo>
                    <a:pt x="2844" y="899"/>
                  </a:lnTo>
                  <a:lnTo>
                    <a:pt x="2843" y="899"/>
                  </a:lnTo>
                  <a:lnTo>
                    <a:pt x="2843" y="899"/>
                  </a:lnTo>
                  <a:lnTo>
                    <a:pt x="2842" y="899"/>
                  </a:lnTo>
                  <a:lnTo>
                    <a:pt x="2842" y="619"/>
                  </a:lnTo>
                  <a:lnTo>
                    <a:pt x="2842" y="619"/>
                  </a:lnTo>
                  <a:lnTo>
                    <a:pt x="2842" y="619"/>
                  </a:lnTo>
                  <a:lnTo>
                    <a:pt x="2842" y="619"/>
                  </a:lnTo>
                  <a:lnTo>
                    <a:pt x="2842" y="619"/>
                  </a:lnTo>
                  <a:lnTo>
                    <a:pt x="2840" y="619"/>
                  </a:lnTo>
                  <a:lnTo>
                    <a:pt x="2840" y="623"/>
                  </a:lnTo>
                  <a:lnTo>
                    <a:pt x="2837" y="623"/>
                  </a:lnTo>
                  <a:lnTo>
                    <a:pt x="2837" y="623"/>
                  </a:lnTo>
                  <a:lnTo>
                    <a:pt x="2837" y="623"/>
                  </a:lnTo>
                  <a:lnTo>
                    <a:pt x="2837" y="625"/>
                  </a:lnTo>
                  <a:lnTo>
                    <a:pt x="2837" y="625"/>
                  </a:lnTo>
                  <a:lnTo>
                    <a:pt x="2837" y="626"/>
                  </a:lnTo>
                  <a:lnTo>
                    <a:pt x="2799" y="626"/>
                  </a:lnTo>
                  <a:lnTo>
                    <a:pt x="2799" y="626"/>
                  </a:lnTo>
                  <a:lnTo>
                    <a:pt x="2798" y="626"/>
                  </a:lnTo>
                  <a:lnTo>
                    <a:pt x="2798" y="628"/>
                  </a:lnTo>
                  <a:lnTo>
                    <a:pt x="2795" y="628"/>
                  </a:lnTo>
                  <a:lnTo>
                    <a:pt x="2795" y="631"/>
                  </a:lnTo>
                  <a:lnTo>
                    <a:pt x="2794" y="631"/>
                  </a:lnTo>
                  <a:lnTo>
                    <a:pt x="2794" y="631"/>
                  </a:lnTo>
                  <a:lnTo>
                    <a:pt x="2794" y="631"/>
                  </a:lnTo>
                  <a:lnTo>
                    <a:pt x="2794" y="899"/>
                  </a:lnTo>
                  <a:lnTo>
                    <a:pt x="2794" y="899"/>
                  </a:lnTo>
                  <a:lnTo>
                    <a:pt x="2794" y="899"/>
                  </a:lnTo>
                  <a:lnTo>
                    <a:pt x="2794" y="899"/>
                  </a:lnTo>
                  <a:lnTo>
                    <a:pt x="2794" y="633"/>
                  </a:lnTo>
                  <a:lnTo>
                    <a:pt x="2794" y="633"/>
                  </a:lnTo>
                  <a:lnTo>
                    <a:pt x="2794" y="633"/>
                  </a:lnTo>
                  <a:lnTo>
                    <a:pt x="2794" y="633"/>
                  </a:lnTo>
                  <a:lnTo>
                    <a:pt x="2794" y="633"/>
                  </a:lnTo>
                  <a:lnTo>
                    <a:pt x="2794" y="633"/>
                  </a:lnTo>
                  <a:lnTo>
                    <a:pt x="2794" y="633"/>
                  </a:lnTo>
                  <a:lnTo>
                    <a:pt x="2794" y="633"/>
                  </a:lnTo>
                  <a:lnTo>
                    <a:pt x="2794" y="899"/>
                  </a:lnTo>
                  <a:lnTo>
                    <a:pt x="2794" y="899"/>
                  </a:lnTo>
                  <a:lnTo>
                    <a:pt x="2794" y="899"/>
                  </a:lnTo>
                  <a:lnTo>
                    <a:pt x="2794" y="899"/>
                  </a:lnTo>
                  <a:lnTo>
                    <a:pt x="2794" y="899"/>
                  </a:lnTo>
                  <a:lnTo>
                    <a:pt x="2794" y="899"/>
                  </a:lnTo>
                  <a:lnTo>
                    <a:pt x="2794" y="638"/>
                  </a:lnTo>
                  <a:lnTo>
                    <a:pt x="2792" y="638"/>
                  </a:lnTo>
                  <a:lnTo>
                    <a:pt x="2792" y="642"/>
                  </a:lnTo>
                  <a:lnTo>
                    <a:pt x="2791" y="642"/>
                  </a:lnTo>
                  <a:lnTo>
                    <a:pt x="2791" y="643"/>
                  </a:lnTo>
                  <a:lnTo>
                    <a:pt x="2783" y="643"/>
                  </a:lnTo>
                  <a:lnTo>
                    <a:pt x="2783" y="647"/>
                  </a:lnTo>
                  <a:lnTo>
                    <a:pt x="2783" y="647"/>
                  </a:lnTo>
                  <a:lnTo>
                    <a:pt x="2783" y="647"/>
                  </a:lnTo>
                  <a:lnTo>
                    <a:pt x="2783" y="647"/>
                  </a:lnTo>
                  <a:lnTo>
                    <a:pt x="2783" y="647"/>
                  </a:lnTo>
                  <a:lnTo>
                    <a:pt x="2783" y="647"/>
                  </a:lnTo>
                  <a:lnTo>
                    <a:pt x="2783" y="647"/>
                  </a:lnTo>
                  <a:lnTo>
                    <a:pt x="2783" y="647"/>
                  </a:lnTo>
                  <a:lnTo>
                    <a:pt x="2783"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7"/>
                  </a:lnTo>
                  <a:lnTo>
                    <a:pt x="2782" y="649"/>
                  </a:lnTo>
                  <a:lnTo>
                    <a:pt x="2782" y="649"/>
                  </a:lnTo>
                  <a:lnTo>
                    <a:pt x="2782" y="651"/>
                  </a:lnTo>
                  <a:lnTo>
                    <a:pt x="2775" y="651"/>
                  </a:lnTo>
                  <a:lnTo>
                    <a:pt x="2775" y="652"/>
                  </a:lnTo>
                  <a:lnTo>
                    <a:pt x="2775" y="652"/>
                  </a:lnTo>
                  <a:lnTo>
                    <a:pt x="2775" y="652"/>
                  </a:lnTo>
                  <a:lnTo>
                    <a:pt x="2775" y="652"/>
                  </a:lnTo>
                  <a:lnTo>
                    <a:pt x="2775" y="652"/>
                  </a:lnTo>
                  <a:lnTo>
                    <a:pt x="2775" y="652"/>
                  </a:lnTo>
                  <a:lnTo>
                    <a:pt x="2775" y="653"/>
                  </a:lnTo>
                  <a:lnTo>
                    <a:pt x="2752" y="653"/>
                  </a:lnTo>
                  <a:lnTo>
                    <a:pt x="2752" y="653"/>
                  </a:lnTo>
                  <a:lnTo>
                    <a:pt x="2748" y="653"/>
                  </a:lnTo>
                  <a:lnTo>
                    <a:pt x="2748" y="654"/>
                  </a:lnTo>
                  <a:lnTo>
                    <a:pt x="2736" y="654"/>
                  </a:lnTo>
                  <a:lnTo>
                    <a:pt x="2736" y="654"/>
                  </a:lnTo>
                  <a:lnTo>
                    <a:pt x="2735" y="654"/>
                  </a:lnTo>
                  <a:lnTo>
                    <a:pt x="2735" y="654"/>
                  </a:lnTo>
                  <a:lnTo>
                    <a:pt x="2735" y="654"/>
                  </a:lnTo>
                  <a:lnTo>
                    <a:pt x="2735" y="654"/>
                  </a:lnTo>
                  <a:lnTo>
                    <a:pt x="2735" y="654"/>
                  </a:lnTo>
                  <a:lnTo>
                    <a:pt x="2735" y="654"/>
                  </a:lnTo>
                  <a:lnTo>
                    <a:pt x="2735" y="654"/>
                  </a:lnTo>
                  <a:lnTo>
                    <a:pt x="2735" y="654"/>
                  </a:lnTo>
                  <a:lnTo>
                    <a:pt x="2735" y="654"/>
                  </a:lnTo>
                  <a:lnTo>
                    <a:pt x="2735" y="655"/>
                  </a:lnTo>
                  <a:lnTo>
                    <a:pt x="2735" y="655"/>
                  </a:lnTo>
                  <a:lnTo>
                    <a:pt x="2735" y="655"/>
                  </a:lnTo>
                  <a:lnTo>
                    <a:pt x="2735" y="655"/>
                  </a:lnTo>
                  <a:lnTo>
                    <a:pt x="2735" y="655"/>
                  </a:lnTo>
                  <a:lnTo>
                    <a:pt x="2735" y="655"/>
                  </a:lnTo>
                  <a:lnTo>
                    <a:pt x="2735" y="655"/>
                  </a:lnTo>
                  <a:lnTo>
                    <a:pt x="2735" y="655"/>
                  </a:lnTo>
                  <a:lnTo>
                    <a:pt x="2735" y="657"/>
                  </a:lnTo>
                  <a:lnTo>
                    <a:pt x="2735" y="657"/>
                  </a:lnTo>
                  <a:lnTo>
                    <a:pt x="2735" y="657"/>
                  </a:lnTo>
                  <a:lnTo>
                    <a:pt x="2735" y="657"/>
                  </a:lnTo>
                  <a:lnTo>
                    <a:pt x="2735" y="657"/>
                  </a:lnTo>
                  <a:lnTo>
                    <a:pt x="2735" y="657"/>
                  </a:lnTo>
                  <a:lnTo>
                    <a:pt x="2735" y="657"/>
                  </a:lnTo>
                  <a:lnTo>
                    <a:pt x="2735" y="657"/>
                  </a:lnTo>
                  <a:lnTo>
                    <a:pt x="2735" y="658"/>
                  </a:lnTo>
                  <a:lnTo>
                    <a:pt x="2735" y="658"/>
                  </a:lnTo>
                  <a:lnTo>
                    <a:pt x="2735" y="658"/>
                  </a:lnTo>
                  <a:lnTo>
                    <a:pt x="2716" y="658"/>
                  </a:lnTo>
                  <a:lnTo>
                    <a:pt x="2716" y="899"/>
                  </a:lnTo>
                  <a:lnTo>
                    <a:pt x="2714" y="899"/>
                  </a:lnTo>
                  <a:lnTo>
                    <a:pt x="2714" y="899"/>
                  </a:lnTo>
                  <a:lnTo>
                    <a:pt x="2713" y="899"/>
                  </a:lnTo>
                  <a:lnTo>
                    <a:pt x="2713" y="899"/>
                  </a:lnTo>
                  <a:lnTo>
                    <a:pt x="2713" y="899"/>
                  </a:lnTo>
                  <a:lnTo>
                    <a:pt x="2713" y="899"/>
                  </a:lnTo>
                  <a:lnTo>
                    <a:pt x="2713" y="899"/>
                  </a:lnTo>
                  <a:lnTo>
                    <a:pt x="2713" y="899"/>
                  </a:lnTo>
                  <a:lnTo>
                    <a:pt x="2713" y="899"/>
                  </a:lnTo>
                  <a:lnTo>
                    <a:pt x="2713" y="899"/>
                  </a:lnTo>
                  <a:lnTo>
                    <a:pt x="2713" y="899"/>
                  </a:lnTo>
                  <a:lnTo>
                    <a:pt x="2713" y="660"/>
                  </a:lnTo>
                  <a:lnTo>
                    <a:pt x="2712" y="660"/>
                  </a:lnTo>
                  <a:lnTo>
                    <a:pt x="2712" y="660"/>
                  </a:lnTo>
                  <a:lnTo>
                    <a:pt x="2712" y="660"/>
                  </a:lnTo>
                  <a:lnTo>
                    <a:pt x="2712" y="899"/>
                  </a:lnTo>
                  <a:lnTo>
                    <a:pt x="2707" y="899"/>
                  </a:lnTo>
                  <a:lnTo>
                    <a:pt x="2707" y="899"/>
                  </a:lnTo>
                  <a:lnTo>
                    <a:pt x="2702" y="899"/>
                  </a:lnTo>
                  <a:lnTo>
                    <a:pt x="2702" y="671"/>
                  </a:lnTo>
                  <a:lnTo>
                    <a:pt x="2702" y="671"/>
                  </a:lnTo>
                  <a:lnTo>
                    <a:pt x="2702" y="671"/>
                  </a:lnTo>
                  <a:lnTo>
                    <a:pt x="2697" y="671"/>
                  </a:lnTo>
                  <a:lnTo>
                    <a:pt x="2697" y="671"/>
                  </a:lnTo>
                  <a:lnTo>
                    <a:pt x="2694" y="671"/>
                  </a:lnTo>
                  <a:lnTo>
                    <a:pt x="2694"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1"/>
                  </a:lnTo>
                  <a:lnTo>
                    <a:pt x="2693" y="674"/>
                  </a:lnTo>
                  <a:lnTo>
                    <a:pt x="2693" y="674"/>
                  </a:lnTo>
                  <a:lnTo>
                    <a:pt x="2693" y="674"/>
                  </a:lnTo>
                  <a:lnTo>
                    <a:pt x="2693" y="674"/>
                  </a:lnTo>
                  <a:lnTo>
                    <a:pt x="2693" y="674"/>
                  </a:lnTo>
                  <a:lnTo>
                    <a:pt x="2693" y="674"/>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3"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676"/>
                  </a:lnTo>
                  <a:lnTo>
                    <a:pt x="2692" y="899"/>
                  </a:lnTo>
                  <a:lnTo>
                    <a:pt x="2690" y="899"/>
                  </a:lnTo>
                  <a:lnTo>
                    <a:pt x="2690" y="899"/>
                  </a:lnTo>
                  <a:lnTo>
                    <a:pt x="2690" y="899"/>
                  </a:lnTo>
                  <a:lnTo>
                    <a:pt x="2690" y="899"/>
                  </a:lnTo>
                  <a:lnTo>
                    <a:pt x="2690" y="899"/>
                  </a:lnTo>
                  <a:lnTo>
                    <a:pt x="2690" y="677"/>
                  </a:lnTo>
                  <a:lnTo>
                    <a:pt x="2690" y="677"/>
                  </a:lnTo>
                  <a:lnTo>
                    <a:pt x="2690" y="899"/>
                  </a:lnTo>
                  <a:lnTo>
                    <a:pt x="2690" y="899"/>
                  </a:lnTo>
                  <a:lnTo>
                    <a:pt x="2690" y="678"/>
                  </a:lnTo>
                  <a:lnTo>
                    <a:pt x="2690" y="678"/>
                  </a:lnTo>
                  <a:lnTo>
                    <a:pt x="2690" y="678"/>
                  </a:lnTo>
                  <a:lnTo>
                    <a:pt x="2690" y="678"/>
                  </a:lnTo>
                  <a:lnTo>
                    <a:pt x="2690" y="678"/>
                  </a:lnTo>
                  <a:lnTo>
                    <a:pt x="2689" y="678"/>
                  </a:lnTo>
                  <a:lnTo>
                    <a:pt x="2689" y="682"/>
                  </a:lnTo>
                  <a:lnTo>
                    <a:pt x="2688" y="682"/>
                  </a:lnTo>
                  <a:lnTo>
                    <a:pt x="2688" y="682"/>
                  </a:lnTo>
                  <a:lnTo>
                    <a:pt x="2688" y="682"/>
                  </a:lnTo>
                  <a:lnTo>
                    <a:pt x="2688" y="686"/>
                  </a:lnTo>
                  <a:lnTo>
                    <a:pt x="2688" y="686"/>
                  </a:lnTo>
                  <a:lnTo>
                    <a:pt x="2688" y="899"/>
                  </a:lnTo>
                  <a:lnTo>
                    <a:pt x="2688" y="899"/>
                  </a:lnTo>
                  <a:lnTo>
                    <a:pt x="2688" y="899"/>
                  </a:lnTo>
                  <a:lnTo>
                    <a:pt x="2688" y="899"/>
                  </a:lnTo>
                  <a:lnTo>
                    <a:pt x="2688" y="899"/>
                  </a:lnTo>
                  <a:lnTo>
                    <a:pt x="2688" y="899"/>
                  </a:lnTo>
                  <a:lnTo>
                    <a:pt x="2688" y="899"/>
                  </a:lnTo>
                  <a:lnTo>
                    <a:pt x="2688" y="899"/>
                  </a:lnTo>
                  <a:lnTo>
                    <a:pt x="2688" y="694"/>
                  </a:lnTo>
                  <a:lnTo>
                    <a:pt x="2687" y="694"/>
                  </a:lnTo>
                  <a:lnTo>
                    <a:pt x="2687" y="694"/>
                  </a:lnTo>
                  <a:lnTo>
                    <a:pt x="2687" y="694"/>
                  </a:lnTo>
                  <a:lnTo>
                    <a:pt x="2687" y="694"/>
                  </a:lnTo>
                  <a:lnTo>
                    <a:pt x="2687" y="694"/>
                  </a:lnTo>
                  <a:lnTo>
                    <a:pt x="2687" y="694"/>
                  </a:lnTo>
                  <a:lnTo>
                    <a:pt x="2687" y="694"/>
                  </a:lnTo>
                  <a:lnTo>
                    <a:pt x="2687" y="899"/>
                  </a:lnTo>
                  <a:lnTo>
                    <a:pt x="2687" y="899"/>
                  </a:lnTo>
                  <a:lnTo>
                    <a:pt x="2687" y="899"/>
                  </a:lnTo>
                  <a:lnTo>
                    <a:pt x="2687" y="899"/>
                  </a:lnTo>
                  <a:lnTo>
                    <a:pt x="2687" y="899"/>
                  </a:lnTo>
                  <a:lnTo>
                    <a:pt x="2687" y="899"/>
                  </a:lnTo>
                  <a:lnTo>
                    <a:pt x="2687" y="899"/>
                  </a:lnTo>
                  <a:lnTo>
                    <a:pt x="2687" y="899"/>
                  </a:lnTo>
                  <a:lnTo>
                    <a:pt x="2687" y="708"/>
                  </a:lnTo>
                  <a:lnTo>
                    <a:pt x="2684" y="708"/>
                  </a:lnTo>
                  <a:lnTo>
                    <a:pt x="2684" y="708"/>
                  </a:lnTo>
                  <a:lnTo>
                    <a:pt x="2684" y="708"/>
                  </a:lnTo>
                  <a:lnTo>
                    <a:pt x="2684" y="899"/>
                  </a:lnTo>
                  <a:lnTo>
                    <a:pt x="2684" y="899"/>
                  </a:lnTo>
                  <a:lnTo>
                    <a:pt x="2684" y="899"/>
                  </a:lnTo>
                  <a:lnTo>
                    <a:pt x="2683" y="899"/>
                  </a:lnTo>
                  <a:lnTo>
                    <a:pt x="2683" y="899"/>
                  </a:lnTo>
                  <a:lnTo>
                    <a:pt x="2683" y="899"/>
                  </a:lnTo>
                  <a:lnTo>
                    <a:pt x="2683" y="717"/>
                  </a:lnTo>
                  <a:lnTo>
                    <a:pt x="2683" y="717"/>
                  </a:lnTo>
                  <a:lnTo>
                    <a:pt x="2683" y="717"/>
                  </a:lnTo>
                  <a:lnTo>
                    <a:pt x="2683" y="717"/>
                  </a:lnTo>
                  <a:lnTo>
                    <a:pt x="2683" y="717"/>
                  </a:lnTo>
                  <a:lnTo>
                    <a:pt x="2683" y="717"/>
                  </a:lnTo>
                  <a:lnTo>
                    <a:pt x="2683" y="717"/>
                  </a:lnTo>
                  <a:lnTo>
                    <a:pt x="2683" y="717"/>
                  </a:lnTo>
                  <a:lnTo>
                    <a:pt x="2683" y="718"/>
                  </a:lnTo>
                  <a:lnTo>
                    <a:pt x="2682" y="718"/>
                  </a:lnTo>
                  <a:lnTo>
                    <a:pt x="2682" y="718"/>
                  </a:lnTo>
                  <a:lnTo>
                    <a:pt x="2681" y="718"/>
                  </a:lnTo>
                  <a:lnTo>
                    <a:pt x="2681" y="721"/>
                  </a:lnTo>
                  <a:lnTo>
                    <a:pt x="2665" y="721"/>
                  </a:lnTo>
                  <a:lnTo>
                    <a:pt x="2665" y="721"/>
                  </a:lnTo>
                  <a:lnTo>
                    <a:pt x="2663" y="721"/>
                  </a:lnTo>
                  <a:lnTo>
                    <a:pt x="2663" y="721"/>
                  </a:lnTo>
                  <a:lnTo>
                    <a:pt x="2662" y="721"/>
                  </a:lnTo>
                  <a:lnTo>
                    <a:pt x="2662" y="721"/>
                  </a:lnTo>
                  <a:lnTo>
                    <a:pt x="2662" y="721"/>
                  </a:lnTo>
                  <a:lnTo>
                    <a:pt x="2662" y="723"/>
                  </a:lnTo>
                  <a:lnTo>
                    <a:pt x="2661" y="723"/>
                  </a:lnTo>
                  <a:lnTo>
                    <a:pt x="2661" y="899"/>
                  </a:lnTo>
                  <a:lnTo>
                    <a:pt x="2661" y="899"/>
                  </a:lnTo>
                  <a:lnTo>
                    <a:pt x="2661" y="899"/>
                  </a:lnTo>
                  <a:lnTo>
                    <a:pt x="2661" y="899"/>
                  </a:lnTo>
                  <a:lnTo>
                    <a:pt x="2661" y="899"/>
                  </a:lnTo>
                  <a:lnTo>
                    <a:pt x="2661" y="899"/>
                  </a:lnTo>
                  <a:lnTo>
                    <a:pt x="2661"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899"/>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730"/>
                  </a:lnTo>
                  <a:lnTo>
                    <a:pt x="2660" y="899"/>
                  </a:lnTo>
                  <a:lnTo>
                    <a:pt x="2658" y="899"/>
                  </a:lnTo>
                  <a:lnTo>
                    <a:pt x="2658" y="899"/>
                  </a:lnTo>
                  <a:lnTo>
                    <a:pt x="2658" y="899"/>
                  </a:lnTo>
                  <a:lnTo>
                    <a:pt x="2658" y="899"/>
                  </a:lnTo>
                  <a:lnTo>
                    <a:pt x="2658" y="899"/>
                  </a:lnTo>
                  <a:lnTo>
                    <a:pt x="2658" y="736"/>
                  </a:lnTo>
                  <a:lnTo>
                    <a:pt x="2658" y="736"/>
                  </a:lnTo>
                  <a:lnTo>
                    <a:pt x="2658"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6"/>
                  </a:lnTo>
                  <a:lnTo>
                    <a:pt x="2657" y="737"/>
                  </a:lnTo>
                  <a:lnTo>
                    <a:pt x="2657" y="737"/>
                  </a:lnTo>
                  <a:lnTo>
                    <a:pt x="2657" y="737"/>
                  </a:lnTo>
                  <a:lnTo>
                    <a:pt x="2657" y="737"/>
                  </a:lnTo>
                  <a:lnTo>
                    <a:pt x="2657" y="737"/>
                  </a:lnTo>
                  <a:lnTo>
                    <a:pt x="2657" y="737"/>
                  </a:lnTo>
                  <a:lnTo>
                    <a:pt x="2657" y="737"/>
                  </a:lnTo>
                  <a:lnTo>
                    <a:pt x="2657" y="737"/>
                  </a:lnTo>
                  <a:lnTo>
                    <a:pt x="2657" y="737"/>
                  </a:lnTo>
                  <a:lnTo>
                    <a:pt x="2657" y="737"/>
                  </a:lnTo>
                  <a:lnTo>
                    <a:pt x="2657" y="899"/>
                  </a:lnTo>
                  <a:lnTo>
                    <a:pt x="2657" y="899"/>
                  </a:lnTo>
                  <a:lnTo>
                    <a:pt x="2657" y="899"/>
                  </a:lnTo>
                  <a:lnTo>
                    <a:pt x="2657" y="899"/>
                  </a:lnTo>
                  <a:lnTo>
                    <a:pt x="2657" y="739"/>
                  </a:lnTo>
                  <a:lnTo>
                    <a:pt x="2653" y="739"/>
                  </a:lnTo>
                  <a:lnTo>
                    <a:pt x="2653" y="739"/>
                  </a:lnTo>
                  <a:lnTo>
                    <a:pt x="2651" y="739"/>
                  </a:lnTo>
                  <a:lnTo>
                    <a:pt x="2651" y="740"/>
                  </a:lnTo>
                  <a:lnTo>
                    <a:pt x="2651" y="740"/>
                  </a:lnTo>
                  <a:lnTo>
                    <a:pt x="2651" y="740"/>
                  </a:lnTo>
                  <a:lnTo>
                    <a:pt x="2651" y="740"/>
                  </a:lnTo>
                  <a:lnTo>
                    <a:pt x="2651" y="899"/>
                  </a:lnTo>
                  <a:lnTo>
                    <a:pt x="2651" y="899"/>
                  </a:lnTo>
                  <a:lnTo>
                    <a:pt x="2651" y="899"/>
                  </a:lnTo>
                  <a:lnTo>
                    <a:pt x="2651" y="899"/>
                  </a:lnTo>
                  <a:lnTo>
                    <a:pt x="2651" y="743"/>
                  </a:lnTo>
                  <a:lnTo>
                    <a:pt x="2651" y="743"/>
                  </a:lnTo>
                  <a:lnTo>
                    <a:pt x="2651" y="743"/>
                  </a:lnTo>
                  <a:lnTo>
                    <a:pt x="2651" y="743"/>
                  </a:lnTo>
                  <a:lnTo>
                    <a:pt x="2651" y="899"/>
                  </a:lnTo>
                  <a:lnTo>
                    <a:pt x="2649" y="899"/>
                  </a:lnTo>
                  <a:lnTo>
                    <a:pt x="2649" y="743"/>
                  </a:lnTo>
                  <a:lnTo>
                    <a:pt x="2648" y="743"/>
                  </a:lnTo>
                  <a:lnTo>
                    <a:pt x="2648" y="899"/>
                  </a:lnTo>
                  <a:lnTo>
                    <a:pt x="2647" y="899"/>
                  </a:lnTo>
                  <a:lnTo>
                    <a:pt x="2647" y="899"/>
                  </a:lnTo>
                  <a:lnTo>
                    <a:pt x="2647" y="899"/>
                  </a:lnTo>
                  <a:lnTo>
                    <a:pt x="2647" y="899"/>
                  </a:lnTo>
                  <a:lnTo>
                    <a:pt x="2646" y="899"/>
                  </a:lnTo>
                  <a:lnTo>
                    <a:pt x="2646" y="899"/>
                  </a:lnTo>
                  <a:lnTo>
                    <a:pt x="2645" y="899"/>
                  </a:lnTo>
                  <a:lnTo>
                    <a:pt x="2645" y="744"/>
                  </a:lnTo>
                  <a:lnTo>
                    <a:pt x="2645" y="744"/>
                  </a:lnTo>
                  <a:lnTo>
                    <a:pt x="2645" y="899"/>
                  </a:lnTo>
                  <a:lnTo>
                    <a:pt x="2645" y="899"/>
                  </a:lnTo>
                  <a:lnTo>
                    <a:pt x="2645" y="744"/>
                  </a:lnTo>
                  <a:lnTo>
                    <a:pt x="2645" y="744"/>
                  </a:lnTo>
                  <a:lnTo>
                    <a:pt x="2645" y="744"/>
                  </a:lnTo>
                  <a:lnTo>
                    <a:pt x="2645" y="744"/>
                  </a:lnTo>
                  <a:lnTo>
                    <a:pt x="2645" y="899"/>
                  </a:lnTo>
                  <a:lnTo>
                    <a:pt x="2645" y="899"/>
                  </a:lnTo>
                  <a:lnTo>
                    <a:pt x="2645" y="899"/>
                  </a:lnTo>
                  <a:lnTo>
                    <a:pt x="2645" y="899"/>
                  </a:lnTo>
                  <a:lnTo>
                    <a:pt x="2645" y="748"/>
                  </a:lnTo>
                  <a:lnTo>
                    <a:pt x="2645" y="748"/>
                  </a:lnTo>
                  <a:lnTo>
                    <a:pt x="2645" y="748"/>
                  </a:lnTo>
                  <a:lnTo>
                    <a:pt x="2645" y="748"/>
                  </a:lnTo>
                  <a:lnTo>
                    <a:pt x="2645" y="748"/>
                  </a:lnTo>
                  <a:lnTo>
                    <a:pt x="2645" y="748"/>
                  </a:lnTo>
                  <a:lnTo>
                    <a:pt x="2645" y="748"/>
                  </a:lnTo>
                  <a:lnTo>
                    <a:pt x="2639" y="748"/>
                  </a:lnTo>
                  <a:lnTo>
                    <a:pt x="2639" y="748"/>
                  </a:lnTo>
                  <a:lnTo>
                    <a:pt x="2639" y="748"/>
                  </a:lnTo>
                  <a:lnTo>
                    <a:pt x="2639" y="748"/>
                  </a:lnTo>
                  <a:lnTo>
                    <a:pt x="2638" y="748"/>
                  </a:lnTo>
                  <a:lnTo>
                    <a:pt x="2638" y="748"/>
                  </a:lnTo>
                  <a:lnTo>
                    <a:pt x="2638" y="748"/>
                  </a:lnTo>
                  <a:lnTo>
                    <a:pt x="2638" y="748"/>
                  </a:lnTo>
                  <a:lnTo>
                    <a:pt x="2638" y="748"/>
                  </a:lnTo>
                  <a:lnTo>
                    <a:pt x="2638" y="750"/>
                  </a:lnTo>
                  <a:lnTo>
                    <a:pt x="2638" y="750"/>
                  </a:lnTo>
                  <a:lnTo>
                    <a:pt x="2638" y="750"/>
                  </a:lnTo>
                  <a:lnTo>
                    <a:pt x="2638" y="750"/>
                  </a:lnTo>
                  <a:lnTo>
                    <a:pt x="2638" y="750"/>
                  </a:lnTo>
                  <a:lnTo>
                    <a:pt x="2638" y="750"/>
                  </a:lnTo>
                  <a:lnTo>
                    <a:pt x="2638"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0"/>
                  </a:lnTo>
                  <a:lnTo>
                    <a:pt x="2637" y="751"/>
                  </a:lnTo>
                  <a:lnTo>
                    <a:pt x="2637" y="751"/>
                  </a:lnTo>
                  <a:lnTo>
                    <a:pt x="2637" y="751"/>
                  </a:lnTo>
                  <a:lnTo>
                    <a:pt x="2637" y="751"/>
                  </a:lnTo>
                  <a:lnTo>
                    <a:pt x="2637" y="751"/>
                  </a:lnTo>
                  <a:lnTo>
                    <a:pt x="2637" y="751"/>
                  </a:lnTo>
                  <a:lnTo>
                    <a:pt x="2637" y="752"/>
                  </a:lnTo>
                  <a:lnTo>
                    <a:pt x="2631" y="752"/>
                  </a:lnTo>
                  <a:lnTo>
                    <a:pt x="2631"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2"/>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756"/>
                  </a:lnTo>
                  <a:lnTo>
                    <a:pt x="2630" y="899"/>
                  </a:lnTo>
                  <a:lnTo>
                    <a:pt x="2630" y="899"/>
                  </a:lnTo>
                  <a:lnTo>
                    <a:pt x="2630" y="760"/>
                  </a:lnTo>
                  <a:lnTo>
                    <a:pt x="2613" y="760"/>
                  </a:lnTo>
                  <a:lnTo>
                    <a:pt x="2613" y="760"/>
                  </a:lnTo>
                  <a:lnTo>
                    <a:pt x="2612" y="760"/>
                  </a:lnTo>
                  <a:lnTo>
                    <a:pt x="2612" y="760"/>
                  </a:lnTo>
                  <a:lnTo>
                    <a:pt x="2612" y="760"/>
                  </a:lnTo>
                  <a:lnTo>
                    <a:pt x="2612" y="760"/>
                  </a:lnTo>
                  <a:lnTo>
                    <a:pt x="2609" y="760"/>
                  </a:lnTo>
                  <a:lnTo>
                    <a:pt x="2609"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0"/>
                  </a:lnTo>
                  <a:lnTo>
                    <a:pt x="2608" y="761"/>
                  </a:lnTo>
                  <a:lnTo>
                    <a:pt x="2608" y="761"/>
                  </a:lnTo>
                  <a:lnTo>
                    <a:pt x="2608" y="761"/>
                  </a:lnTo>
                  <a:lnTo>
                    <a:pt x="2608" y="761"/>
                  </a:lnTo>
                  <a:lnTo>
                    <a:pt x="2608" y="761"/>
                  </a:lnTo>
                  <a:lnTo>
                    <a:pt x="2608" y="761"/>
                  </a:lnTo>
                  <a:lnTo>
                    <a:pt x="2608"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2"/>
                  </a:lnTo>
                  <a:lnTo>
                    <a:pt x="2607" y="764"/>
                  </a:lnTo>
                  <a:lnTo>
                    <a:pt x="2607" y="764"/>
                  </a:lnTo>
                  <a:lnTo>
                    <a:pt x="2607" y="764"/>
                  </a:lnTo>
                  <a:lnTo>
                    <a:pt x="2607" y="764"/>
                  </a:lnTo>
                  <a:lnTo>
                    <a:pt x="2607" y="764"/>
                  </a:lnTo>
                  <a:lnTo>
                    <a:pt x="2607" y="764"/>
                  </a:lnTo>
                  <a:lnTo>
                    <a:pt x="2607" y="764"/>
                  </a:lnTo>
                  <a:lnTo>
                    <a:pt x="2607" y="764"/>
                  </a:lnTo>
                  <a:lnTo>
                    <a:pt x="2607" y="764"/>
                  </a:lnTo>
                  <a:lnTo>
                    <a:pt x="2607" y="764"/>
                  </a:lnTo>
                  <a:lnTo>
                    <a:pt x="2607" y="765"/>
                  </a:lnTo>
                  <a:lnTo>
                    <a:pt x="2605" y="765"/>
                  </a:lnTo>
                  <a:lnTo>
                    <a:pt x="2605" y="765"/>
                  </a:lnTo>
                  <a:lnTo>
                    <a:pt x="2605" y="765"/>
                  </a:lnTo>
                  <a:lnTo>
                    <a:pt x="2605" y="765"/>
                  </a:lnTo>
                  <a:lnTo>
                    <a:pt x="2605" y="765"/>
                  </a:lnTo>
                  <a:lnTo>
                    <a:pt x="2605" y="765"/>
                  </a:lnTo>
                  <a:lnTo>
                    <a:pt x="2604" y="765"/>
                  </a:lnTo>
                  <a:lnTo>
                    <a:pt x="2604" y="765"/>
                  </a:lnTo>
                  <a:lnTo>
                    <a:pt x="2604" y="765"/>
                  </a:lnTo>
                  <a:lnTo>
                    <a:pt x="2604" y="765"/>
                  </a:lnTo>
                  <a:lnTo>
                    <a:pt x="2599" y="765"/>
                  </a:lnTo>
                  <a:lnTo>
                    <a:pt x="2599" y="765"/>
                  </a:lnTo>
                  <a:lnTo>
                    <a:pt x="2596" y="765"/>
                  </a:lnTo>
                  <a:lnTo>
                    <a:pt x="2596" y="765"/>
                  </a:lnTo>
                  <a:lnTo>
                    <a:pt x="2593" y="765"/>
                  </a:lnTo>
                  <a:lnTo>
                    <a:pt x="2593" y="765"/>
                  </a:lnTo>
                  <a:lnTo>
                    <a:pt x="2592" y="765"/>
                  </a:lnTo>
                  <a:lnTo>
                    <a:pt x="2592" y="765"/>
                  </a:lnTo>
                  <a:lnTo>
                    <a:pt x="2591" y="765"/>
                  </a:lnTo>
                  <a:lnTo>
                    <a:pt x="2591" y="765"/>
                  </a:lnTo>
                  <a:lnTo>
                    <a:pt x="2591" y="765"/>
                  </a:lnTo>
                  <a:lnTo>
                    <a:pt x="2591" y="765"/>
                  </a:lnTo>
                  <a:lnTo>
                    <a:pt x="2591" y="765"/>
                  </a:lnTo>
                  <a:lnTo>
                    <a:pt x="2591" y="765"/>
                  </a:lnTo>
                  <a:lnTo>
                    <a:pt x="2591" y="765"/>
                  </a:lnTo>
                  <a:lnTo>
                    <a:pt x="2591"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5"/>
                  </a:lnTo>
                  <a:lnTo>
                    <a:pt x="2590" y="766"/>
                  </a:lnTo>
                  <a:lnTo>
                    <a:pt x="2590" y="766"/>
                  </a:lnTo>
                  <a:lnTo>
                    <a:pt x="2590" y="766"/>
                  </a:lnTo>
                  <a:lnTo>
                    <a:pt x="2541" y="766"/>
                  </a:lnTo>
                  <a:lnTo>
                    <a:pt x="2541" y="766"/>
                  </a:lnTo>
                  <a:lnTo>
                    <a:pt x="2537" y="766"/>
                  </a:lnTo>
                  <a:lnTo>
                    <a:pt x="2537" y="766"/>
                  </a:lnTo>
                  <a:lnTo>
                    <a:pt x="2534" y="766"/>
                  </a:lnTo>
                  <a:lnTo>
                    <a:pt x="2534"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6"/>
                  </a:lnTo>
                  <a:lnTo>
                    <a:pt x="2532" y="767"/>
                  </a:lnTo>
                  <a:lnTo>
                    <a:pt x="2532" y="767"/>
                  </a:lnTo>
                  <a:lnTo>
                    <a:pt x="2532" y="768"/>
                  </a:lnTo>
                  <a:lnTo>
                    <a:pt x="2531" y="768"/>
                  </a:lnTo>
                  <a:lnTo>
                    <a:pt x="2531" y="768"/>
                  </a:lnTo>
                  <a:lnTo>
                    <a:pt x="2531" y="768"/>
                  </a:lnTo>
                  <a:lnTo>
                    <a:pt x="2531" y="768"/>
                  </a:lnTo>
                  <a:lnTo>
                    <a:pt x="2531" y="768"/>
                  </a:lnTo>
                  <a:lnTo>
                    <a:pt x="2531" y="768"/>
                  </a:lnTo>
                  <a:lnTo>
                    <a:pt x="2531" y="768"/>
                  </a:lnTo>
                  <a:lnTo>
                    <a:pt x="2531" y="768"/>
                  </a:lnTo>
                  <a:lnTo>
                    <a:pt x="2531" y="768"/>
                  </a:lnTo>
                  <a:lnTo>
                    <a:pt x="2531" y="769"/>
                  </a:lnTo>
                  <a:lnTo>
                    <a:pt x="2531" y="769"/>
                  </a:lnTo>
                  <a:lnTo>
                    <a:pt x="2531" y="769"/>
                  </a:lnTo>
                  <a:lnTo>
                    <a:pt x="2531" y="769"/>
                  </a:lnTo>
                  <a:lnTo>
                    <a:pt x="2531" y="769"/>
                  </a:lnTo>
                  <a:lnTo>
                    <a:pt x="2531" y="769"/>
                  </a:lnTo>
                  <a:lnTo>
                    <a:pt x="2531" y="769"/>
                  </a:lnTo>
                  <a:lnTo>
                    <a:pt x="2531" y="769"/>
                  </a:lnTo>
                  <a:lnTo>
                    <a:pt x="2531" y="899"/>
                  </a:lnTo>
                  <a:lnTo>
                    <a:pt x="2531" y="899"/>
                  </a:lnTo>
                  <a:lnTo>
                    <a:pt x="2531" y="899"/>
                  </a:lnTo>
                  <a:lnTo>
                    <a:pt x="2531" y="899"/>
                  </a:lnTo>
                  <a:lnTo>
                    <a:pt x="2531" y="771"/>
                  </a:lnTo>
                  <a:lnTo>
                    <a:pt x="2531" y="771"/>
                  </a:lnTo>
                  <a:lnTo>
                    <a:pt x="2531" y="772"/>
                  </a:lnTo>
                  <a:lnTo>
                    <a:pt x="2527" y="772"/>
                  </a:lnTo>
                  <a:lnTo>
                    <a:pt x="2527" y="772"/>
                  </a:lnTo>
                  <a:lnTo>
                    <a:pt x="2526" y="772"/>
                  </a:lnTo>
                  <a:lnTo>
                    <a:pt x="2526" y="772"/>
                  </a:lnTo>
                  <a:lnTo>
                    <a:pt x="2526" y="772"/>
                  </a:lnTo>
                  <a:lnTo>
                    <a:pt x="2526" y="772"/>
                  </a:lnTo>
                  <a:lnTo>
                    <a:pt x="2526" y="772"/>
                  </a:lnTo>
                  <a:lnTo>
                    <a:pt x="2526" y="772"/>
                  </a:lnTo>
                  <a:lnTo>
                    <a:pt x="2526" y="772"/>
                  </a:lnTo>
                  <a:lnTo>
                    <a:pt x="2526" y="772"/>
                  </a:lnTo>
                  <a:lnTo>
                    <a:pt x="2526" y="772"/>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78"/>
                  </a:lnTo>
                  <a:lnTo>
                    <a:pt x="2526" y="780"/>
                  </a:lnTo>
                  <a:lnTo>
                    <a:pt x="2526" y="780"/>
                  </a:lnTo>
                  <a:lnTo>
                    <a:pt x="2526" y="780"/>
                  </a:lnTo>
                  <a:lnTo>
                    <a:pt x="2526" y="780"/>
                  </a:lnTo>
                  <a:lnTo>
                    <a:pt x="2526" y="782"/>
                  </a:lnTo>
                  <a:lnTo>
                    <a:pt x="2524" y="782"/>
                  </a:lnTo>
                  <a:lnTo>
                    <a:pt x="2524" y="784"/>
                  </a:lnTo>
                  <a:lnTo>
                    <a:pt x="2514" y="784"/>
                  </a:lnTo>
                  <a:lnTo>
                    <a:pt x="2514" y="784"/>
                  </a:lnTo>
                  <a:lnTo>
                    <a:pt x="2503" y="784"/>
                  </a:lnTo>
                  <a:lnTo>
                    <a:pt x="2503" y="784"/>
                  </a:lnTo>
                  <a:lnTo>
                    <a:pt x="2499" y="784"/>
                  </a:lnTo>
                  <a:lnTo>
                    <a:pt x="2499" y="784"/>
                  </a:lnTo>
                  <a:lnTo>
                    <a:pt x="2496" y="784"/>
                  </a:lnTo>
                  <a:lnTo>
                    <a:pt x="2496" y="784"/>
                  </a:lnTo>
                  <a:lnTo>
                    <a:pt x="2495" y="784"/>
                  </a:lnTo>
                  <a:lnTo>
                    <a:pt x="2495" y="784"/>
                  </a:lnTo>
                  <a:lnTo>
                    <a:pt x="2493" y="784"/>
                  </a:lnTo>
                  <a:lnTo>
                    <a:pt x="2493" y="784"/>
                  </a:lnTo>
                  <a:lnTo>
                    <a:pt x="2492" y="784"/>
                  </a:lnTo>
                  <a:lnTo>
                    <a:pt x="2492" y="784"/>
                  </a:lnTo>
                  <a:lnTo>
                    <a:pt x="2490" y="784"/>
                  </a:lnTo>
                  <a:lnTo>
                    <a:pt x="2490" y="784"/>
                  </a:lnTo>
                  <a:lnTo>
                    <a:pt x="2489" y="784"/>
                  </a:lnTo>
                  <a:lnTo>
                    <a:pt x="2489"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4"/>
                  </a:lnTo>
                  <a:lnTo>
                    <a:pt x="2488" y="788"/>
                  </a:lnTo>
                  <a:lnTo>
                    <a:pt x="2481" y="788"/>
                  </a:lnTo>
                  <a:lnTo>
                    <a:pt x="2481" y="788"/>
                  </a:lnTo>
                  <a:lnTo>
                    <a:pt x="2476" y="788"/>
                  </a:lnTo>
                  <a:lnTo>
                    <a:pt x="2476" y="788"/>
                  </a:lnTo>
                  <a:lnTo>
                    <a:pt x="2474" y="788"/>
                  </a:lnTo>
                  <a:lnTo>
                    <a:pt x="2474" y="788"/>
                  </a:lnTo>
                  <a:lnTo>
                    <a:pt x="2472" y="788"/>
                  </a:lnTo>
                  <a:lnTo>
                    <a:pt x="2472" y="788"/>
                  </a:lnTo>
                  <a:lnTo>
                    <a:pt x="2472" y="788"/>
                  </a:lnTo>
                  <a:lnTo>
                    <a:pt x="2472" y="788"/>
                  </a:lnTo>
                  <a:lnTo>
                    <a:pt x="2471" y="788"/>
                  </a:lnTo>
                  <a:lnTo>
                    <a:pt x="2471" y="899"/>
                  </a:lnTo>
                  <a:lnTo>
                    <a:pt x="2471" y="899"/>
                  </a:lnTo>
                  <a:lnTo>
                    <a:pt x="2471" y="899"/>
                  </a:lnTo>
                  <a:lnTo>
                    <a:pt x="2471" y="899"/>
                  </a:lnTo>
                  <a:lnTo>
                    <a:pt x="2471" y="793"/>
                  </a:lnTo>
                  <a:lnTo>
                    <a:pt x="2469" y="793"/>
                  </a:lnTo>
                  <a:lnTo>
                    <a:pt x="2469" y="793"/>
                  </a:lnTo>
                  <a:lnTo>
                    <a:pt x="2469" y="793"/>
                  </a:lnTo>
                  <a:lnTo>
                    <a:pt x="2469" y="793"/>
                  </a:lnTo>
                  <a:lnTo>
                    <a:pt x="2468" y="793"/>
                  </a:lnTo>
                  <a:lnTo>
                    <a:pt x="2468" y="793"/>
                  </a:lnTo>
                  <a:lnTo>
                    <a:pt x="2468" y="793"/>
                  </a:lnTo>
                  <a:lnTo>
                    <a:pt x="2468" y="795"/>
                  </a:lnTo>
                  <a:lnTo>
                    <a:pt x="2457" y="795"/>
                  </a:lnTo>
                  <a:lnTo>
                    <a:pt x="2457" y="795"/>
                  </a:lnTo>
                  <a:lnTo>
                    <a:pt x="2456" y="795"/>
                  </a:lnTo>
                  <a:lnTo>
                    <a:pt x="2456" y="795"/>
                  </a:lnTo>
                  <a:lnTo>
                    <a:pt x="2454" y="795"/>
                  </a:lnTo>
                  <a:lnTo>
                    <a:pt x="2454" y="795"/>
                  </a:lnTo>
                  <a:lnTo>
                    <a:pt x="2453" y="795"/>
                  </a:lnTo>
                  <a:lnTo>
                    <a:pt x="2453" y="795"/>
                  </a:lnTo>
                  <a:lnTo>
                    <a:pt x="2453" y="795"/>
                  </a:lnTo>
                  <a:lnTo>
                    <a:pt x="2453" y="795"/>
                  </a:lnTo>
                  <a:lnTo>
                    <a:pt x="2452" y="795"/>
                  </a:lnTo>
                  <a:lnTo>
                    <a:pt x="2452" y="795"/>
                  </a:lnTo>
                  <a:lnTo>
                    <a:pt x="2452" y="795"/>
                  </a:lnTo>
                  <a:lnTo>
                    <a:pt x="2452"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5"/>
                  </a:lnTo>
                  <a:lnTo>
                    <a:pt x="2451" y="796"/>
                  </a:lnTo>
                  <a:lnTo>
                    <a:pt x="2451" y="796"/>
                  </a:lnTo>
                  <a:lnTo>
                    <a:pt x="2451" y="796"/>
                  </a:lnTo>
                  <a:lnTo>
                    <a:pt x="2439" y="796"/>
                  </a:lnTo>
                  <a:lnTo>
                    <a:pt x="2439" y="796"/>
                  </a:lnTo>
                  <a:lnTo>
                    <a:pt x="2428" y="796"/>
                  </a:lnTo>
                  <a:lnTo>
                    <a:pt x="2428" y="796"/>
                  </a:lnTo>
                  <a:lnTo>
                    <a:pt x="2422" y="796"/>
                  </a:lnTo>
                  <a:lnTo>
                    <a:pt x="2422" y="796"/>
                  </a:lnTo>
                  <a:lnTo>
                    <a:pt x="2417" y="796"/>
                  </a:lnTo>
                  <a:lnTo>
                    <a:pt x="2417" y="796"/>
                  </a:lnTo>
                  <a:lnTo>
                    <a:pt x="2413" y="796"/>
                  </a:lnTo>
                  <a:lnTo>
                    <a:pt x="2413" y="796"/>
                  </a:lnTo>
                  <a:lnTo>
                    <a:pt x="2411" y="796"/>
                  </a:lnTo>
                  <a:lnTo>
                    <a:pt x="2411"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409" y="796"/>
                  </a:lnTo>
                  <a:lnTo>
                    <a:pt x="2382" y="796"/>
                  </a:lnTo>
                  <a:lnTo>
                    <a:pt x="2382" y="796"/>
                  </a:lnTo>
                  <a:lnTo>
                    <a:pt x="2371" y="796"/>
                  </a:lnTo>
                  <a:lnTo>
                    <a:pt x="2371" y="796"/>
                  </a:lnTo>
                  <a:lnTo>
                    <a:pt x="2369" y="796"/>
                  </a:lnTo>
                  <a:lnTo>
                    <a:pt x="2369" y="796"/>
                  </a:lnTo>
                  <a:lnTo>
                    <a:pt x="2367" y="796"/>
                  </a:lnTo>
                  <a:lnTo>
                    <a:pt x="2367" y="796"/>
                  </a:lnTo>
                  <a:lnTo>
                    <a:pt x="2366" y="796"/>
                  </a:lnTo>
                  <a:lnTo>
                    <a:pt x="2366" y="796"/>
                  </a:lnTo>
                  <a:lnTo>
                    <a:pt x="2365" y="796"/>
                  </a:lnTo>
                  <a:lnTo>
                    <a:pt x="2365" y="796"/>
                  </a:lnTo>
                  <a:lnTo>
                    <a:pt x="2365" y="796"/>
                  </a:lnTo>
                  <a:lnTo>
                    <a:pt x="2365" y="796"/>
                  </a:lnTo>
                  <a:lnTo>
                    <a:pt x="2365" y="796"/>
                  </a:lnTo>
                  <a:lnTo>
                    <a:pt x="2365" y="796"/>
                  </a:lnTo>
                  <a:lnTo>
                    <a:pt x="2365" y="796"/>
                  </a:lnTo>
                  <a:lnTo>
                    <a:pt x="2365" y="797"/>
                  </a:lnTo>
                  <a:lnTo>
                    <a:pt x="2351" y="797"/>
                  </a:lnTo>
                  <a:lnTo>
                    <a:pt x="2351" y="797"/>
                  </a:lnTo>
                  <a:lnTo>
                    <a:pt x="2350" y="797"/>
                  </a:lnTo>
                  <a:lnTo>
                    <a:pt x="2350" y="798"/>
                  </a:lnTo>
                  <a:lnTo>
                    <a:pt x="2350" y="798"/>
                  </a:lnTo>
                  <a:lnTo>
                    <a:pt x="2350" y="799"/>
                  </a:lnTo>
                  <a:lnTo>
                    <a:pt x="2311" y="799"/>
                  </a:lnTo>
                  <a:lnTo>
                    <a:pt x="2311" y="799"/>
                  </a:lnTo>
                  <a:lnTo>
                    <a:pt x="2308" y="799"/>
                  </a:lnTo>
                  <a:lnTo>
                    <a:pt x="2308" y="800"/>
                  </a:lnTo>
                  <a:lnTo>
                    <a:pt x="2299" y="800"/>
                  </a:lnTo>
                  <a:lnTo>
                    <a:pt x="2299" y="801"/>
                  </a:lnTo>
                  <a:lnTo>
                    <a:pt x="2298" y="801"/>
                  </a:lnTo>
                  <a:lnTo>
                    <a:pt x="2298" y="804"/>
                  </a:lnTo>
                  <a:lnTo>
                    <a:pt x="2298" y="804"/>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04"/>
                  </a:lnTo>
                  <a:lnTo>
                    <a:pt x="2298" y="804"/>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99"/>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4"/>
                  </a:lnTo>
                  <a:lnTo>
                    <a:pt x="2298" y="806"/>
                  </a:lnTo>
                  <a:lnTo>
                    <a:pt x="2298" y="806"/>
                  </a:lnTo>
                  <a:lnTo>
                    <a:pt x="2298" y="806"/>
                  </a:lnTo>
                  <a:lnTo>
                    <a:pt x="2298" y="806"/>
                  </a:lnTo>
                  <a:lnTo>
                    <a:pt x="2298" y="806"/>
                  </a:lnTo>
                  <a:lnTo>
                    <a:pt x="2294" y="806"/>
                  </a:lnTo>
                  <a:lnTo>
                    <a:pt x="2294" y="806"/>
                  </a:lnTo>
                  <a:lnTo>
                    <a:pt x="2293" y="806"/>
                  </a:lnTo>
                  <a:lnTo>
                    <a:pt x="2293" y="807"/>
                  </a:lnTo>
                  <a:lnTo>
                    <a:pt x="2292" y="807"/>
                  </a:lnTo>
                  <a:lnTo>
                    <a:pt x="2292" y="808"/>
                  </a:lnTo>
                  <a:lnTo>
                    <a:pt x="2288" y="808"/>
                  </a:lnTo>
                  <a:lnTo>
                    <a:pt x="2288" y="808"/>
                  </a:lnTo>
                  <a:lnTo>
                    <a:pt x="2285" y="808"/>
                  </a:lnTo>
                  <a:lnTo>
                    <a:pt x="2285" y="808"/>
                  </a:lnTo>
                  <a:lnTo>
                    <a:pt x="2283" y="808"/>
                  </a:lnTo>
                  <a:lnTo>
                    <a:pt x="2283" y="808"/>
                  </a:lnTo>
                  <a:lnTo>
                    <a:pt x="2282" y="808"/>
                  </a:lnTo>
                  <a:lnTo>
                    <a:pt x="2282" y="808"/>
                  </a:lnTo>
                  <a:lnTo>
                    <a:pt x="2280" y="808"/>
                  </a:lnTo>
                  <a:lnTo>
                    <a:pt x="2280" y="808"/>
                  </a:lnTo>
                  <a:lnTo>
                    <a:pt x="2279" y="808"/>
                  </a:lnTo>
                  <a:lnTo>
                    <a:pt x="2279" y="808"/>
                  </a:lnTo>
                  <a:lnTo>
                    <a:pt x="2279" y="808"/>
                  </a:lnTo>
                  <a:lnTo>
                    <a:pt x="2279" y="808"/>
                  </a:lnTo>
                  <a:lnTo>
                    <a:pt x="2278" y="808"/>
                  </a:lnTo>
                  <a:lnTo>
                    <a:pt x="2278" y="808"/>
                  </a:lnTo>
                  <a:lnTo>
                    <a:pt x="2278" y="808"/>
                  </a:lnTo>
                  <a:lnTo>
                    <a:pt x="2278" y="808"/>
                  </a:lnTo>
                  <a:lnTo>
                    <a:pt x="2277" y="808"/>
                  </a:lnTo>
                  <a:lnTo>
                    <a:pt x="2277" y="808"/>
                  </a:lnTo>
                  <a:lnTo>
                    <a:pt x="2277" y="808"/>
                  </a:lnTo>
                  <a:lnTo>
                    <a:pt x="2277" y="808"/>
                  </a:lnTo>
                  <a:lnTo>
                    <a:pt x="2277" y="808"/>
                  </a:lnTo>
                  <a:lnTo>
                    <a:pt x="2277" y="809"/>
                  </a:lnTo>
                  <a:lnTo>
                    <a:pt x="2275" y="809"/>
                  </a:lnTo>
                  <a:lnTo>
                    <a:pt x="2275" y="809"/>
                  </a:lnTo>
                  <a:lnTo>
                    <a:pt x="2273" y="809"/>
                  </a:lnTo>
                  <a:lnTo>
                    <a:pt x="2273" y="810"/>
                  </a:lnTo>
                  <a:lnTo>
                    <a:pt x="2273" y="810"/>
                  </a:lnTo>
                  <a:lnTo>
                    <a:pt x="2273" y="810"/>
                  </a:lnTo>
                  <a:lnTo>
                    <a:pt x="2273" y="810"/>
                  </a:lnTo>
                  <a:lnTo>
                    <a:pt x="2273" y="810"/>
                  </a:lnTo>
                  <a:lnTo>
                    <a:pt x="2273" y="810"/>
                  </a:lnTo>
                  <a:lnTo>
                    <a:pt x="2273" y="810"/>
                  </a:lnTo>
                  <a:lnTo>
                    <a:pt x="2273" y="810"/>
                  </a:lnTo>
                  <a:lnTo>
                    <a:pt x="2273" y="812"/>
                  </a:lnTo>
                  <a:lnTo>
                    <a:pt x="2269" y="812"/>
                  </a:lnTo>
                  <a:lnTo>
                    <a:pt x="2269" y="812"/>
                  </a:lnTo>
                  <a:lnTo>
                    <a:pt x="2267" y="812"/>
                  </a:lnTo>
                  <a:lnTo>
                    <a:pt x="2267" y="812"/>
                  </a:lnTo>
                  <a:lnTo>
                    <a:pt x="2267" y="812"/>
                  </a:lnTo>
                  <a:lnTo>
                    <a:pt x="2267" y="812"/>
                  </a:lnTo>
                  <a:lnTo>
                    <a:pt x="2266" y="812"/>
                  </a:lnTo>
                  <a:lnTo>
                    <a:pt x="2266" y="812"/>
                  </a:lnTo>
                  <a:lnTo>
                    <a:pt x="2266" y="812"/>
                  </a:lnTo>
                  <a:lnTo>
                    <a:pt x="2266" y="812"/>
                  </a:lnTo>
                  <a:lnTo>
                    <a:pt x="2266" y="812"/>
                  </a:lnTo>
                  <a:lnTo>
                    <a:pt x="2266" y="812"/>
                  </a:lnTo>
                  <a:lnTo>
                    <a:pt x="2266" y="812"/>
                  </a:lnTo>
                  <a:lnTo>
                    <a:pt x="2266" y="812"/>
                  </a:lnTo>
                  <a:lnTo>
                    <a:pt x="2266" y="812"/>
                  </a:lnTo>
                  <a:lnTo>
                    <a:pt x="2266" y="813"/>
                  </a:lnTo>
                  <a:lnTo>
                    <a:pt x="2265" y="813"/>
                  </a:lnTo>
                  <a:lnTo>
                    <a:pt x="2265" y="814"/>
                  </a:lnTo>
                  <a:lnTo>
                    <a:pt x="2249" y="814"/>
                  </a:lnTo>
                  <a:lnTo>
                    <a:pt x="2249" y="814"/>
                  </a:lnTo>
                  <a:lnTo>
                    <a:pt x="2243" y="814"/>
                  </a:lnTo>
                  <a:lnTo>
                    <a:pt x="2243" y="814"/>
                  </a:lnTo>
                  <a:lnTo>
                    <a:pt x="2241" y="814"/>
                  </a:lnTo>
                  <a:lnTo>
                    <a:pt x="2241" y="814"/>
                  </a:lnTo>
                  <a:lnTo>
                    <a:pt x="2241" y="814"/>
                  </a:lnTo>
                  <a:lnTo>
                    <a:pt x="2241" y="814"/>
                  </a:lnTo>
                  <a:lnTo>
                    <a:pt x="2240" y="814"/>
                  </a:lnTo>
                  <a:lnTo>
                    <a:pt x="2240" y="814"/>
                  </a:lnTo>
                  <a:lnTo>
                    <a:pt x="2240" y="814"/>
                  </a:lnTo>
                  <a:lnTo>
                    <a:pt x="2240" y="814"/>
                  </a:lnTo>
                  <a:lnTo>
                    <a:pt x="2240" y="814"/>
                  </a:lnTo>
                  <a:lnTo>
                    <a:pt x="2240"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4"/>
                  </a:lnTo>
                  <a:lnTo>
                    <a:pt x="2239" y="818"/>
                  </a:lnTo>
                  <a:lnTo>
                    <a:pt x="2233" y="818"/>
                  </a:lnTo>
                  <a:lnTo>
                    <a:pt x="2233" y="818"/>
                  </a:lnTo>
                  <a:lnTo>
                    <a:pt x="2231" y="818"/>
                  </a:lnTo>
                  <a:lnTo>
                    <a:pt x="2231" y="818"/>
                  </a:lnTo>
                  <a:lnTo>
                    <a:pt x="2231" y="818"/>
                  </a:lnTo>
                  <a:lnTo>
                    <a:pt x="2231" y="818"/>
                  </a:lnTo>
                  <a:lnTo>
                    <a:pt x="2231" y="818"/>
                  </a:lnTo>
                  <a:lnTo>
                    <a:pt x="2231" y="818"/>
                  </a:lnTo>
                  <a:lnTo>
                    <a:pt x="2231" y="818"/>
                  </a:lnTo>
                  <a:lnTo>
                    <a:pt x="2231" y="818"/>
                  </a:lnTo>
                  <a:lnTo>
                    <a:pt x="2231" y="818"/>
                  </a:lnTo>
                  <a:lnTo>
                    <a:pt x="2231" y="820"/>
                  </a:lnTo>
                  <a:lnTo>
                    <a:pt x="2221" y="820"/>
                  </a:lnTo>
                  <a:lnTo>
                    <a:pt x="2221" y="820"/>
                  </a:lnTo>
                  <a:lnTo>
                    <a:pt x="2221" y="820"/>
                  </a:lnTo>
                  <a:lnTo>
                    <a:pt x="2221" y="899"/>
                  </a:lnTo>
                  <a:lnTo>
                    <a:pt x="2221" y="899"/>
                  </a:lnTo>
                  <a:lnTo>
                    <a:pt x="2221" y="899"/>
                  </a:lnTo>
                  <a:lnTo>
                    <a:pt x="2221" y="899"/>
                  </a:lnTo>
                  <a:lnTo>
                    <a:pt x="2221" y="899"/>
                  </a:lnTo>
                  <a:lnTo>
                    <a:pt x="2221" y="899"/>
                  </a:lnTo>
                  <a:lnTo>
                    <a:pt x="2221" y="899"/>
                  </a:lnTo>
                  <a:lnTo>
                    <a:pt x="2221" y="899"/>
                  </a:lnTo>
                  <a:lnTo>
                    <a:pt x="2221" y="823"/>
                  </a:lnTo>
                  <a:lnTo>
                    <a:pt x="2218" y="823"/>
                  </a:lnTo>
                  <a:lnTo>
                    <a:pt x="2218" y="823"/>
                  </a:lnTo>
                  <a:lnTo>
                    <a:pt x="2218" y="823"/>
                  </a:lnTo>
                  <a:lnTo>
                    <a:pt x="2218" y="825"/>
                  </a:lnTo>
                  <a:lnTo>
                    <a:pt x="2218" y="825"/>
                  </a:lnTo>
                  <a:lnTo>
                    <a:pt x="2218" y="827"/>
                  </a:lnTo>
                  <a:lnTo>
                    <a:pt x="2218" y="827"/>
                  </a:lnTo>
                  <a:lnTo>
                    <a:pt x="2218" y="827"/>
                  </a:lnTo>
                  <a:lnTo>
                    <a:pt x="2217" y="827"/>
                  </a:lnTo>
                  <a:lnTo>
                    <a:pt x="2217" y="827"/>
                  </a:lnTo>
                  <a:lnTo>
                    <a:pt x="2217" y="827"/>
                  </a:lnTo>
                  <a:lnTo>
                    <a:pt x="2217" y="828"/>
                  </a:lnTo>
                  <a:lnTo>
                    <a:pt x="2217" y="828"/>
                  </a:lnTo>
                  <a:lnTo>
                    <a:pt x="2217" y="828"/>
                  </a:lnTo>
                  <a:lnTo>
                    <a:pt x="2217" y="828"/>
                  </a:lnTo>
                  <a:lnTo>
                    <a:pt x="2217" y="828"/>
                  </a:lnTo>
                  <a:lnTo>
                    <a:pt x="2217" y="828"/>
                  </a:lnTo>
                  <a:lnTo>
                    <a:pt x="2217" y="829"/>
                  </a:lnTo>
                  <a:lnTo>
                    <a:pt x="2217" y="829"/>
                  </a:lnTo>
                  <a:lnTo>
                    <a:pt x="2217" y="829"/>
                  </a:lnTo>
                  <a:lnTo>
                    <a:pt x="2217" y="829"/>
                  </a:lnTo>
                  <a:lnTo>
                    <a:pt x="2217" y="831"/>
                  </a:lnTo>
                  <a:lnTo>
                    <a:pt x="2217" y="831"/>
                  </a:lnTo>
                  <a:lnTo>
                    <a:pt x="2217" y="833"/>
                  </a:lnTo>
                  <a:lnTo>
                    <a:pt x="2217" y="833"/>
                  </a:lnTo>
                  <a:lnTo>
                    <a:pt x="2217" y="833"/>
                  </a:lnTo>
                  <a:lnTo>
                    <a:pt x="2216" y="833"/>
                  </a:lnTo>
                  <a:lnTo>
                    <a:pt x="2216" y="833"/>
                  </a:lnTo>
                  <a:lnTo>
                    <a:pt x="2215" y="833"/>
                  </a:lnTo>
                  <a:lnTo>
                    <a:pt x="2215" y="833"/>
                  </a:lnTo>
                  <a:lnTo>
                    <a:pt x="2215" y="833"/>
                  </a:lnTo>
                  <a:lnTo>
                    <a:pt x="2215" y="833"/>
                  </a:lnTo>
                  <a:lnTo>
                    <a:pt x="2215" y="833"/>
                  </a:lnTo>
                  <a:lnTo>
                    <a:pt x="2215" y="834"/>
                  </a:lnTo>
                  <a:lnTo>
                    <a:pt x="2214" y="834"/>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6"/>
                  </a:lnTo>
                  <a:lnTo>
                    <a:pt x="2214" y="837"/>
                  </a:lnTo>
                  <a:lnTo>
                    <a:pt x="2214" y="837"/>
                  </a:lnTo>
                  <a:lnTo>
                    <a:pt x="2214" y="837"/>
                  </a:lnTo>
                  <a:lnTo>
                    <a:pt x="2214" y="837"/>
                  </a:lnTo>
                  <a:lnTo>
                    <a:pt x="2214" y="837"/>
                  </a:lnTo>
                  <a:lnTo>
                    <a:pt x="2193" y="837"/>
                  </a:lnTo>
                  <a:lnTo>
                    <a:pt x="2193" y="837"/>
                  </a:lnTo>
                  <a:lnTo>
                    <a:pt x="2190" y="837"/>
                  </a:lnTo>
                  <a:lnTo>
                    <a:pt x="2190" y="837"/>
                  </a:lnTo>
                  <a:lnTo>
                    <a:pt x="2188" y="837"/>
                  </a:lnTo>
                  <a:lnTo>
                    <a:pt x="2188"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37"/>
                  </a:lnTo>
                  <a:lnTo>
                    <a:pt x="2187" y="840"/>
                  </a:lnTo>
                  <a:lnTo>
                    <a:pt x="2187" y="840"/>
                  </a:lnTo>
                  <a:lnTo>
                    <a:pt x="2187" y="840"/>
                  </a:lnTo>
                  <a:lnTo>
                    <a:pt x="2187" y="840"/>
                  </a:lnTo>
                  <a:lnTo>
                    <a:pt x="2187" y="840"/>
                  </a:lnTo>
                  <a:lnTo>
                    <a:pt x="2187" y="840"/>
                  </a:lnTo>
                  <a:lnTo>
                    <a:pt x="2187" y="840"/>
                  </a:lnTo>
                  <a:lnTo>
                    <a:pt x="2186" y="840"/>
                  </a:lnTo>
                  <a:lnTo>
                    <a:pt x="2186" y="840"/>
                  </a:lnTo>
                  <a:lnTo>
                    <a:pt x="2186" y="840"/>
                  </a:lnTo>
                  <a:lnTo>
                    <a:pt x="2186" y="840"/>
                  </a:lnTo>
                  <a:lnTo>
                    <a:pt x="2186" y="840"/>
                  </a:lnTo>
                  <a:lnTo>
                    <a:pt x="2186" y="840"/>
                  </a:lnTo>
                  <a:lnTo>
                    <a:pt x="2186" y="840"/>
                  </a:lnTo>
                  <a:lnTo>
                    <a:pt x="2186" y="840"/>
                  </a:lnTo>
                  <a:lnTo>
                    <a:pt x="2186" y="840"/>
                  </a:lnTo>
                  <a:lnTo>
                    <a:pt x="2186" y="844"/>
                  </a:lnTo>
                  <a:lnTo>
                    <a:pt x="2185" y="844"/>
                  </a:lnTo>
                  <a:lnTo>
                    <a:pt x="2185" y="844"/>
                  </a:lnTo>
                  <a:lnTo>
                    <a:pt x="2185" y="844"/>
                  </a:lnTo>
                  <a:lnTo>
                    <a:pt x="2185" y="848"/>
                  </a:lnTo>
                  <a:lnTo>
                    <a:pt x="2185" y="848"/>
                  </a:lnTo>
                  <a:lnTo>
                    <a:pt x="2185" y="848"/>
                  </a:lnTo>
                  <a:lnTo>
                    <a:pt x="2185" y="848"/>
                  </a:lnTo>
                  <a:lnTo>
                    <a:pt x="2185" y="848"/>
                  </a:lnTo>
                  <a:lnTo>
                    <a:pt x="2185" y="848"/>
                  </a:lnTo>
                  <a:lnTo>
                    <a:pt x="2185" y="848"/>
                  </a:lnTo>
                  <a:lnTo>
                    <a:pt x="2185" y="848"/>
                  </a:lnTo>
                  <a:lnTo>
                    <a:pt x="2185" y="849"/>
                  </a:lnTo>
                  <a:lnTo>
                    <a:pt x="2185" y="849"/>
                  </a:lnTo>
                  <a:lnTo>
                    <a:pt x="2185"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49"/>
                  </a:lnTo>
                  <a:lnTo>
                    <a:pt x="2183" y="851"/>
                  </a:lnTo>
                  <a:lnTo>
                    <a:pt x="2183" y="851"/>
                  </a:lnTo>
                  <a:lnTo>
                    <a:pt x="2183" y="851"/>
                  </a:lnTo>
                  <a:lnTo>
                    <a:pt x="2183" y="851"/>
                  </a:lnTo>
                  <a:lnTo>
                    <a:pt x="2183" y="854"/>
                  </a:lnTo>
                  <a:lnTo>
                    <a:pt x="2183" y="854"/>
                  </a:lnTo>
                  <a:lnTo>
                    <a:pt x="2183" y="854"/>
                  </a:lnTo>
                  <a:lnTo>
                    <a:pt x="2183" y="854"/>
                  </a:lnTo>
                  <a:lnTo>
                    <a:pt x="2183" y="854"/>
                  </a:lnTo>
                  <a:lnTo>
                    <a:pt x="2183" y="854"/>
                  </a:lnTo>
                  <a:lnTo>
                    <a:pt x="2183" y="854"/>
                  </a:lnTo>
                  <a:lnTo>
                    <a:pt x="2183" y="854"/>
                  </a:lnTo>
                  <a:lnTo>
                    <a:pt x="2183" y="854"/>
                  </a:lnTo>
                  <a:lnTo>
                    <a:pt x="2183" y="854"/>
                  </a:lnTo>
                  <a:lnTo>
                    <a:pt x="2183" y="856"/>
                  </a:lnTo>
                  <a:lnTo>
                    <a:pt x="2182" y="856"/>
                  </a:lnTo>
                  <a:lnTo>
                    <a:pt x="2182" y="856"/>
                  </a:lnTo>
                  <a:lnTo>
                    <a:pt x="2182" y="856"/>
                  </a:lnTo>
                  <a:lnTo>
                    <a:pt x="2182" y="856"/>
                  </a:lnTo>
                  <a:lnTo>
                    <a:pt x="2182" y="856"/>
                  </a:lnTo>
                  <a:lnTo>
                    <a:pt x="2182" y="856"/>
                  </a:lnTo>
                  <a:lnTo>
                    <a:pt x="2182" y="856"/>
                  </a:lnTo>
                  <a:lnTo>
                    <a:pt x="2182" y="861"/>
                  </a:lnTo>
                  <a:lnTo>
                    <a:pt x="2178" y="861"/>
                  </a:lnTo>
                  <a:lnTo>
                    <a:pt x="2178" y="862"/>
                  </a:lnTo>
                  <a:lnTo>
                    <a:pt x="2176" y="862"/>
                  </a:lnTo>
                  <a:lnTo>
                    <a:pt x="2176" y="862"/>
                  </a:lnTo>
                  <a:lnTo>
                    <a:pt x="2175" y="862"/>
                  </a:lnTo>
                  <a:lnTo>
                    <a:pt x="2175" y="862"/>
                  </a:lnTo>
                  <a:lnTo>
                    <a:pt x="2175" y="862"/>
                  </a:lnTo>
                  <a:lnTo>
                    <a:pt x="2175" y="862"/>
                  </a:lnTo>
                  <a:lnTo>
                    <a:pt x="2175" y="862"/>
                  </a:lnTo>
                  <a:lnTo>
                    <a:pt x="2175" y="862"/>
                  </a:lnTo>
                  <a:lnTo>
                    <a:pt x="2175" y="862"/>
                  </a:lnTo>
                  <a:lnTo>
                    <a:pt x="2175" y="862"/>
                  </a:lnTo>
                  <a:lnTo>
                    <a:pt x="2175" y="862"/>
                  </a:lnTo>
                  <a:lnTo>
                    <a:pt x="2175" y="863"/>
                  </a:lnTo>
                  <a:lnTo>
                    <a:pt x="2158" y="863"/>
                  </a:lnTo>
                  <a:lnTo>
                    <a:pt x="2158" y="863"/>
                  </a:lnTo>
                  <a:lnTo>
                    <a:pt x="2155" y="863"/>
                  </a:lnTo>
                  <a:lnTo>
                    <a:pt x="2155" y="863"/>
                  </a:lnTo>
                  <a:lnTo>
                    <a:pt x="2155" y="863"/>
                  </a:lnTo>
                  <a:lnTo>
                    <a:pt x="2155" y="867"/>
                  </a:lnTo>
                  <a:lnTo>
                    <a:pt x="2154" y="867"/>
                  </a:lnTo>
                  <a:lnTo>
                    <a:pt x="2154" y="867"/>
                  </a:lnTo>
                  <a:lnTo>
                    <a:pt x="2154" y="867"/>
                  </a:lnTo>
                  <a:lnTo>
                    <a:pt x="2154" y="867"/>
                  </a:lnTo>
                  <a:lnTo>
                    <a:pt x="2154" y="867"/>
                  </a:lnTo>
                  <a:lnTo>
                    <a:pt x="2154" y="867"/>
                  </a:lnTo>
                  <a:lnTo>
                    <a:pt x="2154" y="867"/>
                  </a:lnTo>
                  <a:lnTo>
                    <a:pt x="2154" y="867"/>
                  </a:lnTo>
                  <a:lnTo>
                    <a:pt x="2154" y="867"/>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4" y="868"/>
                  </a:lnTo>
                  <a:lnTo>
                    <a:pt x="2153" y="868"/>
                  </a:lnTo>
                  <a:lnTo>
                    <a:pt x="2153" y="869"/>
                  </a:lnTo>
                  <a:lnTo>
                    <a:pt x="2153" y="869"/>
                  </a:lnTo>
                  <a:lnTo>
                    <a:pt x="2153" y="869"/>
                  </a:lnTo>
                  <a:lnTo>
                    <a:pt x="2152" y="869"/>
                  </a:lnTo>
                  <a:lnTo>
                    <a:pt x="2152" y="869"/>
                  </a:lnTo>
                  <a:lnTo>
                    <a:pt x="2152" y="869"/>
                  </a:lnTo>
                  <a:lnTo>
                    <a:pt x="2152" y="869"/>
                  </a:lnTo>
                  <a:lnTo>
                    <a:pt x="2152" y="869"/>
                  </a:lnTo>
                  <a:lnTo>
                    <a:pt x="2152" y="869"/>
                  </a:lnTo>
                  <a:lnTo>
                    <a:pt x="2152" y="869"/>
                  </a:lnTo>
                  <a:lnTo>
                    <a:pt x="2152" y="869"/>
                  </a:lnTo>
                  <a:lnTo>
                    <a:pt x="2152" y="869"/>
                  </a:lnTo>
                  <a:lnTo>
                    <a:pt x="2152" y="870"/>
                  </a:lnTo>
                  <a:lnTo>
                    <a:pt x="2151" y="870"/>
                  </a:lnTo>
                  <a:lnTo>
                    <a:pt x="2151" y="870"/>
                  </a:lnTo>
                  <a:lnTo>
                    <a:pt x="2151" y="870"/>
                  </a:lnTo>
                  <a:lnTo>
                    <a:pt x="2151" y="870"/>
                  </a:lnTo>
                  <a:lnTo>
                    <a:pt x="2151" y="870"/>
                  </a:lnTo>
                  <a:lnTo>
                    <a:pt x="2151" y="870"/>
                  </a:lnTo>
                  <a:lnTo>
                    <a:pt x="2151" y="870"/>
                  </a:lnTo>
                  <a:lnTo>
                    <a:pt x="2151" y="870"/>
                  </a:lnTo>
                  <a:lnTo>
                    <a:pt x="2151" y="870"/>
                  </a:lnTo>
                  <a:lnTo>
                    <a:pt x="2151" y="871"/>
                  </a:lnTo>
                  <a:lnTo>
                    <a:pt x="2151" y="871"/>
                  </a:lnTo>
                  <a:lnTo>
                    <a:pt x="2151" y="871"/>
                  </a:lnTo>
                  <a:lnTo>
                    <a:pt x="2151" y="871"/>
                  </a:lnTo>
                  <a:lnTo>
                    <a:pt x="2151" y="871"/>
                  </a:lnTo>
                  <a:lnTo>
                    <a:pt x="2151" y="871"/>
                  </a:lnTo>
                  <a:lnTo>
                    <a:pt x="2151" y="871"/>
                  </a:lnTo>
                  <a:lnTo>
                    <a:pt x="2151" y="871"/>
                  </a:lnTo>
                  <a:lnTo>
                    <a:pt x="2151"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7"/>
                  </a:lnTo>
                  <a:lnTo>
                    <a:pt x="2149" y="878"/>
                  </a:lnTo>
                  <a:lnTo>
                    <a:pt x="2147" y="878"/>
                  </a:lnTo>
                  <a:lnTo>
                    <a:pt x="2147" y="878"/>
                  </a:lnTo>
                  <a:lnTo>
                    <a:pt x="2145" y="878"/>
                  </a:lnTo>
                  <a:lnTo>
                    <a:pt x="2145" y="878"/>
                  </a:lnTo>
                  <a:lnTo>
                    <a:pt x="2144" y="878"/>
                  </a:lnTo>
                  <a:lnTo>
                    <a:pt x="2144" y="878"/>
                  </a:lnTo>
                  <a:lnTo>
                    <a:pt x="2144" y="878"/>
                  </a:lnTo>
                  <a:lnTo>
                    <a:pt x="2144" y="878"/>
                  </a:lnTo>
                  <a:lnTo>
                    <a:pt x="2144" y="878"/>
                  </a:lnTo>
                  <a:lnTo>
                    <a:pt x="2144" y="878"/>
                  </a:lnTo>
                  <a:lnTo>
                    <a:pt x="2144" y="878"/>
                  </a:lnTo>
                  <a:lnTo>
                    <a:pt x="2144" y="880"/>
                  </a:lnTo>
                  <a:lnTo>
                    <a:pt x="2144" y="880"/>
                  </a:lnTo>
                  <a:lnTo>
                    <a:pt x="2144" y="880"/>
                  </a:lnTo>
                  <a:lnTo>
                    <a:pt x="2144" y="880"/>
                  </a:lnTo>
                  <a:lnTo>
                    <a:pt x="2144" y="880"/>
                  </a:lnTo>
                  <a:lnTo>
                    <a:pt x="2144" y="880"/>
                  </a:lnTo>
                  <a:lnTo>
                    <a:pt x="2144" y="881"/>
                  </a:lnTo>
                  <a:lnTo>
                    <a:pt x="2141" y="881"/>
                  </a:lnTo>
                  <a:lnTo>
                    <a:pt x="2141" y="881"/>
                  </a:lnTo>
                  <a:lnTo>
                    <a:pt x="2138" y="881"/>
                  </a:lnTo>
                  <a:lnTo>
                    <a:pt x="2138" y="881"/>
                  </a:lnTo>
                  <a:lnTo>
                    <a:pt x="2138" y="881"/>
                  </a:lnTo>
                  <a:lnTo>
                    <a:pt x="2138" y="882"/>
                  </a:lnTo>
                  <a:lnTo>
                    <a:pt x="2136" y="882"/>
                  </a:lnTo>
                  <a:lnTo>
                    <a:pt x="2136"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135" y="882"/>
                  </a:lnTo>
                  <a:lnTo>
                    <a:pt x="2090" y="882"/>
                  </a:lnTo>
                  <a:lnTo>
                    <a:pt x="2090" y="882"/>
                  </a:lnTo>
                  <a:lnTo>
                    <a:pt x="2090" y="882"/>
                  </a:lnTo>
                  <a:lnTo>
                    <a:pt x="2090" y="882"/>
                  </a:lnTo>
                  <a:lnTo>
                    <a:pt x="2090" y="882"/>
                  </a:lnTo>
                  <a:lnTo>
                    <a:pt x="2090" y="882"/>
                  </a:lnTo>
                  <a:lnTo>
                    <a:pt x="2090" y="882"/>
                  </a:lnTo>
                  <a:lnTo>
                    <a:pt x="2090" y="882"/>
                  </a:lnTo>
                  <a:lnTo>
                    <a:pt x="2090" y="882"/>
                  </a:lnTo>
                  <a:lnTo>
                    <a:pt x="2090"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2"/>
                  </a:lnTo>
                  <a:lnTo>
                    <a:pt x="2089"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3"/>
                  </a:lnTo>
                  <a:lnTo>
                    <a:pt x="2088" y="884"/>
                  </a:lnTo>
                  <a:lnTo>
                    <a:pt x="2087" y="884"/>
                  </a:lnTo>
                  <a:lnTo>
                    <a:pt x="2087" y="884"/>
                  </a:lnTo>
                  <a:lnTo>
                    <a:pt x="2086" y="884"/>
                  </a:lnTo>
                  <a:lnTo>
                    <a:pt x="2086" y="884"/>
                  </a:lnTo>
                  <a:lnTo>
                    <a:pt x="2086" y="884"/>
                  </a:lnTo>
                  <a:lnTo>
                    <a:pt x="2086" y="884"/>
                  </a:lnTo>
                  <a:lnTo>
                    <a:pt x="2085" y="884"/>
                  </a:lnTo>
                  <a:lnTo>
                    <a:pt x="2085" y="884"/>
                  </a:lnTo>
                  <a:lnTo>
                    <a:pt x="2085" y="884"/>
                  </a:lnTo>
                  <a:lnTo>
                    <a:pt x="2085" y="884"/>
                  </a:lnTo>
                  <a:lnTo>
                    <a:pt x="2085" y="884"/>
                  </a:lnTo>
                  <a:lnTo>
                    <a:pt x="2085" y="885"/>
                  </a:lnTo>
                  <a:lnTo>
                    <a:pt x="2083" y="885"/>
                  </a:lnTo>
                  <a:lnTo>
                    <a:pt x="2083" y="885"/>
                  </a:lnTo>
                  <a:lnTo>
                    <a:pt x="2082" y="885"/>
                  </a:lnTo>
                  <a:lnTo>
                    <a:pt x="2082" y="885"/>
                  </a:lnTo>
                  <a:lnTo>
                    <a:pt x="2082" y="885"/>
                  </a:lnTo>
                  <a:lnTo>
                    <a:pt x="2082"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1"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5"/>
                  </a:lnTo>
                  <a:lnTo>
                    <a:pt x="2080" y="886"/>
                  </a:lnTo>
                  <a:lnTo>
                    <a:pt x="2080" y="886"/>
                  </a:lnTo>
                  <a:lnTo>
                    <a:pt x="2080" y="887"/>
                  </a:lnTo>
                  <a:lnTo>
                    <a:pt x="2079" y="887"/>
                  </a:lnTo>
                  <a:lnTo>
                    <a:pt x="2079" y="887"/>
                  </a:lnTo>
                  <a:lnTo>
                    <a:pt x="2078" y="887"/>
                  </a:lnTo>
                  <a:lnTo>
                    <a:pt x="2078" y="887"/>
                  </a:lnTo>
                  <a:lnTo>
                    <a:pt x="2078" y="887"/>
                  </a:lnTo>
                  <a:lnTo>
                    <a:pt x="2078" y="887"/>
                  </a:lnTo>
                  <a:lnTo>
                    <a:pt x="2078" y="887"/>
                  </a:lnTo>
                  <a:lnTo>
                    <a:pt x="2078" y="887"/>
                  </a:lnTo>
                  <a:lnTo>
                    <a:pt x="2078" y="887"/>
                  </a:lnTo>
                  <a:lnTo>
                    <a:pt x="2078"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7"/>
                  </a:lnTo>
                  <a:lnTo>
                    <a:pt x="2077" y="889"/>
                  </a:lnTo>
                  <a:lnTo>
                    <a:pt x="2077" y="889"/>
                  </a:lnTo>
                  <a:lnTo>
                    <a:pt x="2077" y="889"/>
                  </a:lnTo>
                  <a:lnTo>
                    <a:pt x="2077" y="889"/>
                  </a:lnTo>
                  <a:lnTo>
                    <a:pt x="2077" y="899"/>
                  </a:lnTo>
                  <a:lnTo>
                    <a:pt x="2077" y="899"/>
                  </a:lnTo>
                  <a:lnTo>
                    <a:pt x="2077" y="899"/>
                  </a:lnTo>
                  <a:lnTo>
                    <a:pt x="2077" y="899"/>
                  </a:lnTo>
                  <a:lnTo>
                    <a:pt x="2077" y="899"/>
                  </a:lnTo>
                  <a:lnTo>
                    <a:pt x="2077" y="899"/>
                  </a:lnTo>
                  <a:lnTo>
                    <a:pt x="2077" y="892"/>
                  </a:lnTo>
                  <a:lnTo>
                    <a:pt x="2064" y="892"/>
                  </a:lnTo>
                  <a:lnTo>
                    <a:pt x="2064" y="892"/>
                  </a:lnTo>
                  <a:lnTo>
                    <a:pt x="2061" y="892"/>
                  </a:lnTo>
                  <a:lnTo>
                    <a:pt x="2061" y="892"/>
                  </a:lnTo>
                  <a:lnTo>
                    <a:pt x="2060" y="892"/>
                  </a:lnTo>
                  <a:lnTo>
                    <a:pt x="2060" y="892"/>
                  </a:lnTo>
                  <a:lnTo>
                    <a:pt x="2060" y="892"/>
                  </a:lnTo>
                  <a:lnTo>
                    <a:pt x="2060" y="892"/>
                  </a:lnTo>
                  <a:lnTo>
                    <a:pt x="2059" y="892"/>
                  </a:lnTo>
                  <a:lnTo>
                    <a:pt x="2059" y="892"/>
                  </a:lnTo>
                  <a:lnTo>
                    <a:pt x="2059" y="892"/>
                  </a:lnTo>
                  <a:lnTo>
                    <a:pt x="2059" y="892"/>
                  </a:lnTo>
                  <a:lnTo>
                    <a:pt x="2059" y="892"/>
                  </a:lnTo>
                  <a:lnTo>
                    <a:pt x="2059" y="893"/>
                  </a:lnTo>
                  <a:lnTo>
                    <a:pt x="2059" y="893"/>
                  </a:lnTo>
                  <a:lnTo>
                    <a:pt x="2059" y="893"/>
                  </a:lnTo>
                  <a:lnTo>
                    <a:pt x="2059" y="893"/>
                  </a:lnTo>
                  <a:lnTo>
                    <a:pt x="2059" y="894"/>
                  </a:lnTo>
                  <a:lnTo>
                    <a:pt x="2059" y="894"/>
                  </a:lnTo>
                  <a:lnTo>
                    <a:pt x="2059" y="894"/>
                  </a:lnTo>
                  <a:lnTo>
                    <a:pt x="2059" y="894"/>
                  </a:lnTo>
                  <a:lnTo>
                    <a:pt x="2059" y="896"/>
                  </a:lnTo>
                  <a:lnTo>
                    <a:pt x="2058" y="896"/>
                  </a:lnTo>
                  <a:lnTo>
                    <a:pt x="2058" y="899"/>
                  </a:lnTo>
                  <a:lnTo>
                    <a:pt x="2058" y="899"/>
                  </a:lnTo>
                  <a:lnTo>
                    <a:pt x="2058" y="899"/>
                  </a:lnTo>
                  <a:lnTo>
                    <a:pt x="2058" y="899"/>
                  </a:lnTo>
                  <a:lnTo>
                    <a:pt x="2058" y="899"/>
                  </a:lnTo>
                  <a:lnTo>
                    <a:pt x="2058" y="899"/>
                  </a:lnTo>
                  <a:lnTo>
                    <a:pt x="2058"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899"/>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6" y="907"/>
                  </a:lnTo>
                  <a:lnTo>
                    <a:pt x="2055" y="907"/>
                  </a:lnTo>
                  <a:lnTo>
                    <a:pt x="2055" y="907"/>
                  </a:lnTo>
                  <a:lnTo>
                    <a:pt x="2055" y="907"/>
                  </a:lnTo>
                  <a:lnTo>
                    <a:pt x="2055" y="908"/>
                  </a:lnTo>
                  <a:lnTo>
                    <a:pt x="2055" y="908"/>
                  </a:lnTo>
                  <a:lnTo>
                    <a:pt x="2055" y="908"/>
                  </a:lnTo>
                  <a:lnTo>
                    <a:pt x="2055" y="908"/>
                  </a:lnTo>
                  <a:lnTo>
                    <a:pt x="2055" y="908"/>
                  </a:lnTo>
                  <a:lnTo>
                    <a:pt x="2055" y="908"/>
                  </a:lnTo>
                  <a:lnTo>
                    <a:pt x="2055" y="908"/>
                  </a:lnTo>
                  <a:lnTo>
                    <a:pt x="2055" y="908"/>
                  </a:lnTo>
                  <a:lnTo>
                    <a:pt x="2055" y="910"/>
                  </a:lnTo>
                  <a:lnTo>
                    <a:pt x="2032" y="910"/>
                  </a:lnTo>
                  <a:lnTo>
                    <a:pt x="2032" y="910"/>
                  </a:lnTo>
                  <a:lnTo>
                    <a:pt x="2021" y="910"/>
                  </a:lnTo>
                  <a:lnTo>
                    <a:pt x="2021" y="910"/>
                  </a:lnTo>
                  <a:lnTo>
                    <a:pt x="1968" y="910"/>
                  </a:lnTo>
                  <a:lnTo>
                    <a:pt x="1968" y="910"/>
                  </a:lnTo>
                  <a:lnTo>
                    <a:pt x="1963" y="910"/>
                  </a:lnTo>
                  <a:lnTo>
                    <a:pt x="1963" y="910"/>
                  </a:lnTo>
                  <a:lnTo>
                    <a:pt x="1958" y="910"/>
                  </a:lnTo>
                  <a:lnTo>
                    <a:pt x="1958" y="910"/>
                  </a:lnTo>
                  <a:lnTo>
                    <a:pt x="1955" y="910"/>
                  </a:lnTo>
                  <a:lnTo>
                    <a:pt x="1955"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0"/>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2"/>
                  </a:lnTo>
                  <a:lnTo>
                    <a:pt x="1951" y="915"/>
                  </a:lnTo>
                  <a:lnTo>
                    <a:pt x="1951" y="915"/>
                  </a:lnTo>
                  <a:lnTo>
                    <a:pt x="1951"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5"/>
                  </a:lnTo>
                  <a:lnTo>
                    <a:pt x="1948" y="916"/>
                  </a:lnTo>
                  <a:lnTo>
                    <a:pt x="1948" y="916"/>
                  </a:lnTo>
                  <a:lnTo>
                    <a:pt x="1948" y="916"/>
                  </a:lnTo>
                  <a:lnTo>
                    <a:pt x="1948" y="916"/>
                  </a:lnTo>
                  <a:lnTo>
                    <a:pt x="1948" y="916"/>
                  </a:lnTo>
                  <a:lnTo>
                    <a:pt x="1948" y="916"/>
                  </a:lnTo>
                  <a:lnTo>
                    <a:pt x="1948" y="916"/>
                  </a:lnTo>
                  <a:lnTo>
                    <a:pt x="1945" y="916"/>
                  </a:lnTo>
                  <a:lnTo>
                    <a:pt x="1945" y="916"/>
                  </a:lnTo>
                  <a:lnTo>
                    <a:pt x="1945" y="916"/>
                  </a:lnTo>
                  <a:lnTo>
                    <a:pt x="1945" y="916"/>
                  </a:lnTo>
                  <a:lnTo>
                    <a:pt x="1945" y="916"/>
                  </a:lnTo>
                  <a:lnTo>
                    <a:pt x="1945" y="916"/>
                  </a:lnTo>
                  <a:lnTo>
                    <a:pt x="1945" y="916"/>
                  </a:lnTo>
                  <a:lnTo>
                    <a:pt x="1945" y="899"/>
                  </a:lnTo>
                  <a:lnTo>
                    <a:pt x="1945" y="899"/>
                  </a:lnTo>
                  <a:lnTo>
                    <a:pt x="1945" y="899"/>
                  </a:lnTo>
                  <a:lnTo>
                    <a:pt x="1945" y="899"/>
                  </a:lnTo>
                  <a:lnTo>
                    <a:pt x="1945" y="899"/>
                  </a:lnTo>
                  <a:lnTo>
                    <a:pt x="1945" y="899"/>
                  </a:lnTo>
                  <a:lnTo>
                    <a:pt x="1945" y="920"/>
                  </a:lnTo>
                  <a:lnTo>
                    <a:pt x="1945" y="920"/>
                  </a:lnTo>
                  <a:lnTo>
                    <a:pt x="1945" y="920"/>
                  </a:lnTo>
                  <a:lnTo>
                    <a:pt x="1945" y="920"/>
                  </a:lnTo>
                  <a:lnTo>
                    <a:pt x="1945" y="920"/>
                  </a:lnTo>
                  <a:lnTo>
                    <a:pt x="1945" y="920"/>
                  </a:lnTo>
                  <a:lnTo>
                    <a:pt x="1945" y="920"/>
                  </a:lnTo>
                  <a:lnTo>
                    <a:pt x="1945" y="920"/>
                  </a:lnTo>
                  <a:lnTo>
                    <a:pt x="1945" y="920"/>
                  </a:lnTo>
                  <a:lnTo>
                    <a:pt x="1944" y="920"/>
                  </a:lnTo>
                  <a:lnTo>
                    <a:pt x="1944" y="920"/>
                  </a:lnTo>
                  <a:lnTo>
                    <a:pt x="1944" y="920"/>
                  </a:lnTo>
                  <a:lnTo>
                    <a:pt x="1944" y="921"/>
                  </a:lnTo>
                  <a:lnTo>
                    <a:pt x="1944" y="921"/>
                  </a:lnTo>
                  <a:lnTo>
                    <a:pt x="1944" y="921"/>
                  </a:lnTo>
                  <a:lnTo>
                    <a:pt x="1944" y="921"/>
                  </a:lnTo>
                  <a:lnTo>
                    <a:pt x="1944" y="921"/>
                  </a:lnTo>
                  <a:lnTo>
                    <a:pt x="1944" y="921"/>
                  </a:lnTo>
                  <a:lnTo>
                    <a:pt x="1944" y="921"/>
                  </a:lnTo>
                  <a:lnTo>
                    <a:pt x="1944" y="921"/>
                  </a:lnTo>
                  <a:lnTo>
                    <a:pt x="1944" y="924"/>
                  </a:lnTo>
                  <a:lnTo>
                    <a:pt x="1944" y="924"/>
                  </a:lnTo>
                  <a:lnTo>
                    <a:pt x="1944" y="924"/>
                  </a:lnTo>
                  <a:lnTo>
                    <a:pt x="1944" y="924"/>
                  </a:lnTo>
                  <a:lnTo>
                    <a:pt x="1944" y="925"/>
                  </a:lnTo>
                  <a:lnTo>
                    <a:pt x="1943" y="925"/>
                  </a:lnTo>
                  <a:lnTo>
                    <a:pt x="1943" y="925"/>
                  </a:lnTo>
                  <a:lnTo>
                    <a:pt x="1943" y="925"/>
                  </a:lnTo>
                  <a:lnTo>
                    <a:pt x="1943" y="929"/>
                  </a:lnTo>
                  <a:lnTo>
                    <a:pt x="1936" y="929"/>
                  </a:lnTo>
                  <a:lnTo>
                    <a:pt x="1936" y="929"/>
                  </a:lnTo>
                  <a:lnTo>
                    <a:pt x="1929" y="929"/>
                  </a:lnTo>
                  <a:lnTo>
                    <a:pt x="1929" y="929"/>
                  </a:lnTo>
                  <a:lnTo>
                    <a:pt x="1927" y="929"/>
                  </a:lnTo>
                  <a:lnTo>
                    <a:pt x="1927" y="929"/>
                  </a:lnTo>
                  <a:lnTo>
                    <a:pt x="1926" y="929"/>
                  </a:lnTo>
                  <a:lnTo>
                    <a:pt x="1926" y="932"/>
                  </a:lnTo>
                  <a:lnTo>
                    <a:pt x="1912" y="932"/>
                  </a:lnTo>
                  <a:lnTo>
                    <a:pt x="1912" y="932"/>
                  </a:lnTo>
                  <a:lnTo>
                    <a:pt x="1910" y="932"/>
                  </a:lnTo>
                  <a:lnTo>
                    <a:pt x="1910" y="932"/>
                  </a:lnTo>
                  <a:lnTo>
                    <a:pt x="1909" y="932"/>
                  </a:lnTo>
                  <a:lnTo>
                    <a:pt x="1909" y="932"/>
                  </a:lnTo>
                  <a:lnTo>
                    <a:pt x="1907" y="932"/>
                  </a:lnTo>
                  <a:lnTo>
                    <a:pt x="1907" y="932"/>
                  </a:lnTo>
                  <a:lnTo>
                    <a:pt x="1907" y="932"/>
                  </a:lnTo>
                  <a:lnTo>
                    <a:pt x="1907" y="932"/>
                  </a:lnTo>
                  <a:lnTo>
                    <a:pt x="1906" y="932"/>
                  </a:lnTo>
                  <a:lnTo>
                    <a:pt x="1906" y="932"/>
                  </a:lnTo>
                  <a:lnTo>
                    <a:pt x="1905" y="932"/>
                  </a:lnTo>
                  <a:lnTo>
                    <a:pt x="1905"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2"/>
                  </a:lnTo>
                  <a:lnTo>
                    <a:pt x="1904" y="934"/>
                  </a:lnTo>
                  <a:lnTo>
                    <a:pt x="1904" y="934"/>
                  </a:lnTo>
                  <a:lnTo>
                    <a:pt x="1904" y="934"/>
                  </a:lnTo>
                  <a:lnTo>
                    <a:pt x="1903" y="934"/>
                  </a:lnTo>
                  <a:lnTo>
                    <a:pt x="1903" y="934"/>
                  </a:lnTo>
                  <a:lnTo>
                    <a:pt x="1903" y="934"/>
                  </a:lnTo>
                  <a:lnTo>
                    <a:pt x="1903" y="934"/>
                  </a:lnTo>
                  <a:lnTo>
                    <a:pt x="1903" y="934"/>
                  </a:lnTo>
                  <a:lnTo>
                    <a:pt x="1903" y="934"/>
                  </a:lnTo>
                  <a:lnTo>
                    <a:pt x="1903" y="934"/>
                  </a:lnTo>
                  <a:lnTo>
                    <a:pt x="1903" y="936"/>
                  </a:lnTo>
                  <a:lnTo>
                    <a:pt x="1902" y="936"/>
                  </a:lnTo>
                  <a:lnTo>
                    <a:pt x="1902"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7"/>
                  </a:lnTo>
                  <a:lnTo>
                    <a:pt x="1901" y="938"/>
                  </a:lnTo>
                  <a:lnTo>
                    <a:pt x="1901" y="938"/>
                  </a:lnTo>
                  <a:lnTo>
                    <a:pt x="1901" y="938"/>
                  </a:lnTo>
                  <a:lnTo>
                    <a:pt x="1901" y="938"/>
                  </a:lnTo>
                  <a:lnTo>
                    <a:pt x="1901" y="938"/>
                  </a:lnTo>
                  <a:lnTo>
                    <a:pt x="1901" y="938"/>
                  </a:lnTo>
                  <a:lnTo>
                    <a:pt x="1901" y="939"/>
                  </a:lnTo>
                  <a:lnTo>
                    <a:pt x="1895" y="939"/>
                  </a:lnTo>
                  <a:lnTo>
                    <a:pt x="1895" y="939"/>
                  </a:lnTo>
                  <a:lnTo>
                    <a:pt x="1894" y="939"/>
                  </a:lnTo>
                  <a:lnTo>
                    <a:pt x="1894" y="939"/>
                  </a:lnTo>
                  <a:lnTo>
                    <a:pt x="1891" y="939"/>
                  </a:lnTo>
                  <a:lnTo>
                    <a:pt x="1891" y="939"/>
                  </a:lnTo>
                  <a:lnTo>
                    <a:pt x="1891" y="939"/>
                  </a:lnTo>
                  <a:lnTo>
                    <a:pt x="1891" y="941"/>
                  </a:lnTo>
                  <a:lnTo>
                    <a:pt x="1890" y="941"/>
                  </a:lnTo>
                  <a:lnTo>
                    <a:pt x="1890" y="941"/>
                  </a:lnTo>
                  <a:lnTo>
                    <a:pt x="1890" y="941"/>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90" y="942"/>
                  </a:lnTo>
                  <a:lnTo>
                    <a:pt x="1876" y="942"/>
                  </a:lnTo>
                  <a:lnTo>
                    <a:pt x="1876" y="942"/>
                  </a:lnTo>
                  <a:lnTo>
                    <a:pt x="1874" y="942"/>
                  </a:lnTo>
                  <a:lnTo>
                    <a:pt x="1874" y="942"/>
                  </a:lnTo>
                  <a:lnTo>
                    <a:pt x="1873" y="942"/>
                  </a:lnTo>
                  <a:lnTo>
                    <a:pt x="1873" y="942"/>
                  </a:lnTo>
                  <a:lnTo>
                    <a:pt x="1872" y="942"/>
                  </a:lnTo>
                  <a:lnTo>
                    <a:pt x="1872" y="942"/>
                  </a:lnTo>
                  <a:lnTo>
                    <a:pt x="1871" y="942"/>
                  </a:lnTo>
                  <a:lnTo>
                    <a:pt x="1871" y="942"/>
                  </a:lnTo>
                  <a:lnTo>
                    <a:pt x="1871" y="942"/>
                  </a:lnTo>
                  <a:lnTo>
                    <a:pt x="1871" y="942"/>
                  </a:lnTo>
                  <a:lnTo>
                    <a:pt x="1870" y="942"/>
                  </a:lnTo>
                  <a:lnTo>
                    <a:pt x="1870" y="942"/>
                  </a:lnTo>
                  <a:lnTo>
                    <a:pt x="1870" y="942"/>
                  </a:lnTo>
                  <a:lnTo>
                    <a:pt x="1870" y="942"/>
                  </a:lnTo>
                  <a:lnTo>
                    <a:pt x="1870" y="942"/>
                  </a:lnTo>
                  <a:lnTo>
                    <a:pt x="1870" y="942"/>
                  </a:lnTo>
                  <a:lnTo>
                    <a:pt x="1870" y="942"/>
                  </a:lnTo>
                  <a:lnTo>
                    <a:pt x="1870" y="945"/>
                  </a:lnTo>
                  <a:lnTo>
                    <a:pt x="1870" y="945"/>
                  </a:lnTo>
                  <a:lnTo>
                    <a:pt x="1870" y="945"/>
                  </a:lnTo>
                  <a:lnTo>
                    <a:pt x="1870" y="945"/>
                  </a:lnTo>
                  <a:lnTo>
                    <a:pt x="1870" y="946"/>
                  </a:lnTo>
                  <a:lnTo>
                    <a:pt x="1870" y="946"/>
                  </a:lnTo>
                  <a:lnTo>
                    <a:pt x="1870" y="946"/>
                  </a:lnTo>
                  <a:lnTo>
                    <a:pt x="1870" y="946"/>
                  </a:lnTo>
                  <a:lnTo>
                    <a:pt x="1870" y="948"/>
                  </a:lnTo>
                  <a:lnTo>
                    <a:pt x="1868" y="948"/>
                  </a:lnTo>
                  <a:lnTo>
                    <a:pt x="1868" y="948"/>
                  </a:lnTo>
                  <a:lnTo>
                    <a:pt x="1863" y="948"/>
                  </a:lnTo>
                  <a:lnTo>
                    <a:pt x="1863" y="948"/>
                  </a:lnTo>
                  <a:lnTo>
                    <a:pt x="1861" y="948"/>
                  </a:lnTo>
                  <a:lnTo>
                    <a:pt x="1861"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48"/>
                  </a:lnTo>
                  <a:lnTo>
                    <a:pt x="1860" y="952"/>
                  </a:lnTo>
                  <a:lnTo>
                    <a:pt x="1855" y="952"/>
                  </a:lnTo>
                  <a:lnTo>
                    <a:pt x="1855" y="952"/>
                  </a:lnTo>
                  <a:lnTo>
                    <a:pt x="1854" y="952"/>
                  </a:lnTo>
                  <a:lnTo>
                    <a:pt x="1854" y="952"/>
                  </a:lnTo>
                  <a:lnTo>
                    <a:pt x="1853" y="952"/>
                  </a:lnTo>
                  <a:lnTo>
                    <a:pt x="1853" y="954"/>
                  </a:lnTo>
                  <a:lnTo>
                    <a:pt x="1853" y="954"/>
                  </a:lnTo>
                  <a:lnTo>
                    <a:pt x="1853" y="954"/>
                  </a:lnTo>
                  <a:lnTo>
                    <a:pt x="1852" y="954"/>
                  </a:lnTo>
                  <a:lnTo>
                    <a:pt x="1852" y="954"/>
                  </a:lnTo>
                  <a:lnTo>
                    <a:pt x="1852" y="954"/>
                  </a:lnTo>
                  <a:lnTo>
                    <a:pt x="1852" y="954"/>
                  </a:lnTo>
                  <a:lnTo>
                    <a:pt x="1852" y="954"/>
                  </a:lnTo>
                  <a:lnTo>
                    <a:pt x="1852" y="956"/>
                  </a:lnTo>
                  <a:lnTo>
                    <a:pt x="1852" y="956"/>
                  </a:lnTo>
                  <a:lnTo>
                    <a:pt x="1852" y="958"/>
                  </a:lnTo>
                  <a:lnTo>
                    <a:pt x="1852" y="958"/>
                  </a:lnTo>
                  <a:lnTo>
                    <a:pt x="1852" y="958"/>
                  </a:lnTo>
                  <a:lnTo>
                    <a:pt x="1852" y="958"/>
                  </a:lnTo>
                  <a:lnTo>
                    <a:pt x="1852" y="958"/>
                  </a:lnTo>
                  <a:lnTo>
                    <a:pt x="1852" y="958"/>
                  </a:lnTo>
                  <a:lnTo>
                    <a:pt x="1852" y="958"/>
                  </a:lnTo>
                  <a:lnTo>
                    <a:pt x="1852" y="958"/>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0"/>
                  </a:lnTo>
                  <a:lnTo>
                    <a:pt x="1852" y="963"/>
                  </a:lnTo>
                  <a:lnTo>
                    <a:pt x="1847" y="963"/>
                  </a:lnTo>
                  <a:lnTo>
                    <a:pt x="1847" y="963"/>
                  </a:lnTo>
                  <a:lnTo>
                    <a:pt x="1846" y="963"/>
                  </a:lnTo>
                  <a:lnTo>
                    <a:pt x="1846" y="963"/>
                  </a:lnTo>
                  <a:lnTo>
                    <a:pt x="1845" y="963"/>
                  </a:lnTo>
                  <a:lnTo>
                    <a:pt x="1845" y="963"/>
                  </a:lnTo>
                  <a:lnTo>
                    <a:pt x="1845" y="963"/>
                  </a:lnTo>
                  <a:lnTo>
                    <a:pt x="1845" y="964"/>
                  </a:lnTo>
                  <a:lnTo>
                    <a:pt x="1844" y="964"/>
                  </a:lnTo>
                  <a:lnTo>
                    <a:pt x="1844" y="966"/>
                  </a:lnTo>
                  <a:lnTo>
                    <a:pt x="1820" y="966"/>
                  </a:lnTo>
                  <a:lnTo>
                    <a:pt x="1820" y="966"/>
                  </a:lnTo>
                  <a:lnTo>
                    <a:pt x="1817" y="966"/>
                  </a:lnTo>
                  <a:lnTo>
                    <a:pt x="1817" y="966"/>
                  </a:lnTo>
                  <a:lnTo>
                    <a:pt x="1817" y="966"/>
                  </a:lnTo>
                  <a:lnTo>
                    <a:pt x="1817" y="968"/>
                  </a:lnTo>
                  <a:lnTo>
                    <a:pt x="1815" y="968"/>
                  </a:lnTo>
                  <a:lnTo>
                    <a:pt x="1815" y="970"/>
                  </a:lnTo>
                  <a:lnTo>
                    <a:pt x="1814" y="970"/>
                  </a:lnTo>
                  <a:lnTo>
                    <a:pt x="1814" y="970"/>
                  </a:lnTo>
                  <a:lnTo>
                    <a:pt x="1814" y="970"/>
                  </a:lnTo>
                  <a:lnTo>
                    <a:pt x="1814" y="970"/>
                  </a:lnTo>
                  <a:lnTo>
                    <a:pt x="1814" y="970"/>
                  </a:lnTo>
                  <a:lnTo>
                    <a:pt x="1814" y="974"/>
                  </a:lnTo>
                  <a:lnTo>
                    <a:pt x="1814" y="974"/>
                  </a:lnTo>
                  <a:lnTo>
                    <a:pt x="1814" y="975"/>
                  </a:lnTo>
                  <a:lnTo>
                    <a:pt x="1808" y="975"/>
                  </a:lnTo>
                  <a:lnTo>
                    <a:pt x="1808" y="975"/>
                  </a:lnTo>
                  <a:lnTo>
                    <a:pt x="1804" y="975"/>
                  </a:lnTo>
                  <a:lnTo>
                    <a:pt x="1804" y="899"/>
                  </a:lnTo>
                  <a:lnTo>
                    <a:pt x="1803" y="899"/>
                  </a:lnTo>
                  <a:lnTo>
                    <a:pt x="1803" y="975"/>
                  </a:lnTo>
                  <a:lnTo>
                    <a:pt x="1802" y="975"/>
                  </a:lnTo>
                  <a:lnTo>
                    <a:pt x="1802" y="899"/>
                  </a:lnTo>
                  <a:lnTo>
                    <a:pt x="1802" y="899"/>
                  </a:lnTo>
                  <a:lnTo>
                    <a:pt x="1802" y="899"/>
                  </a:lnTo>
                  <a:lnTo>
                    <a:pt x="1801" y="899"/>
                  </a:lnTo>
                  <a:lnTo>
                    <a:pt x="1801" y="975"/>
                  </a:lnTo>
                  <a:lnTo>
                    <a:pt x="1801" y="975"/>
                  </a:lnTo>
                  <a:lnTo>
                    <a:pt x="1801" y="899"/>
                  </a:lnTo>
                  <a:lnTo>
                    <a:pt x="1801" y="899"/>
                  </a:lnTo>
                  <a:lnTo>
                    <a:pt x="1801" y="899"/>
                  </a:lnTo>
                  <a:lnTo>
                    <a:pt x="1801" y="899"/>
                  </a:lnTo>
                  <a:lnTo>
                    <a:pt x="1801" y="976"/>
                  </a:lnTo>
                  <a:lnTo>
                    <a:pt x="1801" y="976"/>
                  </a:lnTo>
                  <a:lnTo>
                    <a:pt x="1801" y="976"/>
                  </a:lnTo>
                  <a:lnTo>
                    <a:pt x="1801" y="976"/>
                  </a:lnTo>
                  <a:lnTo>
                    <a:pt x="1801"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976"/>
                  </a:lnTo>
                  <a:lnTo>
                    <a:pt x="1800" y="899"/>
                  </a:lnTo>
                  <a:lnTo>
                    <a:pt x="1800" y="899"/>
                  </a:lnTo>
                  <a:lnTo>
                    <a:pt x="1800" y="899"/>
                  </a:lnTo>
                  <a:lnTo>
                    <a:pt x="1800" y="899"/>
                  </a:lnTo>
                  <a:lnTo>
                    <a:pt x="1800" y="987"/>
                  </a:lnTo>
                  <a:lnTo>
                    <a:pt x="1800" y="987"/>
                  </a:lnTo>
                  <a:lnTo>
                    <a:pt x="1800"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87"/>
                  </a:lnTo>
                  <a:lnTo>
                    <a:pt x="1799" y="992"/>
                  </a:lnTo>
                  <a:lnTo>
                    <a:pt x="1737" y="992"/>
                  </a:lnTo>
                  <a:lnTo>
                    <a:pt x="1737" y="992"/>
                  </a:lnTo>
                  <a:lnTo>
                    <a:pt x="1706" y="992"/>
                  </a:lnTo>
                  <a:lnTo>
                    <a:pt x="1706" y="992"/>
                  </a:lnTo>
                  <a:lnTo>
                    <a:pt x="1706" y="992"/>
                  </a:lnTo>
                  <a:lnTo>
                    <a:pt x="1706" y="993"/>
                  </a:lnTo>
                  <a:lnTo>
                    <a:pt x="1703" y="993"/>
                  </a:lnTo>
                  <a:lnTo>
                    <a:pt x="1703" y="993"/>
                  </a:lnTo>
                  <a:lnTo>
                    <a:pt x="1703" y="993"/>
                  </a:lnTo>
                  <a:lnTo>
                    <a:pt x="1703" y="993"/>
                  </a:lnTo>
                  <a:lnTo>
                    <a:pt x="1702" y="993"/>
                  </a:lnTo>
                  <a:lnTo>
                    <a:pt x="1702" y="993"/>
                  </a:lnTo>
                  <a:lnTo>
                    <a:pt x="1702" y="993"/>
                  </a:lnTo>
                  <a:lnTo>
                    <a:pt x="1702" y="993"/>
                  </a:lnTo>
                  <a:lnTo>
                    <a:pt x="1702" y="993"/>
                  </a:lnTo>
                  <a:lnTo>
                    <a:pt x="1702" y="993"/>
                  </a:lnTo>
                  <a:lnTo>
                    <a:pt x="1702" y="993"/>
                  </a:lnTo>
                  <a:lnTo>
                    <a:pt x="1702" y="993"/>
                  </a:lnTo>
                  <a:lnTo>
                    <a:pt x="1702" y="993"/>
                  </a:lnTo>
                  <a:lnTo>
                    <a:pt x="1702" y="996"/>
                  </a:lnTo>
                  <a:lnTo>
                    <a:pt x="1700" y="996"/>
                  </a:lnTo>
                  <a:lnTo>
                    <a:pt x="1700" y="996"/>
                  </a:lnTo>
                  <a:lnTo>
                    <a:pt x="1700" y="996"/>
                  </a:lnTo>
                  <a:lnTo>
                    <a:pt x="1700" y="996"/>
                  </a:lnTo>
                  <a:lnTo>
                    <a:pt x="1700" y="996"/>
                  </a:lnTo>
                  <a:lnTo>
                    <a:pt x="1700" y="996"/>
                  </a:lnTo>
                  <a:lnTo>
                    <a:pt x="1700" y="996"/>
                  </a:lnTo>
                  <a:lnTo>
                    <a:pt x="1700" y="997"/>
                  </a:lnTo>
                  <a:lnTo>
                    <a:pt x="1699" y="997"/>
                  </a:lnTo>
                  <a:lnTo>
                    <a:pt x="1699" y="998"/>
                  </a:lnTo>
                  <a:lnTo>
                    <a:pt x="1699" y="998"/>
                  </a:lnTo>
                  <a:lnTo>
                    <a:pt x="1699" y="999"/>
                  </a:lnTo>
                  <a:lnTo>
                    <a:pt x="1699" y="999"/>
                  </a:lnTo>
                  <a:lnTo>
                    <a:pt x="1699" y="999"/>
                  </a:lnTo>
                  <a:lnTo>
                    <a:pt x="1699" y="999"/>
                  </a:lnTo>
                  <a:lnTo>
                    <a:pt x="1699" y="999"/>
                  </a:lnTo>
                  <a:lnTo>
                    <a:pt x="1699" y="999"/>
                  </a:lnTo>
                  <a:lnTo>
                    <a:pt x="1699" y="1003"/>
                  </a:lnTo>
                  <a:lnTo>
                    <a:pt x="1699" y="1003"/>
                  </a:lnTo>
                  <a:lnTo>
                    <a:pt x="1699" y="1004"/>
                  </a:lnTo>
                  <a:lnTo>
                    <a:pt x="1699" y="1004"/>
                  </a:lnTo>
                  <a:lnTo>
                    <a:pt x="1699" y="1004"/>
                  </a:lnTo>
                  <a:lnTo>
                    <a:pt x="1699" y="1004"/>
                  </a:lnTo>
                  <a:lnTo>
                    <a:pt x="1699" y="1005"/>
                  </a:lnTo>
                  <a:lnTo>
                    <a:pt x="1698" y="1005"/>
                  </a:lnTo>
                  <a:lnTo>
                    <a:pt x="1698" y="1005"/>
                  </a:lnTo>
                  <a:lnTo>
                    <a:pt x="1698" y="1005"/>
                  </a:lnTo>
                  <a:lnTo>
                    <a:pt x="1698" y="1006"/>
                  </a:lnTo>
                  <a:lnTo>
                    <a:pt x="1695" y="1006"/>
                  </a:lnTo>
                  <a:lnTo>
                    <a:pt x="1695" y="1006"/>
                  </a:lnTo>
                  <a:lnTo>
                    <a:pt x="1695" y="1006"/>
                  </a:lnTo>
                  <a:lnTo>
                    <a:pt x="1695" y="1007"/>
                  </a:lnTo>
                  <a:lnTo>
                    <a:pt x="1687" y="1007"/>
                  </a:lnTo>
                  <a:lnTo>
                    <a:pt x="1687" y="1007"/>
                  </a:lnTo>
                  <a:lnTo>
                    <a:pt x="1683" y="1007"/>
                  </a:lnTo>
                  <a:lnTo>
                    <a:pt x="1683" y="1007"/>
                  </a:lnTo>
                  <a:lnTo>
                    <a:pt x="1681" y="1007"/>
                  </a:lnTo>
                  <a:lnTo>
                    <a:pt x="1681"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07"/>
                  </a:lnTo>
                  <a:lnTo>
                    <a:pt x="1679" y="1010"/>
                  </a:lnTo>
                  <a:lnTo>
                    <a:pt x="1679" y="1010"/>
                  </a:lnTo>
                  <a:lnTo>
                    <a:pt x="1679" y="1010"/>
                  </a:lnTo>
                  <a:lnTo>
                    <a:pt x="1637" y="1010"/>
                  </a:lnTo>
                  <a:lnTo>
                    <a:pt x="1637" y="1010"/>
                  </a:lnTo>
                  <a:lnTo>
                    <a:pt x="1631" y="1010"/>
                  </a:lnTo>
                  <a:lnTo>
                    <a:pt x="1631" y="1010"/>
                  </a:lnTo>
                  <a:lnTo>
                    <a:pt x="1628" y="1010"/>
                  </a:lnTo>
                  <a:lnTo>
                    <a:pt x="1628" y="1010"/>
                  </a:lnTo>
                  <a:lnTo>
                    <a:pt x="1626" y="1010"/>
                  </a:lnTo>
                  <a:lnTo>
                    <a:pt x="1626" y="1011"/>
                  </a:lnTo>
                  <a:lnTo>
                    <a:pt x="1576" y="1011"/>
                  </a:lnTo>
                  <a:lnTo>
                    <a:pt x="1576" y="1011"/>
                  </a:lnTo>
                  <a:lnTo>
                    <a:pt x="1558" y="1011"/>
                  </a:lnTo>
                  <a:lnTo>
                    <a:pt x="1558" y="1011"/>
                  </a:lnTo>
                  <a:lnTo>
                    <a:pt x="1549" y="1011"/>
                  </a:lnTo>
                  <a:lnTo>
                    <a:pt x="1549" y="1011"/>
                  </a:lnTo>
                  <a:lnTo>
                    <a:pt x="1544" y="1011"/>
                  </a:lnTo>
                  <a:lnTo>
                    <a:pt x="1544" y="1011"/>
                  </a:lnTo>
                  <a:lnTo>
                    <a:pt x="1541" y="1011"/>
                  </a:lnTo>
                  <a:lnTo>
                    <a:pt x="1541" y="1011"/>
                  </a:lnTo>
                  <a:lnTo>
                    <a:pt x="1539" y="1011"/>
                  </a:lnTo>
                  <a:lnTo>
                    <a:pt x="1539" y="1011"/>
                  </a:lnTo>
                  <a:lnTo>
                    <a:pt x="1538" y="1011"/>
                  </a:lnTo>
                  <a:lnTo>
                    <a:pt x="1538" y="1011"/>
                  </a:lnTo>
                  <a:lnTo>
                    <a:pt x="1537" y="1011"/>
                  </a:lnTo>
                  <a:lnTo>
                    <a:pt x="1537" y="1011"/>
                  </a:lnTo>
                  <a:lnTo>
                    <a:pt x="1536" y="1011"/>
                  </a:lnTo>
                  <a:lnTo>
                    <a:pt x="1536" y="1011"/>
                  </a:lnTo>
                  <a:lnTo>
                    <a:pt x="1536" y="1011"/>
                  </a:lnTo>
                  <a:lnTo>
                    <a:pt x="1536" y="1011"/>
                  </a:lnTo>
                  <a:lnTo>
                    <a:pt x="1535" y="1011"/>
                  </a:lnTo>
                  <a:lnTo>
                    <a:pt x="1535" y="1011"/>
                  </a:lnTo>
                  <a:lnTo>
                    <a:pt x="1535" y="1011"/>
                  </a:lnTo>
                  <a:lnTo>
                    <a:pt x="1535" y="1011"/>
                  </a:lnTo>
                  <a:lnTo>
                    <a:pt x="1535" y="1011"/>
                  </a:lnTo>
                  <a:lnTo>
                    <a:pt x="1535" y="1012"/>
                  </a:lnTo>
                  <a:lnTo>
                    <a:pt x="1507" y="1012"/>
                  </a:lnTo>
                  <a:lnTo>
                    <a:pt x="1507" y="1012"/>
                  </a:lnTo>
                  <a:lnTo>
                    <a:pt x="1495" y="1012"/>
                  </a:lnTo>
                  <a:lnTo>
                    <a:pt x="1495" y="1014"/>
                  </a:lnTo>
                  <a:lnTo>
                    <a:pt x="1489" y="1014"/>
                  </a:lnTo>
                  <a:lnTo>
                    <a:pt x="1489" y="1014"/>
                  </a:lnTo>
                  <a:lnTo>
                    <a:pt x="1487" y="1014"/>
                  </a:lnTo>
                  <a:lnTo>
                    <a:pt x="1487" y="1014"/>
                  </a:lnTo>
                  <a:lnTo>
                    <a:pt x="1486" y="1014"/>
                  </a:lnTo>
                  <a:lnTo>
                    <a:pt x="1486" y="1014"/>
                  </a:lnTo>
                  <a:lnTo>
                    <a:pt x="1485" y="1014"/>
                  </a:lnTo>
                  <a:lnTo>
                    <a:pt x="1485" y="1016"/>
                  </a:lnTo>
                  <a:lnTo>
                    <a:pt x="1485" y="1016"/>
                  </a:lnTo>
                  <a:lnTo>
                    <a:pt x="1485" y="1016"/>
                  </a:lnTo>
                  <a:lnTo>
                    <a:pt x="1485" y="1016"/>
                  </a:lnTo>
                  <a:lnTo>
                    <a:pt x="1485" y="1017"/>
                  </a:lnTo>
                  <a:lnTo>
                    <a:pt x="1484" y="1017"/>
                  </a:lnTo>
                  <a:lnTo>
                    <a:pt x="1484" y="1017"/>
                  </a:lnTo>
                  <a:lnTo>
                    <a:pt x="1484" y="1017"/>
                  </a:lnTo>
                  <a:lnTo>
                    <a:pt x="1484" y="1017"/>
                  </a:lnTo>
                  <a:lnTo>
                    <a:pt x="1484" y="1017"/>
                  </a:lnTo>
                  <a:lnTo>
                    <a:pt x="1484" y="1019"/>
                  </a:lnTo>
                  <a:lnTo>
                    <a:pt x="1484" y="1019"/>
                  </a:lnTo>
                  <a:lnTo>
                    <a:pt x="1484" y="1020"/>
                  </a:lnTo>
                  <a:lnTo>
                    <a:pt x="1484" y="1020"/>
                  </a:lnTo>
                  <a:lnTo>
                    <a:pt x="1484" y="1020"/>
                  </a:lnTo>
                  <a:lnTo>
                    <a:pt x="1484" y="1020"/>
                  </a:lnTo>
                  <a:lnTo>
                    <a:pt x="1484" y="1020"/>
                  </a:lnTo>
                  <a:lnTo>
                    <a:pt x="1484" y="1020"/>
                  </a:lnTo>
                  <a:lnTo>
                    <a:pt x="1484" y="1021"/>
                  </a:lnTo>
                  <a:lnTo>
                    <a:pt x="1484" y="1021"/>
                  </a:lnTo>
                  <a:lnTo>
                    <a:pt x="1484" y="1024"/>
                  </a:lnTo>
                  <a:lnTo>
                    <a:pt x="1483" y="1024"/>
                  </a:lnTo>
                  <a:lnTo>
                    <a:pt x="1483" y="1024"/>
                  </a:lnTo>
                  <a:lnTo>
                    <a:pt x="1483" y="1024"/>
                  </a:lnTo>
                  <a:lnTo>
                    <a:pt x="1483" y="1025"/>
                  </a:lnTo>
                  <a:lnTo>
                    <a:pt x="1483" y="1025"/>
                  </a:lnTo>
                  <a:lnTo>
                    <a:pt x="1483" y="1026"/>
                  </a:lnTo>
                  <a:lnTo>
                    <a:pt x="1483" y="1026"/>
                  </a:lnTo>
                  <a:lnTo>
                    <a:pt x="1483" y="1026"/>
                  </a:lnTo>
                  <a:lnTo>
                    <a:pt x="1483" y="1026"/>
                  </a:lnTo>
                  <a:lnTo>
                    <a:pt x="1483"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6"/>
                  </a:lnTo>
                  <a:lnTo>
                    <a:pt x="1482" y="1027"/>
                  </a:lnTo>
                  <a:lnTo>
                    <a:pt x="1479" y="1027"/>
                  </a:lnTo>
                  <a:lnTo>
                    <a:pt x="1479" y="1028"/>
                  </a:lnTo>
                  <a:lnTo>
                    <a:pt x="1478" y="1028"/>
                  </a:lnTo>
                  <a:lnTo>
                    <a:pt x="1478" y="1029"/>
                  </a:lnTo>
                  <a:lnTo>
                    <a:pt x="1478" y="1029"/>
                  </a:lnTo>
                  <a:lnTo>
                    <a:pt x="1478" y="1029"/>
                  </a:lnTo>
                  <a:lnTo>
                    <a:pt x="1478" y="1029"/>
                  </a:lnTo>
                  <a:lnTo>
                    <a:pt x="1478" y="1029"/>
                  </a:lnTo>
                  <a:lnTo>
                    <a:pt x="1478" y="1029"/>
                  </a:lnTo>
                  <a:lnTo>
                    <a:pt x="1478" y="1029"/>
                  </a:lnTo>
                  <a:lnTo>
                    <a:pt x="1478" y="1029"/>
                  </a:lnTo>
                  <a:lnTo>
                    <a:pt x="1478" y="1031"/>
                  </a:lnTo>
                  <a:lnTo>
                    <a:pt x="1476" y="1031"/>
                  </a:lnTo>
                  <a:lnTo>
                    <a:pt x="1476" y="1032"/>
                  </a:lnTo>
                  <a:lnTo>
                    <a:pt x="1476" y="1032"/>
                  </a:lnTo>
                  <a:lnTo>
                    <a:pt x="1476" y="1032"/>
                  </a:lnTo>
                  <a:lnTo>
                    <a:pt x="1475" y="1032"/>
                  </a:lnTo>
                  <a:lnTo>
                    <a:pt x="1475" y="1032"/>
                  </a:lnTo>
                  <a:lnTo>
                    <a:pt x="1475" y="1032"/>
                  </a:lnTo>
                  <a:lnTo>
                    <a:pt x="1475" y="1033"/>
                  </a:lnTo>
                  <a:lnTo>
                    <a:pt x="1475" y="1033"/>
                  </a:lnTo>
                  <a:lnTo>
                    <a:pt x="1475" y="1033"/>
                  </a:lnTo>
                  <a:lnTo>
                    <a:pt x="1474" y="1033"/>
                  </a:lnTo>
                  <a:lnTo>
                    <a:pt x="1474" y="1034"/>
                  </a:lnTo>
                  <a:lnTo>
                    <a:pt x="1474" y="1034"/>
                  </a:lnTo>
                  <a:lnTo>
                    <a:pt x="1474" y="1034"/>
                  </a:lnTo>
                  <a:lnTo>
                    <a:pt x="1474" y="1034"/>
                  </a:lnTo>
                  <a:lnTo>
                    <a:pt x="1474" y="1035"/>
                  </a:lnTo>
                  <a:lnTo>
                    <a:pt x="1457" y="1035"/>
                  </a:lnTo>
                  <a:lnTo>
                    <a:pt x="1457" y="1035"/>
                  </a:lnTo>
                  <a:lnTo>
                    <a:pt x="1457" y="1035"/>
                  </a:lnTo>
                  <a:lnTo>
                    <a:pt x="1457" y="1036"/>
                  </a:lnTo>
                  <a:lnTo>
                    <a:pt x="1456" y="1036"/>
                  </a:lnTo>
                  <a:lnTo>
                    <a:pt x="1456" y="1036"/>
                  </a:lnTo>
                  <a:lnTo>
                    <a:pt x="1455" y="1036"/>
                  </a:lnTo>
                  <a:lnTo>
                    <a:pt x="1455" y="1036"/>
                  </a:lnTo>
                  <a:lnTo>
                    <a:pt x="1455" y="1036"/>
                  </a:lnTo>
                  <a:lnTo>
                    <a:pt x="1455" y="899"/>
                  </a:lnTo>
                  <a:lnTo>
                    <a:pt x="1455" y="899"/>
                  </a:lnTo>
                  <a:lnTo>
                    <a:pt x="1455" y="899"/>
                  </a:lnTo>
                  <a:lnTo>
                    <a:pt x="1455" y="899"/>
                  </a:lnTo>
                  <a:lnTo>
                    <a:pt x="1455" y="1036"/>
                  </a:lnTo>
                  <a:lnTo>
                    <a:pt x="1454" y="1036"/>
                  </a:lnTo>
                  <a:lnTo>
                    <a:pt x="1454" y="1037"/>
                  </a:lnTo>
                  <a:lnTo>
                    <a:pt x="1453" y="1037"/>
                  </a:lnTo>
                  <a:lnTo>
                    <a:pt x="1453" y="1037"/>
                  </a:lnTo>
                  <a:lnTo>
                    <a:pt x="1453" y="1037"/>
                  </a:lnTo>
                  <a:lnTo>
                    <a:pt x="1453" y="1038"/>
                  </a:lnTo>
                  <a:lnTo>
                    <a:pt x="1453" y="1038"/>
                  </a:lnTo>
                  <a:lnTo>
                    <a:pt x="1453" y="1038"/>
                  </a:lnTo>
                  <a:lnTo>
                    <a:pt x="1441" y="1038"/>
                  </a:lnTo>
                  <a:lnTo>
                    <a:pt x="1441" y="1038"/>
                  </a:lnTo>
                  <a:lnTo>
                    <a:pt x="1439" y="1038"/>
                  </a:lnTo>
                  <a:lnTo>
                    <a:pt x="1439" y="1038"/>
                  </a:lnTo>
                  <a:lnTo>
                    <a:pt x="1438" y="1038"/>
                  </a:lnTo>
                  <a:lnTo>
                    <a:pt x="1438" y="1038"/>
                  </a:lnTo>
                  <a:lnTo>
                    <a:pt x="1438" y="1038"/>
                  </a:lnTo>
                  <a:lnTo>
                    <a:pt x="1438" y="1039"/>
                  </a:lnTo>
                  <a:lnTo>
                    <a:pt x="1438" y="1039"/>
                  </a:lnTo>
                  <a:lnTo>
                    <a:pt x="1438" y="1039"/>
                  </a:lnTo>
                  <a:lnTo>
                    <a:pt x="1438" y="1039"/>
                  </a:lnTo>
                  <a:lnTo>
                    <a:pt x="1438" y="1040"/>
                  </a:lnTo>
                  <a:lnTo>
                    <a:pt x="1437" y="1040"/>
                  </a:lnTo>
                  <a:lnTo>
                    <a:pt x="1437" y="1040"/>
                  </a:lnTo>
                  <a:lnTo>
                    <a:pt x="1436" y="1040"/>
                  </a:lnTo>
                  <a:lnTo>
                    <a:pt x="1436"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0"/>
                  </a:lnTo>
                  <a:lnTo>
                    <a:pt x="1434" y="1041"/>
                  </a:lnTo>
                  <a:lnTo>
                    <a:pt x="1434" y="1041"/>
                  </a:lnTo>
                  <a:lnTo>
                    <a:pt x="1434" y="1042"/>
                  </a:lnTo>
                  <a:lnTo>
                    <a:pt x="1432" y="1042"/>
                  </a:lnTo>
                  <a:lnTo>
                    <a:pt x="1432" y="1042"/>
                  </a:lnTo>
                  <a:lnTo>
                    <a:pt x="1432" y="1042"/>
                  </a:lnTo>
                  <a:lnTo>
                    <a:pt x="1432" y="1042"/>
                  </a:lnTo>
                  <a:lnTo>
                    <a:pt x="1432" y="1042"/>
                  </a:lnTo>
                  <a:lnTo>
                    <a:pt x="1432" y="1042"/>
                  </a:lnTo>
                  <a:lnTo>
                    <a:pt x="1425" y="1042"/>
                  </a:lnTo>
                  <a:lnTo>
                    <a:pt x="1425" y="1042"/>
                  </a:lnTo>
                  <a:lnTo>
                    <a:pt x="1423" y="1042"/>
                  </a:lnTo>
                  <a:lnTo>
                    <a:pt x="1423" y="1042"/>
                  </a:lnTo>
                  <a:lnTo>
                    <a:pt x="1422" y="1042"/>
                  </a:lnTo>
                  <a:lnTo>
                    <a:pt x="1422" y="1042"/>
                  </a:lnTo>
                  <a:lnTo>
                    <a:pt x="1421" y="1042"/>
                  </a:lnTo>
                  <a:lnTo>
                    <a:pt x="1421" y="1043"/>
                  </a:lnTo>
                  <a:lnTo>
                    <a:pt x="1414" y="1043"/>
                  </a:lnTo>
                  <a:lnTo>
                    <a:pt x="1414" y="1043"/>
                  </a:lnTo>
                  <a:lnTo>
                    <a:pt x="1413" y="1043"/>
                  </a:lnTo>
                  <a:lnTo>
                    <a:pt x="1413" y="1043"/>
                  </a:lnTo>
                  <a:lnTo>
                    <a:pt x="1413" y="1043"/>
                  </a:lnTo>
                  <a:lnTo>
                    <a:pt x="1413" y="1043"/>
                  </a:lnTo>
                  <a:lnTo>
                    <a:pt x="1413" y="1043"/>
                  </a:lnTo>
                  <a:lnTo>
                    <a:pt x="1413"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4"/>
                  </a:lnTo>
                  <a:lnTo>
                    <a:pt x="1410" y="1046"/>
                  </a:lnTo>
                  <a:lnTo>
                    <a:pt x="1410" y="1046"/>
                  </a:lnTo>
                  <a:lnTo>
                    <a:pt x="1410" y="1046"/>
                  </a:lnTo>
                  <a:lnTo>
                    <a:pt x="1410" y="1046"/>
                  </a:lnTo>
                  <a:lnTo>
                    <a:pt x="1410" y="1047"/>
                  </a:lnTo>
                  <a:lnTo>
                    <a:pt x="1408" y="1047"/>
                  </a:lnTo>
                  <a:lnTo>
                    <a:pt x="1408" y="1048"/>
                  </a:lnTo>
                  <a:lnTo>
                    <a:pt x="1408" y="1048"/>
                  </a:lnTo>
                  <a:lnTo>
                    <a:pt x="1408" y="1048"/>
                  </a:lnTo>
                  <a:lnTo>
                    <a:pt x="1408" y="1048"/>
                  </a:lnTo>
                  <a:lnTo>
                    <a:pt x="1408" y="1048"/>
                  </a:lnTo>
                  <a:lnTo>
                    <a:pt x="1408" y="1048"/>
                  </a:lnTo>
                  <a:lnTo>
                    <a:pt x="1408" y="1048"/>
                  </a:lnTo>
                  <a:lnTo>
                    <a:pt x="1408" y="1048"/>
                  </a:lnTo>
                  <a:lnTo>
                    <a:pt x="1408" y="1048"/>
                  </a:lnTo>
                  <a:lnTo>
                    <a:pt x="1408" y="1048"/>
                  </a:lnTo>
                  <a:lnTo>
                    <a:pt x="1408" y="1049"/>
                  </a:lnTo>
                  <a:lnTo>
                    <a:pt x="1408" y="1049"/>
                  </a:lnTo>
                  <a:lnTo>
                    <a:pt x="1408" y="1050"/>
                  </a:lnTo>
                  <a:lnTo>
                    <a:pt x="1408" y="1050"/>
                  </a:lnTo>
                  <a:lnTo>
                    <a:pt x="1408" y="1050"/>
                  </a:lnTo>
                  <a:lnTo>
                    <a:pt x="1408" y="1050"/>
                  </a:lnTo>
                  <a:lnTo>
                    <a:pt x="1408" y="1052"/>
                  </a:lnTo>
                  <a:lnTo>
                    <a:pt x="1408" y="1052"/>
                  </a:lnTo>
                  <a:lnTo>
                    <a:pt x="1408" y="1053"/>
                  </a:lnTo>
                  <a:lnTo>
                    <a:pt x="1408" y="1053"/>
                  </a:lnTo>
                  <a:lnTo>
                    <a:pt x="1408" y="1053"/>
                  </a:lnTo>
                  <a:lnTo>
                    <a:pt x="1408" y="1053"/>
                  </a:lnTo>
                  <a:lnTo>
                    <a:pt x="1408" y="1053"/>
                  </a:lnTo>
                  <a:lnTo>
                    <a:pt x="1407" y="1053"/>
                  </a:lnTo>
                  <a:lnTo>
                    <a:pt x="1407" y="1053"/>
                  </a:lnTo>
                  <a:lnTo>
                    <a:pt x="1406" y="1053"/>
                  </a:lnTo>
                  <a:lnTo>
                    <a:pt x="1406" y="1053"/>
                  </a:lnTo>
                  <a:lnTo>
                    <a:pt x="1406" y="1053"/>
                  </a:lnTo>
                  <a:lnTo>
                    <a:pt x="1406"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5" y="1053"/>
                  </a:lnTo>
                  <a:lnTo>
                    <a:pt x="1404" y="1053"/>
                  </a:lnTo>
                  <a:lnTo>
                    <a:pt x="1404" y="1053"/>
                  </a:lnTo>
                  <a:lnTo>
                    <a:pt x="1404" y="1053"/>
                  </a:lnTo>
                  <a:lnTo>
                    <a:pt x="1404" y="1053"/>
                  </a:lnTo>
                  <a:lnTo>
                    <a:pt x="1404" y="1053"/>
                  </a:lnTo>
                  <a:lnTo>
                    <a:pt x="1404" y="1053"/>
                  </a:lnTo>
                  <a:lnTo>
                    <a:pt x="1404" y="1053"/>
                  </a:lnTo>
                  <a:lnTo>
                    <a:pt x="1404" y="1053"/>
                  </a:lnTo>
                  <a:lnTo>
                    <a:pt x="1404" y="1053"/>
                  </a:lnTo>
                  <a:lnTo>
                    <a:pt x="1404" y="1054"/>
                  </a:lnTo>
                  <a:lnTo>
                    <a:pt x="1404" y="1054"/>
                  </a:lnTo>
                  <a:lnTo>
                    <a:pt x="1404" y="1054"/>
                  </a:lnTo>
                  <a:lnTo>
                    <a:pt x="1404" y="1054"/>
                  </a:lnTo>
                  <a:lnTo>
                    <a:pt x="1404" y="1054"/>
                  </a:lnTo>
                  <a:lnTo>
                    <a:pt x="1404" y="1054"/>
                  </a:lnTo>
                  <a:lnTo>
                    <a:pt x="1404" y="1054"/>
                  </a:lnTo>
                  <a:lnTo>
                    <a:pt x="1404" y="1054"/>
                  </a:lnTo>
                  <a:lnTo>
                    <a:pt x="1404" y="1054"/>
                  </a:lnTo>
                  <a:lnTo>
                    <a:pt x="1403" y="1054"/>
                  </a:lnTo>
                  <a:lnTo>
                    <a:pt x="1403" y="1056"/>
                  </a:lnTo>
                  <a:lnTo>
                    <a:pt x="1403" y="1056"/>
                  </a:lnTo>
                  <a:lnTo>
                    <a:pt x="1403" y="1056"/>
                  </a:lnTo>
                  <a:lnTo>
                    <a:pt x="1399" y="1056"/>
                  </a:lnTo>
                  <a:lnTo>
                    <a:pt x="1399" y="1056"/>
                  </a:lnTo>
                  <a:lnTo>
                    <a:pt x="1399" y="1056"/>
                  </a:lnTo>
                  <a:lnTo>
                    <a:pt x="1399" y="1057"/>
                  </a:lnTo>
                  <a:lnTo>
                    <a:pt x="1399" y="1057"/>
                  </a:lnTo>
                  <a:lnTo>
                    <a:pt x="1399" y="1059"/>
                  </a:lnTo>
                  <a:lnTo>
                    <a:pt x="1399" y="1059"/>
                  </a:lnTo>
                  <a:lnTo>
                    <a:pt x="1399" y="1059"/>
                  </a:lnTo>
                  <a:lnTo>
                    <a:pt x="1397" y="1059"/>
                  </a:lnTo>
                  <a:lnTo>
                    <a:pt x="1397" y="1059"/>
                  </a:lnTo>
                  <a:lnTo>
                    <a:pt x="1396" y="1059"/>
                  </a:lnTo>
                  <a:lnTo>
                    <a:pt x="1396" y="1059"/>
                  </a:lnTo>
                  <a:lnTo>
                    <a:pt x="1396" y="1059"/>
                  </a:lnTo>
                  <a:lnTo>
                    <a:pt x="1396" y="1060"/>
                  </a:lnTo>
                  <a:lnTo>
                    <a:pt x="1392" y="1060"/>
                  </a:lnTo>
                  <a:lnTo>
                    <a:pt x="1392"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1" y="1060"/>
                  </a:lnTo>
                  <a:lnTo>
                    <a:pt x="1390" y="1060"/>
                  </a:lnTo>
                  <a:lnTo>
                    <a:pt x="1390" y="1060"/>
                  </a:lnTo>
                  <a:lnTo>
                    <a:pt x="1390" y="1060"/>
                  </a:lnTo>
                  <a:lnTo>
                    <a:pt x="1390" y="1060"/>
                  </a:lnTo>
                  <a:lnTo>
                    <a:pt x="1390" y="1060"/>
                  </a:lnTo>
                  <a:lnTo>
                    <a:pt x="1390" y="1060"/>
                  </a:lnTo>
                  <a:lnTo>
                    <a:pt x="1390" y="1060"/>
                  </a:lnTo>
                  <a:lnTo>
                    <a:pt x="1390" y="1060"/>
                  </a:lnTo>
                  <a:lnTo>
                    <a:pt x="1390" y="1060"/>
                  </a:lnTo>
                  <a:lnTo>
                    <a:pt x="1390" y="1061"/>
                  </a:lnTo>
                  <a:lnTo>
                    <a:pt x="1389" y="1061"/>
                  </a:lnTo>
                  <a:lnTo>
                    <a:pt x="1389" y="1061"/>
                  </a:lnTo>
                  <a:lnTo>
                    <a:pt x="1389" y="1061"/>
                  </a:lnTo>
                  <a:lnTo>
                    <a:pt x="1389" y="1061"/>
                  </a:lnTo>
                  <a:lnTo>
                    <a:pt x="1388" y="1061"/>
                  </a:lnTo>
                  <a:lnTo>
                    <a:pt x="1388" y="1061"/>
                  </a:lnTo>
                  <a:lnTo>
                    <a:pt x="1388" y="1061"/>
                  </a:lnTo>
                  <a:lnTo>
                    <a:pt x="1388" y="1062"/>
                  </a:lnTo>
                  <a:lnTo>
                    <a:pt x="1388" y="1062"/>
                  </a:lnTo>
                  <a:lnTo>
                    <a:pt x="1388" y="1063"/>
                  </a:lnTo>
                  <a:lnTo>
                    <a:pt x="1388" y="1063"/>
                  </a:lnTo>
                  <a:lnTo>
                    <a:pt x="1388" y="1063"/>
                  </a:lnTo>
                  <a:lnTo>
                    <a:pt x="1388" y="1063"/>
                  </a:lnTo>
                  <a:lnTo>
                    <a:pt x="1388" y="1064"/>
                  </a:lnTo>
                  <a:lnTo>
                    <a:pt x="1388" y="1064"/>
                  </a:lnTo>
                  <a:lnTo>
                    <a:pt x="1388" y="1064"/>
                  </a:lnTo>
                  <a:lnTo>
                    <a:pt x="1387" y="1064"/>
                  </a:lnTo>
                  <a:lnTo>
                    <a:pt x="1387" y="1064"/>
                  </a:lnTo>
                  <a:lnTo>
                    <a:pt x="1387" y="1064"/>
                  </a:lnTo>
                  <a:lnTo>
                    <a:pt x="1387" y="1064"/>
                  </a:lnTo>
                  <a:lnTo>
                    <a:pt x="1387" y="1064"/>
                  </a:lnTo>
                  <a:lnTo>
                    <a:pt x="1387" y="1064"/>
                  </a:lnTo>
                  <a:lnTo>
                    <a:pt x="1387" y="1064"/>
                  </a:lnTo>
                  <a:lnTo>
                    <a:pt x="1387" y="1064"/>
                  </a:lnTo>
                  <a:lnTo>
                    <a:pt x="1386" y="1064"/>
                  </a:lnTo>
                  <a:lnTo>
                    <a:pt x="1386" y="1064"/>
                  </a:lnTo>
                  <a:lnTo>
                    <a:pt x="1385" y="1064"/>
                  </a:lnTo>
                  <a:lnTo>
                    <a:pt x="1385" y="1064"/>
                  </a:lnTo>
                  <a:lnTo>
                    <a:pt x="1385" y="1064"/>
                  </a:lnTo>
                  <a:lnTo>
                    <a:pt x="1385" y="1068"/>
                  </a:lnTo>
                  <a:lnTo>
                    <a:pt x="1385" y="1068"/>
                  </a:lnTo>
                  <a:lnTo>
                    <a:pt x="1385" y="1069"/>
                  </a:lnTo>
                  <a:lnTo>
                    <a:pt x="1382" y="1069"/>
                  </a:lnTo>
                  <a:lnTo>
                    <a:pt x="1382" y="1069"/>
                  </a:lnTo>
                  <a:lnTo>
                    <a:pt x="1381" y="1069"/>
                  </a:lnTo>
                  <a:lnTo>
                    <a:pt x="1381" y="1069"/>
                  </a:lnTo>
                  <a:lnTo>
                    <a:pt x="1380" y="1069"/>
                  </a:lnTo>
                  <a:lnTo>
                    <a:pt x="1380" y="1072"/>
                  </a:lnTo>
                  <a:lnTo>
                    <a:pt x="1375" y="1072"/>
                  </a:lnTo>
                  <a:lnTo>
                    <a:pt x="1375" y="1073"/>
                  </a:lnTo>
                  <a:lnTo>
                    <a:pt x="1375" y="1073"/>
                  </a:lnTo>
                  <a:lnTo>
                    <a:pt x="1375" y="1074"/>
                  </a:lnTo>
                  <a:lnTo>
                    <a:pt x="1375" y="1074"/>
                  </a:lnTo>
                  <a:lnTo>
                    <a:pt x="1375" y="1074"/>
                  </a:lnTo>
                  <a:lnTo>
                    <a:pt x="1370" y="1074"/>
                  </a:lnTo>
                  <a:lnTo>
                    <a:pt x="1370" y="1074"/>
                  </a:lnTo>
                  <a:lnTo>
                    <a:pt x="1369" y="1074"/>
                  </a:lnTo>
                  <a:lnTo>
                    <a:pt x="1369" y="1074"/>
                  </a:lnTo>
                  <a:lnTo>
                    <a:pt x="1369" y="1074"/>
                  </a:lnTo>
                  <a:lnTo>
                    <a:pt x="1369" y="1076"/>
                  </a:lnTo>
                  <a:lnTo>
                    <a:pt x="1369" y="1076"/>
                  </a:lnTo>
                  <a:lnTo>
                    <a:pt x="1369" y="899"/>
                  </a:lnTo>
                  <a:lnTo>
                    <a:pt x="1369" y="899"/>
                  </a:lnTo>
                  <a:lnTo>
                    <a:pt x="1369" y="899"/>
                  </a:lnTo>
                  <a:lnTo>
                    <a:pt x="1369" y="899"/>
                  </a:lnTo>
                  <a:lnTo>
                    <a:pt x="1369" y="899"/>
                  </a:lnTo>
                  <a:lnTo>
                    <a:pt x="1369" y="899"/>
                  </a:lnTo>
                  <a:lnTo>
                    <a:pt x="1369" y="1077"/>
                  </a:lnTo>
                  <a:lnTo>
                    <a:pt x="1369" y="1077"/>
                  </a:lnTo>
                  <a:lnTo>
                    <a:pt x="1369" y="1078"/>
                  </a:lnTo>
                  <a:lnTo>
                    <a:pt x="1369" y="1078"/>
                  </a:lnTo>
                  <a:lnTo>
                    <a:pt x="1369" y="1078"/>
                  </a:lnTo>
                  <a:lnTo>
                    <a:pt x="1369" y="1078"/>
                  </a:lnTo>
                  <a:lnTo>
                    <a:pt x="1369" y="1078"/>
                  </a:lnTo>
                  <a:lnTo>
                    <a:pt x="1369" y="1078"/>
                  </a:lnTo>
                  <a:lnTo>
                    <a:pt x="1369" y="1078"/>
                  </a:lnTo>
                  <a:lnTo>
                    <a:pt x="1369" y="1078"/>
                  </a:lnTo>
                  <a:lnTo>
                    <a:pt x="1369" y="1078"/>
                  </a:lnTo>
                  <a:lnTo>
                    <a:pt x="1369" y="1078"/>
                  </a:lnTo>
                  <a:lnTo>
                    <a:pt x="1369" y="1081"/>
                  </a:lnTo>
                  <a:lnTo>
                    <a:pt x="1369" y="1081"/>
                  </a:lnTo>
                  <a:lnTo>
                    <a:pt x="1369" y="1081"/>
                  </a:lnTo>
                  <a:lnTo>
                    <a:pt x="1369" y="1081"/>
                  </a:lnTo>
                  <a:lnTo>
                    <a:pt x="1369" y="1081"/>
                  </a:lnTo>
                  <a:lnTo>
                    <a:pt x="1369" y="1081"/>
                  </a:lnTo>
                  <a:lnTo>
                    <a:pt x="1369" y="1081"/>
                  </a:lnTo>
                  <a:lnTo>
                    <a:pt x="1369" y="1081"/>
                  </a:lnTo>
                  <a:lnTo>
                    <a:pt x="1369" y="1081"/>
                  </a:lnTo>
                  <a:lnTo>
                    <a:pt x="1369" y="1081"/>
                  </a:lnTo>
                  <a:lnTo>
                    <a:pt x="1369" y="1082"/>
                  </a:lnTo>
                  <a:lnTo>
                    <a:pt x="1369" y="1082"/>
                  </a:lnTo>
                  <a:lnTo>
                    <a:pt x="1369"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2"/>
                  </a:lnTo>
                  <a:lnTo>
                    <a:pt x="1368" y="1083"/>
                  </a:lnTo>
                  <a:lnTo>
                    <a:pt x="1367" y="1083"/>
                  </a:lnTo>
                  <a:lnTo>
                    <a:pt x="1367"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3"/>
                  </a:lnTo>
                  <a:lnTo>
                    <a:pt x="1366" y="1088"/>
                  </a:lnTo>
                  <a:lnTo>
                    <a:pt x="1366" y="1088"/>
                  </a:lnTo>
                  <a:lnTo>
                    <a:pt x="1366" y="1088"/>
                  </a:lnTo>
                  <a:lnTo>
                    <a:pt x="1366" y="1088"/>
                  </a:lnTo>
                  <a:lnTo>
                    <a:pt x="1366" y="899"/>
                  </a:lnTo>
                  <a:lnTo>
                    <a:pt x="1366" y="899"/>
                  </a:lnTo>
                  <a:lnTo>
                    <a:pt x="1366" y="899"/>
                  </a:lnTo>
                  <a:lnTo>
                    <a:pt x="1366" y="899"/>
                  </a:lnTo>
                  <a:lnTo>
                    <a:pt x="1366" y="899"/>
                  </a:lnTo>
                  <a:lnTo>
                    <a:pt x="1366" y="899"/>
                  </a:lnTo>
                  <a:lnTo>
                    <a:pt x="1366" y="1091"/>
                  </a:lnTo>
                  <a:lnTo>
                    <a:pt x="1366" y="1091"/>
                  </a:lnTo>
                  <a:lnTo>
                    <a:pt x="1366" y="1091"/>
                  </a:lnTo>
                  <a:lnTo>
                    <a:pt x="1365" y="1091"/>
                  </a:lnTo>
                  <a:lnTo>
                    <a:pt x="1365" y="1091"/>
                  </a:lnTo>
                  <a:lnTo>
                    <a:pt x="1365" y="1091"/>
                  </a:lnTo>
                  <a:lnTo>
                    <a:pt x="1365" y="1091"/>
                  </a:lnTo>
                  <a:lnTo>
                    <a:pt x="1365" y="1091"/>
                  </a:lnTo>
                  <a:lnTo>
                    <a:pt x="1365" y="1091"/>
                  </a:lnTo>
                  <a:lnTo>
                    <a:pt x="1365" y="1091"/>
                  </a:lnTo>
                  <a:lnTo>
                    <a:pt x="1365"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1"/>
                  </a:lnTo>
                  <a:lnTo>
                    <a:pt x="1364" y="1092"/>
                  </a:lnTo>
                  <a:lnTo>
                    <a:pt x="1363" y="1092"/>
                  </a:lnTo>
                  <a:lnTo>
                    <a:pt x="1363" y="1092"/>
                  </a:lnTo>
                  <a:lnTo>
                    <a:pt x="1363" y="1092"/>
                  </a:lnTo>
                  <a:lnTo>
                    <a:pt x="1363" y="1094"/>
                  </a:lnTo>
                  <a:lnTo>
                    <a:pt x="1361" y="1094"/>
                  </a:lnTo>
                  <a:lnTo>
                    <a:pt x="1361" y="1094"/>
                  </a:lnTo>
                  <a:lnTo>
                    <a:pt x="1360" y="1094"/>
                  </a:lnTo>
                  <a:lnTo>
                    <a:pt x="1360"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1094"/>
                  </a:lnTo>
                  <a:lnTo>
                    <a:pt x="1359" y="899"/>
                  </a:lnTo>
                  <a:lnTo>
                    <a:pt x="1359" y="899"/>
                  </a:lnTo>
                  <a:lnTo>
                    <a:pt x="1359" y="899"/>
                  </a:lnTo>
                  <a:lnTo>
                    <a:pt x="1359" y="899"/>
                  </a:lnTo>
                  <a:lnTo>
                    <a:pt x="1359" y="899"/>
                  </a:lnTo>
                  <a:lnTo>
                    <a:pt x="1359" y="899"/>
                  </a:lnTo>
                  <a:lnTo>
                    <a:pt x="1359" y="899"/>
                  </a:lnTo>
                  <a:lnTo>
                    <a:pt x="1359" y="899"/>
                  </a:lnTo>
                  <a:lnTo>
                    <a:pt x="1359" y="1099"/>
                  </a:lnTo>
                  <a:lnTo>
                    <a:pt x="1356" y="1099"/>
                  </a:lnTo>
                  <a:lnTo>
                    <a:pt x="1356" y="1099"/>
                  </a:lnTo>
                  <a:lnTo>
                    <a:pt x="1356" y="1099"/>
                  </a:lnTo>
                  <a:lnTo>
                    <a:pt x="1356" y="1099"/>
                  </a:lnTo>
                  <a:lnTo>
                    <a:pt x="1355" y="1099"/>
                  </a:lnTo>
                  <a:lnTo>
                    <a:pt x="1355" y="1099"/>
                  </a:lnTo>
                  <a:lnTo>
                    <a:pt x="1355" y="1099"/>
                  </a:lnTo>
                  <a:lnTo>
                    <a:pt x="1355"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099"/>
                  </a:lnTo>
                  <a:lnTo>
                    <a:pt x="1354" y="1100"/>
                  </a:lnTo>
                  <a:lnTo>
                    <a:pt x="1354" y="1100"/>
                  </a:lnTo>
                  <a:lnTo>
                    <a:pt x="1354" y="1101"/>
                  </a:lnTo>
                  <a:lnTo>
                    <a:pt x="1354" y="1101"/>
                  </a:lnTo>
                  <a:lnTo>
                    <a:pt x="1354" y="1101"/>
                  </a:lnTo>
                  <a:lnTo>
                    <a:pt x="1354" y="1101"/>
                  </a:lnTo>
                  <a:lnTo>
                    <a:pt x="1354" y="899"/>
                  </a:lnTo>
                  <a:lnTo>
                    <a:pt x="1354" y="899"/>
                  </a:lnTo>
                  <a:lnTo>
                    <a:pt x="1354" y="1101"/>
                  </a:lnTo>
                  <a:lnTo>
                    <a:pt x="1354" y="1101"/>
                  </a:lnTo>
                  <a:lnTo>
                    <a:pt x="1354" y="899"/>
                  </a:lnTo>
                  <a:lnTo>
                    <a:pt x="1354" y="899"/>
                  </a:lnTo>
                  <a:lnTo>
                    <a:pt x="1354" y="1101"/>
                  </a:lnTo>
                  <a:lnTo>
                    <a:pt x="1354" y="1101"/>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5"/>
                  </a:lnTo>
                  <a:lnTo>
                    <a:pt x="1354" y="1106"/>
                  </a:lnTo>
                  <a:lnTo>
                    <a:pt x="1354" y="1106"/>
                  </a:lnTo>
                  <a:lnTo>
                    <a:pt x="1354" y="1106"/>
                  </a:lnTo>
                  <a:lnTo>
                    <a:pt x="1343" y="1106"/>
                  </a:lnTo>
                  <a:lnTo>
                    <a:pt x="1343" y="1106"/>
                  </a:lnTo>
                  <a:lnTo>
                    <a:pt x="1341" y="1106"/>
                  </a:lnTo>
                  <a:lnTo>
                    <a:pt x="1341" y="1106"/>
                  </a:lnTo>
                  <a:lnTo>
                    <a:pt x="1340" y="1106"/>
                  </a:lnTo>
                  <a:lnTo>
                    <a:pt x="1340" y="1106"/>
                  </a:lnTo>
                  <a:lnTo>
                    <a:pt x="1339" y="1106"/>
                  </a:lnTo>
                  <a:lnTo>
                    <a:pt x="1339" y="1106"/>
                  </a:lnTo>
                  <a:lnTo>
                    <a:pt x="1338" y="1106"/>
                  </a:lnTo>
                  <a:lnTo>
                    <a:pt x="1338" y="1106"/>
                  </a:lnTo>
                  <a:lnTo>
                    <a:pt x="1338" y="1106"/>
                  </a:lnTo>
                  <a:lnTo>
                    <a:pt x="1338" y="1106"/>
                  </a:lnTo>
                  <a:lnTo>
                    <a:pt x="1338" y="1106"/>
                  </a:lnTo>
                  <a:lnTo>
                    <a:pt x="1338" y="1106"/>
                  </a:lnTo>
                  <a:lnTo>
                    <a:pt x="1338" y="1106"/>
                  </a:lnTo>
                  <a:lnTo>
                    <a:pt x="1338"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06"/>
                  </a:lnTo>
                  <a:lnTo>
                    <a:pt x="1337" y="1110"/>
                  </a:lnTo>
                  <a:lnTo>
                    <a:pt x="1337" y="1110"/>
                  </a:lnTo>
                  <a:lnTo>
                    <a:pt x="1337" y="1113"/>
                  </a:lnTo>
                  <a:lnTo>
                    <a:pt x="1337" y="1113"/>
                  </a:lnTo>
                  <a:lnTo>
                    <a:pt x="1337" y="1113"/>
                  </a:lnTo>
                  <a:lnTo>
                    <a:pt x="1337" y="1113"/>
                  </a:lnTo>
                  <a:lnTo>
                    <a:pt x="1337" y="1113"/>
                  </a:lnTo>
                  <a:lnTo>
                    <a:pt x="1337" y="1113"/>
                  </a:lnTo>
                  <a:lnTo>
                    <a:pt x="1337" y="1114"/>
                  </a:lnTo>
                  <a:lnTo>
                    <a:pt x="1335" y="1114"/>
                  </a:lnTo>
                  <a:lnTo>
                    <a:pt x="1335" y="1114"/>
                  </a:lnTo>
                  <a:lnTo>
                    <a:pt x="1334" y="1114"/>
                  </a:lnTo>
                  <a:lnTo>
                    <a:pt x="1334" y="1114"/>
                  </a:lnTo>
                  <a:lnTo>
                    <a:pt x="1333" y="1114"/>
                  </a:lnTo>
                  <a:lnTo>
                    <a:pt x="1333" y="1114"/>
                  </a:lnTo>
                  <a:lnTo>
                    <a:pt x="1333" y="1114"/>
                  </a:lnTo>
                  <a:lnTo>
                    <a:pt x="1333" y="1114"/>
                  </a:lnTo>
                  <a:lnTo>
                    <a:pt x="1332" y="1114"/>
                  </a:lnTo>
                  <a:lnTo>
                    <a:pt x="1332" y="1114"/>
                  </a:lnTo>
                  <a:lnTo>
                    <a:pt x="1332" y="1114"/>
                  </a:lnTo>
                  <a:lnTo>
                    <a:pt x="1332" y="1114"/>
                  </a:lnTo>
                  <a:lnTo>
                    <a:pt x="1331" y="1114"/>
                  </a:lnTo>
                  <a:lnTo>
                    <a:pt x="1331" y="1114"/>
                  </a:lnTo>
                  <a:lnTo>
                    <a:pt x="1331" y="1114"/>
                  </a:lnTo>
                  <a:lnTo>
                    <a:pt x="1331" y="1114"/>
                  </a:lnTo>
                  <a:lnTo>
                    <a:pt x="1331" y="1114"/>
                  </a:lnTo>
                  <a:lnTo>
                    <a:pt x="1331" y="1114"/>
                  </a:lnTo>
                  <a:lnTo>
                    <a:pt x="1330" y="1114"/>
                  </a:lnTo>
                  <a:lnTo>
                    <a:pt x="1330" y="1114"/>
                  </a:lnTo>
                  <a:lnTo>
                    <a:pt x="1330" y="1114"/>
                  </a:lnTo>
                  <a:lnTo>
                    <a:pt x="1330" y="1114"/>
                  </a:lnTo>
                  <a:lnTo>
                    <a:pt x="1330" y="1114"/>
                  </a:lnTo>
                  <a:lnTo>
                    <a:pt x="1330" y="1114"/>
                  </a:lnTo>
                  <a:lnTo>
                    <a:pt x="1330" y="1114"/>
                  </a:lnTo>
                  <a:lnTo>
                    <a:pt x="1330"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4"/>
                  </a:lnTo>
                  <a:lnTo>
                    <a:pt x="1329" y="1115"/>
                  </a:lnTo>
                  <a:lnTo>
                    <a:pt x="1329" y="1115"/>
                  </a:lnTo>
                  <a:lnTo>
                    <a:pt x="1329"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8"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5"/>
                  </a:lnTo>
                  <a:lnTo>
                    <a:pt x="1327" y="1116"/>
                  </a:lnTo>
                  <a:lnTo>
                    <a:pt x="1327" y="1116"/>
                  </a:lnTo>
                  <a:lnTo>
                    <a:pt x="1327" y="1116"/>
                  </a:lnTo>
                  <a:lnTo>
                    <a:pt x="1327" y="1116"/>
                  </a:lnTo>
                  <a:lnTo>
                    <a:pt x="1327" y="1116"/>
                  </a:lnTo>
                  <a:lnTo>
                    <a:pt x="1326" y="1116"/>
                  </a:lnTo>
                  <a:lnTo>
                    <a:pt x="1326" y="1116"/>
                  </a:lnTo>
                  <a:lnTo>
                    <a:pt x="1326" y="1116"/>
                  </a:lnTo>
                  <a:lnTo>
                    <a:pt x="1326" y="1116"/>
                  </a:lnTo>
                  <a:lnTo>
                    <a:pt x="1326" y="1116"/>
                  </a:lnTo>
                  <a:lnTo>
                    <a:pt x="1326" y="1116"/>
                  </a:lnTo>
                  <a:lnTo>
                    <a:pt x="1326" y="1116"/>
                  </a:lnTo>
                  <a:lnTo>
                    <a:pt x="1326" y="1117"/>
                  </a:lnTo>
                  <a:lnTo>
                    <a:pt x="1326" y="1117"/>
                  </a:lnTo>
                  <a:lnTo>
                    <a:pt x="1326" y="1117"/>
                  </a:lnTo>
                  <a:lnTo>
                    <a:pt x="1326" y="1117"/>
                  </a:lnTo>
                  <a:lnTo>
                    <a:pt x="1326" y="1118"/>
                  </a:lnTo>
                  <a:lnTo>
                    <a:pt x="1326" y="1118"/>
                  </a:lnTo>
                  <a:lnTo>
                    <a:pt x="1326" y="1118"/>
                  </a:lnTo>
                  <a:lnTo>
                    <a:pt x="1326" y="1118"/>
                  </a:lnTo>
                  <a:lnTo>
                    <a:pt x="1326"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18"/>
                  </a:lnTo>
                  <a:lnTo>
                    <a:pt x="1325" y="1120"/>
                  </a:lnTo>
                  <a:lnTo>
                    <a:pt x="1323" y="1120"/>
                  </a:lnTo>
                  <a:lnTo>
                    <a:pt x="1323"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0"/>
                  </a:lnTo>
                  <a:lnTo>
                    <a:pt x="1322" y="1121"/>
                  </a:lnTo>
                  <a:lnTo>
                    <a:pt x="1319" y="1121"/>
                  </a:lnTo>
                  <a:lnTo>
                    <a:pt x="1319"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2"/>
                  </a:lnTo>
                  <a:lnTo>
                    <a:pt x="1318" y="1123"/>
                  </a:lnTo>
                  <a:lnTo>
                    <a:pt x="1270" y="1123"/>
                  </a:lnTo>
                  <a:lnTo>
                    <a:pt x="1270" y="1123"/>
                  </a:lnTo>
                  <a:lnTo>
                    <a:pt x="1263" y="1123"/>
                  </a:lnTo>
                  <a:lnTo>
                    <a:pt x="1263" y="1123"/>
                  </a:lnTo>
                  <a:lnTo>
                    <a:pt x="1259" y="1123"/>
                  </a:lnTo>
                  <a:lnTo>
                    <a:pt x="1259" y="1123"/>
                  </a:lnTo>
                  <a:lnTo>
                    <a:pt x="1255" y="1123"/>
                  </a:lnTo>
                  <a:lnTo>
                    <a:pt x="1255" y="1123"/>
                  </a:lnTo>
                  <a:lnTo>
                    <a:pt x="1253" y="1123"/>
                  </a:lnTo>
                  <a:lnTo>
                    <a:pt x="1253" y="1123"/>
                  </a:lnTo>
                  <a:lnTo>
                    <a:pt x="1252" y="1123"/>
                  </a:lnTo>
                  <a:lnTo>
                    <a:pt x="1252" y="1123"/>
                  </a:lnTo>
                  <a:lnTo>
                    <a:pt x="1251" y="1123"/>
                  </a:lnTo>
                  <a:lnTo>
                    <a:pt x="1251" y="1123"/>
                  </a:lnTo>
                  <a:lnTo>
                    <a:pt x="1251" y="1123"/>
                  </a:lnTo>
                  <a:lnTo>
                    <a:pt x="1251" y="1123"/>
                  </a:lnTo>
                  <a:lnTo>
                    <a:pt x="1250" y="1123"/>
                  </a:lnTo>
                  <a:lnTo>
                    <a:pt x="1250" y="1123"/>
                  </a:lnTo>
                  <a:lnTo>
                    <a:pt x="1250" y="1123"/>
                  </a:lnTo>
                  <a:lnTo>
                    <a:pt x="1250" y="1123"/>
                  </a:lnTo>
                  <a:lnTo>
                    <a:pt x="1250" y="1123"/>
                  </a:lnTo>
                  <a:lnTo>
                    <a:pt x="1250" y="1123"/>
                  </a:lnTo>
                  <a:lnTo>
                    <a:pt x="1250" y="1123"/>
                  </a:lnTo>
                  <a:lnTo>
                    <a:pt x="1250" y="1123"/>
                  </a:lnTo>
                  <a:lnTo>
                    <a:pt x="1249" y="1123"/>
                  </a:lnTo>
                  <a:lnTo>
                    <a:pt x="1249" y="1123"/>
                  </a:lnTo>
                  <a:lnTo>
                    <a:pt x="1249" y="1123"/>
                  </a:lnTo>
                  <a:lnTo>
                    <a:pt x="1249" y="1123"/>
                  </a:lnTo>
                  <a:lnTo>
                    <a:pt x="1249" y="1123"/>
                  </a:lnTo>
                  <a:lnTo>
                    <a:pt x="1249" y="1123"/>
                  </a:lnTo>
                  <a:lnTo>
                    <a:pt x="1249" y="1123"/>
                  </a:lnTo>
                  <a:lnTo>
                    <a:pt x="1249" y="1124"/>
                  </a:lnTo>
                  <a:lnTo>
                    <a:pt x="1249" y="1124"/>
                  </a:lnTo>
                  <a:lnTo>
                    <a:pt x="1249" y="1126"/>
                  </a:lnTo>
                  <a:lnTo>
                    <a:pt x="1238" y="1126"/>
                  </a:lnTo>
                  <a:lnTo>
                    <a:pt x="1238" y="1126"/>
                  </a:lnTo>
                  <a:lnTo>
                    <a:pt x="1232" y="1126"/>
                  </a:lnTo>
                  <a:lnTo>
                    <a:pt x="1232" y="1126"/>
                  </a:lnTo>
                  <a:lnTo>
                    <a:pt x="1226" y="1126"/>
                  </a:lnTo>
                  <a:lnTo>
                    <a:pt x="1226"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6"/>
                  </a:lnTo>
                  <a:lnTo>
                    <a:pt x="1225" y="1129"/>
                  </a:lnTo>
                  <a:lnTo>
                    <a:pt x="1224" y="1129"/>
                  </a:lnTo>
                  <a:lnTo>
                    <a:pt x="1224" y="1131"/>
                  </a:lnTo>
                  <a:lnTo>
                    <a:pt x="1224" y="1131"/>
                  </a:lnTo>
                  <a:lnTo>
                    <a:pt x="1224" y="1131"/>
                  </a:lnTo>
                  <a:lnTo>
                    <a:pt x="1224" y="1131"/>
                  </a:lnTo>
                  <a:lnTo>
                    <a:pt x="1224" y="1131"/>
                  </a:lnTo>
                  <a:lnTo>
                    <a:pt x="1223" y="1131"/>
                  </a:lnTo>
                  <a:lnTo>
                    <a:pt x="1223" y="1131"/>
                  </a:lnTo>
                  <a:lnTo>
                    <a:pt x="1223" y="1131"/>
                  </a:lnTo>
                  <a:lnTo>
                    <a:pt x="1223" y="1132"/>
                  </a:lnTo>
                  <a:lnTo>
                    <a:pt x="1223" y="1132"/>
                  </a:lnTo>
                  <a:lnTo>
                    <a:pt x="1223" y="1132"/>
                  </a:lnTo>
                  <a:lnTo>
                    <a:pt x="1223" y="1132"/>
                  </a:lnTo>
                  <a:lnTo>
                    <a:pt x="1223" y="1132"/>
                  </a:lnTo>
                  <a:lnTo>
                    <a:pt x="1223" y="1132"/>
                  </a:lnTo>
                  <a:lnTo>
                    <a:pt x="1223" y="1132"/>
                  </a:lnTo>
                  <a:lnTo>
                    <a:pt x="1223" y="1132"/>
                  </a:lnTo>
                  <a:lnTo>
                    <a:pt x="1223" y="1133"/>
                  </a:lnTo>
                  <a:lnTo>
                    <a:pt x="1213" y="1133"/>
                  </a:lnTo>
                  <a:lnTo>
                    <a:pt x="1213" y="1133"/>
                  </a:lnTo>
                  <a:lnTo>
                    <a:pt x="1202" y="1133"/>
                  </a:lnTo>
                  <a:lnTo>
                    <a:pt x="1202" y="1133"/>
                  </a:lnTo>
                  <a:lnTo>
                    <a:pt x="1195" y="1133"/>
                  </a:lnTo>
                  <a:lnTo>
                    <a:pt x="1195" y="1133"/>
                  </a:lnTo>
                  <a:lnTo>
                    <a:pt x="1190" y="1133"/>
                  </a:lnTo>
                  <a:lnTo>
                    <a:pt x="1190" y="1133"/>
                  </a:lnTo>
                  <a:lnTo>
                    <a:pt x="1186" y="1133"/>
                  </a:lnTo>
                  <a:lnTo>
                    <a:pt x="1186" y="1133"/>
                  </a:lnTo>
                  <a:lnTo>
                    <a:pt x="1185" y="1133"/>
                  </a:lnTo>
                  <a:lnTo>
                    <a:pt x="1185" y="1133"/>
                  </a:lnTo>
                  <a:lnTo>
                    <a:pt x="1184" y="1133"/>
                  </a:lnTo>
                  <a:lnTo>
                    <a:pt x="1184" y="1133"/>
                  </a:lnTo>
                  <a:lnTo>
                    <a:pt x="1183" y="1133"/>
                  </a:lnTo>
                  <a:lnTo>
                    <a:pt x="1183" y="1133"/>
                  </a:lnTo>
                  <a:lnTo>
                    <a:pt x="1182" y="1133"/>
                  </a:lnTo>
                  <a:lnTo>
                    <a:pt x="1182" y="1133"/>
                  </a:lnTo>
                  <a:lnTo>
                    <a:pt x="1182" y="1133"/>
                  </a:lnTo>
                  <a:lnTo>
                    <a:pt x="1182" y="1133"/>
                  </a:lnTo>
                  <a:lnTo>
                    <a:pt x="1182" y="1133"/>
                  </a:lnTo>
                  <a:lnTo>
                    <a:pt x="1182"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1133"/>
                  </a:lnTo>
                  <a:lnTo>
                    <a:pt x="1181" y="899"/>
                  </a:lnTo>
                  <a:lnTo>
                    <a:pt x="1181" y="899"/>
                  </a:lnTo>
                  <a:lnTo>
                    <a:pt x="1181" y="899"/>
                  </a:lnTo>
                  <a:lnTo>
                    <a:pt x="1181" y="899"/>
                  </a:lnTo>
                  <a:lnTo>
                    <a:pt x="1181" y="1134"/>
                  </a:lnTo>
                  <a:lnTo>
                    <a:pt x="1181" y="1134"/>
                  </a:lnTo>
                  <a:lnTo>
                    <a:pt x="1181" y="1135"/>
                  </a:lnTo>
                  <a:lnTo>
                    <a:pt x="1180" y="1135"/>
                  </a:lnTo>
                  <a:lnTo>
                    <a:pt x="1180" y="1135"/>
                  </a:lnTo>
                  <a:lnTo>
                    <a:pt x="1179" y="1135"/>
                  </a:lnTo>
                  <a:lnTo>
                    <a:pt x="1179" y="1135"/>
                  </a:lnTo>
                  <a:lnTo>
                    <a:pt x="1179" y="1135"/>
                  </a:lnTo>
                  <a:lnTo>
                    <a:pt x="1179" y="1135"/>
                  </a:lnTo>
                  <a:lnTo>
                    <a:pt x="1179" y="1135"/>
                  </a:lnTo>
                  <a:lnTo>
                    <a:pt x="1179" y="1135"/>
                  </a:lnTo>
                  <a:lnTo>
                    <a:pt x="1179" y="1135"/>
                  </a:lnTo>
                  <a:lnTo>
                    <a:pt x="1179" y="1136"/>
                  </a:lnTo>
                  <a:lnTo>
                    <a:pt x="1150" y="1136"/>
                  </a:lnTo>
                  <a:lnTo>
                    <a:pt x="1150" y="1136"/>
                  </a:lnTo>
                  <a:lnTo>
                    <a:pt x="1147" y="1136"/>
                  </a:lnTo>
                  <a:lnTo>
                    <a:pt x="1147" y="1136"/>
                  </a:lnTo>
                  <a:lnTo>
                    <a:pt x="1144" y="1136"/>
                  </a:lnTo>
                  <a:lnTo>
                    <a:pt x="1144" y="1136"/>
                  </a:lnTo>
                  <a:lnTo>
                    <a:pt x="1141" y="1136"/>
                  </a:lnTo>
                  <a:lnTo>
                    <a:pt x="1141" y="1136"/>
                  </a:lnTo>
                  <a:lnTo>
                    <a:pt x="1138" y="1136"/>
                  </a:lnTo>
                  <a:lnTo>
                    <a:pt x="1138" y="1136"/>
                  </a:lnTo>
                  <a:lnTo>
                    <a:pt x="1137" y="1136"/>
                  </a:lnTo>
                  <a:lnTo>
                    <a:pt x="1137" y="1136"/>
                  </a:lnTo>
                  <a:lnTo>
                    <a:pt x="1135" y="1136"/>
                  </a:lnTo>
                  <a:lnTo>
                    <a:pt x="1135" y="1136"/>
                  </a:lnTo>
                  <a:lnTo>
                    <a:pt x="1134" y="1136"/>
                  </a:lnTo>
                  <a:lnTo>
                    <a:pt x="1134" y="1136"/>
                  </a:lnTo>
                  <a:lnTo>
                    <a:pt x="1132" y="1136"/>
                  </a:lnTo>
                  <a:lnTo>
                    <a:pt x="1132" y="1136"/>
                  </a:lnTo>
                  <a:lnTo>
                    <a:pt x="1131" y="1136"/>
                  </a:lnTo>
                  <a:lnTo>
                    <a:pt x="1131" y="1136"/>
                  </a:lnTo>
                  <a:lnTo>
                    <a:pt x="1130" y="1136"/>
                  </a:lnTo>
                  <a:lnTo>
                    <a:pt x="1130" y="1136"/>
                  </a:lnTo>
                  <a:lnTo>
                    <a:pt x="1130" y="1136"/>
                  </a:lnTo>
                  <a:lnTo>
                    <a:pt x="1130" y="1136"/>
                  </a:lnTo>
                  <a:lnTo>
                    <a:pt x="1130" y="1136"/>
                  </a:lnTo>
                  <a:lnTo>
                    <a:pt x="1130"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29" y="1136"/>
                  </a:lnTo>
                  <a:lnTo>
                    <a:pt x="1104" y="1136"/>
                  </a:lnTo>
                  <a:lnTo>
                    <a:pt x="1104" y="1136"/>
                  </a:lnTo>
                  <a:lnTo>
                    <a:pt x="1102" y="1136"/>
                  </a:lnTo>
                  <a:lnTo>
                    <a:pt x="1102" y="1136"/>
                  </a:lnTo>
                  <a:lnTo>
                    <a:pt x="1102" y="1136"/>
                  </a:lnTo>
                  <a:lnTo>
                    <a:pt x="1102" y="1136"/>
                  </a:lnTo>
                  <a:lnTo>
                    <a:pt x="1102" y="1136"/>
                  </a:lnTo>
                  <a:lnTo>
                    <a:pt x="1102" y="1136"/>
                  </a:lnTo>
                  <a:lnTo>
                    <a:pt x="1101" y="1136"/>
                  </a:lnTo>
                  <a:lnTo>
                    <a:pt x="1101" y="1136"/>
                  </a:lnTo>
                  <a:lnTo>
                    <a:pt x="1101" y="1136"/>
                  </a:lnTo>
                  <a:lnTo>
                    <a:pt x="1101" y="1138"/>
                  </a:lnTo>
                  <a:lnTo>
                    <a:pt x="1077" y="1138"/>
                  </a:lnTo>
                  <a:lnTo>
                    <a:pt x="1077" y="1138"/>
                  </a:lnTo>
                  <a:lnTo>
                    <a:pt x="1074" y="1138"/>
                  </a:lnTo>
                  <a:lnTo>
                    <a:pt x="1074" y="1139"/>
                  </a:lnTo>
                  <a:lnTo>
                    <a:pt x="1071" y="1139"/>
                  </a:lnTo>
                  <a:lnTo>
                    <a:pt x="1071" y="1139"/>
                  </a:lnTo>
                  <a:lnTo>
                    <a:pt x="1069" y="1139"/>
                  </a:lnTo>
                  <a:lnTo>
                    <a:pt x="1069" y="1143"/>
                  </a:lnTo>
                  <a:lnTo>
                    <a:pt x="1069" y="1143"/>
                  </a:lnTo>
                  <a:lnTo>
                    <a:pt x="1069" y="1143"/>
                  </a:lnTo>
                  <a:lnTo>
                    <a:pt x="1069" y="1143"/>
                  </a:lnTo>
                  <a:lnTo>
                    <a:pt x="1069" y="1143"/>
                  </a:lnTo>
                  <a:lnTo>
                    <a:pt x="1069" y="1143"/>
                  </a:lnTo>
                  <a:lnTo>
                    <a:pt x="1069" y="1143"/>
                  </a:lnTo>
                  <a:lnTo>
                    <a:pt x="1069" y="1143"/>
                  </a:lnTo>
                  <a:lnTo>
                    <a:pt x="1069" y="1146"/>
                  </a:lnTo>
                  <a:lnTo>
                    <a:pt x="1069" y="1146"/>
                  </a:lnTo>
                  <a:lnTo>
                    <a:pt x="1069" y="1146"/>
                  </a:lnTo>
                  <a:lnTo>
                    <a:pt x="1069" y="1146"/>
                  </a:lnTo>
                  <a:lnTo>
                    <a:pt x="1069" y="1148"/>
                  </a:lnTo>
                  <a:lnTo>
                    <a:pt x="1067" y="1148"/>
                  </a:lnTo>
                  <a:lnTo>
                    <a:pt x="1067" y="1148"/>
                  </a:lnTo>
                  <a:lnTo>
                    <a:pt x="1067" y="1148"/>
                  </a:lnTo>
                  <a:lnTo>
                    <a:pt x="1067" y="1148"/>
                  </a:lnTo>
                  <a:lnTo>
                    <a:pt x="1067" y="1148"/>
                  </a:lnTo>
                  <a:lnTo>
                    <a:pt x="1067" y="1150"/>
                  </a:lnTo>
                  <a:lnTo>
                    <a:pt x="1062" y="1150"/>
                  </a:lnTo>
                  <a:lnTo>
                    <a:pt x="1062" y="1150"/>
                  </a:lnTo>
                  <a:lnTo>
                    <a:pt x="1061" y="1150"/>
                  </a:lnTo>
                  <a:lnTo>
                    <a:pt x="1061" y="899"/>
                  </a:lnTo>
                  <a:lnTo>
                    <a:pt x="1061" y="899"/>
                  </a:lnTo>
                  <a:lnTo>
                    <a:pt x="1061" y="899"/>
                  </a:lnTo>
                  <a:lnTo>
                    <a:pt x="1061" y="899"/>
                  </a:lnTo>
                  <a:lnTo>
                    <a:pt x="1061" y="1154"/>
                  </a:lnTo>
                  <a:lnTo>
                    <a:pt x="1052" y="1154"/>
                  </a:lnTo>
                  <a:lnTo>
                    <a:pt x="1052" y="1154"/>
                  </a:lnTo>
                  <a:lnTo>
                    <a:pt x="1045" y="1154"/>
                  </a:lnTo>
                  <a:lnTo>
                    <a:pt x="1045" y="1154"/>
                  </a:lnTo>
                  <a:lnTo>
                    <a:pt x="1039" y="1154"/>
                  </a:lnTo>
                  <a:lnTo>
                    <a:pt x="1039" y="1154"/>
                  </a:lnTo>
                  <a:lnTo>
                    <a:pt x="1038" y="1154"/>
                  </a:lnTo>
                  <a:lnTo>
                    <a:pt x="1038"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4"/>
                  </a:lnTo>
                  <a:lnTo>
                    <a:pt x="1037" y="1155"/>
                  </a:lnTo>
                  <a:lnTo>
                    <a:pt x="1037" y="1155"/>
                  </a:lnTo>
                  <a:lnTo>
                    <a:pt x="1037" y="1155"/>
                  </a:lnTo>
                  <a:lnTo>
                    <a:pt x="1037" y="1155"/>
                  </a:lnTo>
                  <a:lnTo>
                    <a:pt x="1037" y="1155"/>
                  </a:lnTo>
                  <a:lnTo>
                    <a:pt x="1028" y="1155"/>
                  </a:lnTo>
                  <a:lnTo>
                    <a:pt x="1028" y="1155"/>
                  </a:lnTo>
                  <a:lnTo>
                    <a:pt x="1023" y="1155"/>
                  </a:lnTo>
                  <a:lnTo>
                    <a:pt x="1023" y="1155"/>
                  </a:lnTo>
                  <a:lnTo>
                    <a:pt x="1020" y="1155"/>
                  </a:lnTo>
                  <a:lnTo>
                    <a:pt x="1020" y="1155"/>
                  </a:lnTo>
                  <a:lnTo>
                    <a:pt x="1017" y="1155"/>
                  </a:lnTo>
                  <a:lnTo>
                    <a:pt x="1017" y="1155"/>
                  </a:lnTo>
                  <a:lnTo>
                    <a:pt x="1015" y="1155"/>
                  </a:lnTo>
                  <a:lnTo>
                    <a:pt x="1015" y="1155"/>
                  </a:lnTo>
                  <a:lnTo>
                    <a:pt x="1013" y="1155"/>
                  </a:lnTo>
                  <a:lnTo>
                    <a:pt x="1013" y="1155"/>
                  </a:lnTo>
                  <a:lnTo>
                    <a:pt x="1011" y="1155"/>
                  </a:lnTo>
                  <a:lnTo>
                    <a:pt x="1011" y="1155"/>
                  </a:lnTo>
                  <a:lnTo>
                    <a:pt x="1010" y="1155"/>
                  </a:lnTo>
                  <a:lnTo>
                    <a:pt x="1010" y="1155"/>
                  </a:lnTo>
                  <a:lnTo>
                    <a:pt x="1009" y="1155"/>
                  </a:lnTo>
                  <a:lnTo>
                    <a:pt x="1009" y="1155"/>
                  </a:lnTo>
                  <a:lnTo>
                    <a:pt x="1008" y="1155"/>
                  </a:lnTo>
                  <a:lnTo>
                    <a:pt x="1008" y="1155"/>
                  </a:lnTo>
                  <a:lnTo>
                    <a:pt x="1007" y="1155"/>
                  </a:lnTo>
                  <a:lnTo>
                    <a:pt x="1007" y="1155"/>
                  </a:lnTo>
                  <a:lnTo>
                    <a:pt x="1006" y="1155"/>
                  </a:lnTo>
                  <a:lnTo>
                    <a:pt x="1006" y="1155"/>
                  </a:lnTo>
                  <a:lnTo>
                    <a:pt x="1006" y="1155"/>
                  </a:lnTo>
                  <a:lnTo>
                    <a:pt x="1006"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5"/>
                  </a:lnTo>
                  <a:lnTo>
                    <a:pt x="1005" y="1156"/>
                  </a:lnTo>
                  <a:lnTo>
                    <a:pt x="1005" y="1156"/>
                  </a:lnTo>
                  <a:lnTo>
                    <a:pt x="1005" y="1156"/>
                  </a:lnTo>
                  <a:lnTo>
                    <a:pt x="1005" y="1156"/>
                  </a:lnTo>
                  <a:lnTo>
                    <a:pt x="1005"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6"/>
                  </a:lnTo>
                  <a:lnTo>
                    <a:pt x="1004" y="1157"/>
                  </a:lnTo>
                  <a:lnTo>
                    <a:pt x="1004" y="1157"/>
                  </a:lnTo>
                  <a:lnTo>
                    <a:pt x="1004" y="1158"/>
                  </a:lnTo>
                  <a:lnTo>
                    <a:pt x="1004" y="1158"/>
                  </a:lnTo>
                  <a:lnTo>
                    <a:pt x="1004" y="1164"/>
                  </a:lnTo>
                  <a:lnTo>
                    <a:pt x="1004" y="1164"/>
                  </a:lnTo>
                  <a:lnTo>
                    <a:pt x="1004" y="1164"/>
                  </a:lnTo>
                  <a:lnTo>
                    <a:pt x="1004" y="1164"/>
                  </a:lnTo>
                  <a:lnTo>
                    <a:pt x="1004" y="1167"/>
                  </a:lnTo>
                  <a:lnTo>
                    <a:pt x="1003" y="1167"/>
                  </a:lnTo>
                  <a:lnTo>
                    <a:pt x="1003" y="1167"/>
                  </a:lnTo>
                  <a:lnTo>
                    <a:pt x="1002" y="1167"/>
                  </a:lnTo>
                  <a:lnTo>
                    <a:pt x="1002" y="1167"/>
                  </a:lnTo>
                  <a:lnTo>
                    <a:pt x="1002" y="1167"/>
                  </a:lnTo>
                  <a:lnTo>
                    <a:pt x="1002" y="1167"/>
                  </a:lnTo>
                  <a:lnTo>
                    <a:pt x="1002" y="1167"/>
                  </a:lnTo>
                  <a:lnTo>
                    <a:pt x="1002" y="1169"/>
                  </a:lnTo>
                  <a:lnTo>
                    <a:pt x="1002" y="1169"/>
                  </a:lnTo>
                  <a:lnTo>
                    <a:pt x="1002" y="1169"/>
                  </a:lnTo>
                  <a:lnTo>
                    <a:pt x="1002" y="1169"/>
                  </a:lnTo>
                  <a:lnTo>
                    <a:pt x="1002" y="1169"/>
                  </a:lnTo>
                  <a:lnTo>
                    <a:pt x="1002" y="1169"/>
                  </a:lnTo>
                  <a:lnTo>
                    <a:pt x="1002" y="1169"/>
                  </a:lnTo>
                  <a:lnTo>
                    <a:pt x="1002" y="1169"/>
                  </a:lnTo>
                  <a:lnTo>
                    <a:pt x="1002" y="1173"/>
                  </a:lnTo>
                  <a:lnTo>
                    <a:pt x="991" y="1173"/>
                  </a:lnTo>
                  <a:lnTo>
                    <a:pt x="991" y="1173"/>
                  </a:lnTo>
                  <a:lnTo>
                    <a:pt x="990" y="1173"/>
                  </a:lnTo>
                  <a:lnTo>
                    <a:pt x="990" y="1173"/>
                  </a:lnTo>
                  <a:lnTo>
                    <a:pt x="989" y="1173"/>
                  </a:lnTo>
                  <a:lnTo>
                    <a:pt x="989" y="1173"/>
                  </a:lnTo>
                  <a:lnTo>
                    <a:pt x="989" y="1173"/>
                  </a:lnTo>
                  <a:lnTo>
                    <a:pt x="989" y="1173"/>
                  </a:lnTo>
                  <a:lnTo>
                    <a:pt x="989" y="1173"/>
                  </a:lnTo>
                  <a:lnTo>
                    <a:pt x="989" y="1173"/>
                  </a:lnTo>
                  <a:lnTo>
                    <a:pt x="989" y="1173"/>
                  </a:lnTo>
                  <a:lnTo>
                    <a:pt x="989" y="1173"/>
                  </a:lnTo>
                  <a:lnTo>
                    <a:pt x="989" y="1173"/>
                  </a:lnTo>
                  <a:lnTo>
                    <a:pt x="989" y="1175"/>
                  </a:lnTo>
                  <a:lnTo>
                    <a:pt x="989" y="1175"/>
                  </a:lnTo>
                  <a:lnTo>
                    <a:pt x="989" y="1175"/>
                  </a:lnTo>
                  <a:lnTo>
                    <a:pt x="965" y="1175"/>
                  </a:lnTo>
                  <a:lnTo>
                    <a:pt x="965" y="1175"/>
                  </a:lnTo>
                  <a:lnTo>
                    <a:pt x="958" y="1175"/>
                  </a:lnTo>
                  <a:lnTo>
                    <a:pt x="958" y="1175"/>
                  </a:lnTo>
                  <a:lnTo>
                    <a:pt x="957" y="1175"/>
                  </a:lnTo>
                  <a:lnTo>
                    <a:pt x="957" y="1175"/>
                  </a:lnTo>
                  <a:lnTo>
                    <a:pt x="957" y="1175"/>
                  </a:lnTo>
                  <a:lnTo>
                    <a:pt x="957" y="1176"/>
                  </a:lnTo>
                  <a:lnTo>
                    <a:pt x="955" y="1176"/>
                  </a:lnTo>
                  <a:lnTo>
                    <a:pt x="955" y="1176"/>
                  </a:lnTo>
                  <a:lnTo>
                    <a:pt x="955" y="1176"/>
                  </a:lnTo>
                  <a:lnTo>
                    <a:pt x="955" y="1176"/>
                  </a:lnTo>
                  <a:lnTo>
                    <a:pt x="955" y="1176"/>
                  </a:lnTo>
                  <a:lnTo>
                    <a:pt x="955" y="1177"/>
                  </a:lnTo>
                  <a:lnTo>
                    <a:pt x="955" y="1177"/>
                  </a:lnTo>
                  <a:lnTo>
                    <a:pt x="955" y="1177"/>
                  </a:lnTo>
                  <a:lnTo>
                    <a:pt x="955" y="1177"/>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1"/>
                  </a:lnTo>
                  <a:lnTo>
                    <a:pt x="955" y="1183"/>
                  </a:lnTo>
                  <a:lnTo>
                    <a:pt x="955" y="1183"/>
                  </a:lnTo>
                  <a:lnTo>
                    <a:pt x="955" y="1183"/>
                  </a:lnTo>
                  <a:lnTo>
                    <a:pt x="955" y="1183"/>
                  </a:lnTo>
                  <a:lnTo>
                    <a:pt x="955" y="1183"/>
                  </a:lnTo>
                  <a:lnTo>
                    <a:pt x="952" y="1183"/>
                  </a:lnTo>
                  <a:lnTo>
                    <a:pt x="952" y="1183"/>
                  </a:lnTo>
                  <a:lnTo>
                    <a:pt x="952" y="1183"/>
                  </a:lnTo>
                  <a:lnTo>
                    <a:pt x="952" y="1183"/>
                  </a:lnTo>
                  <a:lnTo>
                    <a:pt x="951" y="1183"/>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4"/>
                  </a:lnTo>
                  <a:lnTo>
                    <a:pt x="951" y="1185"/>
                  </a:lnTo>
                  <a:lnTo>
                    <a:pt x="951" y="1185"/>
                  </a:lnTo>
                  <a:lnTo>
                    <a:pt x="951" y="1185"/>
                  </a:lnTo>
                  <a:lnTo>
                    <a:pt x="950" y="1185"/>
                  </a:lnTo>
                  <a:lnTo>
                    <a:pt x="950" y="1185"/>
                  </a:lnTo>
                  <a:lnTo>
                    <a:pt x="950" y="1185"/>
                  </a:lnTo>
                  <a:lnTo>
                    <a:pt x="950" y="1185"/>
                  </a:lnTo>
                  <a:lnTo>
                    <a:pt x="950" y="1185"/>
                  </a:lnTo>
                  <a:lnTo>
                    <a:pt x="950"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5"/>
                  </a:lnTo>
                  <a:lnTo>
                    <a:pt x="949"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6"/>
                  </a:lnTo>
                  <a:lnTo>
                    <a:pt x="948" y="1187"/>
                  </a:lnTo>
                  <a:lnTo>
                    <a:pt x="948" y="1187"/>
                  </a:lnTo>
                  <a:lnTo>
                    <a:pt x="948"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7" y="1189"/>
                  </a:lnTo>
                  <a:lnTo>
                    <a:pt x="946" y="1189"/>
                  </a:lnTo>
                  <a:lnTo>
                    <a:pt x="946" y="1189"/>
                  </a:lnTo>
                  <a:lnTo>
                    <a:pt x="946" y="1189"/>
                  </a:lnTo>
                  <a:lnTo>
                    <a:pt x="946" y="1189"/>
                  </a:lnTo>
                  <a:lnTo>
                    <a:pt x="946" y="1189"/>
                  </a:lnTo>
                  <a:lnTo>
                    <a:pt x="946" y="1189"/>
                  </a:lnTo>
                  <a:lnTo>
                    <a:pt x="946" y="1189"/>
                  </a:lnTo>
                  <a:lnTo>
                    <a:pt x="946" y="1190"/>
                  </a:lnTo>
                  <a:lnTo>
                    <a:pt x="945" y="1190"/>
                  </a:lnTo>
                  <a:lnTo>
                    <a:pt x="945" y="1190"/>
                  </a:lnTo>
                  <a:lnTo>
                    <a:pt x="945" y="1190"/>
                  </a:lnTo>
                  <a:lnTo>
                    <a:pt x="945" y="1190"/>
                  </a:lnTo>
                  <a:lnTo>
                    <a:pt x="944" y="1190"/>
                  </a:lnTo>
                  <a:lnTo>
                    <a:pt x="944" y="1190"/>
                  </a:lnTo>
                  <a:lnTo>
                    <a:pt x="943" y="1190"/>
                  </a:lnTo>
                  <a:lnTo>
                    <a:pt x="943" y="1190"/>
                  </a:lnTo>
                  <a:lnTo>
                    <a:pt x="943" y="1190"/>
                  </a:lnTo>
                  <a:lnTo>
                    <a:pt x="943" y="1190"/>
                  </a:lnTo>
                  <a:lnTo>
                    <a:pt x="943" y="1190"/>
                  </a:lnTo>
                  <a:lnTo>
                    <a:pt x="943" y="1190"/>
                  </a:lnTo>
                  <a:lnTo>
                    <a:pt x="943" y="1190"/>
                  </a:lnTo>
                  <a:lnTo>
                    <a:pt x="943" y="1190"/>
                  </a:lnTo>
                  <a:lnTo>
                    <a:pt x="943" y="1190"/>
                  </a:lnTo>
                  <a:lnTo>
                    <a:pt x="943" y="1192"/>
                  </a:lnTo>
                  <a:lnTo>
                    <a:pt x="938" y="1192"/>
                  </a:lnTo>
                  <a:lnTo>
                    <a:pt x="938" y="1192"/>
                  </a:lnTo>
                  <a:lnTo>
                    <a:pt x="936" y="1192"/>
                  </a:lnTo>
                  <a:lnTo>
                    <a:pt x="936" y="1192"/>
                  </a:lnTo>
                  <a:lnTo>
                    <a:pt x="936" y="1192"/>
                  </a:lnTo>
                  <a:lnTo>
                    <a:pt x="936" y="1192"/>
                  </a:lnTo>
                  <a:lnTo>
                    <a:pt x="935" y="1192"/>
                  </a:lnTo>
                  <a:lnTo>
                    <a:pt x="935" y="1192"/>
                  </a:lnTo>
                  <a:lnTo>
                    <a:pt x="935" y="1192"/>
                  </a:lnTo>
                  <a:lnTo>
                    <a:pt x="935" y="1192"/>
                  </a:lnTo>
                  <a:lnTo>
                    <a:pt x="935" y="1192"/>
                  </a:lnTo>
                  <a:lnTo>
                    <a:pt x="935" y="1192"/>
                  </a:lnTo>
                  <a:lnTo>
                    <a:pt x="934" y="1192"/>
                  </a:lnTo>
                  <a:lnTo>
                    <a:pt x="934" y="1192"/>
                  </a:lnTo>
                  <a:lnTo>
                    <a:pt x="933" y="1192"/>
                  </a:lnTo>
                  <a:lnTo>
                    <a:pt x="933" y="1196"/>
                  </a:lnTo>
                  <a:lnTo>
                    <a:pt x="933" y="1196"/>
                  </a:lnTo>
                  <a:lnTo>
                    <a:pt x="933" y="1196"/>
                  </a:lnTo>
                  <a:lnTo>
                    <a:pt x="933" y="1196"/>
                  </a:lnTo>
                  <a:lnTo>
                    <a:pt x="933" y="1196"/>
                  </a:lnTo>
                  <a:lnTo>
                    <a:pt x="933" y="1196"/>
                  </a:lnTo>
                  <a:lnTo>
                    <a:pt x="933"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6"/>
                  </a:lnTo>
                  <a:lnTo>
                    <a:pt x="932" y="1197"/>
                  </a:lnTo>
                  <a:lnTo>
                    <a:pt x="932" y="1197"/>
                  </a:lnTo>
                  <a:lnTo>
                    <a:pt x="932" y="1198"/>
                  </a:lnTo>
                  <a:lnTo>
                    <a:pt x="931" y="1198"/>
                  </a:lnTo>
                  <a:lnTo>
                    <a:pt x="931" y="1199"/>
                  </a:lnTo>
                  <a:lnTo>
                    <a:pt x="929" y="1199"/>
                  </a:lnTo>
                  <a:lnTo>
                    <a:pt x="929" y="1199"/>
                  </a:lnTo>
                  <a:lnTo>
                    <a:pt x="928" y="1199"/>
                  </a:lnTo>
                  <a:lnTo>
                    <a:pt x="928" y="1201"/>
                  </a:lnTo>
                  <a:lnTo>
                    <a:pt x="923" y="1201"/>
                  </a:lnTo>
                  <a:lnTo>
                    <a:pt x="923" y="1201"/>
                  </a:lnTo>
                  <a:lnTo>
                    <a:pt x="920" y="1201"/>
                  </a:lnTo>
                  <a:lnTo>
                    <a:pt x="920" y="1201"/>
                  </a:lnTo>
                  <a:lnTo>
                    <a:pt x="918" y="1201"/>
                  </a:lnTo>
                  <a:lnTo>
                    <a:pt x="918" y="1201"/>
                  </a:lnTo>
                  <a:lnTo>
                    <a:pt x="917" y="1201"/>
                  </a:lnTo>
                  <a:lnTo>
                    <a:pt x="917" y="1201"/>
                  </a:lnTo>
                  <a:lnTo>
                    <a:pt x="916" y="1201"/>
                  </a:lnTo>
                  <a:lnTo>
                    <a:pt x="916" y="1201"/>
                  </a:lnTo>
                  <a:lnTo>
                    <a:pt x="915" y="1201"/>
                  </a:lnTo>
                  <a:lnTo>
                    <a:pt x="915" y="1201"/>
                  </a:lnTo>
                  <a:lnTo>
                    <a:pt x="915" y="1201"/>
                  </a:lnTo>
                  <a:lnTo>
                    <a:pt x="915" y="1201"/>
                  </a:lnTo>
                  <a:lnTo>
                    <a:pt x="914" y="1201"/>
                  </a:lnTo>
                  <a:lnTo>
                    <a:pt x="914" y="1201"/>
                  </a:lnTo>
                  <a:lnTo>
                    <a:pt x="914" y="1201"/>
                  </a:lnTo>
                  <a:lnTo>
                    <a:pt x="914" y="1201"/>
                  </a:lnTo>
                  <a:lnTo>
                    <a:pt x="914" y="1201"/>
                  </a:lnTo>
                  <a:lnTo>
                    <a:pt x="914"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1"/>
                  </a:lnTo>
                  <a:lnTo>
                    <a:pt x="913" y="1202"/>
                  </a:lnTo>
                  <a:lnTo>
                    <a:pt x="913" y="1202"/>
                  </a:lnTo>
                  <a:lnTo>
                    <a:pt x="913" y="1202"/>
                  </a:lnTo>
                  <a:lnTo>
                    <a:pt x="912" y="1202"/>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2" y="1204"/>
                  </a:lnTo>
                  <a:lnTo>
                    <a:pt x="910" y="1204"/>
                  </a:lnTo>
                  <a:lnTo>
                    <a:pt x="910" y="1204"/>
                  </a:lnTo>
                  <a:lnTo>
                    <a:pt x="910" y="1204"/>
                  </a:lnTo>
                  <a:lnTo>
                    <a:pt x="910" y="1204"/>
                  </a:lnTo>
                  <a:lnTo>
                    <a:pt x="909" y="1204"/>
                  </a:lnTo>
                  <a:lnTo>
                    <a:pt x="909" y="1205"/>
                  </a:lnTo>
                  <a:lnTo>
                    <a:pt x="907" y="1205"/>
                  </a:lnTo>
                  <a:lnTo>
                    <a:pt x="907" y="1207"/>
                  </a:lnTo>
                  <a:lnTo>
                    <a:pt x="902" y="1207"/>
                  </a:lnTo>
                  <a:lnTo>
                    <a:pt x="902" y="1207"/>
                  </a:lnTo>
                  <a:lnTo>
                    <a:pt x="900" y="1207"/>
                  </a:lnTo>
                  <a:lnTo>
                    <a:pt x="900" y="1207"/>
                  </a:lnTo>
                  <a:lnTo>
                    <a:pt x="900" y="1207"/>
                  </a:lnTo>
                  <a:lnTo>
                    <a:pt x="900" y="1207"/>
                  </a:lnTo>
                  <a:lnTo>
                    <a:pt x="899" y="1207"/>
                  </a:lnTo>
                  <a:lnTo>
                    <a:pt x="899" y="1207"/>
                  </a:lnTo>
                  <a:lnTo>
                    <a:pt x="899" y="1207"/>
                  </a:lnTo>
                  <a:lnTo>
                    <a:pt x="899" y="1207"/>
                  </a:lnTo>
                  <a:lnTo>
                    <a:pt x="899" y="1207"/>
                  </a:lnTo>
                  <a:lnTo>
                    <a:pt x="899" y="1207"/>
                  </a:lnTo>
                  <a:lnTo>
                    <a:pt x="899" y="1207"/>
                  </a:lnTo>
                  <a:lnTo>
                    <a:pt x="899" y="1208"/>
                  </a:lnTo>
                  <a:lnTo>
                    <a:pt x="899" y="1208"/>
                  </a:lnTo>
                  <a:lnTo>
                    <a:pt x="899" y="1210"/>
                  </a:lnTo>
                  <a:lnTo>
                    <a:pt x="896" y="1210"/>
                  </a:lnTo>
                  <a:lnTo>
                    <a:pt x="896" y="1210"/>
                  </a:lnTo>
                  <a:lnTo>
                    <a:pt x="894" y="1210"/>
                  </a:lnTo>
                  <a:lnTo>
                    <a:pt x="894" y="1210"/>
                  </a:lnTo>
                  <a:lnTo>
                    <a:pt x="893" y="1210"/>
                  </a:lnTo>
                  <a:lnTo>
                    <a:pt x="893" y="1210"/>
                  </a:lnTo>
                  <a:lnTo>
                    <a:pt x="892" y="1210"/>
                  </a:lnTo>
                  <a:lnTo>
                    <a:pt x="892" y="1210"/>
                  </a:lnTo>
                  <a:lnTo>
                    <a:pt x="892" y="1210"/>
                  </a:lnTo>
                  <a:lnTo>
                    <a:pt x="892" y="1210"/>
                  </a:lnTo>
                  <a:lnTo>
                    <a:pt x="891" y="1210"/>
                  </a:lnTo>
                  <a:lnTo>
                    <a:pt x="891" y="1210"/>
                  </a:lnTo>
                  <a:lnTo>
                    <a:pt x="891" y="1210"/>
                  </a:lnTo>
                  <a:lnTo>
                    <a:pt x="891" y="1210"/>
                  </a:lnTo>
                  <a:lnTo>
                    <a:pt x="890" y="1210"/>
                  </a:lnTo>
                  <a:lnTo>
                    <a:pt x="890" y="1210"/>
                  </a:lnTo>
                  <a:lnTo>
                    <a:pt x="890" y="1210"/>
                  </a:lnTo>
                  <a:lnTo>
                    <a:pt x="890" y="1210"/>
                  </a:lnTo>
                  <a:lnTo>
                    <a:pt x="889" y="1210"/>
                  </a:lnTo>
                  <a:lnTo>
                    <a:pt x="889" y="1210"/>
                  </a:lnTo>
                  <a:lnTo>
                    <a:pt x="889" y="1210"/>
                  </a:lnTo>
                  <a:lnTo>
                    <a:pt x="889" y="1210"/>
                  </a:lnTo>
                  <a:lnTo>
                    <a:pt x="889" y="1210"/>
                  </a:lnTo>
                  <a:lnTo>
                    <a:pt x="889"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0"/>
                  </a:lnTo>
                  <a:lnTo>
                    <a:pt x="888" y="1211"/>
                  </a:lnTo>
                  <a:lnTo>
                    <a:pt x="887" y="1211"/>
                  </a:lnTo>
                  <a:lnTo>
                    <a:pt x="887" y="1211"/>
                  </a:lnTo>
                  <a:lnTo>
                    <a:pt x="887" y="1211"/>
                  </a:lnTo>
                  <a:lnTo>
                    <a:pt x="887" y="1211"/>
                  </a:lnTo>
                  <a:lnTo>
                    <a:pt x="887" y="1211"/>
                  </a:lnTo>
                  <a:lnTo>
                    <a:pt x="887" y="1212"/>
                  </a:lnTo>
                  <a:lnTo>
                    <a:pt x="887" y="1212"/>
                  </a:lnTo>
                  <a:lnTo>
                    <a:pt x="887"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3"/>
                  </a:lnTo>
                  <a:lnTo>
                    <a:pt x="886" y="1214"/>
                  </a:lnTo>
                  <a:lnTo>
                    <a:pt x="885" y="1214"/>
                  </a:lnTo>
                  <a:lnTo>
                    <a:pt x="885" y="1214"/>
                  </a:lnTo>
                  <a:lnTo>
                    <a:pt x="884" y="1214"/>
                  </a:lnTo>
                  <a:lnTo>
                    <a:pt x="884" y="1214"/>
                  </a:lnTo>
                  <a:lnTo>
                    <a:pt x="884" y="1214"/>
                  </a:lnTo>
                  <a:lnTo>
                    <a:pt x="884" y="1214"/>
                  </a:lnTo>
                  <a:lnTo>
                    <a:pt x="883" y="1214"/>
                  </a:lnTo>
                  <a:lnTo>
                    <a:pt x="883" y="1214"/>
                  </a:lnTo>
                  <a:lnTo>
                    <a:pt x="883" y="1214"/>
                  </a:lnTo>
                  <a:lnTo>
                    <a:pt x="883" y="1214"/>
                  </a:lnTo>
                  <a:lnTo>
                    <a:pt x="883" y="1214"/>
                  </a:lnTo>
                  <a:lnTo>
                    <a:pt x="883" y="1214"/>
                  </a:lnTo>
                  <a:lnTo>
                    <a:pt x="883" y="1214"/>
                  </a:lnTo>
                  <a:lnTo>
                    <a:pt x="883" y="1214"/>
                  </a:lnTo>
                  <a:lnTo>
                    <a:pt x="883" y="1214"/>
                  </a:lnTo>
                  <a:lnTo>
                    <a:pt x="883"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4"/>
                  </a:lnTo>
                  <a:lnTo>
                    <a:pt x="882" y="1216"/>
                  </a:lnTo>
                  <a:lnTo>
                    <a:pt x="882" y="1216"/>
                  </a:lnTo>
                  <a:lnTo>
                    <a:pt x="882" y="1216"/>
                  </a:lnTo>
                  <a:lnTo>
                    <a:pt x="881" y="1216"/>
                  </a:lnTo>
                  <a:lnTo>
                    <a:pt x="881" y="1216"/>
                  </a:lnTo>
                  <a:lnTo>
                    <a:pt x="881" y="1216"/>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7"/>
                  </a:lnTo>
                  <a:lnTo>
                    <a:pt x="881" y="1218"/>
                  </a:lnTo>
                  <a:lnTo>
                    <a:pt x="881" y="1218"/>
                  </a:lnTo>
                  <a:lnTo>
                    <a:pt x="881" y="1218"/>
                  </a:lnTo>
                  <a:lnTo>
                    <a:pt x="852" y="1218"/>
                  </a:lnTo>
                  <a:lnTo>
                    <a:pt x="852" y="1218"/>
                  </a:lnTo>
                  <a:lnTo>
                    <a:pt x="851" y="1218"/>
                  </a:lnTo>
                  <a:lnTo>
                    <a:pt x="851" y="1218"/>
                  </a:lnTo>
                  <a:lnTo>
                    <a:pt x="851" y="1218"/>
                  </a:lnTo>
                  <a:lnTo>
                    <a:pt x="851" y="1218"/>
                  </a:lnTo>
                  <a:lnTo>
                    <a:pt x="851" y="1218"/>
                  </a:lnTo>
                  <a:lnTo>
                    <a:pt x="851" y="1218"/>
                  </a:lnTo>
                  <a:lnTo>
                    <a:pt x="851" y="1218"/>
                  </a:lnTo>
                  <a:lnTo>
                    <a:pt x="851" y="1219"/>
                  </a:lnTo>
                  <a:lnTo>
                    <a:pt x="851" y="1219"/>
                  </a:lnTo>
                  <a:lnTo>
                    <a:pt x="851" y="1219"/>
                  </a:lnTo>
                  <a:lnTo>
                    <a:pt x="851" y="1219"/>
                  </a:lnTo>
                  <a:lnTo>
                    <a:pt x="851" y="899"/>
                  </a:lnTo>
                  <a:lnTo>
                    <a:pt x="851" y="899"/>
                  </a:lnTo>
                  <a:lnTo>
                    <a:pt x="851" y="1220"/>
                  </a:lnTo>
                  <a:lnTo>
                    <a:pt x="850" y="1220"/>
                  </a:lnTo>
                  <a:lnTo>
                    <a:pt x="850" y="1220"/>
                  </a:lnTo>
                  <a:lnTo>
                    <a:pt x="849" y="1220"/>
                  </a:lnTo>
                  <a:lnTo>
                    <a:pt x="849" y="1220"/>
                  </a:lnTo>
                  <a:lnTo>
                    <a:pt x="848" y="1220"/>
                  </a:lnTo>
                  <a:lnTo>
                    <a:pt x="848" y="1220"/>
                  </a:lnTo>
                  <a:lnTo>
                    <a:pt x="848" y="1220"/>
                  </a:lnTo>
                  <a:lnTo>
                    <a:pt x="848" y="1220"/>
                  </a:lnTo>
                  <a:lnTo>
                    <a:pt x="848" y="1220"/>
                  </a:lnTo>
                  <a:lnTo>
                    <a:pt x="848" y="1220"/>
                  </a:lnTo>
                  <a:lnTo>
                    <a:pt x="848" y="1220"/>
                  </a:lnTo>
                  <a:lnTo>
                    <a:pt x="848"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0"/>
                  </a:lnTo>
                  <a:lnTo>
                    <a:pt x="847" y="1224"/>
                  </a:lnTo>
                  <a:lnTo>
                    <a:pt x="847" y="1224"/>
                  </a:lnTo>
                  <a:lnTo>
                    <a:pt x="847" y="1226"/>
                  </a:lnTo>
                  <a:lnTo>
                    <a:pt x="846" y="1226"/>
                  </a:lnTo>
                  <a:lnTo>
                    <a:pt x="846" y="1226"/>
                  </a:lnTo>
                  <a:lnTo>
                    <a:pt x="845" y="1226"/>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7"/>
                  </a:lnTo>
                  <a:lnTo>
                    <a:pt x="845" y="1229"/>
                  </a:lnTo>
                  <a:lnTo>
                    <a:pt x="845" y="1229"/>
                  </a:lnTo>
                  <a:lnTo>
                    <a:pt x="845" y="1230"/>
                  </a:lnTo>
                  <a:lnTo>
                    <a:pt x="838" y="1230"/>
                  </a:lnTo>
                  <a:lnTo>
                    <a:pt x="838" y="1230"/>
                  </a:lnTo>
                  <a:lnTo>
                    <a:pt x="837" y="1230"/>
                  </a:lnTo>
                  <a:lnTo>
                    <a:pt x="837"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0"/>
                  </a:lnTo>
                  <a:lnTo>
                    <a:pt x="836" y="1233"/>
                  </a:lnTo>
                  <a:lnTo>
                    <a:pt x="836" y="1233"/>
                  </a:lnTo>
                  <a:lnTo>
                    <a:pt x="836" y="1233"/>
                  </a:lnTo>
                  <a:lnTo>
                    <a:pt x="836" y="1233"/>
                  </a:lnTo>
                  <a:lnTo>
                    <a:pt x="836" y="1236"/>
                  </a:lnTo>
                  <a:lnTo>
                    <a:pt x="835" y="1236"/>
                  </a:lnTo>
                  <a:lnTo>
                    <a:pt x="835" y="1236"/>
                  </a:lnTo>
                  <a:lnTo>
                    <a:pt x="835" y="1236"/>
                  </a:lnTo>
                  <a:lnTo>
                    <a:pt x="835" y="1236"/>
                  </a:lnTo>
                  <a:lnTo>
                    <a:pt x="835" y="1236"/>
                  </a:lnTo>
                  <a:lnTo>
                    <a:pt x="835" y="1236"/>
                  </a:lnTo>
                  <a:lnTo>
                    <a:pt x="829" y="1236"/>
                  </a:lnTo>
                  <a:lnTo>
                    <a:pt x="829"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0"/>
                  </a:lnTo>
                  <a:lnTo>
                    <a:pt x="828" y="1241"/>
                  </a:lnTo>
                  <a:lnTo>
                    <a:pt x="828" y="1241"/>
                  </a:lnTo>
                  <a:lnTo>
                    <a:pt x="828" y="1242"/>
                  </a:lnTo>
                  <a:lnTo>
                    <a:pt x="828" y="1242"/>
                  </a:lnTo>
                  <a:lnTo>
                    <a:pt x="828" y="1242"/>
                  </a:lnTo>
                  <a:lnTo>
                    <a:pt x="828" y="1242"/>
                  </a:lnTo>
                  <a:lnTo>
                    <a:pt x="828" y="1242"/>
                  </a:lnTo>
                  <a:lnTo>
                    <a:pt x="828" y="1242"/>
                  </a:lnTo>
                  <a:lnTo>
                    <a:pt x="828" y="1242"/>
                  </a:lnTo>
                  <a:lnTo>
                    <a:pt x="827" y="1242"/>
                  </a:lnTo>
                  <a:lnTo>
                    <a:pt x="827" y="1243"/>
                  </a:lnTo>
                  <a:lnTo>
                    <a:pt x="827" y="1243"/>
                  </a:lnTo>
                  <a:lnTo>
                    <a:pt x="827" y="1243"/>
                  </a:lnTo>
                  <a:lnTo>
                    <a:pt x="827" y="1243"/>
                  </a:lnTo>
                  <a:lnTo>
                    <a:pt x="827" y="1245"/>
                  </a:lnTo>
                  <a:lnTo>
                    <a:pt x="819" y="1245"/>
                  </a:lnTo>
                  <a:lnTo>
                    <a:pt x="819" y="1245"/>
                  </a:lnTo>
                  <a:lnTo>
                    <a:pt x="813" y="1245"/>
                  </a:lnTo>
                  <a:lnTo>
                    <a:pt x="813" y="1245"/>
                  </a:lnTo>
                  <a:lnTo>
                    <a:pt x="811" y="1245"/>
                  </a:lnTo>
                  <a:lnTo>
                    <a:pt x="811" y="1245"/>
                  </a:lnTo>
                  <a:lnTo>
                    <a:pt x="810" y="1245"/>
                  </a:lnTo>
                  <a:lnTo>
                    <a:pt x="810" y="1245"/>
                  </a:lnTo>
                  <a:lnTo>
                    <a:pt x="808" y="1245"/>
                  </a:lnTo>
                  <a:lnTo>
                    <a:pt x="808" y="1245"/>
                  </a:lnTo>
                  <a:lnTo>
                    <a:pt x="806" y="1245"/>
                  </a:lnTo>
                  <a:lnTo>
                    <a:pt x="806" y="1245"/>
                  </a:lnTo>
                  <a:lnTo>
                    <a:pt x="805" y="1245"/>
                  </a:lnTo>
                  <a:lnTo>
                    <a:pt x="805" y="1245"/>
                  </a:lnTo>
                  <a:lnTo>
                    <a:pt x="804" y="1245"/>
                  </a:lnTo>
                  <a:lnTo>
                    <a:pt x="804" y="1245"/>
                  </a:lnTo>
                  <a:lnTo>
                    <a:pt x="803" y="1245"/>
                  </a:lnTo>
                  <a:lnTo>
                    <a:pt x="803" y="1245"/>
                  </a:lnTo>
                  <a:lnTo>
                    <a:pt x="802" y="1245"/>
                  </a:lnTo>
                  <a:lnTo>
                    <a:pt x="802" y="1245"/>
                  </a:lnTo>
                  <a:lnTo>
                    <a:pt x="802" y="1245"/>
                  </a:lnTo>
                  <a:lnTo>
                    <a:pt x="802" y="1245"/>
                  </a:lnTo>
                  <a:lnTo>
                    <a:pt x="802" y="1245"/>
                  </a:lnTo>
                  <a:lnTo>
                    <a:pt x="802" y="1245"/>
                  </a:lnTo>
                  <a:lnTo>
                    <a:pt x="802" y="1245"/>
                  </a:lnTo>
                  <a:lnTo>
                    <a:pt x="802" y="1245"/>
                  </a:lnTo>
                  <a:lnTo>
                    <a:pt x="801" y="1245"/>
                  </a:lnTo>
                  <a:lnTo>
                    <a:pt x="801" y="1245"/>
                  </a:lnTo>
                  <a:lnTo>
                    <a:pt x="801" y="1245"/>
                  </a:lnTo>
                  <a:lnTo>
                    <a:pt x="801" y="1245"/>
                  </a:lnTo>
                  <a:lnTo>
                    <a:pt x="801" y="1245"/>
                  </a:lnTo>
                  <a:lnTo>
                    <a:pt x="801" y="1245"/>
                  </a:lnTo>
                  <a:lnTo>
                    <a:pt x="801" y="1245"/>
                  </a:lnTo>
                  <a:lnTo>
                    <a:pt x="801" y="1245"/>
                  </a:lnTo>
                  <a:lnTo>
                    <a:pt x="801" y="1245"/>
                  </a:lnTo>
                  <a:lnTo>
                    <a:pt x="801" y="1246"/>
                  </a:lnTo>
                  <a:lnTo>
                    <a:pt x="801" y="1246"/>
                  </a:lnTo>
                  <a:lnTo>
                    <a:pt x="801" y="1246"/>
                  </a:lnTo>
                  <a:lnTo>
                    <a:pt x="800" y="1246"/>
                  </a:lnTo>
                  <a:lnTo>
                    <a:pt x="800" y="1246"/>
                  </a:lnTo>
                  <a:lnTo>
                    <a:pt x="800" y="1246"/>
                  </a:lnTo>
                  <a:lnTo>
                    <a:pt x="800" y="1246"/>
                  </a:lnTo>
                  <a:lnTo>
                    <a:pt x="800" y="1246"/>
                  </a:lnTo>
                  <a:lnTo>
                    <a:pt x="800" y="1246"/>
                  </a:lnTo>
                  <a:lnTo>
                    <a:pt x="800" y="1246"/>
                  </a:lnTo>
                  <a:lnTo>
                    <a:pt x="800" y="1247"/>
                  </a:lnTo>
                  <a:lnTo>
                    <a:pt x="800" y="1247"/>
                  </a:lnTo>
                  <a:lnTo>
                    <a:pt x="800" y="1247"/>
                  </a:lnTo>
                  <a:lnTo>
                    <a:pt x="800" y="1247"/>
                  </a:lnTo>
                  <a:lnTo>
                    <a:pt x="800" y="1248"/>
                  </a:lnTo>
                  <a:lnTo>
                    <a:pt x="795" y="1248"/>
                  </a:lnTo>
                  <a:lnTo>
                    <a:pt x="795" y="1248"/>
                  </a:lnTo>
                  <a:lnTo>
                    <a:pt x="794" y="1248"/>
                  </a:lnTo>
                  <a:lnTo>
                    <a:pt x="794" y="1248"/>
                  </a:lnTo>
                  <a:lnTo>
                    <a:pt x="794" y="1248"/>
                  </a:lnTo>
                  <a:lnTo>
                    <a:pt x="794"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3" y="1248"/>
                  </a:lnTo>
                  <a:lnTo>
                    <a:pt x="792" y="1248"/>
                  </a:lnTo>
                  <a:lnTo>
                    <a:pt x="792" y="1250"/>
                  </a:lnTo>
                  <a:lnTo>
                    <a:pt x="792" y="1250"/>
                  </a:lnTo>
                  <a:lnTo>
                    <a:pt x="792" y="1250"/>
                  </a:lnTo>
                  <a:lnTo>
                    <a:pt x="792" y="1250"/>
                  </a:lnTo>
                  <a:lnTo>
                    <a:pt x="792" y="1251"/>
                  </a:lnTo>
                  <a:lnTo>
                    <a:pt x="786" y="1251"/>
                  </a:lnTo>
                  <a:lnTo>
                    <a:pt x="786" y="1252"/>
                  </a:lnTo>
                  <a:lnTo>
                    <a:pt x="782" y="1252"/>
                  </a:lnTo>
                  <a:lnTo>
                    <a:pt x="782" y="1252"/>
                  </a:lnTo>
                  <a:lnTo>
                    <a:pt x="781" y="1252"/>
                  </a:lnTo>
                  <a:lnTo>
                    <a:pt x="781" y="1252"/>
                  </a:lnTo>
                  <a:lnTo>
                    <a:pt x="779" y="1252"/>
                  </a:lnTo>
                  <a:lnTo>
                    <a:pt x="779" y="1252"/>
                  </a:lnTo>
                  <a:lnTo>
                    <a:pt x="778" y="1252"/>
                  </a:lnTo>
                  <a:lnTo>
                    <a:pt x="778" y="1252"/>
                  </a:lnTo>
                  <a:lnTo>
                    <a:pt x="778" y="1252"/>
                  </a:lnTo>
                  <a:lnTo>
                    <a:pt x="778" y="1252"/>
                  </a:lnTo>
                  <a:lnTo>
                    <a:pt x="778" y="1252"/>
                  </a:lnTo>
                  <a:lnTo>
                    <a:pt x="778" y="1252"/>
                  </a:lnTo>
                  <a:lnTo>
                    <a:pt x="778" y="1252"/>
                  </a:lnTo>
                  <a:lnTo>
                    <a:pt x="778" y="1252"/>
                  </a:lnTo>
                  <a:lnTo>
                    <a:pt x="777" y="1252"/>
                  </a:lnTo>
                  <a:lnTo>
                    <a:pt x="777" y="1252"/>
                  </a:lnTo>
                  <a:lnTo>
                    <a:pt x="777" y="1252"/>
                  </a:lnTo>
                  <a:lnTo>
                    <a:pt x="777" y="1252"/>
                  </a:lnTo>
                  <a:lnTo>
                    <a:pt x="777" y="1252"/>
                  </a:lnTo>
                  <a:lnTo>
                    <a:pt x="777" y="1252"/>
                  </a:lnTo>
                  <a:lnTo>
                    <a:pt x="777" y="1252"/>
                  </a:lnTo>
                  <a:lnTo>
                    <a:pt x="777" y="1253"/>
                  </a:lnTo>
                  <a:lnTo>
                    <a:pt x="768" y="1253"/>
                  </a:lnTo>
                  <a:lnTo>
                    <a:pt x="768" y="1253"/>
                  </a:lnTo>
                  <a:lnTo>
                    <a:pt x="768" y="1253"/>
                  </a:lnTo>
                  <a:lnTo>
                    <a:pt x="768" y="1256"/>
                  </a:lnTo>
                  <a:lnTo>
                    <a:pt x="768" y="1256"/>
                  </a:lnTo>
                  <a:lnTo>
                    <a:pt x="768"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7"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7"/>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6" y="1258"/>
                  </a:lnTo>
                  <a:lnTo>
                    <a:pt x="763" y="1258"/>
                  </a:lnTo>
                  <a:lnTo>
                    <a:pt x="763" y="1258"/>
                  </a:lnTo>
                  <a:lnTo>
                    <a:pt x="760" y="1258"/>
                  </a:lnTo>
                  <a:lnTo>
                    <a:pt x="760" y="1258"/>
                  </a:lnTo>
                  <a:lnTo>
                    <a:pt x="759" y="1258"/>
                  </a:lnTo>
                  <a:lnTo>
                    <a:pt x="759" y="1258"/>
                  </a:lnTo>
                  <a:lnTo>
                    <a:pt x="758" y="1258"/>
                  </a:lnTo>
                  <a:lnTo>
                    <a:pt x="758" y="1258"/>
                  </a:lnTo>
                  <a:lnTo>
                    <a:pt x="757" y="1258"/>
                  </a:lnTo>
                  <a:lnTo>
                    <a:pt x="757" y="1258"/>
                  </a:lnTo>
                  <a:lnTo>
                    <a:pt x="756" y="1258"/>
                  </a:lnTo>
                  <a:lnTo>
                    <a:pt x="756" y="1258"/>
                  </a:lnTo>
                  <a:lnTo>
                    <a:pt x="756" y="1258"/>
                  </a:lnTo>
                  <a:lnTo>
                    <a:pt x="756" y="1258"/>
                  </a:lnTo>
                  <a:lnTo>
                    <a:pt x="755" y="1258"/>
                  </a:lnTo>
                  <a:lnTo>
                    <a:pt x="755" y="1258"/>
                  </a:lnTo>
                  <a:lnTo>
                    <a:pt x="754" y="1258"/>
                  </a:lnTo>
                  <a:lnTo>
                    <a:pt x="754" y="1258"/>
                  </a:lnTo>
                  <a:lnTo>
                    <a:pt x="754" y="1258"/>
                  </a:lnTo>
                  <a:lnTo>
                    <a:pt x="754" y="1258"/>
                  </a:lnTo>
                  <a:lnTo>
                    <a:pt x="754" y="1258"/>
                  </a:lnTo>
                  <a:lnTo>
                    <a:pt x="754" y="1258"/>
                  </a:lnTo>
                  <a:lnTo>
                    <a:pt x="753" y="1258"/>
                  </a:lnTo>
                  <a:lnTo>
                    <a:pt x="753" y="1258"/>
                  </a:lnTo>
                  <a:lnTo>
                    <a:pt x="753" y="1258"/>
                  </a:lnTo>
                  <a:lnTo>
                    <a:pt x="753"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8"/>
                  </a:lnTo>
                  <a:lnTo>
                    <a:pt x="752" y="1259"/>
                  </a:lnTo>
                  <a:lnTo>
                    <a:pt x="752" y="1259"/>
                  </a:lnTo>
                  <a:lnTo>
                    <a:pt x="752" y="1259"/>
                  </a:lnTo>
                  <a:lnTo>
                    <a:pt x="752" y="1259"/>
                  </a:lnTo>
                  <a:lnTo>
                    <a:pt x="752" y="1259"/>
                  </a:lnTo>
                  <a:lnTo>
                    <a:pt x="752" y="1259"/>
                  </a:lnTo>
                  <a:lnTo>
                    <a:pt x="752" y="1261"/>
                  </a:lnTo>
                  <a:lnTo>
                    <a:pt x="743" y="1261"/>
                  </a:lnTo>
                  <a:lnTo>
                    <a:pt x="743" y="1261"/>
                  </a:lnTo>
                  <a:lnTo>
                    <a:pt x="737" y="1261"/>
                  </a:lnTo>
                  <a:lnTo>
                    <a:pt x="737" y="1261"/>
                  </a:lnTo>
                  <a:lnTo>
                    <a:pt x="737" y="1261"/>
                  </a:lnTo>
                  <a:lnTo>
                    <a:pt x="737" y="1261"/>
                  </a:lnTo>
                  <a:lnTo>
                    <a:pt x="737" y="1261"/>
                  </a:lnTo>
                  <a:lnTo>
                    <a:pt x="737" y="1262"/>
                  </a:lnTo>
                  <a:lnTo>
                    <a:pt x="737" y="1262"/>
                  </a:lnTo>
                  <a:lnTo>
                    <a:pt x="737" y="1262"/>
                  </a:lnTo>
                  <a:lnTo>
                    <a:pt x="736" y="1262"/>
                  </a:lnTo>
                  <a:lnTo>
                    <a:pt x="736" y="1262"/>
                  </a:lnTo>
                  <a:lnTo>
                    <a:pt x="736" y="1262"/>
                  </a:lnTo>
                  <a:lnTo>
                    <a:pt x="736" y="1264"/>
                  </a:lnTo>
                  <a:lnTo>
                    <a:pt x="736" y="1264"/>
                  </a:lnTo>
                  <a:lnTo>
                    <a:pt x="736" y="1264"/>
                  </a:lnTo>
                  <a:lnTo>
                    <a:pt x="736" y="1264"/>
                  </a:lnTo>
                  <a:lnTo>
                    <a:pt x="736" y="1265"/>
                  </a:lnTo>
                  <a:lnTo>
                    <a:pt x="736" y="1265"/>
                  </a:lnTo>
                  <a:lnTo>
                    <a:pt x="736" y="1265"/>
                  </a:lnTo>
                  <a:lnTo>
                    <a:pt x="736" y="1265"/>
                  </a:lnTo>
                  <a:lnTo>
                    <a:pt x="736" y="1265"/>
                  </a:lnTo>
                  <a:lnTo>
                    <a:pt x="732" y="1265"/>
                  </a:lnTo>
                  <a:lnTo>
                    <a:pt x="732" y="1265"/>
                  </a:lnTo>
                  <a:lnTo>
                    <a:pt x="728" y="1265"/>
                  </a:lnTo>
                  <a:lnTo>
                    <a:pt x="728" y="1266"/>
                  </a:lnTo>
                  <a:lnTo>
                    <a:pt x="726" y="1266"/>
                  </a:lnTo>
                  <a:lnTo>
                    <a:pt x="726" y="1266"/>
                  </a:lnTo>
                  <a:lnTo>
                    <a:pt x="726" y="1266"/>
                  </a:lnTo>
                  <a:lnTo>
                    <a:pt x="726" y="1266"/>
                  </a:lnTo>
                  <a:lnTo>
                    <a:pt x="726" y="1266"/>
                  </a:lnTo>
                  <a:lnTo>
                    <a:pt x="726" y="1269"/>
                  </a:lnTo>
                  <a:lnTo>
                    <a:pt x="680" y="1269"/>
                  </a:lnTo>
                  <a:lnTo>
                    <a:pt x="680" y="1269"/>
                  </a:lnTo>
                  <a:lnTo>
                    <a:pt x="680" y="1269"/>
                  </a:lnTo>
                  <a:lnTo>
                    <a:pt x="680" y="1269"/>
                  </a:lnTo>
                  <a:lnTo>
                    <a:pt x="680" y="1269"/>
                  </a:lnTo>
                  <a:lnTo>
                    <a:pt x="680" y="1270"/>
                  </a:lnTo>
                  <a:lnTo>
                    <a:pt x="680" y="1270"/>
                  </a:lnTo>
                  <a:lnTo>
                    <a:pt x="680" y="1270"/>
                  </a:lnTo>
                  <a:lnTo>
                    <a:pt x="680" y="1270"/>
                  </a:lnTo>
                  <a:lnTo>
                    <a:pt x="680" y="1270"/>
                  </a:lnTo>
                  <a:lnTo>
                    <a:pt x="680" y="1270"/>
                  </a:lnTo>
                  <a:lnTo>
                    <a:pt x="680" y="1270"/>
                  </a:lnTo>
                  <a:lnTo>
                    <a:pt x="680" y="1270"/>
                  </a:lnTo>
                  <a:lnTo>
                    <a:pt x="680" y="1271"/>
                  </a:lnTo>
                  <a:lnTo>
                    <a:pt x="680" y="1271"/>
                  </a:lnTo>
                  <a:lnTo>
                    <a:pt x="680" y="1271"/>
                  </a:lnTo>
                  <a:lnTo>
                    <a:pt x="680" y="1271"/>
                  </a:lnTo>
                  <a:lnTo>
                    <a:pt x="680" y="1271"/>
                  </a:lnTo>
                  <a:lnTo>
                    <a:pt x="679" y="1271"/>
                  </a:lnTo>
                  <a:lnTo>
                    <a:pt x="679" y="1273"/>
                  </a:lnTo>
                  <a:lnTo>
                    <a:pt x="677" y="1273"/>
                  </a:lnTo>
                  <a:lnTo>
                    <a:pt x="677" y="1273"/>
                  </a:lnTo>
                  <a:lnTo>
                    <a:pt x="677" y="1273"/>
                  </a:lnTo>
                  <a:lnTo>
                    <a:pt x="677" y="1274"/>
                  </a:lnTo>
                  <a:lnTo>
                    <a:pt x="677" y="1274"/>
                  </a:lnTo>
                  <a:lnTo>
                    <a:pt x="677" y="1275"/>
                  </a:lnTo>
                  <a:lnTo>
                    <a:pt x="677" y="1275"/>
                  </a:lnTo>
                  <a:lnTo>
                    <a:pt x="677" y="1275"/>
                  </a:lnTo>
                  <a:lnTo>
                    <a:pt x="677" y="1275"/>
                  </a:lnTo>
                  <a:lnTo>
                    <a:pt x="677" y="1275"/>
                  </a:lnTo>
                  <a:lnTo>
                    <a:pt x="677" y="1275"/>
                  </a:lnTo>
                  <a:lnTo>
                    <a:pt x="677" y="1275"/>
                  </a:lnTo>
                  <a:lnTo>
                    <a:pt x="677" y="1275"/>
                  </a:lnTo>
                  <a:lnTo>
                    <a:pt x="677" y="1275"/>
                  </a:lnTo>
                  <a:lnTo>
                    <a:pt x="677" y="1275"/>
                  </a:lnTo>
                  <a:lnTo>
                    <a:pt x="677" y="1276"/>
                  </a:lnTo>
                  <a:lnTo>
                    <a:pt x="677" y="1276"/>
                  </a:lnTo>
                  <a:lnTo>
                    <a:pt x="677" y="1276"/>
                  </a:lnTo>
                  <a:lnTo>
                    <a:pt x="677" y="1276"/>
                  </a:lnTo>
                  <a:lnTo>
                    <a:pt x="677" y="1276"/>
                  </a:lnTo>
                  <a:lnTo>
                    <a:pt x="677" y="1276"/>
                  </a:lnTo>
                  <a:lnTo>
                    <a:pt x="677" y="1276"/>
                  </a:lnTo>
                  <a:lnTo>
                    <a:pt x="675" y="1276"/>
                  </a:lnTo>
                  <a:lnTo>
                    <a:pt x="675" y="1276"/>
                  </a:lnTo>
                  <a:lnTo>
                    <a:pt x="674" y="1276"/>
                  </a:lnTo>
                  <a:lnTo>
                    <a:pt x="674" y="1276"/>
                  </a:lnTo>
                  <a:lnTo>
                    <a:pt x="674" y="1276"/>
                  </a:lnTo>
                  <a:lnTo>
                    <a:pt x="674" y="1276"/>
                  </a:lnTo>
                  <a:lnTo>
                    <a:pt x="673" y="1276"/>
                  </a:lnTo>
                  <a:lnTo>
                    <a:pt x="673" y="1276"/>
                  </a:lnTo>
                  <a:lnTo>
                    <a:pt x="673" y="1276"/>
                  </a:lnTo>
                  <a:lnTo>
                    <a:pt x="673" y="1276"/>
                  </a:lnTo>
                  <a:lnTo>
                    <a:pt x="673" y="1276"/>
                  </a:lnTo>
                  <a:lnTo>
                    <a:pt x="673" y="1276"/>
                  </a:lnTo>
                  <a:lnTo>
                    <a:pt x="673" y="1276"/>
                  </a:lnTo>
                  <a:lnTo>
                    <a:pt x="673" y="1277"/>
                  </a:lnTo>
                  <a:lnTo>
                    <a:pt x="663" y="1277"/>
                  </a:lnTo>
                  <a:lnTo>
                    <a:pt x="663" y="1277"/>
                  </a:lnTo>
                  <a:lnTo>
                    <a:pt x="663" y="1277"/>
                  </a:lnTo>
                  <a:lnTo>
                    <a:pt x="663" y="1278"/>
                  </a:lnTo>
                  <a:lnTo>
                    <a:pt x="653" y="1278"/>
                  </a:lnTo>
                  <a:lnTo>
                    <a:pt x="653" y="1278"/>
                  </a:lnTo>
                  <a:lnTo>
                    <a:pt x="651" y="1278"/>
                  </a:lnTo>
                  <a:lnTo>
                    <a:pt x="651" y="1278"/>
                  </a:lnTo>
                  <a:lnTo>
                    <a:pt x="650" y="1278"/>
                  </a:lnTo>
                  <a:lnTo>
                    <a:pt x="650" y="1278"/>
                  </a:lnTo>
                  <a:lnTo>
                    <a:pt x="649" y="1278"/>
                  </a:lnTo>
                  <a:lnTo>
                    <a:pt x="649" y="1278"/>
                  </a:lnTo>
                  <a:lnTo>
                    <a:pt x="649" y="1278"/>
                  </a:lnTo>
                  <a:lnTo>
                    <a:pt x="649" y="1278"/>
                  </a:lnTo>
                  <a:lnTo>
                    <a:pt x="649" y="1278"/>
                  </a:lnTo>
                  <a:lnTo>
                    <a:pt x="649" y="1278"/>
                  </a:lnTo>
                  <a:lnTo>
                    <a:pt x="649" y="1278"/>
                  </a:lnTo>
                  <a:lnTo>
                    <a:pt x="649" y="1278"/>
                  </a:lnTo>
                  <a:lnTo>
                    <a:pt x="649" y="1278"/>
                  </a:lnTo>
                  <a:lnTo>
                    <a:pt x="649" y="1280"/>
                  </a:lnTo>
                  <a:lnTo>
                    <a:pt x="649" y="1280"/>
                  </a:lnTo>
                  <a:lnTo>
                    <a:pt x="649" y="1280"/>
                  </a:lnTo>
                  <a:lnTo>
                    <a:pt x="649" y="1280"/>
                  </a:lnTo>
                  <a:lnTo>
                    <a:pt x="649" y="1281"/>
                  </a:lnTo>
                  <a:lnTo>
                    <a:pt x="629" y="1281"/>
                  </a:lnTo>
                  <a:lnTo>
                    <a:pt x="629" y="1281"/>
                  </a:lnTo>
                  <a:lnTo>
                    <a:pt x="616" y="1281"/>
                  </a:lnTo>
                  <a:lnTo>
                    <a:pt x="616" y="1281"/>
                  </a:lnTo>
                  <a:lnTo>
                    <a:pt x="612" y="1281"/>
                  </a:lnTo>
                  <a:lnTo>
                    <a:pt x="612" y="1281"/>
                  </a:lnTo>
                  <a:lnTo>
                    <a:pt x="610" y="1281"/>
                  </a:lnTo>
                  <a:lnTo>
                    <a:pt x="610" y="1281"/>
                  </a:lnTo>
                  <a:lnTo>
                    <a:pt x="608" y="1281"/>
                  </a:lnTo>
                  <a:lnTo>
                    <a:pt x="608" y="1281"/>
                  </a:lnTo>
                  <a:lnTo>
                    <a:pt x="607" y="1281"/>
                  </a:lnTo>
                  <a:lnTo>
                    <a:pt x="607" y="1281"/>
                  </a:lnTo>
                  <a:lnTo>
                    <a:pt x="607" y="1281"/>
                  </a:lnTo>
                  <a:lnTo>
                    <a:pt x="607" y="1281"/>
                  </a:lnTo>
                  <a:lnTo>
                    <a:pt x="607" y="1281"/>
                  </a:lnTo>
                  <a:lnTo>
                    <a:pt x="607" y="1281"/>
                  </a:lnTo>
                  <a:lnTo>
                    <a:pt x="607" y="1281"/>
                  </a:lnTo>
                  <a:lnTo>
                    <a:pt x="607" y="1281"/>
                  </a:lnTo>
                  <a:lnTo>
                    <a:pt x="606" y="1281"/>
                  </a:lnTo>
                  <a:lnTo>
                    <a:pt x="606" y="1281"/>
                  </a:lnTo>
                  <a:lnTo>
                    <a:pt x="606" y="1281"/>
                  </a:lnTo>
                  <a:lnTo>
                    <a:pt x="606" y="1281"/>
                  </a:lnTo>
                  <a:lnTo>
                    <a:pt x="606" y="1281"/>
                  </a:lnTo>
                  <a:lnTo>
                    <a:pt x="606" y="1281"/>
                  </a:lnTo>
                  <a:lnTo>
                    <a:pt x="606" y="1281"/>
                  </a:lnTo>
                  <a:lnTo>
                    <a:pt x="606" y="1281"/>
                  </a:lnTo>
                  <a:lnTo>
                    <a:pt x="606" y="1281"/>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2"/>
                  </a:lnTo>
                  <a:lnTo>
                    <a:pt x="606" y="1283"/>
                  </a:lnTo>
                  <a:lnTo>
                    <a:pt x="605" y="1283"/>
                  </a:lnTo>
                  <a:lnTo>
                    <a:pt x="605" y="1284"/>
                  </a:lnTo>
                  <a:lnTo>
                    <a:pt x="605" y="1284"/>
                  </a:lnTo>
                  <a:lnTo>
                    <a:pt x="605" y="1284"/>
                  </a:lnTo>
                  <a:lnTo>
                    <a:pt x="605" y="1284"/>
                  </a:lnTo>
                  <a:lnTo>
                    <a:pt x="605" y="1285"/>
                  </a:lnTo>
                  <a:lnTo>
                    <a:pt x="602" y="1285"/>
                  </a:lnTo>
                  <a:lnTo>
                    <a:pt x="602" y="1285"/>
                  </a:lnTo>
                  <a:lnTo>
                    <a:pt x="600" y="1285"/>
                  </a:lnTo>
                  <a:lnTo>
                    <a:pt x="600"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6"/>
                  </a:lnTo>
                  <a:lnTo>
                    <a:pt x="599" y="1287"/>
                  </a:lnTo>
                  <a:lnTo>
                    <a:pt x="598" y="1287"/>
                  </a:lnTo>
                  <a:lnTo>
                    <a:pt x="598" y="1287"/>
                  </a:lnTo>
                  <a:lnTo>
                    <a:pt x="597" y="1287"/>
                  </a:lnTo>
                  <a:lnTo>
                    <a:pt x="597" y="1288"/>
                  </a:lnTo>
                  <a:lnTo>
                    <a:pt x="596" y="1288"/>
                  </a:lnTo>
                  <a:lnTo>
                    <a:pt x="596" y="1288"/>
                  </a:lnTo>
                  <a:lnTo>
                    <a:pt x="595" y="1288"/>
                  </a:lnTo>
                  <a:lnTo>
                    <a:pt x="595" y="1289"/>
                  </a:lnTo>
                  <a:lnTo>
                    <a:pt x="595" y="1289"/>
                  </a:lnTo>
                  <a:lnTo>
                    <a:pt x="595" y="1289"/>
                  </a:lnTo>
                  <a:lnTo>
                    <a:pt x="594" y="1289"/>
                  </a:lnTo>
                  <a:lnTo>
                    <a:pt x="594" y="1290"/>
                  </a:lnTo>
                  <a:lnTo>
                    <a:pt x="592" y="1290"/>
                  </a:lnTo>
                  <a:lnTo>
                    <a:pt x="592" y="1290"/>
                  </a:lnTo>
                  <a:lnTo>
                    <a:pt x="591" y="1290"/>
                  </a:lnTo>
                  <a:lnTo>
                    <a:pt x="591" y="1290"/>
                  </a:lnTo>
                  <a:lnTo>
                    <a:pt x="590" y="1290"/>
                  </a:lnTo>
                  <a:lnTo>
                    <a:pt x="590" y="1290"/>
                  </a:lnTo>
                  <a:lnTo>
                    <a:pt x="589" y="1290"/>
                  </a:lnTo>
                  <a:lnTo>
                    <a:pt x="589" y="1290"/>
                  </a:lnTo>
                  <a:lnTo>
                    <a:pt x="588" y="1290"/>
                  </a:lnTo>
                  <a:lnTo>
                    <a:pt x="588" y="1290"/>
                  </a:lnTo>
                  <a:lnTo>
                    <a:pt x="588" y="1290"/>
                  </a:lnTo>
                  <a:lnTo>
                    <a:pt x="588" y="1290"/>
                  </a:lnTo>
                  <a:lnTo>
                    <a:pt x="587" y="1290"/>
                  </a:lnTo>
                  <a:lnTo>
                    <a:pt x="587" y="1290"/>
                  </a:lnTo>
                  <a:lnTo>
                    <a:pt x="587" y="1290"/>
                  </a:lnTo>
                  <a:lnTo>
                    <a:pt x="587" y="1290"/>
                  </a:lnTo>
                  <a:lnTo>
                    <a:pt x="587" y="1290"/>
                  </a:lnTo>
                  <a:lnTo>
                    <a:pt x="587"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0"/>
                  </a:lnTo>
                  <a:lnTo>
                    <a:pt x="586" y="1291"/>
                  </a:lnTo>
                  <a:lnTo>
                    <a:pt x="582" y="1291"/>
                  </a:lnTo>
                  <a:lnTo>
                    <a:pt x="582" y="1291"/>
                  </a:lnTo>
                  <a:lnTo>
                    <a:pt x="582" y="1291"/>
                  </a:lnTo>
                  <a:lnTo>
                    <a:pt x="582" y="1292"/>
                  </a:lnTo>
                  <a:lnTo>
                    <a:pt x="582" y="1292"/>
                  </a:lnTo>
                  <a:lnTo>
                    <a:pt x="582" y="1292"/>
                  </a:lnTo>
                  <a:lnTo>
                    <a:pt x="582" y="1292"/>
                  </a:lnTo>
                  <a:lnTo>
                    <a:pt x="582" y="1292"/>
                  </a:lnTo>
                  <a:lnTo>
                    <a:pt x="581" y="1292"/>
                  </a:lnTo>
                  <a:lnTo>
                    <a:pt x="581" y="1292"/>
                  </a:lnTo>
                  <a:lnTo>
                    <a:pt x="580" y="1292"/>
                  </a:lnTo>
                  <a:lnTo>
                    <a:pt x="580" y="1292"/>
                  </a:lnTo>
                  <a:lnTo>
                    <a:pt x="579" y="1292"/>
                  </a:lnTo>
                  <a:lnTo>
                    <a:pt x="579" y="1292"/>
                  </a:lnTo>
                  <a:lnTo>
                    <a:pt x="576" y="1292"/>
                  </a:lnTo>
                  <a:lnTo>
                    <a:pt x="576" y="1292"/>
                  </a:lnTo>
                  <a:lnTo>
                    <a:pt x="574" y="1292"/>
                  </a:lnTo>
                  <a:lnTo>
                    <a:pt x="574"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2"/>
                  </a:lnTo>
                  <a:lnTo>
                    <a:pt x="573" y="1293"/>
                  </a:lnTo>
                  <a:lnTo>
                    <a:pt x="554" y="1293"/>
                  </a:lnTo>
                  <a:lnTo>
                    <a:pt x="554" y="1293"/>
                  </a:lnTo>
                  <a:lnTo>
                    <a:pt x="554" y="1293"/>
                  </a:lnTo>
                  <a:lnTo>
                    <a:pt x="554" y="1294"/>
                  </a:lnTo>
                  <a:lnTo>
                    <a:pt x="551" y="1294"/>
                  </a:lnTo>
                  <a:lnTo>
                    <a:pt x="551" y="1294"/>
                  </a:lnTo>
                  <a:lnTo>
                    <a:pt x="550" y="1294"/>
                  </a:lnTo>
                  <a:lnTo>
                    <a:pt x="550"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9"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4"/>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5"/>
                  </a:lnTo>
                  <a:lnTo>
                    <a:pt x="548" y="1297"/>
                  </a:lnTo>
                  <a:lnTo>
                    <a:pt x="548" y="1297"/>
                  </a:lnTo>
                  <a:lnTo>
                    <a:pt x="548" y="1297"/>
                  </a:lnTo>
                  <a:lnTo>
                    <a:pt x="548" y="1297"/>
                  </a:lnTo>
                  <a:lnTo>
                    <a:pt x="548" y="1298"/>
                  </a:lnTo>
                  <a:lnTo>
                    <a:pt x="538" y="1298"/>
                  </a:lnTo>
                  <a:lnTo>
                    <a:pt x="538" y="1298"/>
                  </a:lnTo>
                  <a:lnTo>
                    <a:pt x="534" y="1298"/>
                  </a:lnTo>
                  <a:lnTo>
                    <a:pt x="534" y="1298"/>
                  </a:lnTo>
                  <a:lnTo>
                    <a:pt x="533" y="1298"/>
                  </a:lnTo>
                  <a:lnTo>
                    <a:pt x="533" y="1298"/>
                  </a:lnTo>
                  <a:lnTo>
                    <a:pt x="532" y="1298"/>
                  </a:lnTo>
                  <a:lnTo>
                    <a:pt x="532" y="1298"/>
                  </a:lnTo>
                  <a:lnTo>
                    <a:pt x="532" y="1298"/>
                  </a:lnTo>
                  <a:lnTo>
                    <a:pt x="532" y="1298"/>
                  </a:lnTo>
                  <a:lnTo>
                    <a:pt x="531" y="1298"/>
                  </a:lnTo>
                  <a:lnTo>
                    <a:pt x="531" y="1298"/>
                  </a:lnTo>
                  <a:lnTo>
                    <a:pt x="531" y="1298"/>
                  </a:lnTo>
                  <a:lnTo>
                    <a:pt x="531" y="1298"/>
                  </a:lnTo>
                  <a:lnTo>
                    <a:pt x="530" y="1298"/>
                  </a:lnTo>
                  <a:lnTo>
                    <a:pt x="530" y="1298"/>
                  </a:lnTo>
                  <a:lnTo>
                    <a:pt x="530" y="1298"/>
                  </a:lnTo>
                  <a:lnTo>
                    <a:pt x="530" y="1298"/>
                  </a:lnTo>
                  <a:lnTo>
                    <a:pt x="530" y="1298"/>
                  </a:lnTo>
                  <a:lnTo>
                    <a:pt x="530" y="1298"/>
                  </a:lnTo>
                  <a:lnTo>
                    <a:pt x="530" y="1298"/>
                  </a:lnTo>
                  <a:lnTo>
                    <a:pt x="530" y="1298"/>
                  </a:lnTo>
                  <a:lnTo>
                    <a:pt x="530" y="1298"/>
                  </a:lnTo>
                  <a:lnTo>
                    <a:pt x="530" y="1299"/>
                  </a:lnTo>
                  <a:lnTo>
                    <a:pt x="529" y="1299"/>
                  </a:lnTo>
                  <a:lnTo>
                    <a:pt x="529" y="1299"/>
                  </a:lnTo>
                  <a:lnTo>
                    <a:pt x="529" y="1299"/>
                  </a:lnTo>
                  <a:lnTo>
                    <a:pt x="529" y="1300"/>
                  </a:lnTo>
                  <a:lnTo>
                    <a:pt x="528" y="1300"/>
                  </a:lnTo>
                  <a:lnTo>
                    <a:pt x="528"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0"/>
                  </a:lnTo>
                  <a:lnTo>
                    <a:pt x="527" y="1302"/>
                  </a:lnTo>
                  <a:lnTo>
                    <a:pt x="526" y="1302"/>
                  </a:lnTo>
                  <a:lnTo>
                    <a:pt x="526" y="1302"/>
                  </a:lnTo>
                  <a:lnTo>
                    <a:pt x="526" y="1302"/>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3"/>
                  </a:lnTo>
                  <a:lnTo>
                    <a:pt x="526"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4"/>
                  </a:lnTo>
                  <a:lnTo>
                    <a:pt x="525" y="1306"/>
                  </a:lnTo>
                  <a:lnTo>
                    <a:pt x="525" y="1306"/>
                  </a:lnTo>
                  <a:lnTo>
                    <a:pt x="525" y="1306"/>
                  </a:lnTo>
                  <a:lnTo>
                    <a:pt x="525" y="1306"/>
                  </a:lnTo>
                  <a:lnTo>
                    <a:pt x="525" y="1306"/>
                  </a:lnTo>
                  <a:lnTo>
                    <a:pt x="522" y="1306"/>
                  </a:lnTo>
                  <a:lnTo>
                    <a:pt x="522" y="1306"/>
                  </a:lnTo>
                  <a:lnTo>
                    <a:pt x="521" y="1306"/>
                  </a:lnTo>
                  <a:lnTo>
                    <a:pt x="521" y="1306"/>
                  </a:lnTo>
                  <a:lnTo>
                    <a:pt x="520" y="1306"/>
                  </a:lnTo>
                  <a:lnTo>
                    <a:pt x="520" y="1306"/>
                  </a:lnTo>
                  <a:lnTo>
                    <a:pt x="520" y="1306"/>
                  </a:lnTo>
                  <a:lnTo>
                    <a:pt x="520"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6"/>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7"/>
                  </a:lnTo>
                  <a:lnTo>
                    <a:pt x="519" y="1308"/>
                  </a:lnTo>
                  <a:lnTo>
                    <a:pt x="519" y="1308"/>
                  </a:lnTo>
                  <a:lnTo>
                    <a:pt x="519" y="1308"/>
                  </a:lnTo>
                  <a:lnTo>
                    <a:pt x="514" y="1308"/>
                  </a:lnTo>
                  <a:lnTo>
                    <a:pt x="514" y="1308"/>
                  </a:lnTo>
                  <a:lnTo>
                    <a:pt x="512" y="1308"/>
                  </a:lnTo>
                  <a:lnTo>
                    <a:pt x="512" y="1308"/>
                  </a:lnTo>
                  <a:lnTo>
                    <a:pt x="511" y="1308"/>
                  </a:lnTo>
                  <a:lnTo>
                    <a:pt x="511" y="1308"/>
                  </a:lnTo>
                  <a:lnTo>
                    <a:pt x="511" y="1308"/>
                  </a:lnTo>
                  <a:lnTo>
                    <a:pt x="511" y="1308"/>
                  </a:lnTo>
                  <a:lnTo>
                    <a:pt x="511" y="1308"/>
                  </a:lnTo>
                  <a:lnTo>
                    <a:pt x="511" y="1308"/>
                  </a:lnTo>
                  <a:lnTo>
                    <a:pt x="511" y="1308"/>
                  </a:lnTo>
                  <a:lnTo>
                    <a:pt x="511" y="1309"/>
                  </a:lnTo>
                  <a:lnTo>
                    <a:pt x="511" y="1309"/>
                  </a:lnTo>
                  <a:lnTo>
                    <a:pt x="511" y="1309"/>
                  </a:lnTo>
                  <a:lnTo>
                    <a:pt x="511" y="1309"/>
                  </a:lnTo>
                  <a:lnTo>
                    <a:pt x="511" y="1312"/>
                  </a:lnTo>
                  <a:lnTo>
                    <a:pt x="510" y="1312"/>
                  </a:lnTo>
                  <a:lnTo>
                    <a:pt x="510" y="1314"/>
                  </a:lnTo>
                  <a:lnTo>
                    <a:pt x="510" y="1314"/>
                  </a:lnTo>
                  <a:lnTo>
                    <a:pt x="510" y="1314"/>
                  </a:lnTo>
                  <a:lnTo>
                    <a:pt x="510" y="1314"/>
                  </a:lnTo>
                  <a:lnTo>
                    <a:pt x="510" y="1314"/>
                  </a:lnTo>
                  <a:lnTo>
                    <a:pt x="477" y="1314"/>
                  </a:lnTo>
                  <a:lnTo>
                    <a:pt x="477" y="1314"/>
                  </a:lnTo>
                  <a:lnTo>
                    <a:pt x="477" y="1314"/>
                  </a:lnTo>
                  <a:lnTo>
                    <a:pt x="477" y="1315"/>
                  </a:lnTo>
                  <a:lnTo>
                    <a:pt x="477" y="1315"/>
                  </a:lnTo>
                  <a:lnTo>
                    <a:pt x="477" y="1315"/>
                  </a:lnTo>
                  <a:lnTo>
                    <a:pt x="475" y="1315"/>
                  </a:lnTo>
                  <a:lnTo>
                    <a:pt x="475" y="1316"/>
                  </a:lnTo>
                  <a:lnTo>
                    <a:pt x="474" y="1316"/>
                  </a:lnTo>
                  <a:lnTo>
                    <a:pt x="474" y="1317"/>
                  </a:lnTo>
                  <a:lnTo>
                    <a:pt x="472" y="1317"/>
                  </a:lnTo>
                  <a:lnTo>
                    <a:pt x="472" y="1317"/>
                  </a:lnTo>
                  <a:lnTo>
                    <a:pt x="472" y="1317"/>
                  </a:lnTo>
                  <a:lnTo>
                    <a:pt x="472" y="1317"/>
                  </a:lnTo>
                  <a:lnTo>
                    <a:pt x="471" y="1317"/>
                  </a:lnTo>
                  <a:lnTo>
                    <a:pt x="471" y="1317"/>
                  </a:lnTo>
                  <a:lnTo>
                    <a:pt x="471" y="1317"/>
                  </a:lnTo>
                  <a:lnTo>
                    <a:pt x="471" y="1317"/>
                  </a:lnTo>
                  <a:lnTo>
                    <a:pt x="471" y="1317"/>
                  </a:lnTo>
                  <a:lnTo>
                    <a:pt x="471" y="1317"/>
                  </a:lnTo>
                  <a:lnTo>
                    <a:pt x="471" y="1317"/>
                  </a:lnTo>
                  <a:lnTo>
                    <a:pt x="471" y="1317"/>
                  </a:lnTo>
                  <a:lnTo>
                    <a:pt x="470" y="1317"/>
                  </a:lnTo>
                  <a:lnTo>
                    <a:pt x="470" y="1317"/>
                  </a:lnTo>
                  <a:lnTo>
                    <a:pt x="470" y="1317"/>
                  </a:lnTo>
                  <a:lnTo>
                    <a:pt x="470" y="1317"/>
                  </a:lnTo>
                  <a:lnTo>
                    <a:pt x="470" y="1317"/>
                  </a:lnTo>
                  <a:lnTo>
                    <a:pt x="470" y="1318"/>
                  </a:lnTo>
                  <a:lnTo>
                    <a:pt x="464" y="1318"/>
                  </a:lnTo>
                  <a:lnTo>
                    <a:pt x="464" y="1318"/>
                  </a:lnTo>
                  <a:lnTo>
                    <a:pt x="463" y="1318"/>
                  </a:lnTo>
                  <a:lnTo>
                    <a:pt x="463" y="1318"/>
                  </a:lnTo>
                  <a:lnTo>
                    <a:pt x="462" y="1318"/>
                  </a:lnTo>
                  <a:lnTo>
                    <a:pt x="462" y="1318"/>
                  </a:lnTo>
                  <a:lnTo>
                    <a:pt x="461" y="1318"/>
                  </a:lnTo>
                  <a:lnTo>
                    <a:pt x="461" y="1318"/>
                  </a:lnTo>
                  <a:lnTo>
                    <a:pt x="460" y="1318"/>
                  </a:lnTo>
                  <a:lnTo>
                    <a:pt x="460" y="1318"/>
                  </a:lnTo>
                  <a:lnTo>
                    <a:pt x="460" y="1318"/>
                  </a:lnTo>
                  <a:lnTo>
                    <a:pt x="460" y="1318"/>
                  </a:lnTo>
                  <a:lnTo>
                    <a:pt x="459" y="1318"/>
                  </a:lnTo>
                  <a:lnTo>
                    <a:pt x="459"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18"/>
                  </a:lnTo>
                  <a:lnTo>
                    <a:pt x="458"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2"/>
                  </a:lnTo>
                  <a:lnTo>
                    <a:pt x="456"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4"/>
                  </a:lnTo>
                  <a:lnTo>
                    <a:pt x="453" y="1325"/>
                  </a:lnTo>
                  <a:lnTo>
                    <a:pt x="451" y="1325"/>
                  </a:lnTo>
                  <a:lnTo>
                    <a:pt x="451" y="1325"/>
                  </a:lnTo>
                  <a:lnTo>
                    <a:pt x="450" y="1325"/>
                  </a:lnTo>
                  <a:lnTo>
                    <a:pt x="450" y="1325"/>
                  </a:lnTo>
                  <a:lnTo>
                    <a:pt x="449" y="1325"/>
                  </a:lnTo>
                  <a:lnTo>
                    <a:pt x="449"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8" y="1325"/>
                  </a:lnTo>
                  <a:lnTo>
                    <a:pt x="447" y="1325"/>
                  </a:lnTo>
                  <a:lnTo>
                    <a:pt x="447" y="1325"/>
                  </a:lnTo>
                  <a:lnTo>
                    <a:pt x="447" y="1325"/>
                  </a:lnTo>
                  <a:lnTo>
                    <a:pt x="447" y="1327"/>
                  </a:lnTo>
                  <a:lnTo>
                    <a:pt x="439" y="1327"/>
                  </a:lnTo>
                  <a:lnTo>
                    <a:pt x="439" y="1327"/>
                  </a:lnTo>
                  <a:lnTo>
                    <a:pt x="436" y="1327"/>
                  </a:lnTo>
                  <a:lnTo>
                    <a:pt x="436" y="1327"/>
                  </a:lnTo>
                  <a:lnTo>
                    <a:pt x="433" y="1327"/>
                  </a:lnTo>
                  <a:lnTo>
                    <a:pt x="433" y="1327"/>
                  </a:lnTo>
                  <a:lnTo>
                    <a:pt x="431" y="1327"/>
                  </a:lnTo>
                  <a:lnTo>
                    <a:pt x="431"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7"/>
                  </a:lnTo>
                  <a:lnTo>
                    <a:pt x="430" y="1329"/>
                  </a:lnTo>
                  <a:lnTo>
                    <a:pt x="430" y="1329"/>
                  </a:lnTo>
                  <a:lnTo>
                    <a:pt x="430" y="1330"/>
                  </a:lnTo>
                  <a:lnTo>
                    <a:pt x="430" y="1330"/>
                  </a:lnTo>
                  <a:lnTo>
                    <a:pt x="430" y="1330"/>
                  </a:lnTo>
                  <a:lnTo>
                    <a:pt x="430" y="1330"/>
                  </a:lnTo>
                  <a:lnTo>
                    <a:pt x="430" y="1331"/>
                  </a:lnTo>
                  <a:lnTo>
                    <a:pt x="430" y="1331"/>
                  </a:lnTo>
                  <a:lnTo>
                    <a:pt x="430" y="1331"/>
                  </a:lnTo>
                  <a:lnTo>
                    <a:pt x="424" y="1331"/>
                  </a:lnTo>
                  <a:lnTo>
                    <a:pt x="424" y="1331"/>
                  </a:lnTo>
                  <a:lnTo>
                    <a:pt x="418" y="1331"/>
                  </a:lnTo>
                  <a:lnTo>
                    <a:pt x="418" y="1331"/>
                  </a:lnTo>
                  <a:lnTo>
                    <a:pt x="415" y="1331"/>
                  </a:lnTo>
                  <a:lnTo>
                    <a:pt x="415" y="1331"/>
                  </a:lnTo>
                  <a:lnTo>
                    <a:pt x="413" y="1331"/>
                  </a:lnTo>
                  <a:lnTo>
                    <a:pt x="413" y="1331"/>
                  </a:lnTo>
                  <a:lnTo>
                    <a:pt x="412" y="1331"/>
                  </a:lnTo>
                  <a:lnTo>
                    <a:pt x="412" y="1331"/>
                  </a:lnTo>
                  <a:lnTo>
                    <a:pt x="410" y="1331"/>
                  </a:lnTo>
                  <a:lnTo>
                    <a:pt x="410" y="1331"/>
                  </a:lnTo>
                  <a:lnTo>
                    <a:pt x="409" y="1331"/>
                  </a:lnTo>
                  <a:lnTo>
                    <a:pt x="409" y="1331"/>
                  </a:lnTo>
                  <a:lnTo>
                    <a:pt x="407" y="1331"/>
                  </a:lnTo>
                  <a:lnTo>
                    <a:pt x="407" y="1331"/>
                  </a:lnTo>
                  <a:lnTo>
                    <a:pt x="406" y="1331"/>
                  </a:lnTo>
                  <a:lnTo>
                    <a:pt x="406" y="1331"/>
                  </a:lnTo>
                  <a:lnTo>
                    <a:pt x="405" y="1331"/>
                  </a:lnTo>
                  <a:lnTo>
                    <a:pt x="405" y="1331"/>
                  </a:lnTo>
                  <a:lnTo>
                    <a:pt x="405" y="1331"/>
                  </a:lnTo>
                  <a:lnTo>
                    <a:pt x="405" y="1331"/>
                  </a:lnTo>
                  <a:lnTo>
                    <a:pt x="405" y="1331"/>
                  </a:lnTo>
                  <a:lnTo>
                    <a:pt x="405" y="1331"/>
                  </a:lnTo>
                  <a:lnTo>
                    <a:pt x="404" y="1331"/>
                  </a:lnTo>
                  <a:lnTo>
                    <a:pt x="404" y="1331"/>
                  </a:lnTo>
                  <a:lnTo>
                    <a:pt x="403" y="1331"/>
                  </a:lnTo>
                  <a:lnTo>
                    <a:pt x="403"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1"/>
                  </a:lnTo>
                  <a:lnTo>
                    <a:pt x="402" y="1332"/>
                  </a:lnTo>
                  <a:lnTo>
                    <a:pt x="400" y="1332"/>
                  </a:lnTo>
                  <a:lnTo>
                    <a:pt x="400" y="1332"/>
                  </a:lnTo>
                  <a:lnTo>
                    <a:pt x="400" y="1332"/>
                  </a:lnTo>
                  <a:lnTo>
                    <a:pt x="400" y="1332"/>
                  </a:lnTo>
                  <a:lnTo>
                    <a:pt x="400" y="1332"/>
                  </a:lnTo>
                  <a:lnTo>
                    <a:pt x="400" y="1333"/>
                  </a:lnTo>
                  <a:lnTo>
                    <a:pt x="399" y="1333"/>
                  </a:lnTo>
                  <a:lnTo>
                    <a:pt x="399" y="1333"/>
                  </a:lnTo>
                  <a:lnTo>
                    <a:pt x="399" y="1333"/>
                  </a:lnTo>
                  <a:lnTo>
                    <a:pt x="399" y="1333"/>
                  </a:lnTo>
                  <a:lnTo>
                    <a:pt x="399" y="1333"/>
                  </a:lnTo>
                  <a:lnTo>
                    <a:pt x="399" y="1334"/>
                  </a:lnTo>
                  <a:lnTo>
                    <a:pt x="398" y="1334"/>
                  </a:lnTo>
                  <a:lnTo>
                    <a:pt x="398" y="1334"/>
                  </a:lnTo>
                  <a:lnTo>
                    <a:pt x="398" y="1334"/>
                  </a:lnTo>
                  <a:lnTo>
                    <a:pt x="398" y="1334"/>
                  </a:lnTo>
                  <a:lnTo>
                    <a:pt x="398" y="1334"/>
                  </a:lnTo>
                  <a:lnTo>
                    <a:pt x="398" y="1335"/>
                  </a:lnTo>
                  <a:lnTo>
                    <a:pt x="398" y="1335"/>
                  </a:lnTo>
                  <a:lnTo>
                    <a:pt x="398" y="1335"/>
                  </a:lnTo>
                  <a:lnTo>
                    <a:pt x="398" y="1335"/>
                  </a:lnTo>
                  <a:lnTo>
                    <a:pt x="398" y="1336"/>
                  </a:lnTo>
                  <a:lnTo>
                    <a:pt x="398" y="1336"/>
                  </a:lnTo>
                  <a:lnTo>
                    <a:pt x="398" y="1336"/>
                  </a:lnTo>
                  <a:lnTo>
                    <a:pt x="398" y="1336"/>
                  </a:lnTo>
                  <a:lnTo>
                    <a:pt x="398" y="1336"/>
                  </a:lnTo>
                  <a:lnTo>
                    <a:pt x="398" y="1336"/>
                  </a:lnTo>
                  <a:lnTo>
                    <a:pt x="398" y="1336"/>
                  </a:lnTo>
                  <a:lnTo>
                    <a:pt x="398" y="1336"/>
                  </a:lnTo>
                  <a:lnTo>
                    <a:pt x="398" y="1336"/>
                  </a:lnTo>
                  <a:lnTo>
                    <a:pt x="387" y="1336"/>
                  </a:lnTo>
                  <a:lnTo>
                    <a:pt x="387" y="1336"/>
                  </a:lnTo>
                  <a:lnTo>
                    <a:pt x="384" y="1336"/>
                  </a:lnTo>
                  <a:lnTo>
                    <a:pt x="384" y="1336"/>
                  </a:lnTo>
                  <a:lnTo>
                    <a:pt x="383" y="1336"/>
                  </a:lnTo>
                  <a:lnTo>
                    <a:pt x="383" y="1336"/>
                  </a:lnTo>
                  <a:lnTo>
                    <a:pt x="383" y="1336"/>
                  </a:lnTo>
                  <a:lnTo>
                    <a:pt x="383" y="1337"/>
                  </a:lnTo>
                  <a:lnTo>
                    <a:pt x="383" y="1337"/>
                  </a:lnTo>
                  <a:lnTo>
                    <a:pt x="383" y="1341"/>
                  </a:lnTo>
                  <a:lnTo>
                    <a:pt x="383" y="1341"/>
                  </a:lnTo>
                  <a:lnTo>
                    <a:pt x="383" y="1341"/>
                  </a:lnTo>
                  <a:lnTo>
                    <a:pt x="383" y="1341"/>
                  </a:lnTo>
                  <a:lnTo>
                    <a:pt x="383" y="1342"/>
                  </a:lnTo>
                  <a:lnTo>
                    <a:pt x="383" y="1342"/>
                  </a:lnTo>
                  <a:lnTo>
                    <a:pt x="383" y="1342"/>
                  </a:lnTo>
                  <a:lnTo>
                    <a:pt x="383" y="1342"/>
                  </a:lnTo>
                  <a:lnTo>
                    <a:pt x="383" y="1342"/>
                  </a:lnTo>
                  <a:lnTo>
                    <a:pt x="383" y="1342"/>
                  </a:lnTo>
                  <a:lnTo>
                    <a:pt x="383" y="1342"/>
                  </a:lnTo>
                  <a:lnTo>
                    <a:pt x="382" y="1342"/>
                  </a:lnTo>
                  <a:lnTo>
                    <a:pt x="382" y="1342"/>
                  </a:lnTo>
                  <a:lnTo>
                    <a:pt x="382" y="1342"/>
                  </a:lnTo>
                  <a:lnTo>
                    <a:pt x="382" y="1342"/>
                  </a:lnTo>
                  <a:lnTo>
                    <a:pt x="382" y="1342"/>
                  </a:lnTo>
                  <a:lnTo>
                    <a:pt x="382" y="1347"/>
                  </a:lnTo>
                  <a:lnTo>
                    <a:pt x="382" y="1347"/>
                  </a:lnTo>
                  <a:lnTo>
                    <a:pt x="382" y="1347"/>
                  </a:lnTo>
                  <a:lnTo>
                    <a:pt x="382" y="1347"/>
                  </a:lnTo>
                  <a:lnTo>
                    <a:pt x="382" y="1348"/>
                  </a:lnTo>
                  <a:lnTo>
                    <a:pt x="382" y="1348"/>
                  </a:lnTo>
                  <a:lnTo>
                    <a:pt x="382" y="1348"/>
                  </a:lnTo>
                  <a:lnTo>
                    <a:pt x="382" y="1348"/>
                  </a:lnTo>
                  <a:lnTo>
                    <a:pt x="382" y="1349"/>
                  </a:lnTo>
                  <a:lnTo>
                    <a:pt x="381" y="1349"/>
                  </a:lnTo>
                  <a:lnTo>
                    <a:pt x="381" y="1349"/>
                  </a:lnTo>
                  <a:lnTo>
                    <a:pt x="380" y="1349"/>
                  </a:lnTo>
                  <a:lnTo>
                    <a:pt x="380" y="1349"/>
                  </a:lnTo>
                  <a:lnTo>
                    <a:pt x="379" y="1349"/>
                  </a:lnTo>
                  <a:lnTo>
                    <a:pt x="379" y="1349"/>
                  </a:lnTo>
                  <a:lnTo>
                    <a:pt x="378" y="1349"/>
                  </a:lnTo>
                  <a:lnTo>
                    <a:pt x="378" y="1349"/>
                  </a:lnTo>
                  <a:lnTo>
                    <a:pt x="378" y="1349"/>
                  </a:lnTo>
                  <a:lnTo>
                    <a:pt x="378" y="1349"/>
                  </a:lnTo>
                  <a:lnTo>
                    <a:pt x="378" y="1349"/>
                  </a:lnTo>
                  <a:lnTo>
                    <a:pt x="378" y="1349"/>
                  </a:lnTo>
                  <a:lnTo>
                    <a:pt x="378" y="1349"/>
                  </a:lnTo>
                  <a:lnTo>
                    <a:pt x="378"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49"/>
                  </a:lnTo>
                  <a:lnTo>
                    <a:pt x="377" y="1351"/>
                  </a:lnTo>
                  <a:lnTo>
                    <a:pt x="358" y="1351"/>
                  </a:lnTo>
                  <a:lnTo>
                    <a:pt x="358" y="1351"/>
                  </a:lnTo>
                  <a:lnTo>
                    <a:pt x="354" y="1351"/>
                  </a:lnTo>
                  <a:lnTo>
                    <a:pt x="354" y="1351"/>
                  </a:lnTo>
                  <a:lnTo>
                    <a:pt x="352" y="1351"/>
                  </a:lnTo>
                  <a:lnTo>
                    <a:pt x="352" y="1351"/>
                  </a:lnTo>
                  <a:lnTo>
                    <a:pt x="352" y="1351"/>
                  </a:lnTo>
                  <a:lnTo>
                    <a:pt x="352"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1"/>
                  </a:lnTo>
                  <a:lnTo>
                    <a:pt x="351" y="1353"/>
                  </a:lnTo>
                  <a:lnTo>
                    <a:pt x="351" y="1353"/>
                  </a:lnTo>
                  <a:lnTo>
                    <a:pt x="351" y="1353"/>
                  </a:lnTo>
                  <a:lnTo>
                    <a:pt x="350" y="1353"/>
                  </a:lnTo>
                  <a:lnTo>
                    <a:pt x="350" y="1353"/>
                  </a:lnTo>
                  <a:lnTo>
                    <a:pt x="350" y="1353"/>
                  </a:lnTo>
                  <a:lnTo>
                    <a:pt x="350" y="1353"/>
                  </a:lnTo>
                  <a:lnTo>
                    <a:pt x="350" y="1353"/>
                  </a:lnTo>
                  <a:lnTo>
                    <a:pt x="350" y="1354"/>
                  </a:lnTo>
                  <a:lnTo>
                    <a:pt x="348" y="1354"/>
                  </a:lnTo>
                  <a:lnTo>
                    <a:pt x="348" y="1354"/>
                  </a:lnTo>
                  <a:lnTo>
                    <a:pt x="347" y="1354"/>
                  </a:lnTo>
                  <a:lnTo>
                    <a:pt x="347" y="1354"/>
                  </a:lnTo>
                  <a:lnTo>
                    <a:pt x="347" y="1354"/>
                  </a:lnTo>
                  <a:lnTo>
                    <a:pt x="347" y="1354"/>
                  </a:lnTo>
                  <a:lnTo>
                    <a:pt x="346" y="1354"/>
                  </a:lnTo>
                  <a:lnTo>
                    <a:pt x="346" y="1354"/>
                  </a:lnTo>
                  <a:lnTo>
                    <a:pt x="346" y="1354"/>
                  </a:lnTo>
                  <a:lnTo>
                    <a:pt x="346" y="1354"/>
                  </a:lnTo>
                  <a:lnTo>
                    <a:pt x="346" y="1354"/>
                  </a:lnTo>
                  <a:lnTo>
                    <a:pt x="346"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5" y="1354"/>
                  </a:lnTo>
                  <a:lnTo>
                    <a:pt x="344" y="1354"/>
                  </a:lnTo>
                  <a:lnTo>
                    <a:pt x="344" y="1354"/>
                  </a:lnTo>
                  <a:lnTo>
                    <a:pt x="344" y="1354"/>
                  </a:lnTo>
                  <a:lnTo>
                    <a:pt x="344" y="1354"/>
                  </a:lnTo>
                  <a:lnTo>
                    <a:pt x="344" y="1354"/>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6"/>
                  </a:lnTo>
                  <a:lnTo>
                    <a:pt x="344" y="1359"/>
                  </a:lnTo>
                  <a:lnTo>
                    <a:pt x="344" y="1359"/>
                  </a:lnTo>
                  <a:lnTo>
                    <a:pt x="344"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59"/>
                  </a:lnTo>
                  <a:lnTo>
                    <a:pt x="342" y="1360"/>
                  </a:lnTo>
                  <a:lnTo>
                    <a:pt x="342" y="1360"/>
                  </a:lnTo>
                  <a:lnTo>
                    <a:pt x="342" y="1360"/>
                  </a:lnTo>
                  <a:lnTo>
                    <a:pt x="342" y="1360"/>
                  </a:lnTo>
                  <a:lnTo>
                    <a:pt x="342" y="1360"/>
                  </a:lnTo>
                  <a:lnTo>
                    <a:pt x="342" y="1360"/>
                  </a:lnTo>
                  <a:lnTo>
                    <a:pt x="342" y="1362"/>
                  </a:lnTo>
                  <a:lnTo>
                    <a:pt x="342" y="1362"/>
                  </a:lnTo>
                  <a:lnTo>
                    <a:pt x="342" y="1362"/>
                  </a:lnTo>
                  <a:lnTo>
                    <a:pt x="342" y="1362"/>
                  </a:lnTo>
                  <a:lnTo>
                    <a:pt x="342" y="1362"/>
                  </a:lnTo>
                  <a:lnTo>
                    <a:pt x="342" y="1362"/>
                  </a:lnTo>
                  <a:lnTo>
                    <a:pt x="342" y="1363"/>
                  </a:lnTo>
                  <a:lnTo>
                    <a:pt x="342" y="1363"/>
                  </a:lnTo>
                  <a:lnTo>
                    <a:pt x="342" y="1363"/>
                  </a:lnTo>
                  <a:lnTo>
                    <a:pt x="341" y="1363"/>
                  </a:lnTo>
                  <a:lnTo>
                    <a:pt x="341" y="1363"/>
                  </a:lnTo>
                  <a:lnTo>
                    <a:pt x="340" y="1363"/>
                  </a:lnTo>
                  <a:lnTo>
                    <a:pt x="340" y="1363"/>
                  </a:lnTo>
                  <a:lnTo>
                    <a:pt x="339" y="1363"/>
                  </a:lnTo>
                  <a:lnTo>
                    <a:pt x="339" y="1363"/>
                  </a:lnTo>
                  <a:lnTo>
                    <a:pt x="339" y="1363"/>
                  </a:lnTo>
                  <a:lnTo>
                    <a:pt x="339" y="1363"/>
                  </a:lnTo>
                  <a:lnTo>
                    <a:pt x="339" y="1363"/>
                  </a:lnTo>
                  <a:lnTo>
                    <a:pt x="339" y="1363"/>
                  </a:lnTo>
                  <a:lnTo>
                    <a:pt x="339" y="1363"/>
                  </a:lnTo>
                  <a:lnTo>
                    <a:pt x="339" y="1363"/>
                  </a:lnTo>
                  <a:lnTo>
                    <a:pt x="339" y="1363"/>
                  </a:lnTo>
                  <a:lnTo>
                    <a:pt x="339"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3"/>
                  </a:lnTo>
                  <a:lnTo>
                    <a:pt x="338" y="1364"/>
                  </a:lnTo>
                  <a:lnTo>
                    <a:pt x="338" y="1364"/>
                  </a:lnTo>
                  <a:lnTo>
                    <a:pt x="338" y="1364"/>
                  </a:lnTo>
                  <a:lnTo>
                    <a:pt x="337" y="1364"/>
                  </a:lnTo>
                  <a:lnTo>
                    <a:pt x="337" y="1364"/>
                  </a:lnTo>
                  <a:lnTo>
                    <a:pt x="337" y="1364"/>
                  </a:lnTo>
                  <a:lnTo>
                    <a:pt x="337" y="1364"/>
                  </a:lnTo>
                  <a:lnTo>
                    <a:pt x="337" y="1364"/>
                  </a:lnTo>
                  <a:lnTo>
                    <a:pt x="337" y="1364"/>
                  </a:lnTo>
                  <a:lnTo>
                    <a:pt x="337" y="1364"/>
                  </a:lnTo>
                  <a:lnTo>
                    <a:pt x="337"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4"/>
                  </a:lnTo>
                  <a:lnTo>
                    <a:pt x="336" y="1365"/>
                  </a:lnTo>
                  <a:lnTo>
                    <a:pt x="335" y="1365"/>
                  </a:lnTo>
                  <a:lnTo>
                    <a:pt x="335" y="1365"/>
                  </a:lnTo>
                  <a:lnTo>
                    <a:pt x="335" y="1365"/>
                  </a:lnTo>
                  <a:lnTo>
                    <a:pt x="335" y="1365"/>
                  </a:lnTo>
                  <a:lnTo>
                    <a:pt x="335" y="1365"/>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6"/>
                  </a:lnTo>
                  <a:lnTo>
                    <a:pt x="335" y="1367"/>
                  </a:lnTo>
                  <a:lnTo>
                    <a:pt x="333" y="1367"/>
                  </a:lnTo>
                  <a:lnTo>
                    <a:pt x="333" y="1367"/>
                  </a:lnTo>
                  <a:lnTo>
                    <a:pt x="332" y="1367"/>
                  </a:lnTo>
                  <a:lnTo>
                    <a:pt x="332" y="1367"/>
                  </a:lnTo>
                  <a:lnTo>
                    <a:pt x="331" y="1367"/>
                  </a:lnTo>
                  <a:lnTo>
                    <a:pt x="331" y="1367"/>
                  </a:lnTo>
                  <a:lnTo>
                    <a:pt x="330" y="1367"/>
                  </a:lnTo>
                  <a:lnTo>
                    <a:pt x="330" y="1367"/>
                  </a:lnTo>
                  <a:lnTo>
                    <a:pt x="329" y="1367"/>
                  </a:lnTo>
                  <a:lnTo>
                    <a:pt x="329"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7"/>
                  </a:lnTo>
                  <a:lnTo>
                    <a:pt x="328" y="1368"/>
                  </a:lnTo>
                  <a:lnTo>
                    <a:pt x="328" y="1368"/>
                  </a:lnTo>
                  <a:lnTo>
                    <a:pt x="328"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7"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0"/>
                  </a:lnTo>
                  <a:lnTo>
                    <a:pt x="326" y="1371"/>
                  </a:lnTo>
                  <a:lnTo>
                    <a:pt x="322" y="1371"/>
                  </a:lnTo>
                  <a:lnTo>
                    <a:pt x="322" y="1371"/>
                  </a:lnTo>
                  <a:lnTo>
                    <a:pt x="322" y="1371"/>
                  </a:lnTo>
                  <a:lnTo>
                    <a:pt x="322" y="1371"/>
                  </a:lnTo>
                  <a:lnTo>
                    <a:pt x="322" y="1371"/>
                  </a:lnTo>
                  <a:lnTo>
                    <a:pt x="322" y="1371"/>
                  </a:lnTo>
                  <a:lnTo>
                    <a:pt x="322" y="1371"/>
                  </a:lnTo>
                  <a:lnTo>
                    <a:pt x="322" y="1372"/>
                  </a:lnTo>
                  <a:lnTo>
                    <a:pt x="310" y="1372"/>
                  </a:lnTo>
                  <a:lnTo>
                    <a:pt x="310" y="1374"/>
                  </a:lnTo>
                  <a:lnTo>
                    <a:pt x="309" y="1374"/>
                  </a:lnTo>
                  <a:lnTo>
                    <a:pt x="309" y="1378"/>
                  </a:lnTo>
                  <a:lnTo>
                    <a:pt x="309" y="1378"/>
                  </a:lnTo>
                  <a:lnTo>
                    <a:pt x="309" y="1380"/>
                  </a:lnTo>
                  <a:lnTo>
                    <a:pt x="309" y="1380"/>
                  </a:lnTo>
                  <a:lnTo>
                    <a:pt x="309" y="1380"/>
                  </a:lnTo>
                  <a:lnTo>
                    <a:pt x="309" y="1380"/>
                  </a:lnTo>
                  <a:lnTo>
                    <a:pt x="309" y="1380"/>
                  </a:lnTo>
                  <a:lnTo>
                    <a:pt x="309" y="1380"/>
                  </a:lnTo>
                  <a:lnTo>
                    <a:pt x="309" y="1383"/>
                  </a:lnTo>
                  <a:lnTo>
                    <a:pt x="308" y="1383"/>
                  </a:lnTo>
                  <a:lnTo>
                    <a:pt x="308" y="1383"/>
                  </a:lnTo>
                  <a:lnTo>
                    <a:pt x="307" y="1383"/>
                  </a:lnTo>
                  <a:lnTo>
                    <a:pt x="307" y="1383"/>
                  </a:lnTo>
                  <a:lnTo>
                    <a:pt x="307" y="1383"/>
                  </a:lnTo>
                  <a:lnTo>
                    <a:pt x="307" y="1385"/>
                  </a:lnTo>
                  <a:lnTo>
                    <a:pt x="301" y="1385"/>
                  </a:lnTo>
                  <a:lnTo>
                    <a:pt x="301" y="1385"/>
                  </a:lnTo>
                  <a:lnTo>
                    <a:pt x="299" y="1385"/>
                  </a:lnTo>
                  <a:lnTo>
                    <a:pt x="299" y="1385"/>
                  </a:lnTo>
                  <a:lnTo>
                    <a:pt x="297" y="1385"/>
                  </a:lnTo>
                  <a:lnTo>
                    <a:pt x="297" y="1385"/>
                  </a:lnTo>
                  <a:lnTo>
                    <a:pt x="296" y="1385"/>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6"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6"/>
                  </a:lnTo>
                  <a:lnTo>
                    <a:pt x="295" y="1387"/>
                  </a:lnTo>
                  <a:lnTo>
                    <a:pt x="290" y="1387"/>
                  </a:lnTo>
                  <a:lnTo>
                    <a:pt x="290" y="1387"/>
                  </a:lnTo>
                  <a:lnTo>
                    <a:pt x="289" y="1387"/>
                  </a:lnTo>
                  <a:lnTo>
                    <a:pt x="289" y="1387"/>
                  </a:lnTo>
                  <a:lnTo>
                    <a:pt x="288" y="1387"/>
                  </a:lnTo>
                  <a:lnTo>
                    <a:pt x="288" y="1387"/>
                  </a:lnTo>
                  <a:lnTo>
                    <a:pt x="288" y="1387"/>
                  </a:lnTo>
                  <a:lnTo>
                    <a:pt x="288" y="1389"/>
                  </a:lnTo>
                  <a:lnTo>
                    <a:pt x="288" y="1389"/>
                  </a:lnTo>
                  <a:lnTo>
                    <a:pt x="288" y="1389"/>
                  </a:lnTo>
                  <a:lnTo>
                    <a:pt x="288" y="1389"/>
                  </a:lnTo>
                  <a:lnTo>
                    <a:pt x="288" y="1390"/>
                  </a:lnTo>
                  <a:lnTo>
                    <a:pt x="288" y="1390"/>
                  </a:lnTo>
                  <a:lnTo>
                    <a:pt x="288" y="1396"/>
                  </a:lnTo>
                  <a:lnTo>
                    <a:pt x="286" y="1396"/>
                  </a:lnTo>
                  <a:lnTo>
                    <a:pt x="286" y="1397"/>
                  </a:lnTo>
                  <a:lnTo>
                    <a:pt x="280" y="1397"/>
                  </a:lnTo>
                  <a:lnTo>
                    <a:pt x="280" y="1397"/>
                  </a:lnTo>
                  <a:lnTo>
                    <a:pt x="274" y="1397"/>
                  </a:lnTo>
                  <a:lnTo>
                    <a:pt x="274" y="1397"/>
                  </a:lnTo>
                  <a:lnTo>
                    <a:pt x="268" y="1397"/>
                  </a:lnTo>
                  <a:lnTo>
                    <a:pt x="268" y="1400"/>
                  </a:lnTo>
                  <a:lnTo>
                    <a:pt x="266" y="1400"/>
                  </a:lnTo>
                  <a:lnTo>
                    <a:pt x="266" y="1400"/>
                  </a:lnTo>
                  <a:lnTo>
                    <a:pt x="266" y="1400"/>
                  </a:lnTo>
                  <a:lnTo>
                    <a:pt x="266" y="1400"/>
                  </a:lnTo>
                  <a:lnTo>
                    <a:pt x="266" y="1400"/>
                  </a:lnTo>
                  <a:lnTo>
                    <a:pt x="266" y="1401"/>
                  </a:lnTo>
                  <a:lnTo>
                    <a:pt x="266" y="1401"/>
                  </a:lnTo>
                  <a:lnTo>
                    <a:pt x="266" y="1401"/>
                  </a:lnTo>
                  <a:lnTo>
                    <a:pt x="266" y="1401"/>
                  </a:lnTo>
                  <a:lnTo>
                    <a:pt x="266" y="1404"/>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47" y="1404"/>
                  </a:lnTo>
                  <a:lnTo>
                    <a:pt x="247" y="1405"/>
                  </a:lnTo>
                  <a:lnTo>
                    <a:pt x="247" y="1405"/>
                  </a:lnTo>
                  <a:lnTo>
                    <a:pt x="247" y="1406"/>
                  </a:lnTo>
                  <a:lnTo>
                    <a:pt x="243" y="1406"/>
                  </a:lnTo>
                  <a:lnTo>
                    <a:pt x="243" y="1406"/>
                  </a:lnTo>
                  <a:lnTo>
                    <a:pt x="241" y="1406"/>
                  </a:lnTo>
                  <a:lnTo>
                    <a:pt x="241" y="1406"/>
                  </a:lnTo>
                  <a:lnTo>
                    <a:pt x="240" y="1406"/>
                  </a:lnTo>
                  <a:lnTo>
                    <a:pt x="240" y="1406"/>
                  </a:lnTo>
                  <a:lnTo>
                    <a:pt x="240" y="1406"/>
                  </a:lnTo>
                  <a:lnTo>
                    <a:pt x="240"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6"/>
                  </a:lnTo>
                  <a:lnTo>
                    <a:pt x="239" y="1408"/>
                  </a:lnTo>
                  <a:lnTo>
                    <a:pt x="239" y="1408"/>
                  </a:lnTo>
                  <a:lnTo>
                    <a:pt x="239" y="1408"/>
                  </a:lnTo>
                  <a:lnTo>
                    <a:pt x="238" y="1408"/>
                  </a:lnTo>
                  <a:lnTo>
                    <a:pt x="238" y="1408"/>
                  </a:lnTo>
                  <a:lnTo>
                    <a:pt x="238" y="1408"/>
                  </a:lnTo>
                  <a:lnTo>
                    <a:pt x="238" y="1408"/>
                  </a:lnTo>
                  <a:lnTo>
                    <a:pt x="238" y="1408"/>
                  </a:lnTo>
                  <a:lnTo>
                    <a:pt x="238" y="1408"/>
                  </a:lnTo>
                  <a:lnTo>
                    <a:pt x="238" y="1408"/>
                  </a:lnTo>
                  <a:lnTo>
                    <a:pt x="238" y="1408"/>
                  </a:lnTo>
                  <a:lnTo>
                    <a:pt x="238" y="1408"/>
                  </a:lnTo>
                  <a:lnTo>
                    <a:pt x="238"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09"/>
                  </a:lnTo>
                  <a:lnTo>
                    <a:pt x="237"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2"/>
                  </a:lnTo>
                  <a:lnTo>
                    <a:pt x="236" y="1413"/>
                  </a:lnTo>
                  <a:lnTo>
                    <a:pt x="233" y="1413"/>
                  </a:lnTo>
                  <a:lnTo>
                    <a:pt x="233" y="1414"/>
                  </a:lnTo>
                  <a:lnTo>
                    <a:pt x="233" y="1414"/>
                  </a:lnTo>
                  <a:lnTo>
                    <a:pt x="233" y="1414"/>
                  </a:lnTo>
                  <a:lnTo>
                    <a:pt x="228" y="1414"/>
                  </a:lnTo>
                  <a:lnTo>
                    <a:pt x="228" y="1414"/>
                  </a:lnTo>
                  <a:lnTo>
                    <a:pt x="226" y="1414"/>
                  </a:lnTo>
                  <a:lnTo>
                    <a:pt x="226" y="1414"/>
                  </a:lnTo>
                  <a:lnTo>
                    <a:pt x="224" y="1414"/>
                  </a:lnTo>
                  <a:lnTo>
                    <a:pt x="224" y="1414"/>
                  </a:lnTo>
                  <a:lnTo>
                    <a:pt x="223" y="1414"/>
                  </a:lnTo>
                  <a:lnTo>
                    <a:pt x="223" y="1414"/>
                  </a:lnTo>
                  <a:lnTo>
                    <a:pt x="222" y="1414"/>
                  </a:lnTo>
                  <a:lnTo>
                    <a:pt x="222" y="1414"/>
                  </a:lnTo>
                  <a:lnTo>
                    <a:pt x="222" y="1414"/>
                  </a:lnTo>
                  <a:lnTo>
                    <a:pt x="222" y="1414"/>
                  </a:lnTo>
                  <a:lnTo>
                    <a:pt x="221" y="1414"/>
                  </a:lnTo>
                  <a:lnTo>
                    <a:pt x="221" y="1414"/>
                  </a:lnTo>
                  <a:lnTo>
                    <a:pt x="221" y="1414"/>
                  </a:lnTo>
                  <a:lnTo>
                    <a:pt x="221" y="1414"/>
                  </a:lnTo>
                  <a:lnTo>
                    <a:pt x="220" y="1414"/>
                  </a:lnTo>
                  <a:lnTo>
                    <a:pt x="220" y="1414"/>
                  </a:lnTo>
                  <a:lnTo>
                    <a:pt x="220" y="1414"/>
                  </a:lnTo>
                  <a:lnTo>
                    <a:pt x="220" y="1414"/>
                  </a:lnTo>
                  <a:lnTo>
                    <a:pt x="220" y="1414"/>
                  </a:lnTo>
                  <a:lnTo>
                    <a:pt x="220" y="1414"/>
                  </a:lnTo>
                  <a:lnTo>
                    <a:pt x="220" y="1414"/>
                  </a:lnTo>
                  <a:lnTo>
                    <a:pt x="220" y="1414"/>
                  </a:lnTo>
                  <a:lnTo>
                    <a:pt x="220" y="1414"/>
                  </a:lnTo>
                  <a:lnTo>
                    <a:pt x="220"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4"/>
                  </a:lnTo>
                  <a:lnTo>
                    <a:pt x="219" y="1419"/>
                  </a:lnTo>
                  <a:lnTo>
                    <a:pt x="219" y="1419"/>
                  </a:lnTo>
                  <a:lnTo>
                    <a:pt x="219" y="1419"/>
                  </a:lnTo>
                  <a:lnTo>
                    <a:pt x="219" y="1419"/>
                  </a:lnTo>
                  <a:lnTo>
                    <a:pt x="219" y="1419"/>
                  </a:lnTo>
                  <a:lnTo>
                    <a:pt x="217" y="1419"/>
                  </a:lnTo>
                  <a:lnTo>
                    <a:pt x="217" y="1420"/>
                  </a:lnTo>
                  <a:lnTo>
                    <a:pt x="213" y="1420"/>
                  </a:lnTo>
                  <a:lnTo>
                    <a:pt x="213" y="1420"/>
                  </a:lnTo>
                  <a:lnTo>
                    <a:pt x="211" y="1420"/>
                  </a:lnTo>
                  <a:lnTo>
                    <a:pt x="211" y="1420"/>
                  </a:lnTo>
                  <a:lnTo>
                    <a:pt x="210" y="1420"/>
                  </a:lnTo>
                  <a:lnTo>
                    <a:pt x="210" y="1420"/>
                  </a:lnTo>
                  <a:lnTo>
                    <a:pt x="209" y="1420"/>
                  </a:lnTo>
                  <a:lnTo>
                    <a:pt x="209" y="1420"/>
                  </a:lnTo>
                  <a:lnTo>
                    <a:pt x="209" y="1420"/>
                  </a:lnTo>
                  <a:lnTo>
                    <a:pt x="209" y="1420"/>
                  </a:lnTo>
                  <a:lnTo>
                    <a:pt x="209" y="1420"/>
                  </a:lnTo>
                  <a:lnTo>
                    <a:pt x="209" y="1420"/>
                  </a:lnTo>
                  <a:lnTo>
                    <a:pt x="209" y="1420"/>
                  </a:lnTo>
                  <a:lnTo>
                    <a:pt x="209" y="1420"/>
                  </a:lnTo>
                  <a:lnTo>
                    <a:pt x="209" y="1420"/>
                  </a:lnTo>
                  <a:lnTo>
                    <a:pt x="209" y="1420"/>
                  </a:lnTo>
                  <a:lnTo>
                    <a:pt x="207" y="1420"/>
                  </a:lnTo>
                  <a:lnTo>
                    <a:pt x="207" y="1420"/>
                  </a:lnTo>
                  <a:lnTo>
                    <a:pt x="207" y="1420"/>
                  </a:lnTo>
                  <a:lnTo>
                    <a:pt x="207" y="1420"/>
                  </a:lnTo>
                  <a:lnTo>
                    <a:pt x="207" y="1420"/>
                  </a:lnTo>
                  <a:lnTo>
                    <a:pt x="207" y="1425"/>
                  </a:lnTo>
                  <a:lnTo>
                    <a:pt x="206" y="1425"/>
                  </a:lnTo>
                  <a:lnTo>
                    <a:pt x="206" y="1425"/>
                  </a:lnTo>
                  <a:lnTo>
                    <a:pt x="205" y="1425"/>
                  </a:lnTo>
                  <a:lnTo>
                    <a:pt x="205" y="1425"/>
                  </a:lnTo>
                  <a:lnTo>
                    <a:pt x="204" y="1425"/>
                  </a:lnTo>
                  <a:lnTo>
                    <a:pt x="204" y="1426"/>
                  </a:lnTo>
                  <a:lnTo>
                    <a:pt x="204" y="1426"/>
                  </a:lnTo>
                  <a:lnTo>
                    <a:pt x="204" y="1426"/>
                  </a:lnTo>
                  <a:lnTo>
                    <a:pt x="204" y="1426"/>
                  </a:lnTo>
                  <a:lnTo>
                    <a:pt x="204" y="1426"/>
                  </a:lnTo>
                  <a:lnTo>
                    <a:pt x="204" y="1426"/>
                  </a:lnTo>
                  <a:lnTo>
                    <a:pt x="204" y="1429"/>
                  </a:lnTo>
                  <a:lnTo>
                    <a:pt x="204" y="1429"/>
                  </a:lnTo>
                  <a:lnTo>
                    <a:pt x="204" y="1430"/>
                  </a:lnTo>
                  <a:lnTo>
                    <a:pt x="204" y="1430"/>
                  </a:lnTo>
                  <a:lnTo>
                    <a:pt x="204" y="1430"/>
                  </a:lnTo>
                  <a:lnTo>
                    <a:pt x="167" y="1430"/>
                  </a:lnTo>
                  <a:lnTo>
                    <a:pt x="167" y="1430"/>
                  </a:lnTo>
                  <a:lnTo>
                    <a:pt x="160" y="1430"/>
                  </a:lnTo>
                  <a:lnTo>
                    <a:pt x="160" y="1430"/>
                  </a:lnTo>
                  <a:lnTo>
                    <a:pt x="160" y="1430"/>
                  </a:lnTo>
                  <a:lnTo>
                    <a:pt x="160" y="1430"/>
                  </a:lnTo>
                  <a:lnTo>
                    <a:pt x="160" y="1430"/>
                  </a:lnTo>
                  <a:lnTo>
                    <a:pt x="160" y="1431"/>
                  </a:lnTo>
                  <a:lnTo>
                    <a:pt x="160" y="1431"/>
                  </a:lnTo>
                  <a:lnTo>
                    <a:pt x="160" y="1431"/>
                  </a:lnTo>
                  <a:lnTo>
                    <a:pt x="160" y="1431"/>
                  </a:lnTo>
                  <a:lnTo>
                    <a:pt x="160" y="1431"/>
                  </a:lnTo>
                  <a:lnTo>
                    <a:pt x="160" y="1431"/>
                  </a:lnTo>
                  <a:lnTo>
                    <a:pt x="160" y="1434"/>
                  </a:lnTo>
                  <a:lnTo>
                    <a:pt x="152" y="1434"/>
                  </a:lnTo>
                  <a:lnTo>
                    <a:pt x="152" y="1439"/>
                  </a:lnTo>
                  <a:lnTo>
                    <a:pt x="152" y="1439"/>
                  </a:lnTo>
                  <a:lnTo>
                    <a:pt x="152" y="1439"/>
                  </a:lnTo>
                  <a:lnTo>
                    <a:pt x="152" y="1439"/>
                  </a:lnTo>
                  <a:lnTo>
                    <a:pt x="152" y="1439"/>
                  </a:lnTo>
                  <a:lnTo>
                    <a:pt x="151" y="1439"/>
                  </a:lnTo>
                  <a:lnTo>
                    <a:pt x="151" y="1441"/>
                  </a:lnTo>
                  <a:lnTo>
                    <a:pt x="151" y="1441"/>
                  </a:lnTo>
                  <a:lnTo>
                    <a:pt x="151" y="1441"/>
                  </a:lnTo>
                  <a:lnTo>
                    <a:pt x="151" y="1441"/>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2"/>
                  </a:lnTo>
                  <a:lnTo>
                    <a:pt x="151" y="1443"/>
                  </a:lnTo>
                  <a:lnTo>
                    <a:pt x="151" y="1443"/>
                  </a:lnTo>
                  <a:lnTo>
                    <a:pt x="151" y="1443"/>
                  </a:lnTo>
                  <a:lnTo>
                    <a:pt x="151" y="1443"/>
                  </a:lnTo>
                  <a:lnTo>
                    <a:pt x="151" y="1443"/>
                  </a:lnTo>
                  <a:lnTo>
                    <a:pt x="151" y="1443"/>
                  </a:lnTo>
                  <a:lnTo>
                    <a:pt x="151" y="1443"/>
                  </a:lnTo>
                  <a:lnTo>
                    <a:pt x="150" y="1443"/>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4"/>
                  </a:lnTo>
                  <a:lnTo>
                    <a:pt x="150" y="1447"/>
                  </a:lnTo>
                  <a:lnTo>
                    <a:pt x="149" y="1447"/>
                  </a:lnTo>
                  <a:lnTo>
                    <a:pt x="149"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7"/>
                  </a:lnTo>
                  <a:lnTo>
                    <a:pt x="148" y="1449"/>
                  </a:lnTo>
                  <a:lnTo>
                    <a:pt x="148" y="1449"/>
                  </a:lnTo>
                  <a:lnTo>
                    <a:pt x="148" y="899"/>
                  </a:lnTo>
                  <a:lnTo>
                    <a:pt x="148" y="899"/>
                  </a:lnTo>
                  <a:lnTo>
                    <a:pt x="148" y="899"/>
                  </a:lnTo>
                  <a:lnTo>
                    <a:pt x="148" y="899"/>
                  </a:lnTo>
                  <a:lnTo>
                    <a:pt x="148" y="1451"/>
                  </a:lnTo>
                  <a:lnTo>
                    <a:pt x="147" y="1451"/>
                  </a:lnTo>
                  <a:lnTo>
                    <a:pt x="147" y="1452"/>
                  </a:lnTo>
                  <a:lnTo>
                    <a:pt x="147" y="1452"/>
                  </a:lnTo>
                  <a:lnTo>
                    <a:pt x="147" y="1452"/>
                  </a:lnTo>
                  <a:lnTo>
                    <a:pt x="147" y="1452"/>
                  </a:lnTo>
                  <a:lnTo>
                    <a:pt x="147" y="1453"/>
                  </a:lnTo>
                  <a:lnTo>
                    <a:pt x="147" y="1453"/>
                  </a:lnTo>
                  <a:lnTo>
                    <a:pt x="147" y="1453"/>
                  </a:lnTo>
                  <a:lnTo>
                    <a:pt x="144" y="1453"/>
                  </a:lnTo>
                  <a:lnTo>
                    <a:pt x="144" y="1453"/>
                  </a:lnTo>
                  <a:lnTo>
                    <a:pt x="143" y="1453"/>
                  </a:lnTo>
                  <a:lnTo>
                    <a:pt x="143" y="1453"/>
                  </a:lnTo>
                  <a:lnTo>
                    <a:pt x="142" y="1453"/>
                  </a:lnTo>
                  <a:lnTo>
                    <a:pt x="142" y="1453"/>
                  </a:lnTo>
                  <a:lnTo>
                    <a:pt x="142" y="1453"/>
                  </a:lnTo>
                  <a:lnTo>
                    <a:pt x="142" y="1453"/>
                  </a:lnTo>
                  <a:lnTo>
                    <a:pt x="142" y="1453"/>
                  </a:lnTo>
                  <a:lnTo>
                    <a:pt x="142"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3"/>
                  </a:lnTo>
                  <a:lnTo>
                    <a:pt x="141" y="1458"/>
                  </a:lnTo>
                  <a:lnTo>
                    <a:pt x="141" y="1458"/>
                  </a:lnTo>
                  <a:lnTo>
                    <a:pt x="141" y="1458"/>
                  </a:lnTo>
                  <a:lnTo>
                    <a:pt x="140" y="1458"/>
                  </a:lnTo>
                  <a:lnTo>
                    <a:pt x="140" y="1458"/>
                  </a:lnTo>
                  <a:lnTo>
                    <a:pt x="140" y="1458"/>
                  </a:lnTo>
                  <a:lnTo>
                    <a:pt x="140" y="1458"/>
                  </a:lnTo>
                  <a:lnTo>
                    <a:pt x="140" y="1458"/>
                  </a:lnTo>
                  <a:lnTo>
                    <a:pt x="140" y="1460"/>
                  </a:lnTo>
                  <a:lnTo>
                    <a:pt x="140" y="1460"/>
                  </a:lnTo>
                  <a:lnTo>
                    <a:pt x="140" y="1460"/>
                  </a:lnTo>
                  <a:lnTo>
                    <a:pt x="140" y="1460"/>
                  </a:lnTo>
                  <a:lnTo>
                    <a:pt x="140" y="1460"/>
                  </a:lnTo>
                  <a:lnTo>
                    <a:pt x="140" y="1460"/>
                  </a:lnTo>
                  <a:lnTo>
                    <a:pt x="140" y="1461"/>
                  </a:lnTo>
                  <a:lnTo>
                    <a:pt x="140" y="1461"/>
                  </a:lnTo>
                  <a:lnTo>
                    <a:pt x="140" y="1461"/>
                  </a:lnTo>
                  <a:lnTo>
                    <a:pt x="140" y="1461"/>
                  </a:lnTo>
                  <a:lnTo>
                    <a:pt x="140" y="1461"/>
                  </a:lnTo>
                  <a:lnTo>
                    <a:pt x="140" y="1461"/>
                  </a:lnTo>
                  <a:lnTo>
                    <a:pt x="140" y="1461"/>
                  </a:lnTo>
                  <a:lnTo>
                    <a:pt x="140" y="1461"/>
                  </a:lnTo>
                  <a:lnTo>
                    <a:pt x="140" y="1463"/>
                  </a:lnTo>
                  <a:lnTo>
                    <a:pt x="140" y="1463"/>
                  </a:lnTo>
                  <a:lnTo>
                    <a:pt x="140" y="1463"/>
                  </a:lnTo>
                  <a:lnTo>
                    <a:pt x="140" y="1463"/>
                  </a:lnTo>
                  <a:lnTo>
                    <a:pt x="140" y="1463"/>
                  </a:lnTo>
                  <a:lnTo>
                    <a:pt x="140" y="1463"/>
                  </a:lnTo>
                  <a:lnTo>
                    <a:pt x="140" y="1463"/>
                  </a:lnTo>
                  <a:lnTo>
                    <a:pt x="140" y="1463"/>
                  </a:lnTo>
                  <a:lnTo>
                    <a:pt x="140" y="1464"/>
                  </a:lnTo>
                  <a:lnTo>
                    <a:pt x="140" y="1464"/>
                  </a:lnTo>
                  <a:lnTo>
                    <a:pt x="140" y="1464"/>
                  </a:lnTo>
                  <a:lnTo>
                    <a:pt x="140" y="1464"/>
                  </a:lnTo>
                  <a:lnTo>
                    <a:pt x="140" y="1464"/>
                  </a:lnTo>
                  <a:lnTo>
                    <a:pt x="140" y="1464"/>
                  </a:lnTo>
                  <a:lnTo>
                    <a:pt x="140" y="1465"/>
                  </a:lnTo>
                  <a:lnTo>
                    <a:pt x="140" y="1465"/>
                  </a:lnTo>
                  <a:lnTo>
                    <a:pt x="140" y="1465"/>
                  </a:lnTo>
                  <a:lnTo>
                    <a:pt x="140" y="1465"/>
                  </a:lnTo>
                  <a:lnTo>
                    <a:pt x="140" y="1468"/>
                  </a:lnTo>
                  <a:lnTo>
                    <a:pt x="140" y="1468"/>
                  </a:lnTo>
                  <a:lnTo>
                    <a:pt x="140" y="1468"/>
                  </a:lnTo>
                  <a:lnTo>
                    <a:pt x="140" y="1468"/>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69"/>
                  </a:lnTo>
                  <a:lnTo>
                    <a:pt x="140"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1"/>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2"/>
                  </a:lnTo>
                  <a:lnTo>
                    <a:pt x="139" y="1477"/>
                  </a:lnTo>
                  <a:lnTo>
                    <a:pt x="138" y="1477"/>
                  </a:lnTo>
                  <a:lnTo>
                    <a:pt x="138" y="1477"/>
                  </a:lnTo>
                  <a:lnTo>
                    <a:pt x="138" y="1477"/>
                  </a:lnTo>
                  <a:lnTo>
                    <a:pt x="138" y="1477"/>
                  </a:lnTo>
                  <a:lnTo>
                    <a:pt x="138" y="1477"/>
                  </a:lnTo>
                  <a:lnTo>
                    <a:pt x="138" y="1480"/>
                  </a:lnTo>
                  <a:lnTo>
                    <a:pt x="138" y="1480"/>
                  </a:lnTo>
                  <a:lnTo>
                    <a:pt x="138" y="1480"/>
                  </a:lnTo>
                  <a:lnTo>
                    <a:pt x="138" y="1480"/>
                  </a:lnTo>
                  <a:lnTo>
                    <a:pt x="138"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0"/>
                  </a:lnTo>
                  <a:lnTo>
                    <a:pt x="137" y="1483"/>
                  </a:lnTo>
                  <a:lnTo>
                    <a:pt x="137" y="1483"/>
                  </a:lnTo>
                  <a:lnTo>
                    <a:pt x="137" y="1486"/>
                  </a:lnTo>
                  <a:lnTo>
                    <a:pt x="137" y="1486"/>
                  </a:lnTo>
                  <a:lnTo>
                    <a:pt x="137"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6"/>
                  </a:lnTo>
                  <a:lnTo>
                    <a:pt x="136" y="1487"/>
                  </a:lnTo>
                  <a:lnTo>
                    <a:pt x="136" y="1487"/>
                  </a:lnTo>
                  <a:lnTo>
                    <a:pt x="136" y="1487"/>
                  </a:lnTo>
                  <a:lnTo>
                    <a:pt x="136" y="1487"/>
                  </a:lnTo>
                  <a:lnTo>
                    <a:pt x="136" y="1487"/>
                  </a:lnTo>
                  <a:lnTo>
                    <a:pt x="136" y="1487"/>
                  </a:lnTo>
                  <a:lnTo>
                    <a:pt x="136" y="1487"/>
                  </a:lnTo>
                  <a:lnTo>
                    <a:pt x="136" y="1487"/>
                  </a:lnTo>
                  <a:lnTo>
                    <a:pt x="136" y="1487"/>
                  </a:lnTo>
                  <a:lnTo>
                    <a:pt x="136" y="1487"/>
                  </a:lnTo>
                  <a:lnTo>
                    <a:pt x="136" y="1488"/>
                  </a:lnTo>
                  <a:lnTo>
                    <a:pt x="136" y="1488"/>
                  </a:lnTo>
                  <a:lnTo>
                    <a:pt x="136" y="1488"/>
                  </a:lnTo>
                  <a:lnTo>
                    <a:pt x="136" y="1488"/>
                  </a:lnTo>
                  <a:lnTo>
                    <a:pt x="136" y="1492"/>
                  </a:lnTo>
                  <a:lnTo>
                    <a:pt x="136" y="1492"/>
                  </a:lnTo>
                  <a:lnTo>
                    <a:pt x="136" y="1492"/>
                  </a:lnTo>
                  <a:lnTo>
                    <a:pt x="135" y="1492"/>
                  </a:lnTo>
                  <a:lnTo>
                    <a:pt x="135" y="1492"/>
                  </a:lnTo>
                  <a:lnTo>
                    <a:pt x="135" y="1492"/>
                  </a:lnTo>
                  <a:lnTo>
                    <a:pt x="135" y="1492"/>
                  </a:lnTo>
                  <a:lnTo>
                    <a:pt x="135" y="1492"/>
                  </a:lnTo>
                  <a:lnTo>
                    <a:pt x="135" y="1492"/>
                  </a:lnTo>
                  <a:lnTo>
                    <a:pt x="135" y="1492"/>
                  </a:lnTo>
                  <a:lnTo>
                    <a:pt x="135" y="1492"/>
                  </a:lnTo>
                  <a:lnTo>
                    <a:pt x="135" y="1492"/>
                  </a:lnTo>
                  <a:lnTo>
                    <a:pt x="135" y="1496"/>
                  </a:lnTo>
                  <a:lnTo>
                    <a:pt x="133" y="1496"/>
                  </a:lnTo>
                  <a:lnTo>
                    <a:pt x="133" y="1496"/>
                  </a:lnTo>
                  <a:lnTo>
                    <a:pt x="131" y="1496"/>
                  </a:lnTo>
                  <a:lnTo>
                    <a:pt x="131" y="1496"/>
                  </a:lnTo>
                  <a:lnTo>
                    <a:pt x="131" y="1496"/>
                  </a:lnTo>
                  <a:lnTo>
                    <a:pt x="131" y="1498"/>
                  </a:lnTo>
                  <a:lnTo>
                    <a:pt x="129" y="1498"/>
                  </a:lnTo>
                  <a:lnTo>
                    <a:pt x="129" y="1498"/>
                  </a:lnTo>
                  <a:lnTo>
                    <a:pt x="128" y="1498"/>
                  </a:lnTo>
                  <a:lnTo>
                    <a:pt x="128" y="1498"/>
                  </a:lnTo>
                  <a:lnTo>
                    <a:pt x="128" y="1498"/>
                  </a:lnTo>
                  <a:lnTo>
                    <a:pt x="128"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498"/>
                  </a:lnTo>
                  <a:lnTo>
                    <a:pt x="127" y="1503"/>
                  </a:lnTo>
                  <a:lnTo>
                    <a:pt x="127" y="1503"/>
                  </a:lnTo>
                  <a:lnTo>
                    <a:pt x="127" y="1503"/>
                  </a:lnTo>
                  <a:lnTo>
                    <a:pt x="126" y="1503"/>
                  </a:lnTo>
                  <a:lnTo>
                    <a:pt x="126" y="1503"/>
                  </a:lnTo>
                  <a:lnTo>
                    <a:pt x="126" y="1503"/>
                  </a:lnTo>
                  <a:lnTo>
                    <a:pt x="126"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3"/>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08"/>
                  </a:lnTo>
                  <a:lnTo>
                    <a:pt x="125" y="1510"/>
                  </a:lnTo>
                  <a:lnTo>
                    <a:pt x="125" y="1510"/>
                  </a:lnTo>
                  <a:lnTo>
                    <a:pt x="125" y="1510"/>
                  </a:lnTo>
                  <a:lnTo>
                    <a:pt x="125" y="1510"/>
                  </a:lnTo>
                  <a:lnTo>
                    <a:pt x="125" y="1510"/>
                  </a:lnTo>
                  <a:lnTo>
                    <a:pt x="123" y="1510"/>
                  </a:lnTo>
                  <a:lnTo>
                    <a:pt x="123" y="1510"/>
                  </a:lnTo>
                  <a:lnTo>
                    <a:pt x="123" y="1510"/>
                  </a:lnTo>
                  <a:lnTo>
                    <a:pt x="123" y="1512"/>
                  </a:lnTo>
                  <a:lnTo>
                    <a:pt x="123" y="1512"/>
                  </a:lnTo>
                  <a:lnTo>
                    <a:pt x="123" y="1513"/>
                  </a:lnTo>
                  <a:lnTo>
                    <a:pt x="123" y="1513"/>
                  </a:lnTo>
                  <a:lnTo>
                    <a:pt x="123" y="1513"/>
                  </a:lnTo>
                  <a:lnTo>
                    <a:pt x="123" y="1513"/>
                  </a:lnTo>
                  <a:lnTo>
                    <a:pt x="123" y="1513"/>
                  </a:lnTo>
                  <a:lnTo>
                    <a:pt x="123" y="1513"/>
                  </a:lnTo>
                  <a:lnTo>
                    <a:pt x="123" y="1514"/>
                  </a:lnTo>
                  <a:lnTo>
                    <a:pt x="121" y="1514"/>
                  </a:lnTo>
                  <a:lnTo>
                    <a:pt x="121" y="1514"/>
                  </a:lnTo>
                  <a:lnTo>
                    <a:pt x="121" y="1514"/>
                  </a:lnTo>
                  <a:lnTo>
                    <a:pt x="121" y="1514"/>
                  </a:lnTo>
                  <a:lnTo>
                    <a:pt x="121" y="1514"/>
                  </a:lnTo>
                  <a:lnTo>
                    <a:pt x="121" y="1514"/>
                  </a:lnTo>
                  <a:lnTo>
                    <a:pt x="121" y="1514"/>
                  </a:lnTo>
                  <a:lnTo>
                    <a:pt x="121" y="1514"/>
                  </a:lnTo>
                  <a:lnTo>
                    <a:pt x="121" y="1514"/>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5"/>
                  </a:lnTo>
                  <a:lnTo>
                    <a:pt x="121" y="1516"/>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19" y="1516"/>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9" y="1517"/>
                  </a:lnTo>
                  <a:lnTo>
                    <a:pt x="117" y="1517"/>
                  </a:lnTo>
                  <a:lnTo>
                    <a:pt x="117" y="1517"/>
                  </a:lnTo>
                  <a:lnTo>
                    <a:pt x="116" y="1517"/>
                  </a:lnTo>
                  <a:lnTo>
                    <a:pt x="116" y="1517"/>
                  </a:lnTo>
                  <a:lnTo>
                    <a:pt x="116" y="1517"/>
                  </a:lnTo>
                  <a:lnTo>
                    <a:pt x="116" y="1517"/>
                  </a:lnTo>
                  <a:lnTo>
                    <a:pt x="116" y="1517"/>
                  </a:lnTo>
                  <a:lnTo>
                    <a:pt x="116" y="1517"/>
                  </a:lnTo>
                  <a:lnTo>
                    <a:pt x="116" y="1517"/>
                  </a:lnTo>
                  <a:lnTo>
                    <a:pt x="116" y="1518"/>
                  </a:lnTo>
                  <a:lnTo>
                    <a:pt x="116" y="1518"/>
                  </a:lnTo>
                  <a:lnTo>
                    <a:pt x="116" y="1518"/>
                  </a:lnTo>
                  <a:lnTo>
                    <a:pt x="116" y="1518"/>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19"/>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0"/>
                  </a:lnTo>
                  <a:lnTo>
                    <a:pt x="116" y="1521"/>
                  </a:lnTo>
                  <a:lnTo>
                    <a:pt x="116" y="1521"/>
                  </a:lnTo>
                  <a:lnTo>
                    <a:pt x="116" y="1521"/>
                  </a:lnTo>
                  <a:lnTo>
                    <a:pt x="116" y="1521"/>
                  </a:lnTo>
                  <a:lnTo>
                    <a:pt x="116" y="1521"/>
                  </a:lnTo>
                  <a:lnTo>
                    <a:pt x="116" y="1521"/>
                  </a:lnTo>
                  <a:lnTo>
                    <a:pt x="116" y="1524"/>
                  </a:lnTo>
                  <a:lnTo>
                    <a:pt x="116" y="1524"/>
                  </a:lnTo>
                  <a:lnTo>
                    <a:pt x="116" y="1529"/>
                  </a:lnTo>
                  <a:lnTo>
                    <a:pt x="116" y="1529"/>
                  </a:lnTo>
                  <a:lnTo>
                    <a:pt x="116" y="1529"/>
                  </a:lnTo>
                  <a:lnTo>
                    <a:pt x="116" y="1529"/>
                  </a:lnTo>
                  <a:lnTo>
                    <a:pt x="116" y="1530"/>
                  </a:lnTo>
                  <a:lnTo>
                    <a:pt x="116" y="1530"/>
                  </a:lnTo>
                  <a:lnTo>
                    <a:pt x="116" y="1530"/>
                  </a:lnTo>
                  <a:lnTo>
                    <a:pt x="116" y="1530"/>
                  </a:lnTo>
                  <a:lnTo>
                    <a:pt x="116" y="1530"/>
                  </a:lnTo>
                  <a:lnTo>
                    <a:pt x="115" y="1530"/>
                  </a:lnTo>
                  <a:lnTo>
                    <a:pt x="115" y="1532"/>
                  </a:lnTo>
                  <a:lnTo>
                    <a:pt x="112" y="1532"/>
                  </a:lnTo>
                  <a:lnTo>
                    <a:pt x="112" y="1532"/>
                  </a:lnTo>
                  <a:lnTo>
                    <a:pt x="110" y="1532"/>
                  </a:lnTo>
                  <a:lnTo>
                    <a:pt x="110" y="1532"/>
                  </a:lnTo>
                  <a:lnTo>
                    <a:pt x="108" y="1532"/>
                  </a:lnTo>
                  <a:lnTo>
                    <a:pt x="108" y="1532"/>
                  </a:lnTo>
                  <a:lnTo>
                    <a:pt x="107" y="1532"/>
                  </a:lnTo>
                  <a:lnTo>
                    <a:pt x="107" y="1532"/>
                  </a:lnTo>
                  <a:lnTo>
                    <a:pt x="107" y="1532"/>
                  </a:lnTo>
                  <a:lnTo>
                    <a:pt x="107" y="1535"/>
                  </a:lnTo>
                  <a:lnTo>
                    <a:pt x="106" y="1535"/>
                  </a:lnTo>
                  <a:lnTo>
                    <a:pt x="106" y="1536"/>
                  </a:lnTo>
                  <a:lnTo>
                    <a:pt x="104" y="1536"/>
                  </a:lnTo>
                  <a:lnTo>
                    <a:pt x="104" y="1536"/>
                  </a:lnTo>
                  <a:lnTo>
                    <a:pt x="103" y="1536"/>
                  </a:lnTo>
                  <a:lnTo>
                    <a:pt x="103" y="1536"/>
                  </a:lnTo>
                  <a:lnTo>
                    <a:pt x="103" y="1536"/>
                  </a:lnTo>
                  <a:lnTo>
                    <a:pt x="103" y="1537"/>
                  </a:lnTo>
                  <a:lnTo>
                    <a:pt x="103" y="1537"/>
                  </a:lnTo>
                  <a:lnTo>
                    <a:pt x="103" y="1537"/>
                  </a:lnTo>
                  <a:lnTo>
                    <a:pt x="103" y="1537"/>
                  </a:lnTo>
                  <a:lnTo>
                    <a:pt x="103" y="1543"/>
                  </a:lnTo>
                  <a:lnTo>
                    <a:pt x="102" y="1543"/>
                  </a:lnTo>
                  <a:lnTo>
                    <a:pt x="102" y="1543"/>
                  </a:lnTo>
                  <a:lnTo>
                    <a:pt x="101" y="1543"/>
                  </a:lnTo>
                  <a:lnTo>
                    <a:pt x="101" y="1544"/>
                  </a:lnTo>
                  <a:lnTo>
                    <a:pt x="94" y="1544"/>
                  </a:lnTo>
                  <a:lnTo>
                    <a:pt x="94" y="1544"/>
                  </a:lnTo>
                  <a:lnTo>
                    <a:pt x="93" y="1544"/>
                  </a:lnTo>
                  <a:lnTo>
                    <a:pt x="93" y="1544"/>
                  </a:lnTo>
                  <a:lnTo>
                    <a:pt x="93" y="1544"/>
                  </a:lnTo>
                  <a:lnTo>
                    <a:pt x="93" y="1546"/>
                  </a:lnTo>
                  <a:lnTo>
                    <a:pt x="92" y="1546"/>
                  </a:lnTo>
                  <a:lnTo>
                    <a:pt x="92" y="1546"/>
                  </a:lnTo>
                  <a:lnTo>
                    <a:pt x="89" y="1546"/>
                  </a:lnTo>
                  <a:lnTo>
                    <a:pt x="89" y="1557"/>
                  </a:lnTo>
                  <a:lnTo>
                    <a:pt x="89" y="1557"/>
                  </a:lnTo>
                  <a:lnTo>
                    <a:pt x="89" y="1558"/>
                  </a:lnTo>
                  <a:lnTo>
                    <a:pt x="89" y="1558"/>
                  </a:lnTo>
                  <a:lnTo>
                    <a:pt x="89" y="1558"/>
                  </a:lnTo>
                  <a:lnTo>
                    <a:pt x="89" y="1558"/>
                  </a:lnTo>
                  <a:lnTo>
                    <a:pt x="89" y="1561"/>
                  </a:lnTo>
                  <a:lnTo>
                    <a:pt x="89" y="1561"/>
                  </a:lnTo>
                  <a:lnTo>
                    <a:pt x="89" y="1561"/>
                  </a:lnTo>
                  <a:lnTo>
                    <a:pt x="88" y="1561"/>
                  </a:lnTo>
                  <a:lnTo>
                    <a:pt x="88" y="1561"/>
                  </a:lnTo>
                  <a:lnTo>
                    <a:pt x="88" y="1561"/>
                  </a:lnTo>
                  <a:lnTo>
                    <a:pt x="88" y="1561"/>
                  </a:lnTo>
                  <a:lnTo>
                    <a:pt x="88" y="1561"/>
                  </a:lnTo>
                  <a:lnTo>
                    <a:pt x="88" y="1561"/>
                  </a:lnTo>
                  <a:lnTo>
                    <a:pt x="88" y="1561"/>
                  </a:lnTo>
                  <a:lnTo>
                    <a:pt x="88" y="1561"/>
                  </a:lnTo>
                  <a:lnTo>
                    <a:pt x="88" y="1561"/>
                  </a:lnTo>
                  <a:lnTo>
                    <a:pt x="88" y="1561"/>
                  </a:lnTo>
                  <a:lnTo>
                    <a:pt x="88" y="1561"/>
                  </a:lnTo>
                  <a:lnTo>
                    <a:pt x="88" y="1564"/>
                  </a:lnTo>
                  <a:lnTo>
                    <a:pt x="87" y="1564"/>
                  </a:lnTo>
                  <a:lnTo>
                    <a:pt x="87" y="1564"/>
                  </a:lnTo>
                  <a:lnTo>
                    <a:pt x="87" y="1564"/>
                  </a:lnTo>
                  <a:lnTo>
                    <a:pt x="87" y="1567"/>
                  </a:lnTo>
                  <a:lnTo>
                    <a:pt x="87" y="1567"/>
                  </a:lnTo>
                  <a:lnTo>
                    <a:pt x="87" y="1567"/>
                  </a:lnTo>
                  <a:lnTo>
                    <a:pt x="87" y="1567"/>
                  </a:lnTo>
                  <a:lnTo>
                    <a:pt x="87" y="1567"/>
                  </a:lnTo>
                  <a:lnTo>
                    <a:pt x="87" y="1567"/>
                  </a:lnTo>
                  <a:lnTo>
                    <a:pt x="87" y="1567"/>
                  </a:lnTo>
                  <a:lnTo>
                    <a:pt x="87" y="1567"/>
                  </a:lnTo>
                  <a:lnTo>
                    <a:pt x="87" y="1568"/>
                  </a:lnTo>
                  <a:lnTo>
                    <a:pt x="87" y="1568"/>
                  </a:lnTo>
                  <a:lnTo>
                    <a:pt x="87" y="1568"/>
                  </a:lnTo>
                  <a:lnTo>
                    <a:pt x="86" y="1568"/>
                  </a:lnTo>
                  <a:lnTo>
                    <a:pt x="86" y="1568"/>
                  </a:lnTo>
                  <a:lnTo>
                    <a:pt x="86" y="1568"/>
                  </a:lnTo>
                  <a:lnTo>
                    <a:pt x="86" y="1568"/>
                  </a:lnTo>
                  <a:lnTo>
                    <a:pt x="86" y="1568"/>
                  </a:lnTo>
                  <a:lnTo>
                    <a:pt x="86" y="1571"/>
                  </a:lnTo>
                  <a:lnTo>
                    <a:pt x="86" y="1571"/>
                  </a:lnTo>
                  <a:lnTo>
                    <a:pt x="86" y="1575"/>
                  </a:lnTo>
                  <a:lnTo>
                    <a:pt x="86" y="1575"/>
                  </a:lnTo>
                  <a:lnTo>
                    <a:pt x="86" y="1579"/>
                  </a:lnTo>
                  <a:lnTo>
                    <a:pt x="86" y="1579"/>
                  </a:lnTo>
                  <a:lnTo>
                    <a:pt x="86" y="1579"/>
                  </a:lnTo>
                  <a:lnTo>
                    <a:pt x="85" y="1579"/>
                  </a:lnTo>
                  <a:lnTo>
                    <a:pt x="85" y="1580"/>
                  </a:lnTo>
                  <a:lnTo>
                    <a:pt x="83" y="1580"/>
                  </a:lnTo>
                  <a:lnTo>
                    <a:pt x="83" y="1580"/>
                  </a:lnTo>
                  <a:lnTo>
                    <a:pt x="81" y="1580"/>
                  </a:lnTo>
                  <a:lnTo>
                    <a:pt x="81" y="1580"/>
                  </a:lnTo>
                  <a:lnTo>
                    <a:pt x="81" y="1580"/>
                  </a:lnTo>
                  <a:lnTo>
                    <a:pt x="81" y="1580"/>
                  </a:lnTo>
                  <a:lnTo>
                    <a:pt x="81" y="1580"/>
                  </a:lnTo>
                  <a:lnTo>
                    <a:pt x="81" y="1580"/>
                  </a:lnTo>
                  <a:lnTo>
                    <a:pt x="81" y="1580"/>
                  </a:lnTo>
                  <a:lnTo>
                    <a:pt x="81" y="1586"/>
                  </a:lnTo>
                  <a:lnTo>
                    <a:pt x="76" y="1586"/>
                  </a:lnTo>
                  <a:lnTo>
                    <a:pt x="76" y="1586"/>
                  </a:lnTo>
                  <a:lnTo>
                    <a:pt x="72" y="1586"/>
                  </a:lnTo>
                  <a:lnTo>
                    <a:pt x="72" y="1586"/>
                  </a:lnTo>
                  <a:lnTo>
                    <a:pt x="70" y="1586"/>
                  </a:lnTo>
                  <a:lnTo>
                    <a:pt x="70" y="1591"/>
                  </a:lnTo>
                  <a:lnTo>
                    <a:pt x="70" y="1591"/>
                  </a:lnTo>
                  <a:lnTo>
                    <a:pt x="70" y="1591"/>
                  </a:lnTo>
                  <a:lnTo>
                    <a:pt x="70" y="1591"/>
                  </a:lnTo>
                  <a:lnTo>
                    <a:pt x="70" y="1591"/>
                  </a:lnTo>
                  <a:lnTo>
                    <a:pt x="70" y="1591"/>
                  </a:lnTo>
                  <a:lnTo>
                    <a:pt x="70" y="1591"/>
                  </a:lnTo>
                  <a:lnTo>
                    <a:pt x="70" y="1591"/>
                  </a:lnTo>
                  <a:lnTo>
                    <a:pt x="70" y="1594"/>
                  </a:lnTo>
                  <a:lnTo>
                    <a:pt x="70" y="1594"/>
                  </a:lnTo>
                  <a:lnTo>
                    <a:pt x="70" y="1598"/>
                  </a:lnTo>
                  <a:lnTo>
                    <a:pt x="69" y="1598"/>
                  </a:lnTo>
                  <a:lnTo>
                    <a:pt x="69" y="1598"/>
                  </a:lnTo>
                  <a:lnTo>
                    <a:pt x="68" y="1598"/>
                  </a:lnTo>
                  <a:lnTo>
                    <a:pt x="68" y="1598"/>
                  </a:lnTo>
                  <a:lnTo>
                    <a:pt x="68" y="1598"/>
                  </a:lnTo>
                  <a:lnTo>
                    <a:pt x="68" y="1598"/>
                  </a:lnTo>
                  <a:lnTo>
                    <a:pt x="67" y="1598"/>
                  </a:lnTo>
                  <a:lnTo>
                    <a:pt x="67" y="1598"/>
                  </a:lnTo>
                  <a:lnTo>
                    <a:pt x="67" y="1598"/>
                  </a:lnTo>
                  <a:lnTo>
                    <a:pt x="67" y="1605"/>
                  </a:lnTo>
                  <a:lnTo>
                    <a:pt x="67" y="1605"/>
                  </a:lnTo>
                  <a:lnTo>
                    <a:pt x="67" y="1605"/>
                  </a:lnTo>
                  <a:lnTo>
                    <a:pt x="67" y="1605"/>
                  </a:lnTo>
                  <a:lnTo>
                    <a:pt x="67" y="1605"/>
                  </a:lnTo>
                  <a:lnTo>
                    <a:pt x="67" y="1605"/>
                  </a:lnTo>
                  <a:lnTo>
                    <a:pt x="67" y="1605"/>
                  </a:lnTo>
                  <a:lnTo>
                    <a:pt x="66" y="1605"/>
                  </a:lnTo>
                  <a:lnTo>
                    <a:pt x="66" y="1620"/>
                  </a:lnTo>
                  <a:lnTo>
                    <a:pt x="65" y="1620"/>
                  </a:lnTo>
                  <a:lnTo>
                    <a:pt x="65" y="1620"/>
                  </a:lnTo>
                  <a:lnTo>
                    <a:pt x="65" y="1620"/>
                  </a:lnTo>
                  <a:lnTo>
                    <a:pt x="65" y="1621"/>
                  </a:lnTo>
                  <a:lnTo>
                    <a:pt x="65" y="1621"/>
                  </a:lnTo>
                  <a:lnTo>
                    <a:pt x="65" y="1621"/>
                  </a:lnTo>
                  <a:lnTo>
                    <a:pt x="65" y="1621"/>
                  </a:lnTo>
                  <a:lnTo>
                    <a:pt x="65"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1"/>
                  </a:lnTo>
                  <a:lnTo>
                    <a:pt x="64" y="1623"/>
                  </a:lnTo>
                  <a:lnTo>
                    <a:pt x="64" y="1623"/>
                  </a:lnTo>
                  <a:lnTo>
                    <a:pt x="64" y="1623"/>
                  </a:lnTo>
                  <a:lnTo>
                    <a:pt x="64" y="1623"/>
                  </a:lnTo>
                  <a:lnTo>
                    <a:pt x="64" y="1625"/>
                  </a:lnTo>
                  <a:lnTo>
                    <a:pt x="64" y="1625"/>
                  </a:lnTo>
                  <a:lnTo>
                    <a:pt x="64" y="1625"/>
                  </a:lnTo>
                  <a:lnTo>
                    <a:pt x="64" y="1625"/>
                  </a:lnTo>
                  <a:lnTo>
                    <a:pt x="64" y="1625"/>
                  </a:lnTo>
                  <a:lnTo>
                    <a:pt x="64" y="1625"/>
                  </a:lnTo>
                  <a:lnTo>
                    <a:pt x="64" y="1631"/>
                  </a:lnTo>
                  <a:lnTo>
                    <a:pt x="64" y="1631"/>
                  </a:lnTo>
                  <a:lnTo>
                    <a:pt x="64" y="1631"/>
                  </a:lnTo>
                  <a:lnTo>
                    <a:pt x="64" y="1631"/>
                  </a:lnTo>
                  <a:lnTo>
                    <a:pt x="64" y="1636"/>
                  </a:lnTo>
                  <a:lnTo>
                    <a:pt x="64" y="1636"/>
                  </a:lnTo>
                  <a:lnTo>
                    <a:pt x="64" y="1636"/>
                  </a:lnTo>
                  <a:lnTo>
                    <a:pt x="64" y="1636"/>
                  </a:lnTo>
                  <a:lnTo>
                    <a:pt x="64" y="1636"/>
                  </a:lnTo>
                  <a:lnTo>
                    <a:pt x="63" y="1636"/>
                  </a:lnTo>
                  <a:lnTo>
                    <a:pt x="63" y="1636"/>
                  </a:lnTo>
                  <a:lnTo>
                    <a:pt x="62" y="1636"/>
                  </a:lnTo>
                  <a:lnTo>
                    <a:pt x="62" y="1636"/>
                  </a:lnTo>
                  <a:lnTo>
                    <a:pt x="62" y="1636"/>
                  </a:lnTo>
                  <a:lnTo>
                    <a:pt x="62" y="1636"/>
                  </a:lnTo>
                  <a:lnTo>
                    <a:pt x="62" y="1636"/>
                  </a:lnTo>
                  <a:lnTo>
                    <a:pt x="62" y="1636"/>
                  </a:lnTo>
                  <a:lnTo>
                    <a:pt x="62" y="1636"/>
                  </a:lnTo>
                  <a:lnTo>
                    <a:pt x="62" y="1638"/>
                  </a:lnTo>
                  <a:lnTo>
                    <a:pt x="60" y="1638"/>
                  </a:lnTo>
                  <a:lnTo>
                    <a:pt x="60" y="1638"/>
                  </a:lnTo>
                  <a:lnTo>
                    <a:pt x="58" y="1638"/>
                  </a:lnTo>
                  <a:lnTo>
                    <a:pt x="58" y="1638"/>
                  </a:lnTo>
                  <a:lnTo>
                    <a:pt x="56" y="1638"/>
                  </a:lnTo>
                  <a:lnTo>
                    <a:pt x="56" y="1638"/>
                  </a:lnTo>
                  <a:lnTo>
                    <a:pt x="56" y="1638"/>
                  </a:lnTo>
                  <a:lnTo>
                    <a:pt x="56"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8"/>
                  </a:lnTo>
                  <a:lnTo>
                    <a:pt x="55" y="1639"/>
                  </a:lnTo>
                  <a:lnTo>
                    <a:pt x="55" y="1639"/>
                  </a:lnTo>
                  <a:lnTo>
                    <a:pt x="55" y="1639"/>
                  </a:lnTo>
                  <a:lnTo>
                    <a:pt x="55" y="1639"/>
                  </a:lnTo>
                  <a:lnTo>
                    <a:pt x="55" y="1640"/>
                  </a:lnTo>
                  <a:lnTo>
                    <a:pt x="55" y="1640"/>
                  </a:lnTo>
                  <a:lnTo>
                    <a:pt x="55" y="1640"/>
                  </a:lnTo>
                  <a:lnTo>
                    <a:pt x="55" y="1640"/>
                  </a:lnTo>
                  <a:lnTo>
                    <a:pt x="55" y="1640"/>
                  </a:lnTo>
                  <a:lnTo>
                    <a:pt x="55" y="1640"/>
                  </a:lnTo>
                  <a:lnTo>
                    <a:pt x="55" y="1640"/>
                  </a:lnTo>
                  <a:lnTo>
                    <a:pt x="55" y="1640"/>
                  </a:lnTo>
                  <a:lnTo>
                    <a:pt x="55" y="1644"/>
                  </a:lnTo>
                  <a:lnTo>
                    <a:pt x="50" y="1644"/>
                  </a:lnTo>
                  <a:lnTo>
                    <a:pt x="50" y="1644"/>
                  </a:lnTo>
                  <a:lnTo>
                    <a:pt x="47" y="1644"/>
                  </a:lnTo>
                  <a:lnTo>
                    <a:pt x="47" y="1644"/>
                  </a:lnTo>
                  <a:lnTo>
                    <a:pt x="46" y="1644"/>
                  </a:lnTo>
                  <a:lnTo>
                    <a:pt x="46" y="1644"/>
                  </a:lnTo>
                  <a:lnTo>
                    <a:pt x="46" y="1644"/>
                  </a:lnTo>
                  <a:lnTo>
                    <a:pt x="46" y="1644"/>
                  </a:lnTo>
                  <a:lnTo>
                    <a:pt x="46" y="1644"/>
                  </a:lnTo>
                  <a:lnTo>
                    <a:pt x="46" y="1644"/>
                  </a:lnTo>
                  <a:lnTo>
                    <a:pt x="46" y="1644"/>
                  </a:lnTo>
                  <a:lnTo>
                    <a:pt x="46" y="1646"/>
                  </a:lnTo>
                  <a:lnTo>
                    <a:pt x="46" y="1646"/>
                  </a:lnTo>
                  <a:lnTo>
                    <a:pt x="46" y="1647"/>
                  </a:lnTo>
                  <a:lnTo>
                    <a:pt x="45" y="1647"/>
                  </a:lnTo>
                  <a:lnTo>
                    <a:pt x="45" y="1648"/>
                  </a:lnTo>
                  <a:lnTo>
                    <a:pt x="45" y="1648"/>
                  </a:lnTo>
                  <a:lnTo>
                    <a:pt x="45" y="1648"/>
                  </a:lnTo>
                  <a:lnTo>
                    <a:pt x="45" y="1648"/>
                  </a:lnTo>
                  <a:lnTo>
                    <a:pt x="45" y="1648"/>
                  </a:lnTo>
                  <a:lnTo>
                    <a:pt x="45" y="1648"/>
                  </a:lnTo>
                  <a:lnTo>
                    <a:pt x="45" y="1648"/>
                  </a:lnTo>
                  <a:lnTo>
                    <a:pt x="45" y="1648"/>
                  </a:lnTo>
                  <a:lnTo>
                    <a:pt x="45" y="1648"/>
                  </a:lnTo>
                  <a:lnTo>
                    <a:pt x="45" y="1648"/>
                  </a:lnTo>
                  <a:lnTo>
                    <a:pt x="45" y="1649"/>
                  </a:lnTo>
                  <a:lnTo>
                    <a:pt x="45" y="1649"/>
                  </a:lnTo>
                  <a:lnTo>
                    <a:pt x="45" y="1649"/>
                  </a:lnTo>
                  <a:lnTo>
                    <a:pt x="45" y="1649"/>
                  </a:lnTo>
                  <a:lnTo>
                    <a:pt x="45" y="1650"/>
                  </a:lnTo>
                  <a:lnTo>
                    <a:pt x="44" y="1650"/>
                  </a:lnTo>
                  <a:lnTo>
                    <a:pt x="44" y="1650"/>
                  </a:lnTo>
                  <a:lnTo>
                    <a:pt x="44" y="1650"/>
                  </a:lnTo>
                  <a:lnTo>
                    <a:pt x="44" y="1650"/>
                  </a:lnTo>
                  <a:lnTo>
                    <a:pt x="44" y="1650"/>
                  </a:lnTo>
                  <a:lnTo>
                    <a:pt x="44" y="1656"/>
                  </a:lnTo>
                  <a:lnTo>
                    <a:pt x="44" y="1656"/>
                  </a:lnTo>
                  <a:lnTo>
                    <a:pt x="44" y="1661"/>
                  </a:lnTo>
                  <a:lnTo>
                    <a:pt x="44" y="1661"/>
                  </a:lnTo>
                  <a:lnTo>
                    <a:pt x="44" y="1661"/>
                  </a:lnTo>
                  <a:lnTo>
                    <a:pt x="44" y="1661"/>
                  </a:lnTo>
                  <a:lnTo>
                    <a:pt x="44" y="1667"/>
                  </a:lnTo>
                  <a:lnTo>
                    <a:pt x="44" y="1667"/>
                  </a:lnTo>
                  <a:lnTo>
                    <a:pt x="44" y="1669"/>
                  </a:lnTo>
                  <a:lnTo>
                    <a:pt x="44" y="1669"/>
                  </a:lnTo>
                  <a:lnTo>
                    <a:pt x="44" y="1669"/>
                  </a:lnTo>
                  <a:lnTo>
                    <a:pt x="43" y="1669"/>
                  </a:lnTo>
                  <a:lnTo>
                    <a:pt x="43" y="1669"/>
                  </a:lnTo>
                  <a:lnTo>
                    <a:pt x="43" y="1669"/>
                  </a:lnTo>
                  <a:lnTo>
                    <a:pt x="43" y="1669"/>
                  </a:lnTo>
                  <a:lnTo>
                    <a:pt x="43" y="1669"/>
                  </a:lnTo>
                  <a:lnTo>
                    <a:pt x="43" y="1669"/>
                  </a:lnTo>
                  <a:lnTo>
                    <a:pt x="43" y="1669"/>
                  </a:lnTo>
                  <a:lnTo>
                    <a:pt x="43" y="1669"/>
                  </a:lnTo>
                  <a:lnTo>
                    <a:pt x="43" y="1669"/>
                  </a:lnTo>
                  <a:lnTo>
                    <a:pt x="43" y="1671"/>
                  </a:lnTo>
                  <a:lnTo>
                    <a:pt x="43" y="1671"/>
                  </a:lnTo>
                  <a:lnTo>
                    <a:pt x="43" y="1671"/>
                  </a:lnTo>
                  <a:lnTo>
                    <a:pt x="43" y="1671"/>
                  </a:lnTo>
                  <a:lnTo>
                    <a:pt x="43" y="1671"/>
                  </a:lnTo>
                  <a:lnTo>
                    <a:pt x="43" y="1671"/>
                  </a:lnTo>
                  <a:lnTo>
                    <a:pt x="43" y="1671"/>
                  </a:lnTo>
                  <a:lnTo>
                    <a:pt x="43" y="1671"/>
                  </a:lnTo>
                  <a:lnTo>
                    <a:pt x="43" y="1677"/>
                  </a:lnTo>
                  <a:lnTo>
                    <a:pt x="43" y="1677"/>
                  </a:lnTo>
                  <a:lnTo>
                    <a:pt x="43" y="1677"/>
                  </a:lnTo>
                  <a:lnTo>
                    <a:pt x="43" y="1677"/>
                  </a:lnTo>
                  <a:lnTo>
                    <a:pt x="43" y="1678"/>
                  </a:lnTo>
                  <a:lnTo>
                    <a:pt x="42" y="1678"/>
                  </a:lnTo>
                  <a:lnTo>
                    <a:pt x="42" y="1678"/>
                  </a:lnTo>
                  <a:lnTo>
                    <a:pt x="42" y="1678"/>
                  </a:lnTo>
                  <a:lnTo>
                    <a:pt x="42" y="1681"/>
                  </a:lnTo>
                  <a:lnTo>
                    <a:pt x="41" y="1681"/>
                  </a:lnTo>
                  <a:lnTo>
                    <a:pt x="41" y="1681"/>
                  </a:lnTo>
                  <a:lnTo>
                    <a:pt x="41" y="1681"/>
                  </a:lnTo>
                  <a:lnTo>
                    <a:pt x="41" y="1681"/>
                  </a:lnTo>
                  <a:lnTo>
                    <a:pt x="41" y="1681"/>
                  </a:lnTo>
                  <a:lnTo>
                    <a:pt x="41" y="1683"/>
                  </a:lnTo>
                  <a:lnTo>
                    <a:pt x="41" y="1683"/>
                  </a:lnTo>
                  <a:lnTo>
                    <a:pt x="41" y="1684"/>
                  </a:lnTo>
                  <a:lnTo>
                    <a:pt x="41" y="1684"/>
                  </a:lnTo>
                  <a:lnTo>
                    <a:pt x="41" y="1685"/>
                  </a:lnTo>
                  <a:lnTo>
                    <a:pt x="40" y="1685"/>
                  </a:lnTo>
                  <a:lnTo>
                    <a:pt x="40" y="1685"/>
                  </a:lnTo>
                  <a:lnTo>
                    <a:pt x="40" y="1685"/>
                  </a:lnTo>
                  <a:lnTo>
                    <a:pt x="40" y="1686"/>
                  </a:lnTo>
                  <a:lnTo>
                    <a:pt x="40" y="1686"/>
                  </a:lnTo>
                  <a:lnTo>
                    <a:pt x="40" y="1686"/>
                  </a:lnTo>
                  <a:lnTo>
                    <a:pt x="40" y="1686"/>
                  </a:lnTo>
                  <a:lnTo>
                    <a:pt x="40" y="1686"/>
                  </a:lnTo>
                  <a:lnTo>
                    <a:pt x="40" y="1686"/>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89"/>
                  </a:lnTo>
                  <a:lnTo>
                    <a:pt x="40" y="1690"/>
                  </a:lnTo>
                  <a:lnTo>
                    <a:pt x="39" y="1690"/>
                  </a:lnTo>
                  <a:lnTo>
                    <a:pt x="39" y="1691"/>
                  </a:lnTo>
                  <a:lnTo>
                    <a:pt x="39" y="1691"/>
                  </a:lnTo>
                  <a:lnTo>
                    <a:pt x="39" y="1693"/>
                  </a:lnTo>
                  <a:lnTo>
                    <a:pt x="39" y="1693"/>
                  </a:lnTo>
                  <a:lnTo>
                    <a:pt x="39" y="1694"/>
                  </a:lnTo>
                  <a:lnTo>
                    <a:pt x="39" y="1694"/>
                  </a:lnTo>
                  <a:lnTo>
                    <a:pt x="39" y="1697"/>
                  </a:lnTo>
                  <a:lnTo>
                    <a:pt x="39" y="1697"/>
                  </a:lnTo>
                  <a:lnTo>
                    <a:pt x="39" y="1697"/>
                  </a:lnTo>
                  <a:lnTo>
                    <a:pt x="39" y="1697"/>
                  </a:lnTo>
                  <a:lnTo>
                    <a:pt x="39" y="1697"/>
                  </a:lnTo>
                  <a:lnTo>
                    <a:pt x="39" y="1697"/>
                  </a:lnTo>
                  <a:lnTo>
                    <a:pt x="39" y="1697"/>
                  </a:lnTo>
                  <a:lnTo>
                    <a:pt x="39" y="1697"/>
                  </a:lnTo>
                  <a:lnTo>
                    <a:pt x="39" y="1697"/>
                  </a:lnTo>
                  <a:lnTo>
                    <a:pt x="39" y="1697"/>
                  </a:lnTo>
                  <a:lnTo>
                    <a:pt x="39" y="1698"/>
                  </a:lnTo>
                  <a:lnTo>
                    <a:pt x="39" y="1698"/>
                  </a:lnTo>
                  <a:lnTo>
                    <a:pt x="39" y="1698"/>
                  </a:lnTo>
                  <a:lnTo>
                    <a:pt x="39" y="1698"/>
                  </a:lnTo>
                  <a:lnTo>
                    <a:pt x="39" y="1699"/>
                  </a:lnTo>
                  <a:lnTo>
                    <a:pt x="39" y="1699"/>
                  </a:lnTo>
                  <a:lnTo>
                    <a:pt x="39" y="1700"/>
                  </a:lnTo>
                  <a:lnTo>
                    <a:pt x="38" y="1700"/>
                  </a:lnTo>
                  <a:lnTo>
                    <a:pt x="38" y="1700"/>
                  </a:lnTo>
                  <a:lnTo>
                    <a:pt x="38" y="1700"/>
                  </a:lnTo>
                  <a:lnTo>
                    <a:pt x="38" y="1701"/>
                  </a:lnTo>
                  <a:lnTo>
                    <a:pt x="38" y="1701"/>
                  </a:lnTo>
                  <a:lnTo>
                    <a:pt x="38" y="1705"/>
                  </a:lnTo>
                  <a:lnTo>
                    <a:pt x="38" y="1705"/>
                  </a:lnTo>
                  <a:lnTo>
                    <a:pt x="38" y="1707"/>
                  </a:lnTo>
                  <a:lnTo>
                    <a:pt x="37" y="1707"/>
                  </a:lnTo>
                  <a:lnTo>
                    <a:pt x="37" y="1708"/>
                  </a:lnTo>
                  <a:lnTo>
                    <a:pt x="37" y="1708"/>
                  </a:lnTo>
                  <a:lnTo>
                    <a:pt x="37" y="1708"/>
                  </a:lnTo>
                  <a:lnTo>
                    <a:pt x="36" y="1708"/>
                  </a:lnTo>
                  <a:lnTo>
                    <a:pt x="36" y="1708"/>
                  </a:lnTo>
                  <a:lnTo>
                    <a:pt x="36" y="1708"/>
                  </a:lnTo>
                  <a:lnTo>
                    <a:pt x="36" y="1708"/>
                  </a:lnTo>
                  <a:lnTo>
                    <a:pt x="36" y="1708"/>
                  </a:lnTo>
                  <a:lnTo>
                    <a:pt x="36"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08"/>
                  </a:lnTo>
                  <a:lnTo>
                    <a:pt x="35" y="1713"/>
                  </a:lnTo>
                  <a:lnTo>
                    <a:pt x="35" y="1713"/>
                  </a:lnTo>
                  <a:lnTo>
                    <a:pt x="35" y="1714"/>
                  </a:lnTo>
                  <a:lnTo>
                    <a:pt x="34" y="1714"/>
                  </a:lnTo>
                  <a:lnTo>
                    <a:pt x="34" y="1714"/>
                  </a:lnTo>
                  <a:lnTo>
                    <a:pt x="34" y="1714"/>
                  </a:lnTo>
                  <a:lnTo>
                    <a:pt x="34" y="1716"/>
                  </a:lnTo>
                  <a:lnTo>
                    <a:pt x="34" y="1716"/>
                  </a:lnTo>
                  <a:lnTo>
                    <a:pt x="34" y="1716"/>
                  </a:lnTo>
                  <a:lnTo>
                    <a:pt x="34" y="1716"/>
                  </a:lnTo>
                  <a:lnTo>
                    <a:pt x="34" y="1723"/>
                  </a:lnTo>
                  <a:lnTo>
                    <a:pt x="34" y="1723"/>
                  </a:lnTo>
                  <a:lnTo>
                    <a:pt x="34" y="1723"/>
                  </a:lnTo>
                  <a:lnTo>
                    <a:pt x="34" y="1723"/>
                  </a:lnTo>
                  <a:lnTo>
                    <a:pt x="34" y="1723"/>
                  </a:lnTo>
                  <a:lnTo>
                    <a:pt x="34" y="1723"/>
                  </a:lnTo>
                  <a:lnTo>
                    <a:pt x="34" y="1723"/>
                  </a:lnTo>
                  <a:lnTo>
                    <a:pt x="34" y="1723"/>
                  </a:lnTo>
                  <a:lnTo>
                    <a:pt x="34" y="1724"/>
                  </a:lnTo>
                  <a:lnTo>
                    <a:pt x="34" y="1724"/>
                  </a:lnTo>
                  <a:lnTo>
                    <a:pt x="34" y="1724"/>
                  </a:lnTo>
                  <a:lnTo>
                    <a:pt x="34" y="1724"/>
                  </a:lnTo>
                  <a:lnTo>
                    <a:pt x="34" y="1724"/>
                  </a:lnTo>
                  <a:lnTo>
                    <a:pt x="34" y="1724"/>
                  </a:lnTo>
                  <a:lnTo>
                    <a:pt x="34" y="1735"/>
                  </a:lnTo>
                  <a:lnTo>
                    <a:pt x="34" y="1735"/>
                  </a:lnTo>
                  <a:lnTo>
                    <a:pt x="34" y="1735"/>
                  </a:lnTo>
                  <a:lnTo>
                    <a:pt x="32" y="1735"/>
                  </a:lnTo>
                  <a:lnTo>
                    <a:pt x="32" y="1735"/>
                  </a:lnTo>
                  <a:lnTo>
                    <a:pt x="32" y="1735"/>
                  </a:lnTo>
                  <a:lnTo>
                    <a:pt x="32" y="1735"/>
                  </a:lnTo>
                  <a:lnTo>
                    <a:pt x="31" y="1735"/>
                  </a:lnTo>
                  <a:lnTo>
                    <a:pt x="31" y="1735"/>
                  </a:lnTo>
                  <a:lnTo>
                    <a:pt x="31" y="1735"/>
                  </a:lnTo>
                  <a:lnTo>
                    <a:pt x="31" y="1735"/>
                  </a:lnTo>
                  <a:lnTo>
                    <a:pt x="31" y="1735"/>
                  </a:lnTo>
                  <a:lnTo>
                    <a:pt x="31" y="1735"/>
                  </a:lnTo>
                  <a:lnTo>
                    <a:pt x="30" y="1735"/>
                  </a:lnTo>
                  <a:lnTo>
                    <a:pt x="30" y="1748"/>
                  </a:lnTo>
                  <a:lnTo>
                    <a:pt x="30" y="1748"/>
                  </a:lnTo>
                  <a:lnTo>
                    <a:pt x="30" y="1748"/>
                  </a:lnTo>
                  <a:lnTo>
                    <a:pt x="30" y="1748"/>
                  </a:lnTo>
                  <a:lnTo>
                    <a:pt x="30" y="1748"/>
                  </a:lnTo>
                  <a:lnTo>
                    <a:pt x="30" y="1748"/>
                  </a:lnTo>
                  <a:lnTo>
                    <a:pt x="30" y="1750"/>
                  </a:lnTo>
                  <a:lnTo>
                    <a:pt x="29" y="1750"/>
                  </a:lnTo>
                  <a:lnTo>
                    <a:pt x="29" y="1750"/>
                  </a:lnTo>
                  <a:lnTo>
                    <a:pt x="28" y="1750"/>
                  </a:lnTo>
                  <a:lnTo>
                    <a:pt x="28" y="1752"/>
                  </a:lnTo>
                  <a:lnTo>
                    <a:pt x="28" y="1752"/>
                  </a:lnTo>
                  <a:lnTo>
                    <a:pt x="28" y="1752"/>
                  </a:lnTo>
                  <a:lnTo>
                    <a:pt x="27" y="1752"/>
                  </a:lnTo>
                  <a:lnTo>
                    <a:pt x="27" y="1752"/>
                  </a:lnTo>
                  <a:lnTo>
                    <a:pt x="25" y="1752"/>
                  </a:lnTo>
                  <a:lnTo>
                    <a:pt x="25" y="1752"/>
                  </a:lnTo>
                  <a:lnTo>
                    <a:pt x="25" y="1752"/>
                  </a:lnTo>
                  <a:lnTo>
                    <a:pt x="25" y="1752"/>
                  </a:lnTo>
                  <a:lnTo>
                    <a:pt x="25" y="1752"/>
                  </a:lnTo>
                  <a:lnTo>
                    <a:pt x="25" y="1752"/>
                  </a:lnTo>
                  <a:lnTo>
                    <a:pt x="25" y="1752"/>
                  </a:lnTo>
                  <a:lnTo>
                    <a:pt x="25" y="1753"/>
                  </a:lnTo>
                  <a:lnTo>
                    <a:pt x="24" y="1753"/>
                  </a:lnTo>
                  <a:lnTo>
                    <a:pt x="24" y="1753"/>
                  </a:lnTo>
                  <a:lnTo>
                    <a:pt x="24" y="1753"/>
                  </a:lnTo>
                  <a:lnTo>
                    <a:pt x="24" y="1753"/>
                  </a:lnTo>
                  <a:lnTo>
                    <a:pt x="24" y="1753"/>
                  </a:lnTo>
                  <a:lnTo>
                    <a:pt x="24" y="1753"/>
                  </a:lnTo>
                  <a:lnTo>
                    <a:pt x="24" y="1753"/>
                  </a:lnTo>
                  <a:lnTo>
                    <a:pt x="24"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3"/>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6"/>
                  </a:lnTo>
                  <a:lnTo>
                    <a:pt x="23" y="1758"/>
                  </a:lnTo>
                  <a:lnTo>
                    <a:pt x="23" y="1758"/>
                  </a:lnTo>
                  <a:lnTo>
                    <a:pt x="23" y="1758"/>
                  </a:lnTo>
                  <a:lnTo>
                    <a:pt x="23" y="1758"/>
                  </a:lnTo>
                  <a:lnTo>
                    <a:pt x="23" y="1759"/>
                  </a:lnTo>
                  <a:lnTo>
                    <a:pt x="21" y="1759"/>
                  </a:lnTo>
                  <a:lnTo>
                    <a:pt x="21" y="1760"/>
                  </a:lnTo>
                  <a:lnTo>
                    <a:pt x="21" y="1760"/>
                  </a:lnTo>
                  <a:lnTo>
                    <a:pt x="21" y="1760"/>
                  </a:lnTo>
                  <a:lnTo>
                    <a:pt x="21" y="1760"/>
                  </a:lnTo>
                  <a:lnTo>
                    <a:pt x="21" y="1760"/>
                  </a:lnTo>
                  <a:lnTo>
                    <a:pt x="21" y="1760"/>
                  </a:lnTo>
                  <a:lnTo>
                    <a:pt x="21" y="1763"/>
                  </a:lnTo>
                  <a:lnTo>
                    <a:pt x="20" y="1763"/>
                  </a:lnTo>
                  <a:lnTo>
                    <a:pt x="20" y="1763"/>
                  </a:lnTo>
                  <a:lnTo>
                    <a:pt x="20" y="1763"/>
                  </a:lnTo>
                  <a:lnTo>
                    <a:pt x="20" y="1763"/>
                  </a:lnTo>
                  <a:lnTo>
                    <a:pt x="20" y="1763"/>
                  </a:lnTo>
                  <a:lnTo>
                    <a:pt x="20" y="1763"/>
                  </a:lnTo>
                  <a:lnTo>
                    <a:pt x="20" y="1763"/>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5"/>
                  </a:lnTo>
                  <a:lnTo>
                    <a:pt x="20" y="1767"/>
                  </a:lnTo>
                  <a:lnTo>
                    <a:pt x="20" y="1767"/>
                  </a:lnTo>
                  <a:lnTo>
                    <a:pt x="20" y="1767"/>
                  </a:lnTo>
                  <a:lnTo>
                    <a:pt x="20" y="1767"/>
                  </a:lnTo>
                  <a:lnTo>
                    <a:pt x="20" y="1769"/>
                  </a:lnTo>
                  <a:lnTo>
                    <a:pt x="20" y="1769"/>
                  </a:lnTo>
                  <a:lnTo>
                    <a:pt x="20" y="1769"/>
                  </a:lnTo>
                  <a:lnTo>
                    <a:pt x="20" y="1769"/>
                  </a:lnTo>
                  <a:lnTo>
                    <a:pt x="20" y="1769"/>
                  </a:lnTo>
                  <a:lnTo>
                    <a:pt x="19" y="1769"/>
                  </a:lnTo>
                  <a:lnTo>
                    <a:pt x="19" y="1769"/>
                  </a:lnTo>
                  <a:lnTo>
                    <a:pt x="18" y="1769"/>
                  </a:lnTo>
                  <a:lnTo>
                    <a:pt x="18" y="1771"/>
                  </a:lnTo>
                  <a:lnTo>
                    <a:pt x="18" y="1771"/>
                  </a:lnTo>
                  <a:lnTo>
                    <a:pt x="18" y="1774"/>
                  </a:lnTo>
                  <a:lnTo>
                    <a:pt x="18" y="1774"/>
                  </a:lnTo>
                  <a:lnTo>
                    <a:pt x="18" y="1774"/>
                  </a:lnTo>
                  <a:lnTo>
                    <a:pt x="18" y="1774"/>
                  </a:lnTo>
                  <a:lnTo>
                    <a:pt x="18" y="1774"/>
                  </a:lnTo>
                  <a:lnTo>
                    <a:pt x="18" y="1774"/>
                  </a:lnTo>
                  <a:lnTo>
                    <a:pt x="18" y="1774"/>
                  </a:lnTo>
                  <a:lnTo>
                    <a:pt x="18" y="1774"/>
                  </a:lnTo>
                  <a:lnTo>
                    <a:pt x="18" y="1776"/>
                  </a:lnTo>
                  <a:lnTo>
                    <a:pt x="18" y="1776"/>
                  </a:lnTo>
                  <a:lnTo>
                    <a:pt x="18" y="1776"/>
                  </a:lnTo>
                  <a:lnTo>
                    <a:pt x="18" y="1776"/>
                  </a:lnTo>
                  <a:lnTo>
                    <a:pt x="18" y="1776"/>
                  </a:lnTo>
                  <a:lnTo>
                    <a:pt x="18" y="1776"/>
                  </a:lnTo>
                  <a:lnTo>
                    <a:pt x="18" y="1776"/>
                  </a:lnTo>
                  <a:lnTo>
                    <a:pt x="18" y="1776"/>
                  </a:lnTo>
                  <a:lnTo>
                    <a:pt x="18" y="1776"/>
                  </a:lnTo>
                  <a:lnTo>
                    <a:pt x="18" y="1776"/>
                  </a:lnTo>
                  <a:lnTo>
                    <a:pt x="18" y="1777"/>
                  </a:lnTo>
                  <a:lnTo>
                    <a:pt x="18" y="1777"/>
                  </a:lnTo>
                  <a:lnTo>
                    <a:pt x="18" y="1777"/>
                  </a:lnTo>
                  <a:lnTo>
                    <a:pt x="18" y="1777"/>
                  </a:lnTo>
                  <a:lnTo>
                    <a:pt x="18" y="1780"/>
                  </a:lnTo>
                  <a:lnTo>
                    <a:pt x="17" y="1780"/>
                  </a:lnTo>
                  <a:lnTo>
                    <a:pt x="17" y="1780"/>
                  </a:lnTo>
                  <a:lnTo>
                    <a:pt x="17" y="1780"/>
                  </a:lnTo>
                  <a:lnTo>
                    <a:pt x="17" y="1782"/>
                  </a:lnTo>
                  <a:lnTo>
                    <a:pt x="17" y="1782"/>
                  </a:lnTo>
                  <a:lnTo>
                    <a:pt x="17" y="1782"/>
                  </a:lnTo>
                  <a:lnTo>
                    <a:pt x="17" y="1782"/>
                  </a:lnTo>
                  <a:lnTo>
                    <a:pt x="17" y="1783"/>
                  </a:lnTo>
                  <a:lnTo>
                    <a:pt x="16" y="1783"/>
                  </a:lnTo>
                  <a:lnTo>
                    <a:pt x="16" y="1783"/>
                  </a:lnTo>
                  <a:lnTo>
                    <a:pt x="15" y="1783"/>
                  </a:lnTo>
                  <a:lnTo>
                    <a:pt x="15" y="1783"/>
                  </a:lnTo>
                  <a:lnTo>
                    <a:pt x="15" y="1783"/>
                  </a:lnTo>
                  <a:lnTo>
                    <a:pt x="15" y="1784"/>
                  </a:lnTo>
                  <a:lnTo>
                    <a:pt x="15" y="1784"/>
                  </a:lnTo>
                  <a:lnTo>
                    <a:pt x="15" y="1784"/>
                  </a:lnTo>
                  <a:lnTo>
                    <a:pt x="15" y="1784"/>
                  </a:lnTo>
                  <a:lnTo>
                    <a:pt x="15" y="1785"/>
                  </a:lnTo>
                  <a:lnTo>
                    <a:pt x="12" y="1785"/>
                  </a:lnTo>
                  <a:lnTo>
                    <a:pt x="12" y="1785"/>
                  </a:lnTo>
                  <a:lnTo>
                    <a:pt x="11" y="1785"/>
                  </a:lnTo>
                  <a:lnTo>
                    <a:pt x="11" y="1787"/>
                  </a:lnTo>
                  <a:lnTo>
                    <a:pt x="11" y="1787"/>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8"/>
                  </a:lnTo>
                  <a:lnTo>
                    <a:pt x="11" y="1789"/>
                  </a:lnTo>
                  <a:lnTo>
                    <a:pt x="10" y="1789"/>
                  </a:lnTo>
                  <a:lnTo>
                    <a:pt x="10" y="1789"/>
                  </a:lnTo>
                  <a:lnTo>
                    <a:pt x="10" y="1789"/>
                  </a:lnTo>
                  <a:lnTo>
                    <a:pt x="10" y="1792"/>
                  </a:lnTo>
                  <a:lnTo>
                    <a:pt x="10" y="1792"/>
                  </a:lnTo>
                  <a:lnTo>
                    <a:pt x="10" y="1792"/>
                  </a:lnTo>
                  <a:lnTo>
                    <a:pt x="10" y="1792"/>
                  </a:lnTo>
                  <a:lnTo>
                    <a:pt x="10" y="1792"/>
                  </a:lnTo>
                  <a:lnTo>
                    <a:pt x="10" y="1792"/>
                  </a:lnTo>
                  <a:lnTo>
                    <a:pt x="10" y="1794"/>
                  </a:lnTo>
                  <a:lnTo>
                    <a:pt x="10" y="1794"/>
                  </a:lnTo>
                  <a:lnTo>
                    <a:pt x="10" y="1794"/>
                  </a:lnTo>
                  <a:lnTo>
                    <a:pt x="10" y="1794"/>
                  </a:lnTo>
                  <a:lnTo>
                    <a:pt x="10" y="1794"/>
                  </a:lnTo>
                  <a:lnTo>
                    <a:pt x="10" y="1794"/>
                  </a:lnTo>
                  <a:lnTo>
                    <a:pt x="10" y="1794"/>
                  </a:lnTo>
                  <a:lnTo>
                    <a:pt x="10" y="1794"/>
                  </a:lnTo>
                  <a:lnTo>
                    <a:pt x="10" y="1794"/>
                  </a:lnTo>
                  <a:lnTo>
                    <a:pt x="10" y="1794"/>
                  </a:lnTo>
                  <a:lnTo>
                    <a:pt x="10" y="1800"/>
                  </a:lnTo>
                  <a:lnTo>
                    <a:pt x="9" y="1800"/>
                  </a:lnTo>
                  <a:lnTo>
                    <a:pt x="9" y="1800"/>
                  </a:lnTo>
                  <a:lnTo>
                    <a:pt x="9" y="1800"/>
                  </a:lnTo>
                  <a:lnTo>
                    <a:pt x="9" y="1800"/>
                  </a:lnTo>
                  <a:lnTo>
                    <a:pt x="9" y="1800"/>
                  </a:lnTo>
                  <a:lnTo>
                    <a:pt x="9" y="1800"/>
                  </a:lnTo>
                  <a:lnTo>
                    <a:pt x="9" y="1800"/>
                  </a:lnTo>
                  <a:lnTo>
                    <a:pt x="9" y="1800"/>
                  </a:lnTo>
                  <a:lnTo>
                    <a:pt x="8" y="1800"/>
                  </a:lnTo>
                  <a:lnTo>
                    <a:pt x="8" y="1800"/>
                  </a:lnTo>
                  <a:lnTo>
                    <a:pt x="7" y="1800"/>
                  </a:lnTo>
                  <a:lnTo>
                    <a:pt x="7" y="1800"/>
                  </a:lnTo>
                  <a:lnTo>
                    <a:pt x="6" y="1800"/>
                  </a:lnTo>
                  <a:lnTo>
                    <a:pt x="6" y="1800"/>
                  </a:lnTo>
                  <a:lnTo>
                    <a:pt x="6" y="1800"/>
                  </a:lnTo>
                  <a:lnTo>
                    <a:pt x="6" y="1800"/>
                  </a:lnTo>
                  <a:lnTo>
                    <a:pt x="6" y="1800"/>
                  </a:lnTo>
                  <a:lnTo>
                    <a:pt x="6" y="1800"/>
                  </a:lnTo>
                  <a:lnTo>
                    <a:pt x="6" y="1800"/>
                  </a:lnTo>
                  <a:lnTo>
                    <a:pt x="6"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5"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4"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3"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2"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1"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lnTo>
                    <a:pt x="0" y="1800"/>
                  </a:lnTo>
                  <a:close/>
                </a:path>
              </a:pathLst>
            </a:custGeom>
            <a:solidFill>
              <a:srgbClr val="49D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Chart Background">
            <a:extLst>
              <a:ext uri="{FF2B5EF4-FFF2-40B4-BE49-F238E27FC236}">
                <a16:creationId xmlns:a16="http://schemas.microsoft.com/office/drawing/2014/main" id="{6FA83642-AE43-494D-A579-D0380115A558}"/>
              </a:ext>
            </a:extLst>
          </p:cNvPr>
          <p:cNvGrpSpPr/>
          <p:nvPr/>
        </p:nvGrpSpPr>
        <p:grpSpPr>
          <a:xfrm>
            <a:off x="1194264" y="1982042"/>
            <a:ext cx="9803471" cy="3967630"/>
            <a:chOff x="516632" y="1114425"/>
            <a:chExt cx="7837684" cy="3172043"/>
          </a:xfrm>
        </p:grpSpPr>
        <p:grpSp>
          <p:nvGrpSpPr>
            <p:cNvPr id="56" name="Legend (Pastel)" hidden="1">
              <a:extLst>
                <a:ext uri="{FF2B5EF4-FFF2-40B4-BE49-F238E27FC236}">
                  <a16:creationId xmlns:a16="http://schemas.microsoft.com/office/drawing/2014/main" id="{DD9AFE3A-B558-4297-B360-2B6EAFDAD4F1}"/>
                </a:ext>
              </a:extLst>
            </p:cNvPr>
            <p:cNvGrpSpPr/>
            <p:nvPr/>
          </p:nvGrpSpPr>
          <p:grpSpPr>
            <a:xfrm>
              <a:off x="6684964" y="1330325"/>
              <a:ext cx="1669352" cy="2679903"/>
              <a:chOff x="6686551" y="1284288"/>
              <a:chExt cx="1669352" cy="2779039"/>
            </a:xfrm>
          </p:grpSpPr>
          <p:sp>
            <p:nvSpPr>
              <p:cNvPr id="108" name="Rectangle 39">
                <a:extLst>
                  <a:ext uri="{FF2B5EF4-FFF2-40B4-BE49-F238E27FC236}">
                    <a16:creationId xmlns:a16="http://schemas.microsoft.com/office/drawing/2014/main" id="{579045DA-0180-4298-82F1-E3E005C0CA22}"/>
                  </a:ext>
                </a:extLst>
              </p:cNvPr>
              <p:cNvSpPr>
                <a:spLocks noChangeArrowheads="1"/>
              </p:cNvSpPr>
              <p:nvPr/>
            </p:nvSpPr>
            <p:spPr bwMode="auto">
              <a:xfrm>
                <a:off x="6686551" y="1328738"/>
                <a:ext cx="69850" cy="69850"/>
              </a:xfrm>
              <a:prstGeom prst="rect">
                <a:avLst/>
              </a:prstGeom>
              <a:solidFill>
                <a:srgbClr val="46D2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9" name="Rectangle 40">
                <a:extLst>
                  <a:ext uri="{FF2B5EF4-FFF2-40B4-BE49-F238E27FC236}">
                    <a16:creationId xmlns:a16="http://schemas.microsoft.com/office/drawing/2014/main" id="{6E967B65-DC6A-4615-B3D1-0113D173C1D0}"/>
                  </a:ext>
                </a:extLst>
              </p:cNvPr>
              <p:cNvSpPr>
                <a:spLocks noChangeArrowheads="1"/>
              </p:cNvSpPr>
              <p:nvPr/>
            </p:nvSpPr>
            <p:spPr bwMode="auto">
              <a:xfrm>
                <a:off x="6786563" y="1284288"/>
                <a:ext cx="1569340"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Early device replacement</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0" name="Rectangle 41">
                <a:extLst>
                  <a:ext uri="{FF2B5EF4-FFF2-40B4-BE49-F238E27FC236}">
                    <a16:creationId xmlns:a16="http://schemas.microsoft.com/office/drawing/2014/main" id="{497A8A6F-66E1-4C08-BA20-2DD22632EA48}"/>
                  </a:ext>
                </a:extLst>
              </p:cNvPr>
              <p:cNvSpPr>
                <a:spLocks noChangeArrowheads="1"/>
              </p:cNvSpPr>
              <p:nvPr/>
            </p:nvSpPr>
            <p:spPr bwMode="auto">
              <a:xfrm>
                <a:off x="6686551" y="1514476"/>
                <a:ext cx="69850" cy="71438"/>
              </a:xfrm>
              <a:prstGeom prst="rect">
                <a:avLst/>
              </a:prstGeom>
              <a:solidFill>
                <a:srgbClr val="84DE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1" name="Rectangle 42">
                <a:extLst>
                  <a:ext uri="{FF2B5EF4-FFF2-40B4-BE49-F238E27FC236}">
                    <a16:creationId xmlns:a16="http://schemas.microsoft.com/office/drawing/2014/main" id="{3AADDD68-1FD8-4504-9D17-C1E430334B8A}"/>
                  </a:ext>
                </a:extLst>
              </p:cNvPr>
              <p:cNvSpPr>
                <a:spLocks noChangeArrowheads="1"/>
              </p:cNvSpPr>
              <p:nvPr/>
            </p:nvSpPr>
            <p:spPr bwMode="auto">
              <a:xfrm>
                <a:off x="6786563" y="1470026"/>
                <a:ext cx="442429"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ump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2" name="Rectangle 43">
                <a:extLst>
                  <a:ext uri="{FF2B5EF4-FFF2-40B4-BE49-F238E27FC236}">
                    <a16:creationId xmlns:a16="http://schemas.microsoft.com/office/drawing/2014/main" id="{11EA8C94-8D08-43F4-9C92-03FA8AF082B7}"/>
                  </a:ext>
                </a:extLst>
              </p:cNvPr>
              <p:cNvSpPr>
                <a:spLocks noChangeArrowheads="1"/>
              </p:cNvSpPr>
              <p:nvPr/>
            </p:nvSpPr>
            <p:spPr bwMode="auto">
              <a:xfrm>
                <a:off x="6686551" y="1701801"/>
                <a:ext cx="69850" cy="69850"/>
              </a:xfrm>
              <a:prstGeom prst="rect">
                <a:avLst/>
              </a:prstGeom>
              <a:solidFill>
                <a:srgbClr val="C1EF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3" name="Rectangle 44">
                <a:extLst>
                  <a:ext uri="{FF2B5EF4-FFF2-40B4-BE49-F238E27FC236}">
                    <a16:creationId xmlns:a16="http://schemas.microsoft.com/office/drawing/2014/main" id="{EC093A38-6031-4B90-8D7B-2E5498289497}"/>
                  </a:ext>
                </a:extLst>
              </p:cNvPr>
              <p:cNvSpPr>
                <a:spLocks noChangeArrowheads="1"/>
              </p:cNvSpPr>
              <p:nvPr/>
            </p:nvSpPr>
            <p:spPr bwMode="auto">
              <a:xfrm>
                <a:off x="6786563" y="1655763"/>
                <a:ext cx="1469954"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Compressor seal or rod</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4" name="Rectangle 45">
                <a:extLst>
                  <a:ext uri="{FF2B5EF4-FFF2-40B4-BE49-F238E27FC236}">
                    <a16:creationId xmlns:a16="http://schemas.microsoft.com/office/drawing/2014/main" id="{8492E3D6-77F1-44C9-9C6C-3A045B17EC2F}"/>
                  </a:ext>
                </a:extLst>
              </p:cNvPr>
              <p:cNvSpPr>
                <a:spLocks noChangeArrowheads="1"/>
              </p:cNvSpPr>
              <p:nvPr/>
            </p:nvSpPr>
            <p:spPr bwMode="auto">
              <a:xfrm>
                <a:off x="6686551" y="1887538"/>
                <a:ext cx="69850" cy="69850"/>
              </a:xfrm>
              <a:prstGeom prst="rect">
                <a:avLst/>
              </a:prstGeom>
              <a:solidFill>
                <a:srgbClr val="E8DB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5" name="Rectangle 46">
                <a:extLst>
                  <a:ext uri="{FF2B5EF4-FFF2-40B4-BE49-F238E27FC236}">
                    <a16:creationId xmlns:a16="http://schemas.microsoft.com/office/drawing/2014/main" id="{51A877AA-8980-43F2-B78D-B1B1F6AF04B3}"/>
                  </a:ext>
                </a:extLst>
              </p:cNvPr>
              <p:cNvSpPr>
                <a:spLocks noChangeArrowheads="1"/>
              </p:cNvSpPr>
              <p:nvPr/>
            </p:nvSpPr>
            <p:spPr bwMode="auto">
              <a:xfrm>
                <a:off x="6786563" y="1841501"/>
                <a:ext cx="1444306"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Instrument air system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6" name="Rectangle 47">
                <a:extLst>
                  <a:ext uri="{FF2B5EF4-FFF2-40B4-BE49-F238E27FC236}">
                    <a16:creationId xmlns:a16="http://schemas.microsoft.com/office/drawing/2014/main" id="{D2A1D307-01F9-4212-8B51-33F032D7EDE2}"/>
                  </a:ext>
                </a:extLst>
              </p:cNvPr>
              <p:cNvSpPr>
                <a:spLocks noChangeArrowheads="1"/>
              </p:cNvSpPr>
              <p:nvPr/>
            </p:nvSpPr>
            <p:spPr bwMode="auto">
              <a:xfrm>
                <a:off x="6686551" y="2073276"/>
                <a:ext cx="69850" cy="69850"/>
              </a:xfrm>
              <a:prstGeom prst="rect">
                <a:avLst/>
              </a:prstGeom>
              <a:solidFill>
                <a:srgbClr val="D0B7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7" name="Rectangle 48">
                <a:extLst>
                  <a:ext uri="{FF2B5EF4-FFF2-40B4-BE49-F238E27FC236}">
                    <a16:creationId xmlns:a16="http://schemas.microsoft.com/office/drawing/2014/main" id="{328255B0-1F79-48DE-A60E-7A9DBFEBA563}"/>
                  </a:ext>
                </a:extLst>
              </p:cNvPr>
              <p:cNvSpPr>
                <a:spLocks noChangeArrowheads="1"/>
              </p:cNvSpPr>
              <p:nvPr/>
            </p:nvSpPr>
            <p:spPr bwMode="auto">
              <a:xfrm>
                <a:off x="6786563" y="2027238"/>
                <a:ext cx="878446"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Electric motor</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8" name="Rectangle 49">
                <a:extLst>
                  <a:ext uri="{FF2B5EF4-FFF2-40B4-BE49-F238E27FC236}">
                    <a16:creationId xmlns:a16="http://schemas.microsoft.com/office/drawing/2014/main" id="{F7B6868B-489C-426A-8BD1-0309DC996BDD}"/>
                  </a:ext>
                </a:extLst>
              </p:cNvPr>
              <p:cNvSpPr>
                <a:spLocks noChangeArrowheads="1"/>
              </p:cNvSpPr>
              <p:nvPr/>
            </p:nvSpPr>
            <p:spPr bwMode="auto">
              <a:xfrm>
                <a:off x="6686551" y="2444751"/>
                <a:ext cx="69850" cy="69850"/>
              </a:xfrm>
              <a:prstGeom prst="rect">
                <a:avLst/>
              </a:prstGeom>
              <a:solidFill>
                <a:srgbClr val="FFF35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19" name="Rectangle 50">
                <a:extLst>
                  <a:ext uri="{FF2B5EF4-FFF2-40B4-BE49-F238E27FC236}">
                    <a16:creationId xmlns:a16="http://schemas.microsoft.com/office/drawing/2014/main" id="{14A46983-37B9-4763-9627-2133F6CA69A5}"/>
                  </a:ext>
                </a:extLst>
              </p:cNvPr>
              <p:cNvSpPr>
                <a:spLocks noChangeArrowheads="1"/>
              </p:cNvSpPr>
              <p:nvPr/>
            </p:nvSpPr>
            <p:spPr bwMode="auto">
              <a:xfrm>
                <a:off x="6786563" y="2398713"/>
                <a:ext cx="1368965"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Vapour recovery unit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0" name="Rectangle 51">
                <a:extLst>
                  <a:ext uri="{FF2B5EF4-FFF2-40B4-BE49-F238E27FC236}">
                    <a16:creationId xmlns:a16="http://schemas.microsoft.com/office/drawing/2014/main" id="{004DF3E2-8512-42BE-8A08-609FF64C2D97}"/>
                  </a:ext>
                </a:extLst>
              </p:cNvPr>
              <p:cNvSpPr>
                <a:spLocks noChangeArrowheads="1"/>
              </p:cNvSpPr>
              <p:nvPr/>
            </p:nvSpPr>
            <p:spPr bwMode="auto">
              <a:xfrm>
                <a:off x="6686551" y="2630488"/>
                <a:ext cx="69850" cy="69850"/>
              </a:xfrm>
              <a:prstGeom prst="rect">
                <a:avLst/>
              </a:prstGeom>
              <a:solidFill>
                <a:srgbClr val="FEF8A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1" name="Rectangle 52">
                <a:extLst>
                  <a:ext uri="{FF2B5EF4-FFF2-40B4-BE49-F238E27FC236}">
                    <a16:creationId xmlns:a16="http://schemas.microsoft.com/office/drawing/2014/main" id="{D9F5999E-3D80-43EE-9AC3-724023A6892D}"/>
                  </a:ext>
                </a:extLst>
              </p:cNvPr>
              <p:cNvSpPr>
                <a:spLocks noChangeArrowheads="1"/>
              </p:cNvSpPr>
              <p:nvPr/>
            </p:nvSpPr>
            <p:spPr bwMode="auto">
              <a:xfrm>
                <a:off x="6786563" y="2584451"/>
                <a:ext cx="1165384"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Blowdown capture</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2" name="Rectangle 53">
                <a:extLst>
                  <a:ext uri="{FF2B5EF4-FFF2-40B4-BE49-F238E27FC236}">
                    <a16:creationId xmlns:a16="http://schemas.microsoft.com/office/drawing/2014/main" id="{FD52CA7E-E8D2-40F0-82A3-A7E931610101}"/>
                  </a:ext>
                </a:extLst>
              </p:cNvPr>
              <p:cNvSpPr>
                <a:spLocks noChangeArrowheads="1"/>
              </p:cNvSpPr>
              <p:nvPr/>
            </p:nvSpPr>
            <p:spPr bwMode="auto">
              <a:xfrm>
                <a:off x="6686551" y="2816226"/>
                <a:ext cx="69850" cy="69850"/>
              </a:xfrm>
              <a:prstGeom prst="rect">
                <a:avLst/>
              </a:prstGeom>
              <a:solidFill>
                <a:srgbClr val="FFB7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3" name="Rectangle 54">
                <a:extLst>
                  <a:ext uri="{FF2B5EF4-FFF2-40B4-BE49-F238E27FC236}">
                    <a16:creationId xmlns:a16="http://schemas.microsoft.com/office/drawing/2014/main" id="{7C011060-9C01-40BB-9A77-EC8882DCCA40}"/>
                  </a:ext>
                </a:extLst>
              </p:cNvPr>
              <p:cNvSpPr>
                <a:spLocks noChangeArrowheads="1"/>
              </p:cNvSpPr>
              <p:nvPr/>
            </p:nvSpPr>
            <p:spPr bwMode="auto">
              <a:xfrm>
                <a:off x="6786563" y="2770188"/>
                <a:ext cx="384721"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Flare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4" name="Rectangle 55">
                <a:extLst>
                  <a:ext uri="{FF2B5EF4-FFF2-40B4-BE49-F238E27FC236}">
                    <a16:creationId xmlns:a16="http://schemas.microsoft.com/office/drawing/2014/main" id="{49AD4CA1-A4F7-41D3-9AB2-339FC40DB0C6}"/>
                  </a:ext>
                </a:extLst>
              </p:cNvPr>
              <p:cNvSpPr>
                <a:spLocks noChangeArrowheads="1"/>
              </p:cNvSpPr>
              <p:nvPr/>
            </p:nvSpPr>
            <p:spPr bwMode="auto">
              <a:xfrm>
                <a:off x="6686551" y="3001963"/>
                <a:ext cx="69850" cy="71438"/>
              </a:xfrm>
              <a:prstGeom prst="rect">
                <a:avLst/>
              </a:prstGeom>
              <a:solidFill>
                <a:srgbClr val="FFD4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5" name="Rectangle 56">
                <a:extLst>
                  <a:ext uri="{FF2B5EF4-FFF2-40B4-BE49-F238E27FC236}">
                    <a16:creationId xmlns:a16="http://schemas.microsoft.com/office/drawing/2014/main" id="{3E40076B-2A75-4F19-8027-2528DC05B3E2}"/>
                  </a:ext>
                </a:extLst>
              </p:cNvPr>
              <p:cNvSpPr>
                <a:spLocks noChangeArrowheads="1"/>
              </p:cNvSpPr>
              <p:nvPr/>
            </p:nvSpPr>
            <p:spPr bwMode="auto">
              <a:xfrm>
                <a:off x="6786563" y="2959101"/>
                <a:ext cx="554639"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lunger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6" name="Rectangle 57">
                <a:extLst>
                  <a:ext uri="{FF2B5EF4-FFF2-40B4-BE49-F238E27FC236}">
                    <a16:creationId xmlns:a16="http://schemas.microsoft.com/office/drawing/2014/main" id="{1A084619-B29E-4FC9-95EC-F155333FAFBD}"/>
                  </a:ext>
                </a:extLst>
              </p:cNvPr>
              <p:cNvSpPr>
                <a:spLocks noChangeArrowheads="1"/>
              </p:cNvSpPr>
              <p:nvPr/>
            </p:nvSpPr>
            <p:spPr bwMode="auto">
              <a:xfrm>
                <a:off x="6686551" y="3373438"/>
                <a:ext cx="69850" cy="69850"/>
              </a:xfrm>
              <a:prstGeom prst="rect">
                <a:avLst/>
              </a:prstGeom>
              <a:solidFill>
                <a:srgbClr val="FFA4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7" name="Rectangle 58">
                <a:extLst>
                  <a:ext uri="{FF2B5EF4-FFF2-40B4-BE49-F238E27FC236}">
                    <a16:creationId xmlns:a16="http://schemas.microsoft.com/office/drawing/2014/main" id="{57FC6099-B6E3-4A9A-B874-9D82ABC8360F}"/>
                  </a:ext>
                </a:extLst>
              </p:cNvPr>
              <p:cNvSpPr>
                <a:spLocks noChangeArrowheads="1"/>
              </p:cNvSpPr>
              <p:nvPr/>
            </p:nvSpPr>
            <p:spPr bwMode="auto">
              <a:xfrm>
                <a:off x="6786563" y="3330576"/>
                <a:ext cx="612347"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Upstream</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8" name="Rectangle 59">
                <a:extLst>
                  <a:ext uri="{FF2B5EF4-FFF2-40B4-BE49-F238E27FC236}">
                    <a16:creationId xmlns:a16="http://schemas.microsoft.com/office/drawing/2014/main" id="{2D890C3F-D719-46CB-AB10-652F17D64040}"/>
                  </a:ext>
                </a:extLst>
              </p:cNvPr>
              <p:cNvSpPr>
                <a:spLocks noChangeArrowheads="1"/>
              </p:cNvSpPr>
              <p:nvPr/>
            </p:nvSpPr>
            <p:spPr bwMode="auto">
              <a:xfrm>
                <a:off x="6686551" y="3559176"/>
                <a:ext cx="69850" cy="69850"/>
              </a:xfrm>
              <a:prstGeom prst="rect">
                <a:avLst/>
              </a:prstGeom>
              <a:solidFill>
                <a:srgbClr val="FFD2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29" name="Rectangle 60">
                <a:extLst>
                  <a:ext uri="{FF2B5EF4-FFF2-40B4-BE49-F238E27FC236}">
                    <a16:creationId xmlns:a16="http://schemas.microsoft.com/office/drawing/2014/main" id="{41F8740F-7C27-453B-98CC-1BB55FE5335D}"/>
                  </a:ext>
                </a:extLst>
              </p:cNvPr>
              <p:cNvSpPr>
                <a:spLocks noChangeArrowheads="1"/>
              </p:cNvSpPr>
              <p:nvPr/>
            </p:nvSpPr>
            <p:spPr bwMode="auto">
              <a:xfrm>
                <a:off x="6786563" y="3516313"/>
                <a:ext cx="799899"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Downstream</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30" name="Rectangle 61">
                <a:extLst>
                  <a:ext uri="{FF2B5EF4-FFF2-40B4-BE49-F238E27FC236}">
                    <a16:creationId xmlns:a16="http://schemas.microsoft.com/office/drawing/2014/main" id="{3357B509-9674-48FC-B549-F4DF47A7FEE5}"/>
                  </a:ext>
                </a:extLst>
              </p:cNvPr>
              <p:cNvSpPr>
                <a:spLocks noChangeArrowheads="1"/>
              </p:cNvSpPr>
              <p:nvPr/>
            </p:nvSpPr>
            <p:spPr bwMode="auto">
              <a:xfrm>
                <a:off x="6686551" y="3930651"/>
                <a:ext cx="69850" cy="69850"/>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31" name="Rectangle 62">
                <a:extLst>
                  <a:ext uri="{FF2B5EF4-FFF2-40B4-BE49-F238E27FC236}">
                    <a16:creationId xmlns:a16="http://schemas.microsoft.com/office/drawing/2014/main" id="{AC25A406-DFB2-4A7D-9549-2A318591C270}"/>
                  </a:ext>
                </a:extLst>
              </p:cNvPr>
              <p:cNvSpPr>
                <a:spLocks noChangeArrowheads="1"/>
              </p:cNvSpPr>
              <p:nvPr/>
            </p:nvSpPr>
            <p:spPr bwMode="auto">
              <a:xfrm>
                <a:off x="6786563" y="3887788"/>
                <a:ext cx="344646" cy="175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Other</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nvGrpSpPr>
            <p:cNvPr id="57" name="Legend (normal)">
              <a:extLst>
                <a:ext uri="{FF2B5EF4-FFF2-40B4-BE49-F238E27FC236}">
                  <a16:creationId xmlns:a16="http://schemas.microsoft.com/office/drawing/2014/main" id="{E64ECE65-A3A2-4209-922C-EE6AD0775215}"/>
                </a:ext>
              </a:extLst>
            </p:cNvPr>
            <p:cNvGrpSpPr/>
            <p:nvPr/>
          </p:nvGrpSpPr>
          <p:grpSpPr>
            <a:xfrm>
              <a:off x="6683376" y="1330325"/>
              <a:ext cx="1670940" cy="2736265"/>
              <a:chOff x="6683376" y="1330325"/>
              <a:chExt cx="1670940" cy="2736265"/>
            </a:xfrm>
          </p:grpSpPr>
          <p:sp>
            <p:nvSpPr>
              <p:cNvPr id="84" name="Rectangle 39">
                <a:extLst>
                  <a:ext uri="{FF2B5EF4-FFF2-40B4-BE49-F238E27FC236}">
                    <a16:creationId xmlns:a16="http://schemas.microsoft.com/office/drawing/2014/main" id="{B5480C89-0AE5-48CD-8DDE-B26E39354020}"/>
                  </a:ext>
                </a:extLst>
              </p:cNvPr>
              <p:cNvSpPr>
                <a:spLocks noChangeArrowheads="1"/>
              </p:cNvSpPr>
              <p:nvPr/>
            </p:nvSpPr>
            <p:spPr bwMode="auto">
              <a:xfrm>
                <a:off x="6683376" y="1376363"/>
                <a:ext cx="69850" cy="69850"/>
              </a:xfrm>
              <a:prstGeom prst="rect">
                <a:avLst/>
              </a:prstGeom>
              <a:solidFill>
                <a:srgbClr val="49D3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5" name="Rectangle 40">
                <a:extLst>
                  <a:ext uri="{FF2B5EF4-FFF2-40B4-BE49-F238E27FC236}">
                    <a16:creationId xmlns:a16="http://schemas.microsoft.com/office/drawing/2014/main" id="{BA3143F4-AFE0-4624-8F42-A9E5F529E2F7}"/>
                  </a:ext>
                </a:extLst>
              </p:cNvPr>
              <p:cNvSpPr>
                <a:spLocks noChangeArrowheads="1"/>
              </p:cNvSpPr>
              <p:nvPr/>
            </p:nvSpPr>
            <p:spPr bwMode="auto">
              <a:xfrm>
                <a:off x="6784976" y="1330325"/>
                <a:ext cx="156934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Early device replacement</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6" name="Rectangle 41">
                <a:extLst>
                  <a:ext uri="{FF2B5EF4-FFF2-40B4-BE49-F238E27FC236}">
                    <a16:creationId xmlns:a16="http://schemas.microsoft.com/office/drawing/2014/main" id="{3996F07D-3343-4169-B23D-8D298316EBE8}"/>
                  </a:ext>
                </a:extLst>
              </p:cNvPr>
              <p:cNvSpPr>
                <a:spLocks noChangeArrowheads="1"/>
              </p:cNvSpPr>
              <p:nvPr/>
            </p:nvSpPr>
            <p:spPr bwMode="auto">
              <a:xfrm>
                <a:off x="6683376" y="1554163"/>
                <a:ext cx="69850" cy="69850"/>
              </a:xfrm>
              <a:prstGeom prst="rect">
                <a:avLst/>
              </a:prstGeom>
              <a:solidFill>
                <a:srgbClr val="70AF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7" name="Rectangle 42">
                <a:extLst>
                  <a:ext uri="{FF2B5EF4-FFF2-40B4-BE49-F238E27FC236}">
                    <a16:creationId xmlns:a16="http://schemas.microsoft.com/office/drawing/2014/main" id="{2C9A19BE-83B4-4BA0-A1F3-85FE40C25638}"/>
                  </a:ext>
                </a:extLst>
              </p:cNvPr>
              <p:cNvSpPr>
                <a:spLocks noChangeArrowheads="1"/>
              </p:cNvSpPr>
              <p:nvPr/>
            </p:nvSpPr>
            <p:spPr bwMode="auto">
              <a:xfrm>
                <a:off x="6784976" y="1511300"/>
                <a:ext cx="4424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ump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8" name="Rectangle 43">
                <a:extLst>
                  <a:ext uri="{FF2B5EF4-FFF2-40B4-BE49-F238E27FC236}">
                    <a16:creationId xmlns:a16="http://schemas.microsoft.com/office/drawing/2014/main" id="{451877EC-4892-4F54-83AC-64B29508E5AB}"/>
                  </a:ext>
                </a:extLst>
              </p:cNvPr>
              <p:cNvSpPr>
                <a:spLocks noChangeArrowheads="1"/>
              </p:cNvSpPr>
              <p:nvPr/>
            </p:nvSpPr>
            <p:spPr bwMode="auto">
              <a:xfrm>
                <a:off x="6683376" y="1733550"/>
                <a:ext cx="69850" cy="69850"/>
              </a:xfrm>
              <a:prstGeom prst="rect">
                <a:avLst/>
              </a:prstGeom>
              <a:solidFill>
                <a:srgbClr val="3E7A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9" name="Rectangle 44">
                <a:extLst>
                  <a:ext uri="{FF2B5EF4-FFF2-40B4-BE49-F238E27FC236}">
                    <a16:creationId xmlns:a16="http://schemas.microsoft.com/office/drawing/2014/main" id="{27D3A0D4-6BAA-41DA-9275-1BA87E69CB67}"/>
                  </a:ext>
                </a:extLst>
              </p:cNvPr>
              <p:cNvSpPr>
                <a:spLocks noChangeArrowheads="1"/>
              </p:cNvSpPr>
              <p:nvPr/>
            </p:nvSpPr>
            <p:spPr bwMode="auto">
              <a:xfrm>
                <a:off x="6784976" y="1687513"/>
                <a:ext cx="146995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Compressor seal or rod</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0" name="Rectangle 45">
                <a:extLst>
                  <a:ext uri="{FF2B5EF4-FFF2-40B4-BE49-F238E27FC236}">
                    <a16:creationId xmlns:a16="http://schemas.microsoft.com/office/drawing/2014/main" id="{2C7DF75C-1DC8-4F13-99A9-DEED11F90951}"/>
                  </a:ext>
                </a:extLst>
              </p:cNvPr>
              <p:cNvSpPr>
                <a:spLocks noChangeArrowheads="1"/>
              </p:cNvSpPr>
              <p:nvPr/>
            </p:nvSpPr>
            <p:spPr bwMode="auto">
              <a:xfrm>
                <a:off x="6683376" y="1911350"/>
                <a:ext cx="69850" cy="69850"/>
              </a:xfrm>
              <a:prstGeom prst="rect">
                <a:avLst/>
              </a:prstGeom>
              <a:solidFill>
                <a:srgbClr val="CFB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1" name="Rectangle 46">
                <a:extLst>
                  <a:ext uri="{FF2B5EF4-FFF2-40B4-BE49-F238E27FC236}">
                    <a16:creationId xmlns:a16="http://schemas.microsoft.com/office/drawing/2014/main" id="{B5868C0E-3E52-4256-8638-2AFCDEE00292}"/>
                  </a:ext>
                </a:extLst>
              </p:cNvPr>
              <p:cNvSpPr>
                <a:spLocks noChangeArrowheads="1"/>
              </p:cNvSpPr>
              <p:nvPr/>
            </p:nvSpPr>
            <p:spPr bwMode="auto">
              <a:xfrm>
                <a:off x="6784976" y="1866900"/>
                <a:ext cx="144430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Instrument air system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2" name="Rectangle 47">
                <a:extLst>
                  <a:ext uri="{FF2B5EF4-FFF2-40B4-BE49-F238E27FC236}">
                    <a16:creationId xmlns:a16="http://schemas.microsoft.com/office/drawing/2014/main" id="{B42ABF22-343D-4870-9997-7CA28F0FFEDD}"/>
                  </a:ext>
                </a:extLst>
              </p:cNvPr>
              <p:cNvSpPr>
                <a:spLocks noChangeArrowheads="1"/>
              </p:cNvSpPr>
              <p:nvPr/>
            </p:nvSpPr>
            <p:spPr bwMode="auto">
              <a:xfrm>
                <a:off x="6683376" y="2090738"/>
                <a:ext cx="69850" cy="71438"/>
              </a:xfrm>
              <a:prstGeom prst="rect">
                <a:avLst/>
              </a:prstGeom>
              <a:solidFill>
                <a:srgbClr val="B187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3" name="Rectangle 48">
                <a:extLst>
                  <a:ext uri="{FF2B5EF4-FFF2-40B4-BE49-F238E27FC236}">
                    <a16:creationId xmlns:a16="http://schemas.microsoft.com/office/drawing/2014/main" id="{771D6795-38C0-449F-A23A-AFD1873F2338}"/>
                  </a:ext>
                </a:extLst>
              </p:cNvPr>
              <p:cNvSpPr>
                <a:spLocks noChangeArrowheads="1"/>
              </p:cNvSpPr>
              <p:nvPr/>
            </p:nvSpPr>
            <p:spPr bwMode="auto">
              <a:xfrm>
                <a:off x="6784976" y="2047875"/>
                <a:ext cx="8784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Electric motor</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4" name="Rectangle 49">
                <a:extLst>
                  <a:ext uri="{FF2B5EF4-FFF2-40B4-BE49-F238E27FC236}">
                    <a16:creationId xmlns:a16="http://schemas.microsoft.com/office/drawing/2014/main" id="{232BB551-1208-4D99-977F-BF701D35967A}"/>
                  </a:ext>
                </a:extLst>
              </p:cNvPr>
              <p:cNvSpPr>
                <a:spLocks noChangeArrowheads="1"/>
              </p:cNvSpPr>
              <p:nvPr/>
            </p:nvSpPr>
            <p:spPr bwMode="auto">
              <a:xfrm>
                <a:off x="6683376" y="2511425"/>
                <a:ext cx="69850" cy="71438"/>
              </a:xfrm>
              <a:prstGeom prst="rect">
                <a:avLst/>
              </a:prstGeom>
              <a:solidFill>
                <a:srgbClr val="FED32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5" name="Rectangle 50">
                <a:extLst>
                  <a:ext uri="{FF2B5EF4-FFF2-40B4-BE49-F238E27FC236}">
                    <a16:creationId xmlns:a16="http://schemas.microsoft.com/office/drawing/2014/main" id="{AB3C7B3F-2DF4-4F3D-8B4B-3D202D25AFED}"/>
                  </a:ext>
                </a:extLst>
              </p:cNvPr>
              <p:cNvSpPr>
                <a:spLocks noChangeArrowheads="1"/>
              </p:cNvSpPr>
              <p:nvPr/>
            </p:nvSpPr>
            <p:spPr bwMode="auto">
              <a:xfrm>
                <a:off x="6784976" y="2466975"/>
                <a:ext cx="1368965"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mn-cs"/>
                  </a:rPr>
                  <a:t>Vapour</a:t>
                </a: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recovery unit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6" name="Rectangle 51">
                <a:extLst>
                  <a:ext uri="{FF2B5EF4-FFF2-40B4-BE49-F238E27FC236}">
                    <a16:creationId xmlns:a16="http://schemas.microsoft.com/office/drawing/2014/main" id="{FD1E27A9-01FC-4CFD-9102-302E7373D214}"/>
                  </a:ext>
                </a:extLst>
              </p:cNvPr>
              <p:cNvSpPr>
                <a:spLocks noChangeArrowheads="1"/>
              </p:cNvSpPr>
              <p:nvPr/>
            </p:nvSpPr>
            <p:spPr bwMode="auto">
              <a:xfrm>
                <a:off x="6683376" y="2690813"/>
                <a:ext cx="69850" cy="69850"/>
              </a:xfrm>
              <a:prstGeom prst="rect">
                <a:avLst/>
              </a:prstGeom>
              <a:solidFill>
                <a:srgbClr val="F1A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7" name="Rectangle 52">
                <a:extLst>
                  <a:ext uri="{FF2B5EF4-FFF2-40B4-BE49-F238E27FC236}">
                    <a16:creationId xmlns:a16="http://schemas.microsoft.com/office/drawing/2014/main" id="{4654C8B7-8CCE-462D-B7AD-F0F232221E23}"/>
                  </a:ext>
                </a:extLst>
              </p:cNvPr>
              <p:cNvSpPr>
                <a:spLocks noChangeArrowheads="1"/>
              </p:cNvSpPr>
              <p:nvPr/>
            </p:nvSpPr>
            <p:spPr bwMode="auto">
              <a:xfrm>
                <a:off x="6784976" y="2644775"/>
                <a:ext cx="116538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Blowdown capture</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8" name="Rectangle 53">
                <a:extLst>
                  <a:ext uri="{FF2B5EF4-FFF2-40B4-BE49-F238E27FC236}">
                    <a16:creationId xmlns:a16="http://schemas.microsoft.com/office/drawing/2014/main" id="{BBC57FEE-D539-413B-857D-339AEE1586CA}"/>
                  </a:ext>
                </a:extLst>
              </p:cNvPr>
              <p:cNvSpPr>
                <a:spLocks noChangeArrowheads="1"/>
              </p:cNvSpPr>
              <p:nvPr/>
            </p:nvSpPr>
            <p:spPr bwMode="auto">
              <a:xfrm>
                <a:off x="6683376" y="2868613"/>
                <a:ext cx="69850" cy="69850"/>
              </a:xfrm>
              <a:prstGeom prst="rect">
                <a:avLst/>
              </a:prstGeom>
              <a:solidFill>
                <a:srgbClr val="FF69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99" name="Rectangle 54">
                <a:extLst>
                  <a:ext uri="{FF2B5EF4-FFF2-40B4-BE49-F238E27FC236}">
                    <a16:creationId xmlns:a16="http://schemas.microsoft.com/office/drawing/2014/main" id="{00BDA45E-8A76-44A2-837D-9A772B817529}"/>
                  </a:ext>
                </a:extLst>
              </p:cNvPr>
              <p:cNvSpPr>
                <a:spLocks noChangeArrowheads="1"/>
              </p:cNvSpPr>
              <p:nvPr/>
            </p:nvSpPr>
            <p:spPr bwMode="auto">
              <a:xfrm>
                <a:off x="6784976" y="2824163"/>
                <a:ext cx="38472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Flare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0" name="Rectangle 55">
                <a:extLst>
                  <a:ext uri="{FF2B5EF4-FFF2-40B4-BE49-F238E27FC236}">
                    <a16:creationId xmlns:a16="http://schemas.microsoft.com/office/drawing/2014/main" id="{7807599F-EBBA-4BC2-8F45-58F3F8B51907}"/>
                  </a:ext>
                </a:extLst>
              </p:cNvPr>
              <p:cNvSpPr>
                <a:spLocks noChangeArrowheads="1"/>
              </p:cNvSpPr>
              <p:nvPr/>
            </p:nvSpPr>
            <p:spPr bwMode="auto">
              <a:xfrm>
                <a:off x="6683376" y="3048000"/>
                <a:ext cx="69850" cy="71438"/>
              </a:xfrm>
              <a:prstGeom prst="rect">
                <a:avLst/>
              </a:prstGeom>
              <a:solidFill>
                <a:srgbClr val="E349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1" name="Rectangle 56">
                <a:extLst>
                  <a:ext uri="{FF2B5EF4-FFF2-40B4-BE49-F238E27FC236}">
                    <a16:creationId xmlns:a16="http://schemas.microsoft.com/office/drawing/2014/main" id="{93BD1D11-C926-4482-BD8A-C55BB55E09F8}"/>
                  </a:ext>
                </a:extLst>
              </p:cNvPr>
              <p:cNvSpPr>
                <a:spLocks noChangeArrowheads="1"/>
              </p:cNvSpPr>
              <p:nvPr/>
            </p:nvSpPr>
            <p:spPr bwMode="auto">
              <a:xfrm>
                <a:off x="6784976" y="3005138"/>
                <a:ext cx="55463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Plunger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2" name="Rectangle 57">
                <a:extLst>
                  <a:ext uri="{FF2B5EF4-FFF2-40B4-BE49-F238E27FC236}">
                    <a16:creationId xmlns:a16="http://schemas.microsoft.com/office/drawing/2014/main" id="{4AF827CF-3383-4D23-82B2-99354B50A2E3}"/>
                  </a:ext>
                </a:extLst>
              </p:cNvPr>
              <p:cNvSpPr>
                <a:spLocks noChangeArrowheads="1"/>
              </p:cNvSpPr>
              <p:nvPr/>
            </p:nvSpPr>
            <p:spPr bwMode="auto">
              <a:xfrm>
                <a:off x="6683376" y="3468688"/>
                <a:ext cx="69850" cy="71438"/>
              </a:xfrm>
              <a:prstGeom prst="rect">
                <a:avLst/>
              </a:prstGeom>
              <a:solidFill>
                <a:srgbClr val="68F39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3" name="Rectangle 58">
                <a:extLst>
                  <a:ext uri="{FF2B5EF4-FFF2-40B4-BE49-F238E27FC236}">
                    <a16:creationId xmlns:a16="http://schemas.microsoft.com/office/drawing/2014/main" id="{1ED2F429-FDB3-439E-B2D6-2801C76A0D79}"/>
                  </a:ext>
                </a:extLst>
              </p:cNvPr>
              <p:cNvSpPr>
                <a:spLocks noChangeArrowheads="1"/>
              </p:cNvSpPr>
              <p:nvPr/>
            </p:nvSpPr>
            <p:spPr bwMode="auto">
              <a:xfrm>
                <a:off x="6784976" y="3424238"/>
                <a:ext cx="6123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Upstream</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4" name="Rectangle 59">
                <a:extLst>
                  <a:ext uri="{FF2B5EF4-FFF2-40B4-BE49-F238E27FC236}">
                    <a16:creationId xmlns:a16="http://schemas.microsoft.com/office/drawing/2014/main" id="{18140773-EF81-4723-B7F2-F58E92CBAF08}"/>
                  </a:ext>
                </a:extLst>
              </p:cNvPr>
              <p:cNvSpPr>
                <a:spLocks noChangeArrowheads="1"/>
              </p:cNvSpPr>
              <p:nvPr/>
            </p:nvSpPr>
            <p:spPr bwMode="auto">
              <a:xfrm>
                <a:off x="6683376" y="3648075"/>
                <a:ext cx="69850" cy="69850"/>
              </a:xfrm>
              <a:prstGeom prst="rect">
                <a:avLst/>
              </a:prstGeom>
              <a:solidFill>
                <a:srgbClr val="00ADA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5" name="Rectangle 60">
                <a:extLst>
                  <a:ext uri="{FF2B5EF4-FFF2-40B4-BE49-F238E27FC236}">
                    <a16:creationId xmlns:a16="http://schemas.microsoft.com/office/drawing/2014/main" id="{7EFDDC80-217E-4E6A-BDF1-04B4F8D7DBFD}"/>
                  </a:ext>
                </a:extLst>
              </p:cNvPr>
              <p:cNvSpPr>
                <a:spLocks noChangeArrowheads="1"/>
              </p:cNvSpPr>
              <p:nvPr/>
            </p:nvSpPr>
            <p:spPr bwMode="auto">
              <a:xfrm>
                <a:off x="6784976" y="3602038"/>
                <a:ext cx="79989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Downstream</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6" name="Rectangle 61">
                <a:extLst>
                  <a:ext uri="{FF2B5EF4-FFF2-40B4-BE49-F238E27FC236}">
                    <a16:creationId xmlns:a16="http://schemas.microsoft.com/office/drawing/2014/main" id="{1B7DDE23-9159-4562-8F2E-710D340AB588}"/>
                  </a:ext>
                </a:extLst>
              </p:cNvPr>
              <p:cNvSpPr>
                <a:spLocks noChangeArrowheads="1"/>
              </p:cNvSpPr>
              <p:nvPr/>
            </p:nvSpPr>
            <p:spPr bwMode="auto">
              <a:xfrm>
                <a:off x="6683376" y="3941763"/>
                <a:ext cx="69850" cy="71438"/>
              </a:xfrm>
              <a:prstGeom prst="rect">
                <a:avLst/>
              </a:prstGeom>
              <a:solidFill>
                <a:srgbClr val="AFAF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107" name="Rectangle 62">
                <a:extLst>
                  <a:ext uri="{FF2B5EF4-FFF2-40B4-BE49-F238E27FC236}">
                    <a16:creationId xmlns:a16="http://schemas.microsoft.com/office/drawing/2014/main" id="{DCE2678A-4358-49E7-922F-FEA1727015AB}"/>
                  </a:ext>
                </a:extLst>
              </p:cNvPr>
              <p:cNvSpPr>
                <a:spLocks noChangeArrowheads="1"/>
              </p:cNvSpPr>
              <p:nvPr/>
            </p:nvSpPr>
            <p:spPr bwMode="auto">
              <a:xfrm>
                <a:off x="6784976" y="3897313"/>
                <a:ext cx="34464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Other</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nvGrpSpPr>
            <p:cNvPr id="58" name="Overlay legend">
              <a:extLst>
                <a:ext uri="{FF2B5EF4-FFF2-40B4-BE49-F238E27FC236}">
                  <a16:creationId xmlns:a16="http://schemas.microsoft.com/office/drawing/2014/main" id="{A5A8C0B9-2D39-450D-923D-FC7CFCD9ACA1}"/>
                </a:ext>
              </a:extLst>
            </p:cNvPr>
            <p:cNvGrpSpPr/>
            <p:nvPr/>
          </p:nvGrpSpPr>
          <p:grpSpPr>
            <a:xfrm>
              <a:off x="6580189" y="1122363"/>
              <a:ext cx="1554913" cy="2307639"/>
              <a:chOff x="6580189" y="1122363"/>
              <a:chExt cx="1554913" cy="2307639"/>
            </a:xfrm>
          </p:grpSpPr>
          <p:sp>
            <p:nvSpPr>
              <p:cNvPr id="80" name="Rectangle 63">
                <a:extLst>
                  <a:ext uri="{FF2B5EF4-FFF2-40B4-BE49-F238E27FC236}">
                    <a16:creationId xmlns:a16="http://schemas.microsoft.com/office/drawing/2014/main" id="{36600109-B97C-4F73-AD63-A87005A7A108}"/>
                  </a:ext>
                </a:extLst>
              </p:cNvPr>
              <p:cNvSpPr>
                <a:spLocks noChangeArrowheads="1"/>
              </p:cNvSpPr>
              <p:nvPr/>
            </p:nvSpPr>
            <p:spPr bwMode="auto">
              <a:xfrm>
                <a:off x="6580189" y="1122363"/>
                <a:ext cx="15100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Replace existing devices</a:t>
                </a:r>
                <a:endParaRPr kumimoji="0" lang="en-US" altLang="en-US"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1" name="Rectangle 64">
                <a:extLst>
                  <a:ext uri="{FF2B5EF4-FFF2-40B4-BE49-F238E27FC236}">
                    <a16:creationId xmlns:a16="http://schemas.microsoft.com/office/drawing/2014/main" id="{AE317FAB-9F90-4328-8559-2C1A96AAE6BF}"/>
                  </a:ext>
                </a:extLst>
              </p:cNvPr>
              <p:cNvSpPr>
                <a:spLocks noChangeArrowheads="1"/>
              </p:cNvSpPr>
              <p:nvPr/>
            </p:nvSpPr>
            <p:spPr bwMode="auto">
              <a:xfrm>
                <a:off x="6580189" y="2298700"/>
                <a:ext cx="37510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Install</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2" name="Rectangle 65">
                <a:extLst>
                  <a:ext uri="{FF2B5EF4-FFF2-40B4-BE49-F238E27FC236}">
                    <a16:creationId xmlns:a16="http://schemas.microsoft.com/office/drawing/2014/main" id="{1A0FF8FB-E763-498F-B199-E11B725747F6}"/>
                  </a:ext>
                </a:extLst>
              </p:cNvPr>
              <p:cNvSpPr>
                <a:spLocks noChangeArrowheads="1"/>
              </p:cNvSpPr>
              <p:nvPr/>
            </p:nvSpPr>
            <p:spPr bwMode="auto">
              <a:xfrm>
                <a:off x="6936007" y="2297867"/>
                <a:ext cx="75982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new devices</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83" name="Rectangle 66">
                <a:extLst>
                  <a:ext uri="{FF2B5EF4-FFF2-40B4-BE49-F238E27FC236}">
                    <a16:creationId xmlns:a16="http://schemas.microsoft.com/office/drawing/2014/main" id="{5CEBDE1C-2191-457B-AD3A-57AF2A139359}"/>
                  </a:ext>
                </a:extLst>
              </p:cNvPr>
              <p:cNvSpPr>
                <a:spLocks noChangeArrowheads="1"/>
              </p:cNvSpPr>
              <p:nvPr/>
            </p:nvSpPr>
            <p:spPr bwMode="auto">
              <a:xfrm>
                <a:off x="6580189" y="3260725"/>
                <a:ext cx="155491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Leak detection and repair</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nvGrpSpPr>
            <p:cNvPr id="59" name="Horizontal Axis Labels">
              <a:extLst>
                <a:ext uri="{FF2B5EF4-FFF2-40B4-BE49-F238E27FC236}">
                  <a16:creationId xmlns:a16="http://schemas.microsoft.com/office/drawing/2014/main" id="{AAD9F714-8F1B-4046-8E32-FC959486611F}"/>
                </a:ext>
              </a:extLst>
            </p:cNvPr>
            <p:cNvGrpSpPr/>
            <p:nvPr/>
          </p:nvGrpSpPr>
          <p:grpSpPr>
            <a:xfrm>
              <a:off x="1042989" y="3871338"/>
              <a:ext cx="5451655" cy="415130"/>
              <a:chOff x="1042989" y="3871338"/>
              <a:chExt cx="5451655" cy="415130"/>
            </a:xfrm>
          </p:grpSpPr>
          <p:sp>
            <p:nvSpPr>
              <p:cNvPr id="73" name="Rectangle 29">
                <a:extLst>
                  <a:ext uri="{FF2B5EF4-FFF2-40B4-BE49-F238E27FC236}">
                    <a16:creationId xmlns:a16="http://schemas.microsoft.com/office/drawing/2014/main" id="{CCE4E565-D98A-4736-A6E7-815790F63477}"/>
                  </a:ext>
                </a:extLst>
              </p:cNvPr>
              <p:cNvSpPr>
                <a:spLocks noChangeArrowheads="1"/>
              </p:cNvSpPr>
              <p:nvPr/>
            </p:nvSpPr>
            <p:spPr bwMode="auto">
              <a:xfrm>
                <a:off x="1042989" y="387133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4" name="Rectangle 30">
                <a:extLst>
                  <a:ext uri="{FF2B5EF4-FFF2-40B4-BE49-F238E27FC236}">
                    <a16:creationId xmlns:a16="http://schemas.microsoft.com/office/drawing/2014/main" id="{43DA2AB4-71B0-4553-BE02-FCB93350CB1B}"/>
                  </a:ext>
                </a:extLst>
              </p:cNvPr>
              <p:cNvSpPr>
                <a:spLocks noChangeArrowheads="1"/>
              </p:cNvSpPr>
              <p:nvPr/>
            </p:nvSpPr>
            <p:spPr bwMode="auto">
              <a:xfrm>
                <a:off x="2021230" y="3871338"/>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1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5" name="Rectangle 31">
                <a:extLst>
                  <a:ext uri="{FF2B5EF4-FFF2-40B4-BE49-F238E27FC236}">
                    <a16:creationId xmlns:a16="http://schemas.microsoft.com/office/drawing/2014/main" id="{C9A99343-FBF1-438B-A76D-32C5EE89F699}"/>
                  </a:ext>
                </a:extLst>
              </p:cNvPr>
              <p:cNvSpPr>
                <a:spLocks noChangeArrowheads="1"/>
              </p:cNvSpPr>
              <p:nvPr/>
            </p:nvSpPr>
            <p:spPr bwMode="auto">
              <a:xfrm>
                <a:off x="3078017" y="3871338"/>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2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6" name="Rectangle 32">
                <a:extLst>
                  <a:ext uri="{FF2B5EF4-FFF2-40B4-BE49-F238E27FC236}">
                    <a16:creationId xmlns:a16="http://schemas.microsoft.com/office/drawing/2014/main" id="{94D0A41E-CA52-4F28-8A6D-CEA279E837A1}"/>
                  </a:ext>
                </a:extLst>
              </p:cNvPr>
              <p:cNvSpPr>
                <a:spLocks noChangeArrowheads="1"/>
              </p:cNvSpPr>
              <p:nvPr/>
            </p:nvSpPr>
            <p:spPr bwMode="auto">
              <a:xfrm>
                <a:off x="4134804" y="3871338"/>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3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7" name="Rectangle 33">
                <a:extLst>
                  <a:ext uri="{FF2B5EF4-FFF2-40B4-BE49-F238E27FC236}">
                    <a16:creationId xmlns:a16="http://schemas.microsoft.com/office/drawing/2014/main" id="{560DB63D-D00F-43DF-8519-0D4814A9B23E}"/>
                  </a:ext>
                </a:extLst>
              </p:cNvPr>
              <p:cNvSpPr>
                <a:spLocks noChangeArrowheads="1"/>
              </p:cNvSpPr>
              <p:nvPr/>
            </p:nvSpPr>
            <p:spPr bwMode="auto">
              <a:xfrm>
                <a:off x="5191591" y="3871338"/>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4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8" name="Rectangle 34">
                <a:extLst>
                  <a:ext uri="{FF2B5EF4-FFF2-40B4-BE49-F238E27FC236}">
                    <a16:creationId xmlns:a16="http://schemas.microsoft.com/office/drawing/2014/main" id="{24079B18-A6D7-4AEC-91D1-72016EA8B149}"/>
                  </a:ext>
                </a:extLst>
              </p:cNvPr>
              <p:cNvSpPr>
                <a:spLocks noChangeArrowheads="1"/>
              </p:cNvSpPr>
              <p:nvPr/>
            </p:nvSpPr>
            <p:spPr bwMode="auto">
              <a:xfrm>
                <a:off x="6248376" y="3871338"/>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50</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9" name="Rectangle 38">
                <a:extLst>
                  <a:ext uri="{FF2B5EF4-FFF2-40B4-BE49-F238E27FC236}">
                    <a16:creationId xmlns:a16="http://schemas.microsoft.com/office/drawing/2014/main" id="{AC639E02-A82E-4889-B5C2-8DE08F92141B}"/>
                  </a:ext>
                </a:extLst>
              </p:cNvPr>
              <p:cNvSpPr>
                <a:spLocks noChangeArrowheads="1"/>
              </p:cNvSpPr>
              <p:nvPr/>
            </p:nvSpPr>
            <p:spPr bwMode="auto">
              <a:xfrm>
                <a:off x="6042597" y="4117191"/>
                <a:ext cx="45204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Mt CH</a:t>
                </a:r>
                <a:r>
                  <a:rPr kumimoji="0" lang="en-US" altLang="en-US" sz="1100" b="0" i="0" u="none" strike="noStrike" kern="1200" cap="none" spc="0" normalizeH="0" baseline="-25000" noProof="0">
                    <a:ln>
                      <a:noFill/>
                    </a:ln>
                    <a:solidFill>
                      <a:srgbClr val="000000"/>
                    </a:solidFill>
                    <a:effectLst/>
                    <a:uLnTx/>
                    <a:uFillTx/>
                    <a:latin typeface="Roboto" panose="02000000000000000000" pitchFamily="2" charset="0"/>
                    <a:ea typeface="Roboto" panose="02000000000000000000" pitchFamily="2" charset="0"/>
                    <a:cs typeface="+mn-cs"/>
                  </a:rPr>
                  <a:t>4</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nvGrpSpPr>
            <p:cNvPr id="60" name="Vertical Axis Labels">
              <a:extLst>
                <a:ext uri="{FF2B5EF4-FFF2-40B4-BE49-F238E27FC236}">
                  <a16:creationId xmlns:a16="http://schemas.microsoft.com/office/drawing/2014/main" id="{C4928457-DCF7-426C-82CF-52705391EB1E}"/>
                </a:ext>
              </a:extLst>
            </p:cNvPr>
            <p:cNvGrpSpPr/>
            <p:nvPr/>
          </p:nvGrpSpPr>
          <p:grpSpPr>
            <a:xfrm>
              <a:off x="516632" y="1114425"/>
              <a:ext cx="446155" cy="2671177"/>
              <a:chOff x="516632" y="1114425"/>
              <a:chExt cx="446155" cy="2671177"/>
            </a:xfrm>
          </p:grpSpPr>
          <p:sp>
            <p:nvSpPr>
              <p:cNvPr id="61" name="Rectangle 18">
                <a:extLst>
                  <a:ext uri="{FF2B5EF4-FFF2-40B4-BE49-F238E27FC236}">
                    <a16:creationId xmlns:a16="http://schemas.microsoft.com/office/drawing/2014/main" id="{7B4A9FAD-45EC-43ED-AB31-EF95C2174534}"/>
                  </a:ext>
                </a:extLst>
              </p:cNvPr>
              <p:cNvSpPr>
                <a:spLocks noChangeArrowheads="1"/>
              </p:cNvSpPr>
              <p:nvPr/>
            </p:nvSpPr>
            <p:spPr bwMode="auto">
              <a:xfrm>
                <a:off x="720726" y="3616325"/>
                <a:ext cx="23083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10</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2" name="Rectangle 19">
                <a:extLst>
                  <a:ext uri="{FF2B5EF4-FFF2-40B4-BE49-F238E27FC236}">
                    <a16:creationId xmlns:a16="http://schemas.microsoft.com/office/drawing/2014/main" id="{15AC6B75-6ED8-48CD-992E-B8D2C25F521D}"/>
                  </a:ext>
                </a:extLst>
              </p:cNvPr>
              <p:cNvSpPr>
                <a:spLocks noChangeArrowheads="1"/>
              </p:cNvSpPr>
              <p:nvPr/>
            </p:nvSpPr>
            <p:spPr bwMode="auto">
              <a:xfrm>
                <a:off x="798514" y="3363913"/>
                <a:ext cx="1522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8</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3" name="Rectangle 20">
                <a:extLst>
                  <a:ext uri="{FF2B5EF4-FFF2-40B4-BE49-F238E27FC236}">
                    <a16:creationId xmlns:a16="http://schemas.microsoft.com/office/drawing/2014/main" id="{7D59A123-0A76-41AC-AFA0-94E1D6AA4F15}"/>
                  </a:ext>
                </a:extLst>
              </p:cNvPr>
              <p:cNvSpPr>
                <a:spLocks noChangeArrowheads="1"/>
              </p:cNvSpPr>
              <p:nvPr/>
            </p:nvSpPr>
            <p:spPr bwMode="auto">
              <a:xfrm>
                <a:off x="798514" y="3114675"/>
                <a:ext cx="1522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6</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4" name="Rectangle 21">
                <a:extLst>
                  <a:ext uri="{FF2B5EF4-FFF2-40B4-BE49-F238E27FC236}">
                    <a16:creationId xmlns:a16="http://schemas.microsoft.com/office/drawing/2014/main" id="{69FFA2DA-0586-42E1-91E9-2F3FA95D7CAD}"/>
                  </a:ext>
                </a:extLst>
              </p:cNvPr>
              <p:cNvSpPr>
                <a:spLocks noChangeArrowheads="1"/>
              </p:cNvSpPr>
              <p:nvPr/>
            </p:nvSpPr>
            <p:spPr bwMode="auto">
              <a:xfrm>
                <a:off x="798514" y="2863850"/>
                <a:ext cx="1522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4</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5" name="Rectangle 22">
                <a:extLst>
                  <a:ext uri="{FF2B5EF4-FFF2-40B4-BE49-F238E27FC236}">
                    <a16:creationId xmlns:a16="http://schemas.microsoft.com/office/drawing/2014/main" id="{1ADB1F19-EA4B-41F8-875E-1086F03B0677}"/>
                  </a:ext>
                </a:extLst>
              </p:cNvPr>
              <p:cNvSpPr>
                <a:spLocks noChangeArrowheads="1"/>
              </p:cNvSpPr>
              <p:nvPr/>
            </p:nvSpPr>
            <p:spPr bwMode="auto">
              <a:xfrm>
                <a:off x="798514" y="2614613"/>
                <a:ext cx="152286"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2</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6" name="Rectangle 23">
                <a:extLst>
                  <a:ext uri="{FF2B5EF4-FFF2-40B4-BE49-F238E27FC236}">
                    <a16:creationId xmlns:a16="http://schemas.microsoft.com/office/drawing/2014/main" id="{B65F04C9-9CDF-4487-ADF9-17833A9226EF}"/>
                  </a:ext>
                </a:extLst>
              </p:cNvPr>
              <p:cNvSpPr>
                <a:spLocks noChangeArrowheads="1"/>
              </p:cNvSpPr>
              <p:nvPr/>
            </p:nvSpPr>
            <p:spPr bwMode="auto">
              <a:xfrm>
                <a:off x="884239" y="2363788"/>
                <a:ext cx="7854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0</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7" name="Rectangle 24">
                <a:extLst>
                  <a:ext uri="{FF2B5EF4-FFF2-40B4-BE49-F238E27FC236}">
                    <a16:creationId xmlns:a16="http://schemas.microsoft.com/office/drawing/2014/main" id="{5842410D-2CC3-4F78-B8AE-B98E078B606A}"/>
                  </a:ext>
                </a:extLst>
              </p:cNvPr>
              <p:cNvSpPr>
                <a:spLocks noChangeArrowheads="1"/>
              </p:cNvSpPr>
              <p:nvPr/>
            </p:nvSpPr>
            <p:spPr bwMode="auto">
              <a:xfrm>
                <a:off x="844551" y="2114550"/>
                <a:ext cx="1138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2</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8" name="Rectangle 25">
                <a:extLst>
                  <a:ext uri="{FF2B5EF4-FFF2-40B4-BE49-F238E27FC236}">
                    <a16:creationId xmlns:a16="http://schemas.microsoft.com/office/drawing/2014/main" id="{237EA24E-FCA2-49A4-91D5-B73D83BF647A}"/>
                  </a:ext>
                </a:extLst>
              </p:cNvPr>
              <p:cNvSpPr>
                <a:spLocks noChangeArrowheads="1"/>
              </p:cNvSpPr>
              <p:nvPr/>
            </p:nvSpPr>
            <p:spPr bwMode="auto">
              <a:xfrm>
                <a:off x="844551" y="1866900"/>
                <a:ext cx="1138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4</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69" name="Rectangle 26">
                <a:extLst>
                  <a:ext uri="{FF2B5EF4-FFF2-40B4-BE49-F238E27FC236}">
                    <a16:creationId xmlns:a16="http://schemas.microsoft.com/office/drawing/2014/main" id="{FE6A4421-3B09-4D83-BFD1-B4EA430ABCFC}"/>
                  </a:ext>
                </a:extLst>
              </p:cNvPr>
              <p:cNvSpPr>
                <a:spLocks noChangeArrowheads="1"/>
              </p:cNvSpPr>
              <p:nvPr/>
            </p:nvSpPr>
            <p:spPr bwMode="auto">
              <a:xfrm>
                <a:off x="844551" y="1614488"/>
                <a:ext cx="1138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6</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0" name="Rectangle 27">
                <a:extLst>
                  <a:ext uri="{FF2B5EF4-FFF2-40B4-BE49-F238E27FC236}">
                    <a16:creationId xmlns:a16="http://schemas.microsoft.com/office/drawing/2014/main" id="{82249636-F398-4B3B-A5D7-0A2972363BB6}"/>
                  </a:ext>
                </a:extLst>
              </p:cNvPr>
              <p:cNvSpPr>
                <a:spLocks noChangeArrowheads="1"/>
              </p:cNvSpPr>
              <p:nvPr/>
            </p:nvSpPr>
            <p:spPr bwMode="auto">
              <a:xfrm>
                <a:off x="844551" y="1365250"/>
                <a:ext cx="11381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8</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1" name="Rectangle 28">
                <a:extLst>
                  <a:ext uri="{FF2B5EF4-FFF2-40B4-BE49-F238E27FC236}">
                    <a16:creationId xmlns:a16="http://schemas.microsoft.com/office/drawing/2014/main" id="{5EFC97A6-7D5F-474C-B07A-1D0866840356}"/>
                  </a:ext>
                </a:extLst>
              </p:cNvPr>
              <p:cNvSpPr>
                <a:spLocks noChangeArrowheads="1"/>
              </p:cNvSpPr>
              <p:nvPr/>
            </p:nvSpPr>
            <p:spPr bwMode="auto">
              <a:xfrm>
                <a:off x="766764" y="1114425"/>
                <a:ext cx="19236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 10</a:t>
                </a:r>
                <a:endParaRPr kumimoji="0" lang="en-US" alt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72" name="Rectangle 35">
                <a:extLst>
                  <a:ext uri="{FF2B5EF4-FFF2-40B4-BE49-F238E27FC236}">
                    <a16:creationId xmlns:a16="http://schemas.microsoft.com/office/drawing/2014/main" id="{266876AC-B1FD-4432-9130-8D9491C2B6EC}"/>
                  </a:ext>
                </a:extLst>
              </p:cNvPr>
              <p:cNvSpPr>
                <a:spLocks noChangeArrowheads="1"/>
              </p:cNvSpPr>
              <p:nvPr/>
            </p:nvSpPr>
            <p:spPr bwMode="auto">
              <a:xfrm rot="16200000">
                <a:off x="267846" y="1366977"/>
                <a:ext cx="66684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USD/</a:t>
                </a:r>
                <a:r>
                  <a:rPr kumimoji="0" lang="en-US" altLang="en-US" sz="1100" b="0" i="0" u="none" strike="noStrike" kern="1200" cap="none" spc="0" normalizeH="0" baseline="0" noProof="0" err="1">
                    <a:ln>
                      <a:noFill/>
                    </a:ln>
                    <a:solidFill>
                      <a:srgbClr val="000000"/>
                    </a:solidFill>
                    <a:effectLst/>
                    <a:uLnTx/>
                    <a:uFillTx/>
                    <a:latin typeface="Roboto" panose="02000000000000000000" pitchFamily="2" charset="0"/>
                    <a:ea typeface="Roboto" panose="02000000000000000000" pitchFamily="2" charset="0"/>
                    <a:cs typeface="+mn-cs"/>
                  </a:rPr>
                  <a:t>MBtu</a:t>
                </a:r>
                <a:endParaRPr kumimoji="0" lang="en-US" altLang="en-US" sz="11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sp>
        <p:nvSpPr>
          <p:cNvPr id="132" name="High label">
            <a:extLst>
              <a:ext uri="{FF2B5EF4-FFF2-40B4-BE49-F238E27FC236}">
                <a16:creationId xmlns:a16="http://schemas.microsoft.com/office/drawing/2014/main" id="{9C898AEB-EEA3-4FC1-9C9C-8FF26EAF5D36}"/>
              </a:ext>
            </a:extLst>
          </p:cNvPr>
          <p:cNvSpPr txBox="1">
            <a:spLocks/>
          </p:cNvSpPr>
          <p:nvPr/>
        </p:nvSpPr>
        <p:spPr>
          <a:xfrm>
            <a:off x="854880" y="1541849"/>
            <a:ext cx="10809957" cy="355693"/>
          </a:xfrm>
          <a:prstGeom prst="rect">
            <a:avLst/>
          </a:prstGeom>
        </p:spPr>
        <p:txBody>
          <a:bodyPr lIns="0"/>
          <a:lstStyle>
            <a:lvl1pPr marL="0" indent="0" algn="ctr" defTabSz="914400" rtl="0" eaLnBrk="1" latinLnBrk="0" hangingPunct="1">
              <a:spcBef>
                <a:spcPts val="0"/>
              </a:spcBef>
              <a:buClr>
                <a:schemeClr val="bg1">
                  <a:lumMod val="65000"/>
                </a:schemeClr>
              </a:buClr>
              <a:buSzPct val="100000"/>
              <a:buFont typeface="Calibri" panose="020F0502020204030204" pitchFamily="34" charset="0"/>
              <a:buNone/>
              <a:defRPr lang="en-US" sz="1200" b="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40000" indent="-180000" algn="l" defTabSz="914400" rtl="0" eaLnBrk="1" latinLnBrk="0" hangingPunct="1">
              <a:spcBef>
                <a:spcPts val="500"/>
              </a:spcBef>
              <a:buClr>
                <a:schemeClr val="bg1">
                  <a:lumMod val="65000"/>
                </a:schemeClr>
              </a:buClr>
              <a:buSzPct val="100000"/>
              <a:buFont typeface="Segoe UI" panose="020B0502040204020203" pitchFamily="34" charset="0"/>
              <a:buChar char="-"/>
              <a:defRPr sz="1600" kern="1200">
                <a:solidFill>
                  <a:schemeClr val="tx1"/>
                </a:solidFill>
                <a:latin typeface="+mn-lt"/>
                <a:ea typeface="+mn-ea"/>
                <a:cs typeface="+mn-cs"/>
              </a:defRPr>
            </a:lvl2pPr>
            <a:lvl3pPr marL="756000" indent="-180000" algn="l" defTabSz="914400" rtl="0" eaLnBrk="1" latinLnBrk="0" hangingPunct="1">
              <a:spcBef>
                <a:spcPts val="500"/>
              </a:spcBef>
              <a:buClr>
                <a:schemeClr val="bg1">
                  <a:lumMod val="75000"/>
                </a:schemeClr>
              </a:buClr>
              <a:buFont typeface="Segoe UI" panose="020B0502040204020203"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prstClr val="white">
                  <a:lumMod val="65000"/>
                </a:prstClr>
              </a:buClr>
              <a:buSzPct val="100000"/>
              <a:buFont typeface="Calibri" panose="020F0502020204030204" pitchFamily="34" charset="0"/>
              <a:buNone/>
              <a:tabLst/>
              <a:defRPr/>
            </a:pPr>
            <a:r>
              <a:rPr kumimoji="0" lang="en-GB" sz="14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Arial" panose="020B0604020202020204" pitchFamily="34" charset="0"/>
              </a:rPr>
              <a:t>Marginal abatement cost curve for oil- and gas-related methane emissions, 2020 (at higher gas prices)</a:t>
            </a:r>
          </a:p>
        </p:txBody>
      </p:sp>
      <p:cxnSp>
        <p:nvCxnSpPr>
          <p:cNvPr id="135" name="Straight Connector 134">
            <a:extLst>
              <a:ext uri="{FF2B5EF4-FFF2-40B4-BE49-F238E27FC236}">
                <a16:creationId xmlns:a16="http://schemas.microsoft.com/office/drawing/2014/main" id="{0CAA2AB7-7AFE-43DD-BB18-798386CD721B}"/>
              </a:ext>
            </a:extLst>
          </p:cNvPr>
          <p:cNvCxnSpPr/>
          <p:nvPr/>
        </p:nvCxnSpPr>
        <p:spPr>
          <a:xfrm>
            <a:off x="1742928" y="3658556"/>
            <a:ext cx="6799415" cy="1"/>
          </a:xfrm>
          <a:prstGeom prst="line">
            <a:avLst/>
          </a:prstGeom>
          <a:ln w="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58835302-4090-4290-80AC-7B689CBF6133}"/>
              </a:ext>
            </a:extLst>
          </p:cNvPr>
          <p:cNvSpPr/>
          <p:nvPr/>
        </p:nvSpPr>
        <p:spPr>
          <a:xfrm>
            <a:off x="7178041" y="6357462"/>
            <a:ext cx="4348078" cy="400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Source: IEA Methane Tracker</a:t>
            </a:r>
          </a:p>
        </p:txBody>
      </p:sp>
      <p:pic>
        <p:nvPicPr>
          <p:cNvPr id="133" name="Picture 132" descr="Text, logo&#10;&#10;Description automatically generated">
            <a:extLst>
              <a:ext uri="{FF2B5EF4-FFF2-40B4-BE49-F238E27FC236}">
                <a16:creationId xmlns:a16="http://schemas.microsoft.com/office/drawing/2014/main" id="{FD175357-E64A-49B0-8892-C420589B21D7}"/>
              </a:ext>
            </a:extLst>
          </p:cNvPr>
          <p:cNvPicPr>
            <a:picLocks noChangeAspect="1"/>
          </p:cNvPicPr>
          <p:nvPr/>
        </p:nvPicPr>
        <p:blipFill>
          <a:blip r:embed="rId2">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524509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626855-B395-4A4B-A80A-2B20A62DD079}"/>
              </a:ext>
            </a:extLst>
          </p:cNvPr>
          <p:cNvSpPr/>
          <p:nvPr/>
        </p:nvSpPr>
        <p:spPr>
          <a:xfrm>
            <a:off x="4991267" y="3387813"/>
            <a:ext cx="409869" cy="369332"/>
          </a:xfrm>
          <a:prstGeom prst="rect">
            <a:avLst/>
          </a:prstGeom>
        </p:spPr>
        <p:txBody>
          <a:bodyPr wrap="square">
            <a:spAutoFit/>
          </a:bodyPr>
          <a:lstStyle/>
          <a:p>
            <a:r>
              <a:rPr lang="en-US" baseline="30000" dirty="0">
                <a:solidFill>
                  <a:srgbClr val="000000"/>
                </a:solidFill>
                <a:latin typeface="Helvetica" pitchFamily="2" charset="0"/>
              </a:rPr>
              <a:t> </a:t>
            </a:r>
            <a:endParaRPr lang="en-US" dirty="0"/>
          </a:p>
        </p:txBody>
      </p:sp>
      <p:pic>
        <p:nvPicPr>
          <p:cNvPr id="1025" name="Picture 1" descr="page6image66636432">
            <a:extLst>
              <a:ext uri="{FF2B5EF4-FFF2-40B4-BE49-F238E27FC236}">
                <a16:creationId xmlns:a16="http://schemas.microsoft.com/office/drawing/2014/main" id="{7BA65622-ED16-164A-8C13-68EC842482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265" y="1007528"/>
            <a:ext cx="9858492" cy="506528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9ABCEAD-703B-7C43-8864-86E4E937CC85}"/>
              </a:ext>
            </a:extLst>
          </p:cNvPr>
          <p:cNvSpPr txBox="1"/>
          <p:nvPr/>
        </p:nvSpPr>
        <p:spPr>
          <a:xfrm>
            <a:off x="159026" y="197708"/>
            <a:ext cx="11553958" cy="861774"/>
          </a:xfrm>
          <a:prstGeom prst="rect">
            <a:avLst/>
          </a:prstGeom>
          <a:noFill/>
        </p:spPr>
        <p:txBody>
          <a:bodyPr wrap="square" rtlCol="0">
            <a:spAutoFit/>
          </a:bodyPr>
          <a:lstStyle/>
          <a:p>
            <a:pPr algn="ctr"/>
            <a:r>
              <a:rPr lang="en-US" sz="3200" dirty="0"/>
              <a:t>Permian Basin Methane Emissions Trends in 2020</a:t>
            </a:r>
          </a:p>
          <a:p>
            <a:endParaRPr lang="en-US" dirty="0"/>
          </a:p>
        </p:txBody>
      </p:sp>
      <p:sp>
        <p:nvSpPr>
          <p:cNvPr id="4" name="TextBox 3">
            <a:extLst>
              <a:ext uri="{FF2B5EF4-FFF2-40B4-BE49-F238E27FC236}">
                <a16:creationId xmlns:a16="http://schemas.microsoft.com/office/drawing/2014/main" id="{C21F80AD-CB10-FD45-8A6E-D9E631359EA5}"/>
              </a:ext>
            </a:extLst>
          </p:cNvPr>
          <p:cNvSpPr txBox="1"/>
          <p:nvPr/>
        </p:nvSpPr>
        <p:spPr>
          <a:xfrm>
            <a:off x="159026" y="6142464"/>
            <a:ext cx="11132984" cy="923330"/>
          </a:xfrm>
          <a:prstGeom prst="rect">
            <a:avLst/>
          </a:prstGeom>
          <a:noFill/>
        </p:spPr>
        <p:txBody>
          <a:bodyPr wrap="none" rtlCol="0">
            <a:spAutoFit/>
          </a:bodyPr>
          <a:lstStyle/>
          <a:p>
            <a:r>
              <a:rPr lang="en-US" dirty="0"/>
              <a:t>Lyon et al. 2021. Concurrent variation in oil and gas methane emissions and oil price during the COVID-19 pandemic. </a:t>
            </a:r>
          </a:p>
          <a:p>
            <a:r>
              <a:rPr lang="en-US" i="1" dirty="0"/>
              <a:t>Atmospheric Chemistry and. Physics</a:t>
            </a:r>
            <a:r>
              <a:rPr lang="en-US" dirty="0"/>
              <a:t>  21: 6605–6626, </a:t>
            </a:r>
            <a:r>
              <a:rPr lang="en-US" u="sng" dirty="0">
                <a:hlinkClick r:id="rId3"/>
              </a:rPr>
              <a:t>https://doi.org/10.5194/acp-21-6605-2021</a:t>
            </a:r>
            <a:endParaRPr lang="en-US" dirty="0"/>
          </a:p>
          <a:p>
            <a:endParaRPr lang="en-US" dirty="0"/>
          </a:p>
        </p:txBody>
      </p:sp>
      <p:pic>
        <p:nvPicPr>
          <p:cNvPr id="1026" name="Picture 2" descr="page6image66636432">
            <a:extLst>
              <a:ext uri="{FF2B5EF4-FFF2-40B4-BE49-F238E27FC236}">
                <a16:creationId xmlns:a16="http://schemas.microsoft.com/office/drawing/2014/main" id="{B3A1C03F-DFEF-314B-AE1B-E86FBCC81F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4495800" cy="2425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68164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3A1885E-A6CF-4655-BD3C-4F7A508724EA}"/>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r="43452"/>
          <a:stretch/>
        </p:blipFill>
        <p:spPr>
          <a:xfrm>
            <a:off x="-17084" y="0"/>
            <a:ext cx="3310890" cy="6858000"/>
          </a:xfrm>
          <a:prstGeom prst="rect">
            <a:avLst/>
          </a:prstGeom>
        </p:spPr>
      </p:pic>
      <p:pic>
        <p:nvPicPr>
          <p:cNvPr id="5" name="Picture 4">
            <a:extLst>
              <a:ext uri="{FF2B5EF4-FFF2-40B4-BE49-F238E27FC236}">
                <a16:creationId xmlns:a16="http://schemas.microsoft.com/office/drawing/2014/main" id="{4BF2B1E0-7A42-48AB-8D51-7BF2E0E9AA03}"/>
              </a:ext>
            </a:extLst>
          </p:cNvPr>
          <p:cNvPicPr>
            <a:picLocks noChangeAspect="1"/>
          </p:cNvPicPr>
          <p:nvPr/>
        </p:nvPicPr>
        <p:blipFill>
          <a:blip r:embed="rId4" cstate="screen">
            <a:biLevel thresh="25000"/>
            <a:extLst>
              <a:ext uri="{BEBA8EAE-BF5A-486C-A8C5-ECC9F3942E4B}">
                <a14:imgProps xmlns:a14="http://schemas.microsoft.com/office/drawing/2010/main">
                  <a14:imgLayer r:embed="rId5">
                    <a14:imgEffect>
                      <a14:saturation sat="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132382" y="188384"/>
            <a:ext cx="1019670" cy="463486"/>
          </a:xfrm>
          <a:prstGeom prst="rect">
            <a:avLst/>
          </a:prstGeom>
        </p:spPr>
      </p:pic>
      <p:sp>
        <p:nvSpPr>
          <p:cNvPr id="6" name="TextBox 5">
            <a:extLst>
              <a:ext uri="{FF2B5EF4-FFF2-40B4-BE49-F238E27FC236}">
                <a16:creationId xmlns:a16="http://schemas.microsoft.com/office/drawing/2014/main" id="{9B6FDA0F-58DF-4631-8ACB-376A380056AB}"/>
              </a:ext>
            </a:extLst>
          </p:cNvPr>
          <p:cNvSpPr txBox="1"/>
          <p:nvPr/>
        </p:nvSpPr>
        <p:spPr>
          <a:xfrm>
            <a:off x="209860" y="896130"/>
            <a:ext cx="3083946" cy="3416320"/>
          </a:xfrm>
          <a:prstGeom prst="rect">
            <a:avLst/>
          </a:prstGeom>
          <a:noFill/>
        </p:spPr>
        <p:txBody>
          <a:bodyPr wrap="square" rtlCol="0">
            <a:spAutoFit/>
          </a:bodyPr>
          <a:lstStyle/>
          <a:p>
            <a:r>
              <a:rPr lang="en-US" sz="3600" b="1" dirty="0">
                <a:solidFill>
                  <a:schemeClr val="bg1"/>
                </a:solidFill>
              </a:rPr>
              <a:t>We have </a:t>
            </a:r>
            <a:r>
              <a:rPr lang="en-US" sz="3600" b="1" u="sng" dirty="0">
                <a:solidFill>
                  <a:schemeClr val="bg1"/>
                </a:solidFill>
              </a:rPr>
              <a:t>tools</a:t>
            </a:r>
            <a:r>
              <a:rPr lang="en-US" sz="3600" b="1" dirty="0">
                <a:solidFill>
                  <a:schemeClr val="bg1"/>
                </a:solidFill>
              </a:rPr>
              <a:t> to cut global methane emissions in half within 10 years</a:t>
            </a:r>
          </a:p>
        </p:txBody>
      </p:sp>
      <p:grpSp>
        <p:nvGrpSpPr>
          <p:cNvPr id="2" name="Group 1">
            <a:extLst>
              <a:ext uri="{FF2B5EF4-FFF2-40B4-BE49-F238E27FC236}">
                <a16:creationId xmlns:a16="http://schemas.microsoft.com/office/drawing/2014/main" id="{8EFFA6B5-0948-4110-BEE0-99AC6053B9E5}"/>
              </a:ext>
            </a:extLst>
          </p:cNvPr>
          <p:cNvGrpSpPr/>
          <p:nvPr/>
        </p:nvGrpSpPr>
        <p:grpSpPr>
          <a:xfrm>
            <a:off x="3482156" y="777007"/>
            <a:ext cx="8583232" cy="5171309"/>
            <a:chOff x="1372005" y="1099790"/>
            <a:chExt cx="9111106" cy="5489349"/>
          </a:xfrm>
        </p:grpSpPr>
        <p:pic>
          <p:nvPicPr>
            <p:cNvPr id="31" name="Picture 30">
              <a:extLst>
                <a:ext uri="{FF2B5EF4-FFF2-40B4-BE49-F238E27FC236}">
                  <a16:creationId xmlns:a16="http://schemas.microsoft.com/office/drawing/2014/main" id="{0F3D0CA2-534C-4F6B-B77A-E3B7D8EE17EA}"/>
                </a:ext>
              </a:extLst>
            </p:cNvPr>
            <p:cNvPicPr>
              <a:picLocks noChangeAspect="1"/>
            </p:cNvPicPr>
            <p:nvPr/>
          </p:nvPicPr>
          <p:blipFill rotWithShape="1">
            <a:blip r:embed="rId6" cstate="screen">
              <a:duotone>
                <a:schemeClr val="accent5">
                  <a:shade val="45000"/>
                  <a:satMod val="135000"/>
                </a:schemeClr>
                <a:prstClr val="white"/>
              </a:duotone>
              <a:alphaModFix amt="20000"/>
              <a:extLst>
                <a:ext uri="{28A0092B-C50C-407E-A947-70E740481C1C}">
                  <a14:useLocalDpi xmlns:a14="http://schemas.microsoft.com/office/drawing/2010/main"/>
                </a:ext>
              </a:extLst>
            </a:blip>
            <a:srcRect l="24462" r="49510" b="2"/>
            <a:stretch/>
          </p:blipFill>
          <p:spPr>
            <a:xfrm>
              <a:off x="5245952" y="1099790"/>
              <a:ext cx="1856901" cy="4779708"/>
            </a:xfrm>
            <a:prstGeom prst="rect">
              <a:avLst/>
            </a:prstGeom>
          </p:spPr>
        </p:pic>
        <p:pic>
          <p:nvPicPr>
            <p:cNvPr id="32" name="Picture 4" descr="Landfill methane gas capture">
              <a:extLst>
                <a:ext uri="{FF2B5EF4-FFF2-40B4-BE49-F238E27FC236}">
                  <a16:creationId xmlns:a16="http://schemas.microsoft.com/office/drawing/2014/main" id="{B66C4999-4236-4DE0-87A6-F106B344B546}"/>
                </a:ext>
              </a:extLst>
            </p:cNvPr>
            <p:cNvPicPr>
              <a:picLocks noChangeAspect="1" noChangeArrowheads="1"/>
            </p:cNvPicPr>
            <p:nvPr/>
          </p:nvPicPr>
          <p:blipFill rotWithShape="1">
            <a:blip r:embed="rId7">
              <a:duotone>
                <a:schemeClr val="accent4">
                  <a:shade val="45000"/>
                  <a:satMod val="135000"/>
                </a:schemeClr>
                <a:prstClr val="white"/>
              </a:duotone>
              <a:alphaModFix amt="20000"/>
              <a:extLst>
                <a:ext uri="{28A0092B-C50C-407E-A947-70E740481C1C}">
                  <a14:useLocalDpi xmlns:a14="http://schemas.microsoft.com/office/drawing/2010/main"/>
                </a:ext>
              </a:extLst>
            </a:blip>
            <a:srcRect l="27275" t="-2" r="56504"/>
            <a:stretch/>
          </p:blipFill>
          <p:spPr bwMode="auto">
            <a:xfrm>
              <a:off x="7270337" y="1099790"/>
              <a:ext cx="1856900" cy="4779708"/>
            </a:xfrm>
            <a:prstGeom prst="rect">
              <a:avLst/>
            </a:prstGeom>
            <a:extLst>
              <a:ext uri="{909E8E84-426E-40DD-AFC4-6F175D3DCCD1}">
                <a14:hiddenFill xmlns:a14="http://schemas.microsoft.com/office/drawing/2010/main">
                  <a:solidFill>
                    <a:srgbClr val="FFFFFF"/>
                  </a:solidFill>
                </a14:hiddenFill>
              </a:ext>
            </a:extLst>
          </p:spPr>
        </p:pic>
        <p:pic>
          <p:nvPicPr>
            <p:cNvPr id="33" name="Picture 32" descr="Cows eating from trough">
              <a:extLst>
                <a:ext uri="{FF2B5EF4-FFF2-40B4-BE49-F238E27FC236}">
                  <a16:creationId xmlns:a16="http://schemas.microsoft.com/office/drawing/2014/main" id="{93455AC8-140D-498D-8ED0-9FFB7EE8046A}"/>
                </a:ext>
              </a:extLst>
            </p:cNvPr>
            <p:cNvPicPr>
              <a:picLocks noChangeAspect="1"/>
            </p:cNvPicPr>
            <p:nvPr/>
          </p:nvPicPr>
          <p:blipFill rotWithShape="1">
            <a:blip r:embed="rId8" cstate="screen">
              <a:duotone>
                <a:schemeClr val="accent3">
                  <a:shade val="45000"/>
                  <a:satMod val="135000"/>
                </a:schemeClr>
                <a:prstClr val="white"/>
              </a:duotone>
              <a:alphaModFix amt="35000"/>
              <a:extLst>
                <a:ext uri="{28A0092B-C50C-407E-A947-70E740481C1C}">
                  <a14:useLocalDpi xmlns:a14="http://schemas.microsoft.com/office/drawing/2010/main"/>
                </a:ext>
              </a:extLst>
            </a:blip>
            <a:srcRect l="51423" t="5626" r="30504" b="24678"/>
            <a:stretch/>
          </p:blipFill>
          <p:spPr>
            <a:xfrm>
              <a:off x="3209143" y="1100044"/>
              <a:ext cx="1856900" cy="4779708"/>
            </a:xfrm>
            <a:prstGeom prst="rect">
              <a:avLst/>
            </a:prstGeom>
          </p:spPr>
        </p:pic>
        <p:pic>
          <p:nvPicPr>
            <p:cNvPr id="34" name="Picture 33" descr="Graphical user interface&#10;&#10;Description automatically generated">
              <a:extLst>
                <a:ext uri="{FF2B5EF4-FFF2-40B4-BE49-F238E27FC236}">
                  <a16:creationId xmlns:a16="http://schemas.microsoft.com/office/drawing/2014/main" id="{FC0BE42A-1F1A-4011-925D-A937C92244D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72005" y="1100044"/>
              <a:ext cx="8707009" cy="5489095"/>
            </a:xfrm>
            <a:prstGeom prst="rect">
              <a:avLst/>
            </a:prstGeom>
          </p:spPr>
        </p:pic>
        <p:cxnSp>
          <p:nvCxnSpPr>
            <p:cNvPr id="35" name="Straight Connector 34">
              <a:extLst>
                <a:ext uri="{FF2B5EF4-FFF2-40B4-BE49-F238E27FC236}">
                  <a16:creationId xmlns:a16="http://schemas.microsoft.com/office/drawing/2014/main" id="{0BB6B4FD-F72F-4DDB-9C1B-4D20BD88CB74}"/>
                </a:ext>
              </a:extLst>
            </p:cNvPr>
            <p:cNvCxnSpPr/>
            <p:nvPr/>
          </p:nvCxnSpPr>
          <p:spPr>
            <a:xfrm>
              <a:off x="9240253" y="2213811"/>
              <a:ext cx="68981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370BF72-A8FE-4A95-A0AC-E5C0C16B9634}"/>
                </a:ext>
              </a:extLst>
            </p:cNvPr>
            <p:cNvCxnSpPr/>
            <p:nvPr/>
          </p:nvCxnSpPr>
          <p:spPr>
            <a:xfrm>
              <a:off x="9593179" y="2213811"/>
              <a:ext cx="0" cy="162025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AC97EE29-14C2-42EF-866F-C14E539DDC40}"/>
                </a:ext>
              </a:extLst>
            </p:cNvPr>
            <p:cNvSpPr txBox="1"/>
            <p:nvPr/>
          </p:nvSpPr>
          <p:spPr>
            <a:xfrm>
              <a:off x="9593179" y="2628874"/>
              <a:ext cx="889932" cy="738664"/>
            </a:xfrm>
            <a:prstGeom prst="rect">
              <a:avLst/>
            </a:prstGeom>
            <a:noFill/>
          </p:spPr>
          <p:txBody>
            <a:bodyPr wrap="square" rtlCol="0">
              <a:spAutoFit/>
            </a:bodyPr>
            <a:lstStyle/>
            <a:p>
              <a:r>
                <a:rPr lang="en-US" sz="1400" b="1" dirty="0"/>
                <a:t>55% below baseline</a:t>
              </a:r>
            </a:p>
          </p:txBody>
        </p:sp>
      </p:grpSp>
      <p:sp>
        <p:nvSpPr>
          <p:cNvPr id="39" name="TextBox 38">
            <a:extLst>
              <a:ext uri="{FF2B5EF4-FFF2-40B4-BE49-F238E27FC236}">
                <a16:creationId xmlns:a16="http://schemas.microsoft.com/office/drawing/2014/main" id="{C4B5A263-0FBC-4C8E-BA60-99537B0B5FE8}"/>
              </a:ext>
            </a:extLst>
          </p:cNvPr>
          <p:cNvSpPr txBox="1"/>
          <p:nvPr/>
        </p:nvSpPr>
        <p:spPr>
          <a:xfrm>
            <a:off x="9304020" y="6528441"/>
            <a:ext cx="2817640" cy="307777"/>
          </a:xfrm>
          <a:prstGeom prst="rect">
            <a:avLst/>
          </a:prstGeom>
          <a:noFill/>
        </p:spPr>
        <p:txBody>
          <a:bodyPr wrap="square" rtlCol="0">
            <a:spAutoFit/>
          </a:bodyPr>
          <a:lstStyle/>
          <a:p>
            <a:pPr algn="r"/>
            <a:r>
              <a:rPr lang="en-US" sz="1400" dirty="0">
                <a:latin typeface="+mj-lt"/>
              </a:rPr>
              <a:t>Source: Ocko et al. ERL 2021</a:t>
            </a:r>
          </a:p>
        </p:txBody>
      </p:sp>
    </p:spTree>
    <p:extLst>
      <p:ext uri="{BB962C8B-B14F-4D97-AF65-F5344CB8AC3E}">
        <p14:creationId xmlns:p14="http://schemas.microsoft.com/office/powerpoint/2010/main" val="10908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0A8654-2CA7-478C-B9A7-F3144CBCC06E}"/>
              </a:ext>
            </a:extLst>
          </p:cNvPr>
          <p:cNvSpPr>
            <a:spLocks noGrp="1"/>
          </p:cNvSpPr>
          <p:nvPr>
            <p:ph idx="1"/>
          </p:nvPr>
        </p:nvSpPr>
        <p:spPr>
          <a:xfrm>
            <a:off x="581528" y="1825625"/>
            <a:ext cx="6673927" cy="4351338"/>
          </a:xfrm>
        </p:spPr>
        <p:txBody>
          <a:bodyPr>
            <a:normAutofit/>
          </a:bodyPr>
          <a:lstStyle/>
          <a:p>
            <a:r>
              <a:rPr lang="en-US" sz="2000" dirty="0"/>
              <a:t>OGMP is a comprehensive, measurement-based reporting framework for oil and gas </a:t>
            </a:r>
          </a:p>
          <a:p>
            <a:r>
              <a:rPr lang="en-US" sz="2000" dirty="0"/>
              <a:t>Member companies report on </a:t>
            </a:r>
            <a:r>
              <a:rPr lang="en-US" sz="2000" b="1" dirty="0"/>
              <a:t>all material sources </a:t>
            </a:r>
            <a:r>
              <a:rPr lang="en-US" sz="2000" dirty="0"/>
              <a:t>of methane from both</a:t>
            </a:r>
            <a:r>
              <a:rPr lang="en-US" sz="2000" b="1" dirty="0"/>
              <a:t> operated and non-operated </a:t>
            </a:r>
            <a:r>
              <a:rPr lang="en-US" sz="2000" dirty="0"/>
              <a:t>assets</a:t>
            </a:r>
            <a:r>
              <a:rPr lang="en-US" sz="2000" b="1" dirty="0"/>
              <a:t> </a:t>
            </a:r>
            <a:r>
              <a:rPr lang="en-US" sz="2000" dirty="0"/>
              <a:t>across</a:t>
            </a:r>
            <a:r>
              <a:rPr lang="en-US" sz="2000" b="1" dirty="0"/>
              <a:t> all segments </a:t>
            </a:r>
            <a:r>
              <a:rPr lang="en-US" sz="2000" dirty="0"/>
              <a:t>of the value chain</a:t>
            </a:r>
          </a:p>
          <a:p>
            <a:r>
              <a:rPr lang="en-US" sz="2000" dirty="0"/>
              <a:t>Companies commit to achieving </a:t>
            </a:r>
            <a:r>
              <a:rPr lang="en-US" sz="2000" b="1" dirty="0"/>
              <a:t>Gold Standard </a:t>
            </a:r>
            <a:r>
              <a:rPr lang="en-US" sz="2000" dirty="0"/>
              <a:t>reporting within three years for operated assets and five years for non-operated assets. </a:t>
            </a:r>
          </a:p>
        </p:txBody>
      </p:sp>
      <p:pic>
        <p:nvPicPr>
          <p:cNvPr id="5" name="Picture 4">
            <a:extLst>
              <a:ext uri="{FF2B5EF4-FFF2-40B4-BE49-F238E27FC236}">
                <a16:creationId xmlns:a16="http://schemas.microsoft.com/office/drawing/2014/main" id="{3547118A-832C-4D1F-A7A3-B30B9AE7C453}"/>
              </a:ext>
            </a:extLst>
          </p:cNvPr>
          <p:cNvPicPr>
            <a:picLocks noChangeAspect="1"/>
          </p:cNvPicPr>
          <p:nvPr/>
        </p:nvPicPr>
        <p:blipFill rotWithShape="1">
          <a:blip r:embed="rId3"/>
          <a:srcRect l="4504"/>
          <a:stretch/>
        </p:blipFill>
        <p:spPr>
          <a:xfrm rot="16200000">
            <a:off x="6974594" y="2082463"/>
            <a:ext cx="5049087" cy="4222669"/>
          </a:xfrm>
          <a:prstGeom prst="rect">
            <a:avLst/>
          </a:prstGeom>
        </p:spPr>
      </p:pic>
      <p:sp>
        <p:nvSpPr>
          <p:cNvPr id="6" name="Rectangle 5">
            <a:extLst>
              <a:ext uri="{FF2B5EF4-FFF2-40B4-BE49-F238E27FC236}">
                <a16:creationId xmlns:a16="http://schemas.microsoft.com/office/drawing/2014/main" id="{0C370202-C88D-4BA8-9A8F-75FC33F312AD}"/>
              </a:ext>
            </a:extLst>
          </p:cNvPr>
          <p:cNvSpPr/>
          <p:nvPr/>
        </p:nvSpPr>
        <p:spPr>
          <a:xfrm>
            <a:off x="714375" y="4684296"/>
            <a:ext cx="6141827" cy="177649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old Standard” = both the highest reporting levels and companies’ plans to achieve this leve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old Standard pathway: a credible and explicit path towards Level 4/5 repor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Gold Standard Reporting: empirical reconciliation  measurements at source (Level 4) and site (Level 5) level </a:t>
            </a:r>
          </a:p>
        </p:txBody>
      </p:sp>
      <p:sp>
        <p:nvSpPr>
          <p:cNvPr id="7" name="Rectangle 6">
            <a:extLst>
              <a:ext uri="{FF2B5EF4-FFF2-40B4-BE49-F238E27FC236}">
                <a16:creationId xmlns:a16="http://schemas.microsoft.com/office/drawing/2014/main" id="{FC62F13C-37D7-483D-8A51-76CA6A35C9EC}"/>
              </a:ext>
            </a:extLst>
          </p:cNvPr>
          <p:cNvSpPr/>
          <p:nvPr/>
        </p:nvSpPr>
        <p:spPr>
          <a:xfrm>
            <a:off x="7387804" y="4404309"/>
            <a:ext cx="4355016" cy="2314032"/>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A587C50B-DD55-4C98-82D2-4B3E56485BBF}"/>
              </a:ext>
            </a:extLst>
          </p:cNvPr>
          <p:cNvCxnSpPr>
            <a:cxnSpLocks/>
            <a:stCxn id="6" idx="3"/>
            <a:endCxn id="7" idx="1"/>
          </p:cNvCxnSpPr>
          <p:nvPr/>
        </p:nvCxnSpPr>
        <p:spPr>
          <a:xfrm flipV="1">
            <a:off x="6856202" y="5561325"/>
            <a:ext cx="531602" cy="1121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13">
            <a:extLst>
              <a:ext uri="{FF2B5EF4-FFF2-40B4-BE49-F238E27FC236}">
                <a16:creationId xmlns:a16="http://schemas.microsoft.com/office/drawing/2014/main" id="{59CC5096-A598-2A44-A65E-B038245B3976}"/>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1" name="Title 1">
            <a:extLst>
              <a:ext uri="{FF2B5EF4-FFF2-40B4-BE49-F238E27FC236}">
                <a16:creationId xmlns:a16="http://schemas.microsoft.com/office/drawing/2014/main" id="{21B1D52A-B1E1-DA48-98DF-EF7DF506C4F6}"/>
              </a:ext>
            </a:extLst>
          </p:cNvPr>
          <p:cNvSpPr txBox="1">
            <a:spLocks/>
          </p:cNvSpPr>
          <p:nvPr/>
        </p:nvSpPr>
        <p:spPr>
          <a:xfrm>
            <a:off x="600370" y="372984"/>
            <a:ext cx="9600905" cy="769175"/>
          </a:xfrm>
          <a:prstGeom prst="rect">
            <a:avLst/>
          </a:prstGeom>
        </p:spPr>
        <p:txBody>
          <a:bodyPr lIns="0" rIns="9000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200" b="1" i="0" u="none" strike="noStrike" kern="1200" cap="none" spc="0" normalizeH="0" baseline="0" noProof="0">
                <a:ln>
                  <a:noFill/>
                </a:ln>
                <a:solidFill>
                  <a:srgbClr val="00B0F0"/>
                </a:solidFill>
                <a:effectLst/>
                <a:uLnTx/>
                <a:uFillTx/>
                <a:latin typeface="Roboto" panose="02000000000000000000" pitchFamily="2" charset="0"/>
                <a:ea typeface="Roboto" panose="02000000000000000000" pitchFamily="2" charset="0"/>
                <a:cs typeface="+mj-cs"/>
              </a:rPr>
              <a:t>The Oil and Gas Methane Partnership (OGMP) is the leading methane reporting framework for the O&amp;G industry</a:t>
            </a:r>
          </a:p>
        </p:txBody>
      </p:sp>
      <p:pic>
        <p:nvPicPr>
          <p:cNvPr id="13" name="Picture 12" descr="Text, logo&#10;&#10;Description automatically generated">
            <a:extLst>
              <a:ext uri="{FF2B5EF4-FFF2-40B4-BE49-F238E27FC236}">
                <a16:creationId xmlns:a16="http://schemas.microsoft.com/office/drawing/2014/main" id="{64DC3C1D-F361-F34B-9494-88F163818201}"/>
              </a:ext>
            </a:extLst>
          </p:cNvPr>
          <p:cNvPicPr>
            <a:picLocks noChangeAspect="1"/>
          </p:cNvPicPr>
          <p:nvPr/>
        </p:nvPicPr>
        <p:blipFill>
          <a:blip r:embed="rId4">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349753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35">
            <a:extLst>
              <a:ext uri="{FF2B5EF4-FFF2-40B4-BE49-F238E27FC236}">
                <a16:creationId xmlns:a16="http://schemas.microsoft.com/office/drawing/2014/main" id="{CC5B65B2-07C0-42E4-A268-38998EBA3292}"/>
              </a:ext>
            </a:extLst>
          </p:cNvPr>
          <p:cNvSpPr txBox="1"/>
          <p:nvPr/>
        </p:nvSpPr>
        <p:spPr>
          <a:xfrm>
            <a:off x="5318150" y="2566507"/>
            <a:ext cx="16726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9FE3"/>
                </a:solidFill>
                <a:effectLst/>
                <a:uLnTx/>
                <a:uFillTx/>
                <a:latin typeface="Roboto" panose="02000000000000000000" pitchFamily="2" charset="0"/>
                <a:ea typeface="Roboto" panose="02000000000000000000" pitchFamily="2" charset="0"/>
                <a:cs typeface="Roboto" panose="02000000000000000000" pitchFamily="2" charset="0"/>
              </a:rPr>
              <a:t>NO ACTION</a:t>
            </a:r>
            <a:endParaRPr kumimoji="0" lang="de-DE" sz="1200" b="1" i="0" u="none" strike="noStrike" kern="1200" cap="none" spc="0" normalizeH="0" baseline="0" noProof="0">
              <a:ln>
                <a:noFill/>
              </a:ln>
              <a:solidFill>
                <a:srgbClr val="009FE3"/>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2" name="Textfeld 36">
            <a:extLst>
              <a:ext uri="{FF2B5EF4-FFF2-40B4-BE49-F238E27FC236}">
                <a16:creationId xmlns:a16="http://schemas.microsoft.com/office/drawing/2014/main" id="{183180B1-19C5-4810-887C-2BFCCF6C9A2C}"/>
              </a:ext>
            </a:extLst>
          </p:cNvPr>
          <p:cNvSpPr txBox="1"/>
          <p:nvPr/>
        </p:nvSpPr>
        <p:spPr>
          <a:xfrm>
            <a:off x="5318150" y="3771531"/>
            <a:ext cx="167265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rPr>
              <a:t>DECARB ONLY</a:t>
            </a:r>
            <a:endParaRPr kumimoji="0" lang="en-US" sz="1200" b="0" i="0" u="none" strike="noStrike" kern="1200" cap="none" spc="0" normalizeH="0" baseline="0" noProof="0">
              <a:ln>
                <a:noFill/>
              </a:ln>
              <a:solidFill>
                <a:srgbClr val="FFC000"/>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3" name="Textfeld 37">
            <a:extLst>
              <a:ext uri="{FF2B5EF4-FFF2-40B4-BE49-F238E27FC236}">
                <a16:creationId xmlns:a16="http://schemas.microsoft.com/office/drawing/2014/main" id="{B9080791-65AE-4E96-8DF5-41E4763F04C8}"/>
              </a:ext>
            </a:extLst>
          </p:cNvPr>
          <p:cNvSpPr txBox="1"/>
          <p:nvPr/>
        </p:nvSpPr>
        <p:spPr>
          <a:xfrm>
            <a:off x="5318150" y="4552181"/>
            <a:ext cx="167265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6C088"/>
                </a:solidFill>
                <a:effectLst/>
                <a:uLnTx/>
                <a:uFillTx/>
                <a:latin typeface="Roboto" panose="02000000000000000000" pitchFamily="2" charset="0"/>
                <a:ea typeface="Roboto" panose="02000000000000000000" pitchFamily="2" charset="0"/>
                <a:cs typeface="Roboto" panose="02000000000000000000" pitchFamily="2" charset="0"/>
              </a:rPr>
              <a:t>DECAR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6C088"/>
                </a:solidFill>
                <a:effectLst/>
                <a:uLnTx/>
                <a:uFillTx/>
                <a:latin typeface="Roboto" panose="02000000000000000000" pitchFamily="2" charset="0"/>
                <a:ea typeface="Roboto" panose="02000000000000000000" pitchFamily="2" charset="0"/>
                <a:cs typeface="Roboto" panose="02000000000000000000" pitchFamily="2" charset="0"/>
              </a:rPr>
              <a:t>DIRECT CH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6C088"/>
                </a:solidFill>
                <a:effectLst/>
                <a:uLnTx/>
                <a:uFillTx/>
                <a:latin typeface="Roboto" panose="02000000000000000000" pitchFamily="2" charset="0"/>
                <a:ea typeface="Roboto" panose="02000000000000000000" pitchFamily="2" charset="0"/>
                <a:cs typeface="Roboto" panose="02000000000000000000" pitchFamily="2" charset="0"/>
              </a:rPr>
              <a:t>MITIGATION</a:t>
            </a:r>
            <a:endParaRPr kumimoji="0" lang="en-US" sz="1200" b="0" i="0" u="none" strike="noStrike" kern="1200" cap="none" spc="0" normalizeH="0" baseline="0" noProof="0">
              <a:ln>
                <a:noFill/>
              </a:ln>
              <a:solidFill>
                <a:srgbClr val="76C088"/>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D73BF5B1-54B4-45DB-8E48-8EE2EBCD744C}"/>
              </a:ext>
            </a:extLst>
          </p:cNvPr>
          <p:cNvSpPr/>
          <p:nvPr/>
        </p:nvSpPr>
        <p:spPr>
          <a:xfrm>
            <a:off x="1485681" y="5713985"/>
            <a:ext cx="524374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Roboto" panose="02000000000000000000" pitchFamily="2" charset="0"/>
                <a:ea typeface="Roboto" panose="02000000000000000000" pitchFamily="2" charset="0"/>
                <a:cs typeface="+mn-cs"/>
              </a:defRPr>
            </a:pPr>
            <a:r>
              <a:rPr kumimoji="0" lang="en-GB" sz="1100" b="0" i="1" u="none" strike="noStrike" kern="1200" cap="none" spc="0" normalizeH="0" baseline="0" noProof="0" err="1">
                <a:ln>
                  <a:noFill/>
                </a:ln>
                <a:solidFill>
                  <a:prstClr val="black">
                    <a:lumMod val="95000"/>
                    <a:lumOff val="5000"/>
                  </a:prstClr>
                </a:solidFill>
                <a:effectLst/>
                <a:uLnTx/>
                <a:uFillTx/>
                <a:latin typeface="Roboto" panose="02000000000000000000" pitchFamily="2" charset="0"/>
                <a:ea typeface="Roboto" panose="02000000000000000000" pitchFamily="2" charset="0"/>
                <a:cs typeface="+mn-cs"/>
              </a:rPr>
              <a:t>Ocko</a:t>
            </a:r>
            <a:r>
              <a:rPr kumimoji="0" lang="en-GB" sz="1100" b="0" i="1" u="none" strike="noStrike" kern="1200" cap="none" spc="0" normalizeH="0" baseline="0" noProof="0">
                <a:ln>
                  <a:noFill/>
                </a:ln>
                <a:solidFill>
                  <a:prstClr val="black">
                    <a:lumMod val="95000"/>
                    <a:lumOff val="5000"/>
                  </a:prstClr>
                </a:solidFill>
                <a:effectLst/>
                <a:uLnTx/>
                <a:uFillTx/>
                <a:latin typeface="Roboto" panose="02000000000000000000" pitchFamily="2" charset="0"/>
                <a:ea typeface="Roboto" panose="02000000000000000000" pitchFamily="2" charset="0"/>
                <a:cs typeface="+mn-cs"/>
              </a:rPr>
              <a:t> et al., </a:t>
            </a:r>
            <a:r>
              <a:rPr kumimoji="0" lang="en-US" sz="1100" b="0" i="1" u="none" strike="noStrike" kern="1200" cap="none" spc="0" normalizeH="0" baseline="0" noProof="0">
                <a:ln>
                  <a:noFill/>
                </a:ln>
                <a:solidFill>
                  <a:prstClr val="black">
                    <a:lumMod val="95000"/>
                    <a:lumOff val="5000"/>
                  </a:prstClr>
                </a:solidFill>
                <a:effectLst/>
                <a:uLnTx/>
                <a:uFillTx/>
                <a:latin typeface="Roboto" panose="02000000000000000000" pitchFamily="2" charset="0"/>
                <a:ea typeface="Roboto" panose="02000000000000000000" pitchFamily="2" charset="0"/>
                <a:cs typeface="+mn-cs"/>
              </a:rPr>
              <a:t>Acting rapidly to deploy readily available methane mitigation measures by sector can immediately slow global warming, 2021.</a:t>
            </a:r>
            <a:endParaRPr kumimoji="0" lang="en-GB" sz="1100" b="0" i="1" u="none" strike="noStrike" kern="1200" cap="none" spc="0" normalizeH="0" baseline="0" noProof="0">
              <a:ln>
                <a:noFill/>
              </a:ln>
              <a:solidFill>
                <a:prstClr val="black">
                  <a:lumMod val="95000"/>
                  <a:lumOff val="5000"/>
                </a:prstClr>
              </a:solidFill>
              <a:effectLst/>
              <a:uLnTx/>
              <a:uFillTx/>
              <a:latin typeface="Roboto" panose="02000000000000000000" pitchFamily="2" charset="0"/>
              <a:ea typeface="Roboto" panose="02000000000000000000" pitchFamily="2" charset="0"/>
              <a:cs typeface="+mn-cs"/>
            </a:endParaRPr>
          </a:p>
        </p:txBody>
      </p:sp>
      <p:graphicFrame>
        <p:nvGraphicFramePr>
          <p:cNvPr id="15" name="Chart 14">
            <a:extLst>
              <a:ext uri="{FF2B5EF4-FFF2-40B4-BE49-F238E27FC236}">
                <a16:creationId xmlns:a16="http://schemas.microsoft.com/office/drawing/2014/main" id="{F471A3CD-F5AC-422A-9FF3-2CDC5DF9BE46}"/>
              </a:ext>
            </a:extLst>
          </p:cNvPr>
          <p:cNvGraphicFramePr>
            <a:graphicFrameLocks/>
          </p:cNvGraphicFramePr>
          <p:nvPr/>
        </p:nvGraphicFramePr>
        <p:xfrm>
          <a:off x="164977" y="2050141"/>
          <a:ext cx="5153173" cy="3442780"/>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a:extLst>
              <a:ext uri="{FF2B5EF4-FFF2-40B4-BE49-F238E27FC236}">
                <a16:creationId xmlns:a16="http://schemas.microsoft.com/office/drawing/2014/main" id="{FEE6CB26-4AF7-450B-A936-795247F6C94B}"/>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8" name="Title 1">
            <a:extLst>
              <a:ext uri="{FF2B5EF4-FFF2-40B4-BE49-F238E27FC236}">
                <a16:creationId xmlns:a16="http://schemas.microsoft.com/office/drawing/2014/main" id="{9E426EA7-FA66-49EA-BF04-76F2E0B6B495}"/>
              </a:ext>
            </a:extLst>
          </p:cNvPr>
          <p:cNvSpPr txBox="1">
            <a:spLocks/>
          </p:cNvSpPr>
          <p:nvPr/>
        </p:nvSpPr>
        <p:spPr>
          <a:xfrm>
            <a:off x="600370" y="372984"/>
            <a:ext cx="10443648" cy="769175"/>
          </a:xfrm>
          <a:prstGeom prst="rect">
            <a:avLst/>
          </a:prstGeom>
        </p:spPr>
        <p:txBody>
          <a:bodyPr lIns="0" rIns="9000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a:ln>
                  <a:noFill/>
                </a:ln>
                <a:solidFill>
                  <a:srgbClr val="00B0F0"/>
                </a:solidFill>
                <a:effectLst/>
                <a:uLnTx/>
                <a:uFillTx/>
                <a:latin typeface="Roboto Regular"/>
                <a:ea typeface="+mj-ea"/>
                <a:cs typeface="+mj-cs"/>
              </a:rPr>
              <a:t>Targeted measures are needed to realize the full potential of methane mitigation in the fossil fuel sector</a:t>
            </a:r>
          </a:p>
        </p:txBody>
      </p:sp>
      <p:sp>
        <p:nvSpPr>
          <p:cNvPr id="19" name="TextBox 18">
            <a:extLst>
              <a:ext uri="{FF2B5EF4-FFF2-40B4-BE49-F238E27FC236}">
                <a16:creationId xmlns:a16="http://schemas.microsoft.com/office/drawing/2014/main" id="{41E49838-4F0F-4353-AB52-CB371E26EF00}"/>
              </a:ext>
            </a:extLst>
          </p:cNvPr>
          <p:cNvSpPr txBox="1"/>
          <p:nvPr/>
        </p:nvSpPr>
        <p:spPr>
          <a:xfrm>
            <a:off x="590330" y="1589809"/>
            <a:ext cx="405986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Methane Emissions Scenarios</a:t>
            </a:r>
          </a:p>
        </p:txBody>
      </p:sp>
      <p:sp>
        <p:nvSpPr>
          <p:cNvPr id="4" name="TextBox 3">
            <a:extLst>
              <a:ext uri="{FF2B5EF4-FFF2-40B4-BE49-F238E27FC236}">
                <a16:creationId xmlns:a16="http://schemas.microsoft.com/office/drawing/2014/main" id="{27622078-EA33-F34F-8221-395E8F05FE13}"/>
              </a:ext>
            </a:extLst>
          </p:cNvPr>
          <p:cNvSpPr txBox="1"/>
          <p:nvPr/>
        </p:nvSpPr>
        <p:spPr>
          <a:xfrm>
            <a:off x="6666234" y="1513816"/>
            <a:ext cx="5153173" cy="236988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According to the International Energy Agency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1. Methane emissions from the oil and gas sector could be reduced with technologies that exist tod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   </a:t>
            </a:r>
            <a:r>
              <a:rPr kumimoji="0" lang="en-GB" sz="4000" b="1" i="0" u="none" strike="noStrike" kern="1200" cap="none" spc="0" normalizeH="0" baseline="0" noProof="0" dirty="0">
                <a:ln>
                  <a:noFill/>
                </a:ln>
                <a:solidFill>
                  <a:srgbClr val="009FE3"/>
                </a:solidFill>
                <a:effectLst/>
                <a:uLnTx/>
                <a:uFillTx/>
                <a:latin typeface="Roboto" panose="02000000000000000000" pitchFamily="2" charset="0"/>
                <a:ea typeface="Roboto" panose="02000000000000000000" pitchFamily="2" charset="0"/>
                <a:cs typeface="+mn-cs"/>
              </a:rPr>
              <a:t>by 75%</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9FE3"/>
                </a:solidFill>
                <a:effectLst/>
                <a:uLnTx/>
                <a:uFillTx/>
                <a:latin typeface="Roboto" panose="02000000000000000000" pitchFamily="2" charset="0"/>
                <a:ea typeface="Roboto" panose="02000000000000000000" pitchFamily="2" charset="0"/>
                <a:cs typeface="+mn-cs"/>
              </a:rPr>
              <a:t>      </a:t>
            </a:r>
            <a:endPar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3" name="Rectangle 22">
            <a:extLst>
              <a:ext uri="{FF2B5EF4-FFF2-40B4-BE49-F238E27FC236}">
                <a16:creationId xmlns:a16="http://schemas.microsoft.com/office/drawing/2014/main" id="{BF27E6A8-571E-F74A-8DBF-F3A98DA7FB29}"/>
              </a:ext>
            </a:extLst>
          </p:cNvPr>
          <p:cNvSpPr/>
          <p:nvPr/>
        </p:nvSpPr>
        <p:spPr>
          <a:xfrm>
            <a:off x="8414356" y="8181892"/>
            <a:ext cx="1550457" cy="315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Calibri" panose="020F0502020204030204"/>
                <a:ea typeface="+mn-ea"/>
                <a:cs typeface="+mn-cs"/>
              </a:rPr>
              <a:t>Source: IEA</a:t>
            </a:r>
          </a:p>
        </p:txBody>
      </p:sp>
      <p:sp>
        <p:nvSpPr>
          <p:cNvPr id="2" name="Rectangle 1">
            <a:extLst>
              <a:ext uri="{FF2B5EF4-FFF2-40B4-BE49-F238E27FC236}">
                <a16:creationId xmlns:a16="http://schemas.microsoft.com/office/drawing/2014/main" id="{447002DF-A6BE-3F4D-8220-97FB0382FFAA}"/>
              </a:ext>
            </a:extLst>
          </p:cNvPr>
          <p:cNvSpPr/>
          <p:nvPr/>
        </p:nvSpPr>
        <p:spPr>
          <a:xfrm>
            <a:off x="6729424" y="3725496"/>
            <a:ext cx="5153171" cy="215443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2. The measures pay for themselves quickly by saving mone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9FE3"/>
                </a:solidFill>
                <a:effectLst/>
                <a:uLnTx/>
                <a:uFillTx/>
                <a:latin typeface="Roboto" panose="02000000000000000000" pitchFamily="2" charset="0"/>
                <a:ea typeface="Roboto" panose="02000000000000000000" pitchFamily="2" charset="0"/>
                <a:cs typeface="+mn-cs"/>
              </a:rPr>
              <a:t>~ 50%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rPr>
              <a:t>3.  Available targeted measures ha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9FE3"/>
                </a:solidFill>
                <a:effectLst/>
                <a:uLnTx/>
                <a:uFillTx/>
                <a:latin typeface="Roboto" panose="02000000000000000000" pitchFamily="2" charset="0"/>
                <a:ea typeface="Roboto" panose="02000000000000000000" pitchFamily="2" charset="0"/>
                <a:cs typeface="+mn-cs"/>
              </a:rPr>
              <a:t>negative costs</a:t>
            </a:r>
          </a:p>
        </p:txBody>
      </p:sp>
      <p:pic>
        <p:nvPicPr>
          <p:cNvPr id="20" name="Picture 19" descr="Text, logo&#10;&#10;Description automatically generated">
            <a:extLst>
              <a:ext uri="{FF2B5EF4-FFF2-40B4-BE49-F238E27FC236}">
                <a16:creationId xmlns:a16="http://schemas.microsoft.com/office/drawing/2014/main" id="{CADBC49F-BDE1-4091-A3EA-D2AB024E2CFE}"/>
              </a:ext>
            </a:extLst>
          </p:cNvPr>
          <p:cNvPicPr>
            <a:picLocks noChangeAspect="1"/>
          </p:cNvPicPr>
          <p:nvPr/>
        </p:nvPicPr>
        <p:blipFill>
          <a:blip r:embed="rId4">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4079551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FF49835-1C14-2C4A-BA97-6355853BB26B}"/>
              </a:ext>
            </a:extLst>
          </p:cNvPr>
          <p:cNvSpPr txBox="1"/>
          <p:nvPr/>
        </p:nvSpPr>
        <p:spPr>
          <a:xfrm>
            <a:off x="199819" y="1825560"/>
            <a:ext cx="3581965" cy="2246769"/>
          </a:xfrm>
          <a:prstGeom prst="rect">
            <a:avLst/>
          </a:prstGeom>
          <a:noFill/>
        </p:spPr>
        <p:txBody>
          <a:bodyPr wrap="square" rtlCol="0">
            <a:spAutoFit/>
          </a:bodyPr>
          <a:lstStyle/>
          <a:p>
            <a:r>
              <a:rPr lang="en-US" sz="2800" b="1" dirty="0"/>
              <a:t>Reducing methane </a:t>
            </a:r>
          </a:p>
          <a:p>
            <a:r>
              <a:rPr lang="en-US" sz="2800" b="1" dirty="0"/>
              <a:t>emissions </a:t>
            </a:r>
            <a:r>
              <a:rPr lang="en-US" sz="2800" dirty="0"/>
              <a:t>has the potential to reduce </a:t>
            </a:r>
          </a:p>
          <a:p>
            <a:r>
              <a:rPr lang="en-US" sz="2800" dirty="0"/>
              <a:t>the rate of warming significantly</a:t>
            </a:r>
          </a:p>
        </p:txBody>
      </p:sp>
      <p:pic>
        <p:nvPicPr>
          <p:cNvPr id="6" name="Picture 5" descr="Chart&#10;&#10;Description automatically generated">
            <a:extLst>
              <a:ext uri="{FF2B5EF4-FFF2-40B4-BE49-F238E27FC236}">
                <a16:creationId xmlns:a16="http://schemas.microsoft.com/office/drawing/2014/main" id="{90F53CB8-313E-DE4F-A766-BF0586E827C0}"/>
              </a:ext>
            </a:extLst>
          </p:cNvPr>
          <p:cNvPicPr/>
          <p:nvPr/>
        </p:nvPicPr>
        <p:blipFill>
          <a:blip r:embed="rId2"/>
          <a:stretch>
            <a:fillRect/>
          </a:stretch>
        </p:blipFill>
        <p:spPr>
          <a:xfrm>
            <a:off x="3476531" y="-132784"/>
            <a:ext cx="8944823" cy="6530567"/>
          </a:xfrm>
          <a:prstGeom prst="rect">
            <a:avLst/>
          </a:prstGeom>
        </p:spPr>
      </p:pic>
      <p:sp>
        <p:nvSpPr>
          <p:cNvPr id="2" name="TextBox 1">
            <a:extLst>
              <a:ext uri="{FF2B5EF4-FFF2-40B4-BE49-F238E27FC236}">
                <a16:creationId xmlns:a16="http://schemas.microsoft.com/office/drawing/2014/main" id="{10DB9EEA-12B2-7B4E-9279-E794FBBAB3EB}"/>
              </a:ext>
            </a:extLst>
          </p:cNvPr>
          <p:cNvSpPr txBox="1"/>
          <p:nvPr/>
        </p:nvSpPr>
        <p:spPr>
          <a:xfrm>
            <a:off x="1534510" y="6397783"/>
            <a:ext cx="2080057" cy="369332"/>
          </a:xfrm>
          <a:prstGeom prst="rect">
            <a:avLst/>
          </a:prstGeom>
          <a:noFill/>
        </p:spPr>
        <p:txBody>
          <a:bodyPr wrap="none" rtlCol="0">
            <a:spAutoFit/>
          </a:bodyPr>
          <a:lstStyle/>
          <a:p>
            <a:r>
              <a:rPr lang="en-US" dirty="0" err="1"/>
              <a:t>Ocko</a:t>
            </a:r>
            <a:r>
              <a:rPr lang="en-US" dirty="0"/>
              <a:t> et al. ERL 2021</a:t>
            </a:r>
          </a:p>
        </p:txBody>
      </p:sp>
    </p:spTree>
    <p:extLst>
      <p:ext uri="{BB962C8B-B14F-4D97-AF65-F5344CB8AC3E}">
        <p14:creationId xmlns:p14="http://schemas.microsoft.com/office/powerpoint/2010/main" val="215057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D3D81-389B-0743-98CA-D18E6000AE0D}"/>
              </a:ext>
            </a:extLst>
          </p:cNvPr>
          <p:cNvSpPr>
            <a:spLocks noGrp="1"/>
          </p:cNvSpPr>
          <p:nvPr>
            <p:ph type="title"/>
          </p:nvPr>
        </p:nvSpPr>
        <p:spPr>
          <a:xfrm>
            <a:off x="819806" y="1493839"/>
            <a:ext cx="10972800" cy="1143000"/>
          </a:xfrm>
        </p:spPr>
        <p:txBody>
          <a:bodyPr>
            <a:normAutofit fontScale="90000"/>
          </a:bodyPr>
          <a:lstStyle/>
          <a:p>
            <a:r>
              <a:rPr lang="en-US" dirty="0"/>
              <a:t>Accelerating emissions reductions requires knowing:</a:t>
            </a:r>
            <a:br>
              <a:rPr lang="en-US" dirty="0"/>
            </a:br>
            <a:endParaRPr lang="en-US" dirty="0"/>
          </a:p>
        </p:txBody>
      </p:sp>
      <p:sp>
        <p:nvSpPr>
          <p:cNvPr id="3" name="Slide Number Placeholder 2">
            <a:extLst>
              <a:ext uri="{FF2B5EF4-FFF2-40B4-BE49-F238E27FC236}">
                <a16:creationId xmlns:a16="http://schemas.microsoft.com/office/drawing/2014/main" id="{5649E7CE-7700-1843-8403-2C7B672DBEE6}"/>
              </a:ext>
            </a:extLst>
          </p:cNvPr>
          <p:cNvSpPr>
            <a:spLocks noGrp="1"/>
          </p:cNvSpPr>
          <p:nvPr>
            <p:ph type="sldNum" sz="quarter" idx="12"/>
          </p:nvPr>
        </p:nvSpPr>
        <p:spPr/>
        <p:txBody>
          <a:bodyPr/>
          <a:lstStyle/>
          <a:p>
            <a:fld id="{80E39091-E0D1-CF46-954B-4EBC67CDBED6}" type="slidenum">
              <a:rPr lang="en-US" smtClean="0"/>
              <a:t>5</a:t>
            </a:fld>
            <a:endParaRPr lang="en-US"/>
          </a:p>
        </p:txBody>
      </p:sp>
      <p:sp>
        <p:nvSpPr>
          <p:cNvPr id="8" name="TextBox 7">
            <a:extLst>
              <a:ext uri="{FF2B5EF4-FFF2-40B4-BE49-F238E27FC236}">
                <a16:creationId xmlns:a16="http://schemas.microsoft.com/office/drawing/2014/main" id="{5ED34678-EA2B-2D43-92A9-157F3FA045FF}"/>
              </a:ext>
            </a:extLst>
          </p:cNvPr>
          <p:cNvSpPr txBox="1"/>
          <p:nvPr/>
        </p:nvSpPr>
        <p:spPr>
          <a:xfrm>
            <a:off x="2575657" y="2753710"/>
            <a:ext cx="6161943" cy="1938992"/>
          </a:xfrm>
          <a:prstGeom prst="rect">
            <a:avLst/>
          </a:prstGeom>
          <a:noFill/>
        </p:spPr>
        <p:txBody>
          <a:bodyPr wrap="none" rtlCol="0">
            <a:spAutoFit/>
          </a:bodyPr>
          <a:lstStyle/>
          <a:p>
            <a:pPr marL="285750" indent="-285750">
              <a:buFont typeface="Arial" panose="020B0604020202020204" pitchFamily="34" charset="0"/>
              <a:buChar char="•"/>
            </a:pPr>
            <a:r>
              <a:rPr lang="en-US" sz="4000" dirty="0"/>
              <a:t>What is being emitted</a:t>
            </a:r>
          </a:p>
          <a:p>
            <a:pPr marL="285750" indent="-285750">
              <a:buFont typeface="Arial" panose="020B0604020202020204" pitchFamily="34" charset="0"/>
              <a:buChar char="•"/>
            </a:pPr>
            <a:r>
              <a:rPr lang="en-US" sz="4000" dirty="0"/>
              <a:t>Where it is being emitted</a:t>
            </a:r>
          </a:p>
          <a:p>
            <a:pPr marL="285750" indent="-285750">
              <a:buFont typeface="Arial" panose="020B0604020202020204" pitchFamily="34" charset="0"/>
              <a:buChar char="•"/>
            </a:pPr>
            <a:r>
              <a:rPr lang="en-US" sz="4000" dirty="0"/>
              <a:t>How much is being emitted</a:t>
            </a:r>
          </a:p>
        </p:txBody>
      </p:sp>
      <p:sp>
        <p:nvSpPr>
          <p:cNvPr id="9" name="TextBox 8">
            <a:extLst>
              <a:ext uri="{FF2B5EF4-FFF2-40B4-BE49-F238E27FC236}">
                <a16:creationId xmlns:a16="http://schemas.microsoft.com/office/drawing/2014/main" id="{308A5443-7186-3449-8E52-5F79F138574D}"/>
              </a:ext>
            </a:extLst>
          </p:cNvPr>
          <p:cNvSpPr txBox="1"/>
          <p:nvPr/>
        </p:nvSpPr>
        <p:spPr>
          <a:xfrm>
            <a:off x="3447393" y="5364161"/>
            <a:ext cx="4193520" cy="707886"/>
          </a:xfrm>
          <a:prstGeom prst="rect">
            <a:avLst/>
          </a:prstGeom>
          <a:noFill/>
        </p:spPr>
        <p:txBody>
          <a:bodyPr wrap="none" rtlCol="0">
            <a:spAutoFit/>
          </a:bodyPr>
          <a:lstStyle/>
          <a:p>
            <a:r>
              <a:rPr lang="en-US" sz="4000" dirty="0"/>
              <a:t>This is role of IMEO</a:t>
            </a:r>
          </a:p>
        </p:txBody>
      </p:sp>
    </p:spTree>
    <p:extLst>
      <p:ext uri="{BB962C8B-B14F-4D97-AF65-F5344CB8AC3E}">
        <p14:creationId xmlns:p14="http://schemas.microsoft.com/office/powerpoint/2010/main" val="240707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6AC4B41-7BEC-480A-B93C-ED3EBA3253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0EF932-450F-464C-AEE3-B9520724EA2E}"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FF03AF0E-34F7-45CB-B3FF-6A50E675F851}"/>
              </a:ext>
            </a:extLst>
          </p:cNvPr>
          <p:cNvSpPr/>
          <p:nvPr/>
        </p:nvSpPr>
        <p:spPr>
          <a:xfrm>
            <a:off x="5892443" y="6204558"/>
            <a:ext cx="243861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Johnson, et al. ES&amp;T 2017)</a:t>
            </a:r>
          </a:p>
        </p:txBody>
      </p:sp>
      <p:pic>
        <p:nvPicPr>
          <p:cNvPr id="6" name="Picture 5">
            <a:extLst>
              <a:ext uri="{FF2B5EF4-FFF2-40B4-BE49-F238E27FC236}">
                <a16:creationId xmlns:a16="http://schemas.microsoft.com/office/drawing/2014/main" id="{B898A94A-722F-48F2-B569-8A63D1849E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2306" y="1605502"/>
            <a:ext cx="5897507" cy="4591667"/>
          </a:xfrm>
          <a:prstGeom prst="rect">
            <a:avLst/>
          </a:prstGeom>
        </p:spPr>
      </p:pic>
      <p:sp>
        <p:nvSpPr>
          <p:cNvPr id="12" name="Rectangle 11">
            <a:extLst>
              <a:ext uri="{FF2B5EF4-FFF2-40B4-BE49-F238E27FC236}">
                <a16:creationId xmlns:a16="http://schemas.microsoft.com/office/drawing/2014/main" id="{39FD005D-E827-4593-8684-9213C8766E81}"/>
              </a:ext>
            </a:extLst>
          </p:cNvPr>
          <p:cNvSpPr/>
          <p:nvPr/>
        </p:nvSpPr>
        <p:spPr>
          <a:xfrm>
            <a:off x="5639513" y="1056524"/>
            <a:ext cx="5640300" cy="660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rPr>
              <a:t>Sample Measurement Data in Alberta, Canada</a:t>
            </a:r>
          </a:p>
        </p:txBody>
      </p:sp>
      <p:pic>
        <p:nvPicPr>
          <p:cNvPr id="20" name="Grafik 22">
            <a:extLst>
              <a:ext uri="{FF2B5EF4-FFF2-40B4-BE49-F238E27FC236}">
                <a16:creationId xmlns:a16="http://schemas.microsoft.com/office/drawing/2014/main" id="{C1C8A252-20D7-574C-9CE2-1F98C510D13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03406" y="1759182"/>
            <a:ext cx="3946322" cy="833882"/>
          </a:xfrm>
          <a:prstGeom prst="rect">
            <a:avLst/>
          </a:prstGeom>
        </p:spPr>
      </p:pic>
      <p:pic>
        <p:nvPicPr>
          <p:cNvPr id="21" name="Grafik 25">
            <a:extLst>
              <a:ext uri="{FF2B5EF4-FFF2-40B4-BE49-F238E27FC236}">
                <a16:creationId xmlns:a16="http://schemas.microsoft.com/office/drawing/2014/main" id="{3B9DA944-2B3C-CB43-8534-1EE8ABC575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03406" y="2440364"/>
            <a:ext cx="3916872" cy="3547109"/>
          </a:xfrm>
          <a:prstGeom prst="rect">
            <a:avLst/>
          </a:prstGeom>
        </p:spPr>
      </p:pic>
      <p:pic>
        <p:nvPicPr>
          <p:cNvPr id="22" name="Grafik 5">
            <a:extLst>
              <a:ext uri="{FF2B5EF4-FFF2-40B4-BE49-F238E27FC236}">
                <a16:creationId xmlns:a16="http://schemas.microsoft.com/office/drawing/2014/main" id="{D68B4ECA-BAB4-644F-AAEE-D29C9A384C9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03406" y="4295867"/>
            <a:ext cx="3916872" cy="1689100"/>
          </a:xfrm>
          <a:prstGeom prst="rect">
            <a:avLst/>
          </a:prstGeom>
        </p:spPr>
      </p:pic>
      <p:sp>
        <p:nvSpPr>
          <p:cNvPr id="23" name="Textfeld 2">
            <a:extLst>
              <a:ext uri="{FF2B5EF4-FFF2-40B4-BE49-F238E27FC236}">
                <a16:creationId xmlns:a16="http://schemas.microsoft.com/office/drawing/2014/main" id="{8BE6B434-5A1F-CC4E-8C04-2A25297B42E1}"/>
              </a:ext>
            </a:extLst>
          </p:cNvPr>
          <p:cNvSpPr txBox="1"/>
          <p:nvPr/>
        </p:nvSpPr>
        <p:spPr>
          <a:xfrm>
            <a:off x="1320321" y="1945885"/>
            <a:ext cx="329995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Data Landscape Today</a:t>
            </a:r>
          </a:p>
        </p:txBody>
      </p:sp>
      <p:sp>
        <p:nvSpPr>
          <p:cNvPr id="24" name="Textfeld 26">
            <a:extLst>
              <a:ext uri="{FF2B5EF4-FFF2-40B4-BE49-F238E27FC236}">
                <a16:creationId xmlns:a16="http://schemas.microsoft.com/office/drawing/2014/main" id="{535D8DD5-D541-484E-B3C0-F86656810B13}"/>
              </a:ext>
            </a:extLst>
          </p:cNvPr>
          <p:cNvSpPr txBox="1"/>
          <p:nvPr/>
        </p:nvSpPr>
        <p:spPr>
          <a:xfrm>
            <a:off x="978016" y="2522605"/>
            <a:ext cx="3350144"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endParaRPr kumimoji="0" lang="de-DE" sz="14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rPr>
              <a:t>Accuracy of data</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endParaRPr kumimoji="0" lang="de-DE" sz="14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Char char="-"/>
              <a:tabLst>
                <a:tab pos="85725" algn="l"/>
              </a:tabLst>
              <a:defRPr/>
            </a:pPr>
            <a:r>
              <a:rPr kumimoji="0" lang="de-DE" sz="1400" b="0" i="0" u="none" strike="noStrike" kern="1200" cap="none" spc="0" normalizeH="0" baseline="0" noProof="0">
                <a:ln>
                  <a:noFill/>
                </a:ln>
                <a:solidFill>
                  <a:prstClr val="black"/>
                </a:solidFill>
                <a:effectLst/>
                <a:uLnTx/>
                <a:uFillTx/>
                <a:latin typeface="Roboto Light" panose="02000000000000000000" pitchFamily="2" charset="0"/>
                <a:ea typeface="Roboto Light" panose="02000000000000000000" pitchFamily="2" charset="0"/>
                <a:cs typeface="Roboto Light" panose="02000000000000000000" pitchFamily="2" charset="0"/>
              </a:rPr>
              <a:t> Most methane emissions data is from emissions factors</a:t>
            </a:r>
          </a:p>
          <a:p>
            <a:pPr marL="0" marR="0" lvl="0" indent="0" algn="l" defTabSz="914400" rtl="0" eaLnBrk="1" fontAlgn="auto" latinLnBrk="0" hangingPunct="1">
              <a:lnSpc>
                <a:spcPct val="100000"/>
              </a:lnSpc>
              <a:spcBef>
                <a:spcPts val="0"/>
              </a:spcBef>
              <a:spcAft>
                <a:spcPts val="0"/>
              </a:spcAft>
              <a:buClrTx/>
              <a:buSzTx/>
              <a:buFontTx/>
              <a:buChar char="-"/>
              <a:tabLst>
                <a:tab pos="85725" algn="l"/>
              </a:tabLst>
              <a:defRPr/>
            </a:pPr>
            <a:r>
              <a:rPr kumimoji="0" lang="de-DE" sz="1400" b="0" i="0" u="none" strike="noStrike" kern="1200" cap="none" spc="0" normalizeH="0" baseline="0" noProof="0">
                <a:ln>
                  <a:noFill/>
                </a:ln>
                <a:solidFill>
                  <a:prstClr val="black"/>
                </a:solidFill>
                <a:effectLst/>
                <a:uLnTx/>
                <a:uFillTx/>
                <a:latin typeface="Roboto Light" panose="02000000000000000000" pitchFamily="2" charset="0"/>
                <a:ea typeface="Roboto Light" panose="02000000000000000000" pitchFamily="2" charset="0"/>
                <a:cs typeface="Roboto Light" panose="02000000000000000000" pitchFamily="2" charset="0"/>
              </a:rPr>
              <a:t> Studies show that these underestimate observed emissions levels </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endParaRPr kumimoji="0" lang="de-DE" sz="1400" b="1"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Roboto" panose="02000000000000000000" pitchFamily="2" charset="0"/>
            </a:endParaRPr>
          </a:p>
        </p:txBody>
      </p:sp>
      <p:sp>
        <p:nvSpPr>
          <p:cNvPr id="25" name="Textfeld 27">
            <a:extLst>
              <a:ext uri="{FF2B5EF4-FFF2-40B4-BE49-F238E27FC236}">
                <a16:creationId xmlns:a16="http://schemas.microsoft.com/office/drawing/2014/main" id="{D71DCFF5-4C12-5D44-97B6-C5911E6B38F1}"/>
              </a:ext>
            </a:extLst>
          </p:cNvPr>
          <p:cNvSpPr txBox="1"/>
          <p:nvPr/>
        </p:nvSpPr>
        <p:spPr>
          <a:xfrm>
            <a:off x="912187" y="4740031"/>
            <a:ext cx="3350144"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1" i="0" u="none" strike="noStrike" kern="1200" cap="none" spc="0" normalizeH="0" baseline="0" noProof="0">
                <a:ln>
                  <a:noFill/>
                </a:ln>
                <a:solidFill>
                  <a:prstClr val="white"/>
                </a:solidFill>
                <a:effectLst/>
                <a:uLnTx/>
                <a:uFillTx/>
                <a:latin typeface="Roboto" panose="02000000000000000000" pitchFamily="2" charset="0"/>
                <a:ea typeface="Roboto" panose="02000000000000000000" pitchFamily="2" charset="0"/>
                <a:cs typeface="Roboto" panose="02000000000000000000" pitchFamily="2" charset="0"/>
              </a:rPr>
              <a:t>Action enabled by better data: </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Roboto Light" panose="02000000000000000000" pitchFamily="2" charset="0"/>
              </a:rPr>
              <a:t>- Targeted emissions reduction plans</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Roboto Light" panose="02000000000000000000" pitchFamily="2" charset="0"/>
              </a:rPr>
              <a:t>- Identification of super-emitters</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Roboto Light" panose="02000000000000000000" pitchFamily="2" charset="0"/>
              </a:rPr>
              <a:t>- Set and track ambitious methane</a:t>
            </a:r>
          </a:p>
          <a:p>
            <a:pPr marL="0" marR="0" lvl="0" indent="0" algn="l" defTabSz="914400" rtl="0" eaLnBrk="1" fontAlgn="auto" latinLnBrk="0" hangingPunct="1">
              <a:lnSpc>
                <a:spcPct val="100000"/>
              </a:lnSpc>
              <a:spcBef>
                <a:spcPts val="0"/>
              </a:spcBef>
              <a:spcAft>
                <a:spcPts val="0"/>
              </a:spcAft>
              <a:buClrTx/>
              <a:buSzTx/>
              <a:buFontTx/>
              <a:buNone/>
              <a:tabLst>
                <a:tab pos="85725" algn="l"/>
              </a:tabLst>
              <a:defRPr/>
            </a:pPr>
            <a:r>
              <a:rPr kumimoji="0" lang="de-DE" sz="14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Roboto Light" panose="02000000000000000000" pitchFamily="2" charset="0"/>
              </a:rPr>
              <a:t>  reduction targets</a:t>
            </a:r>
          </a:p>
        </p:txBody>
      </p:sp>
      <p:sp>
        <p:nvSpPr>
          <p:cNvPr id="31" name="Title 1">
            <a:extLst>
              <a:ext uri="{FF2B5EF4-FFF2-40B4-BE49-F238E27FC236}">
                <a16:creationId xmlns:a16="http://schemas.microsoft.com/office/drawing/2014/main" id="{75E6DFBA-FBF2-40DC-A707-3B5407EB9ADF}"/>
              </a:ext>
            </a:extLst>
          </p:cNvPr>
          <p:cNvSpPr>
            <a:spLocks noGrp="1"/>
          </p:cNvSpPr>
          <p:nvPr>
            <p:ph type="title"/>
          </p:nvPr>
        </p:nvSpPr>
        <p:spPr>
          <a:xfrm>
            <a:off x="600370" y="372984"/>
            <a:ext cx="9853381" cy="769175"/>
          </a:xfrm>
        </p:spPr>
        <p:txBody>
          <a:bodyPr lIns="0" rIns="90000" anchor="b">
            <a:normAutofit/>
          </a:bodyPr>
          <a:lstStyle/>
          <a:p>
            <a:r>
              <a:rPr lang="en-US" sz="2400" b="1">
                <a:solidFill>
                  <a:srgbClr val="00B0F0"/>
                </a:solidFill>
                <a:latin typeface="Roboto Regular"/>
              </a:rPr>
              <a:t>Better data is needed to enable targeted methane mitigation strategies and policies</a:t>
            </a:r>
            <a:endParaRPr lang="en-US" sz="2000">
              <a:solidFill>
                <a:srgbClr val="00B0F0"/>
              </a:solidFill>
              <a:latin typeface="Roboto Regular"/>
            </a:endParaRPr>
          </a:p>
        </p:txBody>
      </p:sp>
      <p:cxnSp>
        <p:nvCxnSpPr>
          <p:cNvPr id="32" name="Straight Connector 31">
            <a:extLst>
              <a:ext uri="{FF2B5EF4-FFF2-40B4-BE49-F238E27FC236}">
                <a16:creationId xmlns:a16="http://schemas.microsoft.com/office/drawing/2014/main" id="{9FC8911C-65D6-4354-B2CE-16850DF4CC1C}"/>
              </a:ext>
            </a:extLst>
          </p:cNvPr>
          <p:cNvCxnSpPr>
            <a:cxnSpLocks/>
          </p:cNvCxnSpPr>
          <p:nvPr/>
        </p:nvCxnSpPr>
        <p:spPr>
          <a:xfrm>
            <a:off x="600370" y="1375702"/>
            <a:ext cx="1171723" cy="0"/>
          </a:xfrm>
          <a:prstGeom prst="line">
            <a:avLst/>
          </a:prstGeom>
          <a:ln w="76200">
            <a:solidFill>
              <a:srgbClr val="00B0F0"/>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Text, logo&#10;&#10;Description automatically generated">
            <a:extLst>
              <a:ext uri="{FF2B5EF4-FFF2-40B4-BE49-F238E27FC236}">
                <a16:creationId xmlns:a16="http://schemas.microsoft.com/office/drawing/2014/main" id="{A9A001FA-CB0C-4F91-8450-3DC46D6D215E}"/>
              </a:ext>
            </a:extLst>
          </p:cNvPr>
          <p:cNvPicPr>
            <a:picLocks noChangeAspect="1"/>
          </p:cNvPicPr>
          <p:nvPr/>
        </p:nvPicPr>
        <p:blipFill>
          <a:blip r:embed="rId10">
            <a:alphaModFix amt="50000"/>
          </a:blip>
          <a:stretch>
            <a:fillRect/>
          </a:stretch>
        </p:blipFill>
        <p:spPr>
          <a:xfrm>
            <a:off x="10453751" y="176644"/>
            <a:ext cx="1639608" cy="796492"/>
          </a:xfrm>
          <a:prstGeom prst="rect">
            <a:avLst/>
          </a:prstGeom>
        </p:spPr>
      </p:pic>
    </p:spTree>
    <p:extLst>
      <p:ext uri="{BB962C8B-B14F-4D97-AF65-F5344CB8AC3E}">
        <p14:creationId xmlns:p14="http://schemas.microsoft.com/office/powerpoint/2010/main" val="3331041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584" y="342900"/>
            <a:ext cx="11419416" cy="685800"/>
          </a:xfrm>
        </p:spPr>
        <p:txBody>
          <a:bodyPr>
            <a:normAutofit fontScale="90000"/>
          </a:bodyPr>
          <a:lstStyle/>
          <a:p>
            <a:r>
              <a:rPr lang="en-US" dirty="0"/>
              <a:t>U.S. oil and gas supply chain emissions </a:t>
            </a:r>
          </a:p>
        </p:txBody>
      </p:sp>
      <p:grpSp>
        <p:nvGrpSpPr>
          <p:cNvPr id="12" name="Group 11">
            <a:extLst>
              <a:ext uri="{FF2B5EF4-FFF2-40B4-BE49-F238E27FC236}">
                <a16:creationId xmlns:a16="http://schemas.microsoft.com/office/drawing/2014/main" id="{4E296C0F-9F9C-1E4B-AB34-1D5386B0EF5A}"/>
              </a:ext>
            </a:extLst>
          </p:cNvPr>
          <p:cNvGrpSpPr/>
          <p:nvPr/>
        </p:nvGrpSpPr>
        <p:grpSpPr>
          <a:xfrm>
            <a:off x="765936" y="1169097"/>
            <a:ext cx="2567457" cy="4567153"/>
            <a:chOff x="574451" y="853221"/>
            <a:chExt cx="1925593" cy="3425365"/>
          </a:xfrm>
        </p:grpSpPr>
        <p:sp>
          <p:nvSpPr>
            <p:cNvPr id="29" name="Rounded Rectangle 28"/>
            <p:cNvSpPr/>
            <p:nvPr/>
          </p:nvSpPr>
          <p:spPr>
            <a:xfrm>
              <a:off x="575933" y="853221"/>
              <a:ext cx="1924111" cy="3329899"/>
            </a:xfrm>
            <a:prstGeom prst="roundRec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rotWithShape="1">
            <a:blip r:embed="rId2" cstate="screen">
              <a:extLst>
                <a:ext uri="{28A0092B-C50C-407E-A947-70E740481C1C}">
                  <a14:useLocalDpi xmlns:a14="http://schemas.microsoft.com/office/drawing/2010/main"/>
                </a:ext>
              </a:extLst>
            </a:blip>
            <a:srcRect l="-55" t="-142" r="-73" b="-474"/>
            <a:stretch/>
          </p:blipFill>
          <p:spPr>
            <a:xfrm>
              <a:off x="595476" y="1545142"/>
              <a:ext cx="1884833" cy="1266644"/>
            </a:xfrm>
            <a:prstGeom prst="rect">
              <a:avLst/>
            </a:prstGeom>
            <a:ln>
              <a:solidFill>
                <a:schemeClr val="bg1"/>
              </a:solidFill>
            </a:ln>
          </p:spPr>
        </p:pic>
        <p:sp>
          <p:nvSpPr>
            <p:cNvPr id="37" name="TextBox 36"/>
            <p:cNvSpPr txBox="1"/>
            <p:nvPr/>
          </p:nvSpPr>
          <p:spPr>
            <a:xfrm>
              <a:off x="574451" y="867431"/>
              <a:ext cx="1925593" cy="623248"/>
            </a:xfrm>
            <a:prstGeom prst="rect">
              <a:avLst/>
            </a:prstGeom>
            <a:noFill/>
            <a:effectLst/>
          </p:spPr>
          <p:txBody>
            <a:bodyPr wrap="square" rtlCol="0">
              <a:spAutoFit/>
            </a:bodyPr>
            <a:lstStyle/>
            <a:p>
              <a:pPr algn="ctr"/>
              <a:r>
                <a:rPr lang="en-US" sz="2400" dirty="0">
                  <a:effectLst>
                    <a:outerShdw dist="38100" sx="1000" sy="1000" algn="tl">
                      <a:srgbClr val="000000"/>
                    </a:outerShdw>
                  </a:effectLst>
                </a:rPr>
                <a:t>Drilling &amp; Production </a:t>
              </a:r>
            </a:p>
          </p:txBody>
        </p:sp>
        <p:grpSp>
          <p:nvGrpSpPr>
            <p:cNvPr id="5" name="Group 4">
              <a:extLst>
                <a:ext uri="{FF2B5EF4-FFF2-40B4-BE49-F238E27FC236}">
                  <a16:creationId xmlns:a16="http://schemas.microsoft.com/office/drawing/2014/main" id="{390C87F8-B0B4-7B48-99ED-C09F7ADA9728}"/>
                </a:ext>
              </a:extLst>
            </p:cNvPr>
            <p:cNvGrpSpPr/>
            <p:nvPr/>
          </p:nvGrpSpPr>
          <p:grpSpPr>
            <a:xfrm>
              <a:off x="760657" y="2823174"/>
              <a:ext cx="1557077" cy="1455412"/>
              <a:chOff x="729127" y="2823174"/>
              <a:chExt cx="1557077" cy="1455412"/>
            </a:xfrm>
          </p:grpSpPr>
          <p:graphicFrame>
            <p:nvGraphicFramePr>
              <p:cNvPr id="41" name="Chart 40"/>
              <p:cNvGraphicFramePr>
                <a:graphicFrameLocks/>
              </p:cNvGraphicFramePr>
              <p:nvPr/>
            </p:nvGraphicFramePr>
            <p:xfrm>
              <a:off x="729127" y="3053762"/>
              <a:ext cx="1557077" cy="1224824"/>
            </p:xfrm>
            <a:graphic>
              <a:graphicData uri="http://schemas.openxmlformats.org/drawingml/2006/chart">
                <c:chart xmlns:c="http://schemas.openxmlformats.org/drawingml/2006/chart" xmlns:r="http://schemas.openxmlformats.org/officeDocument/2006/relationships" r:id="rId3"/>
              </a:graphicData>
            </a:graphic>
          </p:graphicFrame>
          <p:sp>
            <p:nvSpPr>
              <p:cNvPr id="49" name="TextBox 48"/>
              <p:cNvSpPr txBox="1"/>
              <p:nvPr/>
            </p:nvSpPr>
            <p:spPr>
              <a:xfrm>
                <a:off x="884838" y="2823174"/>
                <a:ext cx="644890" cy="392415"/>
              </a:xfrm>
              <a:prstGeom prst="rect">
                <a:avLst/>
              </a:prstGeom>
              <a:noFill/>
              <a:effectLst/>
            </p:spPr>
            <p:txBody>
              <a:bodyPr wrap="square" rtlCol="0">
                <a:spAutoFit/>
              </a:bodyPr>
              <a:lstStyle/>
              <a:p>
                <a:pPr algn="ctr"/>
                <a:r>
                  <a:rPr lang="en-US" sz="1400" dirty="0">
                    <a:effectLst>
                      <a:outerShdw sx="1000" sy="1000" algn="tl">
                        <a:srgbClr val="000000"/>
                      </a:outerShdw>
                    </a:effectLst>
                  </a:rPr>
                  <a:t>7.6 Tg</a:t>
                </a:r>
              </a:p>
              <a:p>
                <a:pPr algn="ctr"/>
                <a:r>
                  <a:rPr lang="en-US" sz="1400" dirty="0">
                    <a:effectLst>
                      <a:outerShdw sx="1000" sy="1000" algn="tl">
                        <a:srgbClr val="000000"/>
                      </a:outerShdw>
                    </a:effectLst>
                  </a:rPr>
                  <a:t>1.3%</a:t>
                </a:r>
              </a:p>
            </p:txBody>
          </p:sp>
          <p:sp>
            <p:nvSpPr>
              <p:cNvPr id="50" name="TextBox 49"/>
              <p:cNvSpPr txBox="1"/>
              <p:nvPr/>
            </p:nvSpPr>
            <p:spPr>
              <a:xfrm>
                <a:off x="1499093" y="3301855"/>
                <a:ext cx="644890" cy="392415"/>
              </a:xfrm>
              <a:prstGeom prst="rect">
                <a:avLst/>
              </a:prstGeom>
              <a:noFill/>
              <a:effectLst/>
            </p:spPr>
            <p:txBody>
              <a:bodyPr wrap="square" rtlCol="0">
                <a:spAutoFit/>
              </a:bodyPr>
              <a:lstStyle/>
              <a:p>
                <a:pPr algn="ctr"/>
                <a:r>
                  <a:rPr lang="en-US" sz="1400" dirty="0">
                    <a:effectLst>
                      <a:outerShdw sx="1000" sy="1000" algn="tl">
                        <a:srgbClr val="000000"/>
                      </a:outerShdw>
                    </a:effectLst>
                  </a:rPr>
                  <a:t>3.5 Tg</a:t>
                </a:r>
              </a:p>
              <a:p>
                <a:pPr algn="ctr"/>
                <a:r>
                  <a:rPr lang="en-US" sz="1400" dirty="0">
                    <a:effectLst>
                      <a:outerShdw sx="1000" sy="1000" algn="tl">
                        <a:srgbClr val="000000"/>
                      </a:outerShdw>
                    </a:effectLst>
                  </a:rPr>
                  <a:t>0.6%</a:t>
                </a:r>
              </a:p>
            </p:txBody>
          </p:sp>
        </p:grpSp>
      </p:grpSp>
      <p:grpSp>
        <p:nvGrpSpPr>
          <p:cNvPr id="13" name="Group 12">
            <a:extLst>
              <a:ext uri="{FF2B5EF4-FFF2-40B4-BE49-F238E27FC236}">
                <a16:creationId xmlns:a16="http://schemas.microsoft.com/office/drawing/2014/main" id="{96EB87AC-AD55-6248-B68A-8909EFD55EC3}"/>
              </a:ext>
            </a:extLst>
          </p:cNvPr>
          <p:cNvGrpSpPr/>
          <p:nvPr/>
        </p:nvGrpSpPr>
        <p:grpSpPr>
          <a:xfrm>
            <a:off x="3470472" y="1169097"/>
            <a:ext cx="2565481" cy="4552833"/>
            <a:chOff x="2602853" y="853221"/>
            <a:chExt cx="1924111" cy="3414625"/>
          </a:xfrm>
        </p:grpSpPr>
        <p:sp>
          <p:nvSpPr>
            <p:cNvPr id="61" name="Rounded Rectangle 60">
              <a:extLst>
                <a:ext uri="{FF2B5EF4-FFF2-40B4-BE49-F238E27FC236}">
                  <a16:creationId xmlns:a16="http://schemas.microsoft.com/office/drawing/2014/main" id="{5237E5E4-57F1-F940-8BBD-2C97AAA16BC0}"/>
                </a:ext>
              </a:extLst>
            </p:cNvPr>
            <p:cNvSpPr/>
            <p:nvPr/>
          </p:nvSpPr>
          <p:spPr>
            <a:xfrm>
              <a:off x="2602853" y="853221"/>
              <a:ext cx="1924111" cy="3329899"/>
            </a:xfrm>
            <a:prstGeom prst="roundRec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23801" y="1545142"/>
              <a:ext cx="1891847" cy="1254428"/>
            </a:xfrm>
            <a:prstGeom prst="rect">
              <a:avLst/>
            </a:prstGeom>
            <a:ln>
              <a:solidFill>
                <a:schemeClr val="bg1"/>
              </a:solidFill>
            </a:ln>
          </p:spPr>
        </p:pic>
        <p:sp>
          <p:nvSpPr>
            <p:cNvPr id="38" name="TextBox 37"/>
            <p:cNvSpPr txBox="1"/>
            <p:nvPr/>
          </p:nvSpPr>
          <p:spPr>
            <a:xfrm>
              <a:off x="2623803" y="864521"/>
              <a:ext cx="1886621" cy="623248"/>
            </a:xfrm>
            <a:prstGeom prst="rect">
              <a:avLst/>
            </a:prstGeom>
            <a:noFill/>
            <a:effectLst/>
          </p:spPr>
          <p:txBody>
            <a:bodyPr wrap="square" rtlCol="0">
              <a:spAutoFit/>
            </a:bodyPr>
            <a:lstStyle/>
            <a:p>
              <a:pPr algn="ctr"/>
              <a:r>
                <a:rPr lang="en-US" sz="2400" dirty="0">
                  <a:effectLst>
                    <a:outerShdw dist="38100" sx="1000" sy="1000" algn="tl">
                      <a:srgbClr val="000000"/>
                    </a:outerShdw>
                  </a:effectLst>
                </a:rPr>
                <a:t>Gathering &amp; </a:t>
              </a:r>
            </a:p>
            <a:p>
              <a:pPr algn="ctr"/>
              <a:r>
                <a:rPr lang="en-US" sz="2400" dirty="0">
                  <a:effectLst>
                    <a:outerShdw dist="38100" sx="1000" sy="1000" algn="tl">
                      <a:srgbClr val="000000"/>
                    </a:outerShdw>
                  </a:effectLst>
                </a:rPr>
                <a:t>Processing </a:t>
              </a:r>
            </a:p>
          </p:txBody>
        </p:sp>
        <p:grpSp>
          <p:nvGrpSpPr>
            <p:cNvPr id="4" name="Group 3">
              <a:extLst>
                <a:ext uri="{FF2B5EF4-FFF2-40B4-BE49-F238E27FC236}">
                  <a16:creationId xmlns:a16="http://schemas.microsoft.com/office/drawing/2014/main" id="{8D4B706F-09BB-C545-B25B-7C2A213B969B}"/>
                </a:ext>
              </a:extLst>
            </p:cNvPr>
            <p:cNvGrpSpPr/>
            <p:nvPr/>
          </p:nvGrpSpPr>
          <p:grpSpPr>
            <a:xfrm>
              <a:off x="2757465" y="3259168"/>
              <a:ext cx="1613886" cy="1008678"/>
              <a:chOff x="2757465" y="3259168"/>
              <a:chExt cx="1613886" cy="1008678"/>
            </a:xfrm>
          </p:grpSpPr>
          <p:graphicFrame>
            <p:nvGraphicFramePr>
              <p:cNvPr id="42" name="Chart 41"/>
              <p:cNvGraphicFramePr>
                <a:graphicFrameLocks/>
              </p:cNvGraphicFramePr>
              <p:nvPr/>
            </p:nvGraphicFramePr>
            <p:xfrm>
              <a:off x="2757465" y="3259168"/>
              <a:ext cx="1613886" cy="1008678"/>
            </p:xfrm>
            <a:graphic>
              <a:graphicData uri="http://schemas.openxmlformats.org/drawingml/2006/chart">
                <c:chart xmlns:c="http://schemas.openxmlformats.org/drawingml/2006/chart" xmlns:r="http://schemas.openxmlformats.org/officeDocument/2006/relationships" r:id="rId5"/>
              </a:graphicData>
            </a:graphic>
          </p:graphicFrame>
          <p:sp>
            <p:nvSpPr>
              <p:cNvPr id="51" name="TextBox 50"/>
              <p:cNvSpPr txBox="1"/>
              <p:nvPr/>
            </p:nvSpPr>
            <p:spPr>
              <a:xfrm>
                <a:off x="2865869" y="3382373"/>
                <a:ext cx="725591" cy="553998"/>
              </a:xfrm>
              <a:prstGeom prst="rect">
                <a:avLst/>
              </a:prstGeom>
              <a:noFill/>
              <a:effectLst/>
            </p:spPr>
            <p:txBody>
              <a:bodyPr wrap="square" rtlCol="0">
                <a:spAutoFit/>
              </a:bodyPr>
              <a:lstStyle/>
              <a:p>
                <a:pPr algn="ctr"/>
                <a:r>
                  <a:rPr lang="en-US" sz="1400" dirty="0">
                    <a:effectLst>
                      <a:outerShdw sx="1000" sy="1000" algn="tl">
                        <a:srgbClr val="000000"/>
                      </a:outerShdw>
                    </a:effectLst>
                  </a:rPr>
                  <a:t>3.3 Tg</a:t>
                </a:r>
              </a:p>
              <a:p>
                <a:pPr algn="ctr"/>
                <a:r>
                  <a:rPr lang="en-US" sz="1400" dirty="0">
                    <a:effectLst>
                      <a:outerShdw sx="1000" sy="1000" algn="tl">
                        <a:srgbClr val="000000"/>
                      </a:outerShdw>
                    </a:effectLst>
                  </a:rPr>
                  <a:t>0.6%</a:t>
                </a:r>
              </a:p>
              <a:p>
                <a:endParaRPr lang="en-US" sz="1400" dirty="0">
                  <a:effectLst>
                    <a:outerShdw sx="1000" sy="1000" algn="tl">
                      <a:srgbClr val="000000"/>
                    </a:outerShdw>
                  </a:effectLst>
                </a:endParaRPr>
              </a:p>
            </p:txBody>
          </p:sp>
          <p:sp>
            <p:nvSpPr>
              <p:cNvPr id="52" name="TextBox 51"/>
              <p:cNvSpPr txBox="1"/>
              <p:nvPr/>
            </p:nvSpPr>
            <p:spPr>
              <a:xfrm>
                <a:off x="3557870" y="3382373"/>
                <a:ext cx="707162" cy="392415"/>
              </a:xfrm>
              <a:prstGeom prst="rect">
                <a:avLst/>
              </a:prstGeom>
              <a:noFill/>
              <a:effectLst/>
            </p:spPr>
            <p:txBody>
              <a:bodyPr wrap="square" rtlCol="0">
                <a:spAutoFit/>
              </a:bodyPr>
              <a:lstStyle/>
              <a:p>
                <a:pPr algn="ctr"/>
                <a:r>
                  <a:rPr lang="en-US" sz="1400" dirty="0">
                    <a:effectLst>
                      <a:outerShdw sx="1000" sy="1000" algn="tl">
                        <a:srgbClr val="000000"/>
                      </a:outerShdw>
                    </a:effectLst>
                  </a:rPr>
                  <a:t>2.7 Tg</a:t>
                </a:r>
              </a:p>
              <a:p>
                <a:pPr algn="ctr"/>
                <a:r>
                  <a:rPr lang="en-US" sz="1400" dirty="0">
                    <a:effectLst>
                      <a:outerShdw sx="1000" sy="1000" algn="tl">
                        <a:srgbClr val="000000"/>
                      </a:outerShdw>
                    </a:effectLst>
                  </a:rPr>
                  <a:t>0.5%</a:t>
                </a:r>
              </a:p>
            </p:txBody>
          </p:sp>
        </p:grpSp>
      </p:grpSp>
      <p:grpSp>
        <p:nvGrpSpPr>
          <p:cNvPr id="14" name="Group 13">
            <a:extLst>
              <a:ext uri="{FF2B5EF4-FFF2-40B4-BE49-F238E27FC236}">
                <a16:creationId xmlns:a16="http://schemas.microsoft.com/office/drawing/2014/main" id="{3376A0C5-36ED-1F44-A852-F90172E39B46}"/>
              </a:ext>
            </a:extLst>
          </p:cNvPr>
          <p:cNvGrpSpPr/>
          <p:nvPr/>
        </p:nvGrpSpPr>
        <p:grpSpPr>
          <a:xfrm>
            <a:off x="6143271" y="1169097"/>
            <a:ext cx="2619379" cy="4439865"/>
            <a:chOff x="4607453" y="853221"/>
            <a:chExt cx="1964534" cy="3329899"/>
          </a:xfrm>
        </p:grpSpPr>
        <p:sp>
          <p:nvSpPr>
            <p:cNvPr id="62" name="Rounded Rectangle 61">
              <a:extLst>
                <a:ext uri="{FF2B5EF4-FFF2-40B4-BE49-F238E27FC236}">
                  <a16:creationId xmlns:a16="http://schemas.microsoft.com/office/drawing/2014/main" id="{20393178-407D-B047-9EAE-A93C60C6E359}"/>
                </a:ext>
              </a:extLst>
            </p:cNvPr>
            <p:cNvSpPr/>
            <p:nvPr/>
          </p:nvSpPr>
          <p:spPr>
            <a:xfrm>
              <a:off x="4629773" y="853221"/>
              <a:ext cx="1924111" cy="3329899"/>
            </a:xfrm>
            <a:prstGeom prst="roundRec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Picture 33" descr="C:\Users\krobinson\AppData\Local\Microsoft\Windows\Temporary Internet Files\Content.IE5\2PDO1KNQ\Pipeline_Oil_Energy_Keystone_iStock_000014930569Small[1].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014" t="-3854"/>
            <a:stretch/>
          </p:blipFill>
          <p:spPr bwMode="auto">
            <a:xfrm>
              <a:off x="4629772" y="1505417"/>
              <a:ext cx="1908189" cy="1300172"/>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4607453" y="864521"/>
              <a:ext cx="1955560" cy="623248"/>
            </a:xfrm>
            <a:prstGeom prst="rect">
              <a:avLst/>
            </a:prstGeom>
            <a:noFill/>
            <a:effectLst/>
          </p:spPr>
          <p:txBody>
            <a:bodyPr wrap="square" rtlCol="0">
              <a:spAutoFit/>
            </a:bodyPr>
            <a:lstStyle/>
            <a:p>
              <a:pPr algn="ctr"/>
              <a:r>
                <a:rPr lang="en-US" sz="2400" dirty="0">
                  <a:effectLst>
                    <a:outerShdw dist="38100" sx="1000" sy="1000" algn="tl">
                      <a:srgbClr val="000000"/>
                    </a:outerShdw>
                  </a:effectLst>
                </a:rPr>
                <a:t>Transmission </a:t>
              </a:r>
              <a:br>
                <a:rPr lang="en-US" sz="2400" dirty="0">
                  <a:effectLst>
                    <a:outerShdw dist="38100" sx="1000" sy="1000" algn="tl">
                      <a:srgbClr val="000000"/>
                    </a:outerShdw>
                  </a:effectLst>
                </a:rPr>
              </a:br>
              <a:r>
                <a:rPr lang="en-US" sz="2400" dirty="0">
                  <a:effectLst>
                    <a:outerShdw dist="38100" sx="1000" sy="1000" algn="tl">
                      <a:srgbClr val="000000"/>
                    </a:outerShdw>
                  </a:effectLst>
                </a:rPr>
                <a:t>&amp; Storage</a:t>
              </a:r>
            </a:p>
          </p:txBody>
        </p:sp>
        <p:grpSp>
          <p:nvGrpSpPr>
            <p:cNvPr id="6" name="Group 5">
              <a:extLst>
                <a:ext uri="{FF2B5EF4-FFF2-40B4-BE49-F238E27FC236}">
                  <a16:creationId xmlns:a16="http://schemas.microsoft.com/office/drawing/2014/main" id="{293F9D96-C5FC-0944-B017-C6F6751DD591}"/>
                </a:ext>
              </a:extLst>
            </p:cNvPr>
            <p:cNvGrpSpPr/>
            <p:nvPr/>
          </p:nvGrpSpPr>
          <p:grpSpPr>
            <a:xfrm>
              <a:off x="4886780" y="3122198"/>
              <a:ext cx="1685207" cy="1015741"/>
              <a:chOff x="4886780" y="3122198"/>
              <a:chExt cx="1685207" cy="1015741"/>
            </a:xfrm>
          </p:grpSpPr>
          <p:graphicFrame>
            <p:nvGraphicFramePr>
              <p:cNvPr id="43" name="Chart 42"/>
              <p:cNvGraphicFramePr>
                <a:graphicFrameLocks/>
              </p:cNvGraphicFramePr>
              <p:nvPr/>
            </p:nvGraphicFramePr>
            <p:xfrm>
              <a:off x="4946802" y="3122198"/>
              <a:ext cx="1625185" cy="1015741"/>
            </p:xfrm>
            <a:graphic>
              <a:graphicData uri="http://schemas.openxmlformats.org/drawingml/2006/chart">
                <c:chart xmlns:c="http://schemas.openxmlformats.org/drawingml/2006/chart" xmlns:r="http://schemas.openxmlformats.org/officeDocument/2006/relationships" r:id="rId7"/>
              </a:graphicData>
            </a:graphic>
          </p:graphicFrame>
          <p:sp>
            <p:nvSpPr>
              <p:cNvPr id="53" name="TextBox 52"/>
              <p:cNvSpPr txBox="1"/>
              <p:nvPr/>
            </p:nvSpPr>
            <p:spPr>
              <a:xfrm>
                <a:off x="4886780" y="3382373"/>
                <a:ext cx="725591" cy="392415"/>
              </a:xfrm>
              <a:prstGeom prst="rect">
                <a:avLst/>
              </a:prstGeom>
              <a:noFill/>
              <a:effectLst/>
            </p:spPr>
            <p:txBody>
              <a:bodyPr wrap="square" rtlCol="0">
                <a:spAutoFit/>
              </a:bodyPr>
              <a:lstStyle/>
              <a:p>
                <a:pPr algn="ctr"/>
                <a:r>
                  <a:rPr lang="en-US" sz="1400" dirty="0">
                    <a:effectLst>
                      <a:outerShdw sx="1000" sy="1000" algn="tl">
                        <a:srgbClr val="000000"/>
                      </a:outerShdw>
                    </a:effectLst>
                  </a:rPr>
                  <a:t>1.8 Tg</a:t>
                </a:r>
              </a:p>
              <a:p>
                <a:pPr algn="ctr"/>
                <a:r>
                  <a:rPr lang="en-US" sz="1400" dirty="0">
                    <a:effectLst>
                      <a:outerShdw sx="1000" sy="1000" algn="tl">
                        <a:srgbClr val="000000"/>
                      </a:outerShdw>
                    </a:effectLst>
                  </a:rPr>
                  <a:t>0.3%</a:t>
                </a:r>
              </a:p>
            </p:txBody>
          </p:sp>
          <p:sp>
            <p:nvSpPr>
              <p:cNvPr id="54" name="TextBox 53"/>
              <p:cNvSpPr txBox="1"/>
              <p:nvPr/>
            </p:nvSpPr>
            <p:spPr>
              <a:xfrm>
                <a:off x="5626677" y="3382373"/>
                <a:ext cx="725591" cy="392415"/>
              </a:xfrm>
              <a:prstGeom prst="rect">
                <a:avLst/>
              </a:prstGeom>
              <a:noFill/>
              <a:effectLst/>
            </p:spPr>
            <p:txBody>
              <a:bodyPr wrap="square" rtlCol="0">
                <a:spAutoFit/>
              </a:bodyPr>
              <a:lstStyle/>
              <a:p>
                <a:pPr algn="ctr"/>
                <a:r>
                  <a:rPr lang="en-US" sz="1400" dirty="0">
                    <a:effectLst>
                      <a:outerShdw sx="1000" sy="1000" algn="tl">
                        <a:srgbClr val="000000"/>
                      </a:outerShdw>
                    </a:effectLst>
                  </a:rPr>
                  <a:t>1.4 Tg</a:t>
                </a:r>
              </a:p>
              <a:p>
                <a:pPr algn="ctr"/>
                <a:r>
                  <a:rPr lang="en-US" sz="1400" dirty="0">
                    <a:effectLst>
                      <a:outerShdw sx="1000" sy="1000" algn="tl">
                        <a:srgbClr val="000000"/>
                      </a:outerShdw>
                    </a:effectLst>
                  </a:rPr>
                  <a:t>0.2%</a:t>
                </a:r>
              </a:p>
            </p:txBody>
          </p:sp>
        </p:grpSp>
      </p:grpSp>
      <p:grpSp>
        <p:nvGrpSpPr>
          <p:cNvPr id="15" name="Group 14">
            <a:extLst>
              <a:ext uri="{FF2B5EF4-FFF2-40B4-BE49-F238E27FC236}">
                <a16:creationId xmlns:a16="http://schemas.microsoft.com/office/drawing/2014/main" id="{78721D29-D062-A348-A840-942C36BEFECB}"/>
              </a:ext>
            </a:extLst>
          </p:cNvPr>
          <p:cNvGrpSpPr/>
          <p:nvPr/>
        </p:nvGrpSpPr>
        <p:grpSpPr>
          <a:xfrm>
            <a:off x="8875591" y="1169097"/>
            <a:ext cx="2565483" cy="4439865"/>
            <a:chOff x="6656693" y="853221"/>
            <a:chExt cx="1924112" cy="3329899"/>
          </a:xfrm>
        </p:grpSpPr>
        <p:sp>
          <p:nvSpPr>
            <p:cNvPr id="63" name="Rounded Rectangle 62">
              <a:extLst>
                <a:ext uri="{FF2B5EF4-FFF2-40B4-BE49-F238E27FC236}">
                  <a16:creationId xmlns:a16="http://schemas.microsoft.com/office/drawing/2014/main" id="{49D5A331-303E-504E-9A1D-313DCCB5CEC1}"/>
                </a:ext>
              </a:extLst>
            </p:cNvPr>
            <p:cNvSpPr/>
            <p:nvPr/>
          </p:nvSpPr>
          <p:spPr>
            <a:xfrm>
              <a:off x="6656693" y="853221"/>
              <a:ext cx="1924111" cy="3329899"/>
            </a:xfrm>
            <a:prstGeom prst="roundRect">
              <a:avLst/>
            </a:prstGeom>
            <a:solidFill>
              <a:schemeClr val="bg1"/>
            </a:solidFill>
            <a:ln w="63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669818" y="1545142"/>
              <a:ext cx="1903552" cy="1254428"/>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6665823" y="864521"/>
              <a:ext cx="1914982" cy="346249"/>
            </a:xfrm>
            <a:prstGeom prst="rect">
              <a:avLst/>
            </a:prstGeom>
            <a:noFill/>
            <a:effectLst/>
          </p:spPr>
          <p:txBody>
            <a:bodyPr wrap="square" rtlCol="0">
              <a:spAutoFit/>
            </a:bodyPr>
            <a:lstStyle/>
            <a:p>
              <a:pPr algn="ctr"/>
              <a:r>
                <a:rPr lang="en-US" sz="2400" dirty="0">
                  <a:effectLst>
                    <a:outerShdw dist="38100" sx="1000" sy="1000" algn="tl">
                      <a:srgbClr val="000000"/>
                    </a:outerShdw>
                  </a:effectLst>
                </a:rPr>
                <a:t>Local Distribution</a:t>
              </a:r>
            </a:p>
          </p:txBody>
        </p:sp>
        <p:grpSp>
          <p:nvGrpSpPr>
            <p:cNvPr id="7" name="Group 6">
              <a:extLst>
                <a:ext uri="{FF2B5EF4-FFF2-40B4-BE49-F238E27FC236}">
                  <a16:creationId xmlns:a16="http://schemas.microsoft.com/office/drawing/2014/main" id="{E58A29E8-3706-4240-9744-D9A9E5EE1444}"/>
                </a:ext>
              </a:extLst>
            </p:cNvPr>
            <p:cNvGrpSpPr/>
            <p:nvPr/>
          </p:nvGrpSpPr>
          <p:grpSpPr>
            <a:xfrm>
              <a:off x="6810891" y="3193763"/>
              <a:ext cx="1514721" cy="944176"/>
              <a:chOff x="6810891" y="3193763"/>
              <a:chExt cx="1514721" cy="944176"/>
            </a:xfrm>
          </p:grpSpPr>
          <p:graphicFrame>
            <p:nvGraphicFramePr>
              <p:cNvPr id="44" name="Chart 43"/>
              <p:cNvGraphicFramePr>
                <a:graphicFrameLocks/>
              </p:cNvGraphicFramePr>
              <p:nvPr/>
            </p:nvGraphicFramePr>
            <p:xfrm>
              <a:off x="6810891" y="3193763"/>
              <a:ext cx="1514721" cy="944176"/>
            </p:xfrm>
            <a:graphic>
              <a:graphicData uri="http://schemas.openxmlformats.org/drawingml/2006/chart">
                <c:chart xmlns:c="http://schemas.openxmlformats.org/drawingml/2006/chart" xmlns:r="http://schemas.openxmlformats.org/officeDocument/2006/relationships" r:id="rId9"/>
              </a:graphicData>
            </a:graphic>
          </p:graphicFrame>
          <p:sp>
            <p:nvSpPr>
              <p:cNvPr id="55" name="TextBox 54"/>
              <p:cNvSpPr txBox="1"/>
              <p:nvPr/>
            </p:nvSpPr>
            <p:spPr>
              <a:xfrm>
                <a:off x="6911848" y="3362537"/>
                <a:ext cx="651236" cy="392415"/>
              </a:xfrm>
              <a:prstGeom prst="rect">
                <a:avLst/>
              </a:prstGeom>
              <a:noFill/>
              <a:effectLst/>
            </p:spPr>
            <p:txBody>
              <a:bodyPr wrap="square" rtlCol="0">
                <a:spAutoFit/>
              </a:bodyPr>
              <a:lstStyle/>
              <a:p>
                <a:pPr algn="ctr"/>
                <a:r>
                  <a:rPr lang="en-US" sz="1400" dirty="0">
                    <a:effectLst>
                      <a:outerShdw sx="1000" sy="1000" algn="tl">
                        <a:srgbClr val="000000"/>
                      </a:outerShdw>
                    </a:effectLst>
                  </a:rPr>
                  <a:t>0.44 Tg</a:t>
                </a:r>
              </a:p>
              <a:p>
                <a:pPr algn="ctr"/>
                <a:r>
                  <a:rPr lang="en-US" sz="1400" dirty="0">
                    <a:effectLst>
                      <a:outerShdw sx="1000" sy="1000" algn="tl">
                        <a:srgbClr val="000000"/>
                      </a:outerShdw>
                    </a:effectLst>
                  </a:rPr>
                  <a:t>0.1%</a:t>
                </a:r>
              </a:p>
            </p:txBody>
          </p:sp>
          <p:sp>
            <p:nvSpPr>
              <p:cNvPr id="56" name="TextBox 55"/>
              <p:cNvSpPr txBox="1"/>
              <p:nvPr/>
            </p:nvSpPr>
            <p:spPr>
              <a:xfrm>
                <a:off x="7650574" y="3362537"/>
                <a:ext cx="648782" cy="392415"/>
              </a:xfrm>
              <a:prstGeom prst="rect">
                <a:avLst/>
              </a:prstGeom>
              <a:noFill/>
              <a:effectLst/>
            </p:spPr>
            <p:txBody>
              <a:bodyPr wrap="square" rtlCol="0">
                <a:spAutoFit/>
              </a:bodyPr>
              <a:lstStyle/>
              <a:p>
                <a:pPr algn="ctr"/>
                <a:r>
                  <a:rPr lang="en-US" sz="1400" dirty="0">
                    <a:effectLst>
                      <a:outerShdw sx="1000" sy="1000" algn="tl">
                        <a:srgbClr val="000000"/>
                      </a:outerShdw>
                    </a:effectLst>
                  </a:rPr>
                  <a:t>0.44 Tg</a:t>
                </a:r>
              </a:p>
              <a:p>
                <a:pPr algn="ctr"/>
                <a:r>
                  <a:rPr lang="en-US" sz="1400" dirty="0">
                    <a:effectLst>
                      <a:outerShdw sx="1000" sy="1000" algn="tl">
                        <a:srgbClr val="000000"/>
                      </a:outerShdw>
                    </a:effectLst>
                  </a:rPr>
                  <a:t>0.1%</a:t>
                </a:r>
              </a:p>
            </p:txBody>
          </p:sp>
        </p:grpSp>
      </p:grpSp>
      <p:grpSp>
        <p:nvGrpSpPr>
          <p:cNvPr id="3" name="Group 2">
            <a:extLst>
              <a:ext uri="{FF2B5EF4-FFF2-40B4-BE49-F238E27FC236}">
                <a16:creationId xmlns:a16="http://schemas.microsoft.com/office/drawing/2014/main" id="{3811ADCE-FDA7-2341-BB0E-7572AFDC4B08}"/>
              </a:ext>
            </a:extLst>
          </p:cNvPr>
          <p:cNvGrpSpPr/>
          <p:nvPr/>
        </p:nvGrpSpPr>
        <p:grpSpPr>
          <a:xfrm>
            <a:off x="765936" y="5845869"/>
            <a:ext cx="10675137" cy="400109"/>
            <a:chOff x="554717" y="886875"/>
            <a:chExt cx="8006353" cy="300082"/>
          </a:xfrm>
        </p:grpSpPr>
        <p:sp>
          <p:nvSpPr>
            <p:cNvPr id="45" name="Rectangle 44"/>
            <p:cNvSpPr/>
            <p:nvPr/>
          </p:nvSpPr>
          <p:spPr>
            <a:xfrm>
              <a:off x="554717" y="909958"/>
              <a:ext cx="276999" cy="276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p:cNvSpPr txBox="1"/>
            <p:nvPr/>
          </p:nvSpPr>
          <p:spPr>
            <a:xfrm>
              <a:off x="838895" y="886875"/>
              <a:ext cx="3102029" cy="276999"/>
            </a:xfrm>
            <a:prstGeom prst="rect">
              <a:avLst/>
            </a:prstGeom>
            <a:noFill/>
          </p:spPr>
          <p:txBody>
            <a:bodyPr wrap="square" rtlCol="0">
              <a:spAutoFit/>
            </a:bodyPr>
            <a:lstStyle/>
            <a:p>
              <a:r>
                <a:rPr lang="en-US" dirty="0"/>
                <a:t>Methane Synthesis Alvarez et al 2018</a:t>
              </a:r>
            </a:p>
          </p:txBody>
        </p:sp>
        <p:sp>
          <p:nvSpPr>
            <p:cNvPr id="48" name="TextBox 47"/>
            <p:cNvSpPr txBox="1"/>
            <p:nvPr/>
          </p:nvSpPr>
          <p:spPr>
            <a:xfrm>
              <a:off x="4786876" y="886875"/>
              <a:ext cx="3774194" cy="276999"/>
            </a:xfrm>
            <a:prstGeom prst="rect">
              <a:avLst/>
            </a:prstGeom>
            <a:noFill/>
          </p:spPr>
          <p:txBody>
            <a:bodyPr wrap="square" rtlCol="0">
              <a:spAutoFit/>
            </a:bodyPr>
            <a:lstStyle/>
            <a:p>
              <a:r>
                <a:rPr lang="en-US" dirty="0"/>
                <a:t>2017 EPA GHG Inventory </a:t>
              </a:r>
              <a:r>
                <a:rPr lang="en-US" i="1" dirty="0"/>
                <a:t>(For year 2015)</a:t>
              </a:r>
            </a:p>
          </p:txBody>
        </p:sp>
        <p:sp>
          <p:nvSpPr>
            <p:cNvPr id="57" name="Rectangle 56">
              <a:extLst>
                <a:ext uri="{FF2B5EF4-FFF2-40B4-BE49-F238E27FC236}">
                  <a16:creationId xmlns:a16="http://schemas.microsoft.com/office/drawing/2014/main" id="{272E81E6-93C2-2E43-8468-972F54FCEF65}"/>
                </a:ext>
              </a:extLst>
            </p:cNvPr>
            <p:cNvSpPr/>
            <p:nvPr/>
          </p:nvSpPr>
          <p:spPr>
            <a:xfrm>
              <a:off x="4490690" y="909958"/>
              <a:ext cx="276999" cy="276999"/>
            </a:xfrm>
            <a:prstGeom prst="rect">
              <a:avLst/>
            </a:prstGeom>
            <a:solidFill>
              <a:srgbClr val="92D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191965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ppt_x"/>
                                          </p:val>
                                        </p:tav>
                                        <p:tav tm="100000">
                                          <p:val>
                                            <p:strVal val="#ppt_x"/>
                                          </p:val>
                                        </p:tav>
                                      </p:tavLst>
                                    </p:anim>
                                    <p:anim calcmode="lin" valueType="num">
                                      <p:cBhvr additive="base">
                                        <p:cTn id="13" dur="500" fill="hold"/>
                                        <p:tgtEl>
                                          <p:spTgt spid="13"/>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ppt_x"/>
                                          </p:val>
                                        </p:tav>
                                        <p:tav tm="100000">
                                          <p:val>
                                            <p:strVal val="#ppt_x"/>
                                          </p:val>
                                        </p:tav>
                                      </p:tavLst>
                                    </p:anim>
                                    <p:anim calcmode="lin" valueType="num">
                                      <p:cBhvr additive="base">
                                        <p:cTn id="23" dur="500" fill="hold"/>
                                        <p:tgtEl>
                                          <p:spTgt spid="15"/>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3"/>
                                        </p:tgtEl>
                                        <p:attrNameLst>
                                          <p:attrName>style.visibility</p:attrName>
                                        </p:attrNameLst>
                                      </p:cBhvr>
                                      <p:to>
                                        <p:strVal val="visible"/>
                                      </p:to>
                                    </p:set>
                                    <p:anim calcmode="lin" valueType="num">
                                      <p:cBhvr additive="base">
                                        <p:cTn id="27" dur="500" fill="hold"/>
                                        <p:tgtEl>
                                          <p:spTgt spid="3"/>
                                        </p:tgtEl>
                                        <p:attrNameLst>
                                          <p:attrName>ppt_x</p:attrName>
                                        </p:attrNameLst>
                                      </p:cBhvr>
                                      <p:tavLst>
                                        <p:tav tm="0">
                                          <p:val>
                                            <p:strVal val="#ppt_x"/>
                                          </p:val>
                                        </p:tav>
                                        <p:tav tm="100000">
                                          <p:val>
                                            <p:strVal val="#ppt_x"/>
                                          </p:val>
                                        </p:tav>
                                      </p:tavLst>
                                    </p:anim>
                                    <p:anim calcmode="lin" valueType="num">
                                      <p:cBhvr additive="base">
                                        <p:cTn id="2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011FE7-BAF7-4AAB-B379-7E3FC8B6AD8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352" y="1727692"/>
            <a:ext cx="12172648" cy="4740333"/>
          </a:xfrm>
          <a:prstGeom prst="rect">
            <a:avLst/>
          </a:prstGeom>
        </p:spPr>
      </p:pic>
      <p:sp>
        <p:nvSpPr>
          <p:cNvPr id="3" name="TextBox 2">
            <a:extLst>
              <a:ext uri="{FF2B5EF4-FFF2-40B4-BE49-F238E27FC236}">
                <a16:creationId xmlns:a16="http://schemas.microsoft.com/office/drawing/2014/main" id="{F913DE20-5CE8-4C6E-B915-00946582CEC4}"/>
              </a:ext>
            </a:extLst>
          </p:cNvPr>
          <p:cNvSpPr txBox="1"/>
          <p:nvPr/>
        </p:nvSpPr>
        <p:spPr>
          <a:xfrm>
            <a:off x="352427" y="200161"/>
            <a:ext cx="11839573" cy="1323439"/>
          </a:xfrm>
          <a:prstGeom prst="rect">
            <a:avLst/>
          </a:prstGeom>
          <a:noFill/>
        </p:spPr>
        <p:txBody>
          <a:bodyPr wrap="square" rtlCol="0">
            <a:spAutoFit/>
          </a:bodyPr>
          <a:lstStyle/>
          <a:p>
            <a:r>
              <a:rPr lang="en-US" sz="4000" b="1" i="1" dirty="0"/>
              <a:t>Recent satellite observations reveal high Permian methane emissions </a:t>
            </a:r>
            <a:r>
              <a:rPr lang="en-US" sz="2000" dirty="0"/>
              <a:t>TROPOMI methane data averaged from May 2018 – March 2019</a:t>
            </a:r>
          </a:p>
        </p:txBody>
      </p:sp>
      <p:sp>
        <p:nvSpPr>
          <p:cNvPr id="5" name="TextBox 4">
            <a:extLst>
              <a:ext uri="{FF2B5EF4-FFF2-40B4-BE49-F238E27FC236}">
                <a16:creationId xmlns:a16="http://schemas.microsoft.com/office/drawing/2014/main" id="{32FBC742-18CB-406F-9FBD-E0C819240AEC}"/>
              </a:ext>
            </a:extLst>
          </p:cNvPr>
          <p:cNvSpPr txBox="1"/>
          <p:nvPr/>
        </p:nvSpPr>
        <p:spPr>
          <a:xfrm>
            <a:off x="352427" y="5939455"/>
            <a:ext cx="2339597" cy="707694"/>
          </a:xfrm>
          <a:prstGeom prst="rect">
            <a:avLst/>
          </a:prstGeom>
          <a:noFill/>
        </p:spPr>
        <p:txBody>
          <a:bodyPr wrap="square" rtlCol="0">
            <a:spAutoFit/>
          </a:bodyPr>
          <a:lstStyle/>
          <a:p>
            <a:r>
              <a:rPr lang="en-US" sz="1333" i="1" dirty="0"/>
              <a:t>Zhang et al. (2020) Science Advances. </a:t>
            </a:r>
            <a:r>
              <a:rPr lang="en-US" sz="1333" b="1" dirty="0"/>
              <a:t>6</a:t>
            </a:r>
            <a:r>
              <a:rPr lang="en-US" sz="1333" dirty="0"/>
              <a:t>: eaaz5120 </a:t>
            </a:r>
          </a:p>
          <a:p>
            <a:endParaRPr lang="en-US" sz="1333" i="1" dirty="0"/>
          </a:p>
        </p:txBody>
      </p:sp>
      <p:cxnSp>
        <p:nvCxnSpPr>
          <p:cNvPr id="4" name="Straight Arrow Connector 3">
            <a:extLst>
              <a:ext uri="{FF2B5EF4-FFF2-40B4-BE49-F238E27FC236}">
                <a16:creationId xmlns:a16="http://schemas.microsoft.com/office/drawing/2014/main" id="{FE9C6EFA-5BE3-41B1-BB73-50C739123D5B}"/>
              </a:ext>
            </a:extLst>
          </p:cNvPr>
          <p:cNvCxnSpPr>
            <a:cxnSpLocks/>
          </p:cNvCxnSpPr>
          <p:nvPr/>
        </p:nvCxnSpPr>
        <p:spPr>
          <a:xfrm flipH="1">
            <a:off x="3209927" y="2955637"/>
            <a:ext cx="4751819" cy="1479204"/>
          </a:xfrm>
          <a:prstGeom prst="straightConnector1">
            <a:avLst/>
          </a:prstGeom>
          <a:ln w="28575">
            <a:solidFill>
              <a:srgbClr val="FF0000"/>
            </a:solidFill>
            <a:tailEnd type="arrow" w="lg" len="lg"/>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93F23C0-ADF2-46AF-8D6D-FE7F4358BCC9}"/>
              </a:ext>
            </a:extLst>
          </p:cNvPr>
          <p:cNvSpPr/>
          <p:nvPr/>
        </p:nvSpPr>
        <p:spPr>
          <a:xfrm>
            <a:off x="2400300" y="4128339"/>
            <a:ext cx="809627" cy="8399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437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9DD53FB-CD01-4B30-9A4A-D1AB81C8E5BD}"/>
              </a:ext>
            </a:extLst>
          </p:cNvPr>
          <p:cNvPicPr>
            <a:picLocks noChangeAspect="1"/>
          </p:cNvPicPr>
          <p:nvPr/>
        </p:nvPicPr>
        <p:blipFill>
          <a:blip r:embed="rId2"/>
          <a:stretch>
            <a:fillRect/>
          </a:stretch>
        </p:blipFill>
        <p:spPr>
          <a:xfrm>
            <a:off x="559634" y="1649062"/>
            <a:ext cx="11253277" cy="4805197"/>
          </a:xfrm>
          <a:prstGeom prst="rect">
            <a:avLst/>
          </a:prstGeom>
        </p:spPr>
      </p:pic>
      <p:sp>
        <p:nvSpPr>
          <p:cNvPr id="10" name="Rectangle 9">
            <a:extLst>
              <a:ext uri="{FF2B5EF4-FFF2-40B4-BE49-F238E27FC236}">
                <a16:creationId xmlns:a16="http://schemas.microsoft.com/office/drawing/2014/main" id="{CFB30969-7BC5-4699-B468-C0A6E8F09EEA}"/>
              </a:ext>
            </a:extLst>
          </p:cNvPr>
          <p:cNvSpPr/>
          <p:nvPr/>
        </p:nvSpPr>
        <p:spPr>
          <a:xfrm>
            <a:off x="559633" y="391622"/>
            <a:ext cx="11573067" cy="995016"/>
          </a:xfrm>
          <a:prstGeom prst="rect">
            <a:avLst/>
          </a:prstGeom>
        </p:spPr>
        <p:txBody>
          <a:bodyPr wrap="square">
            <a:spAutoFit/>
          </a:bodyPr>
          <a:lstStyle/>
          <a:p>
            <a:r>
              <a:rPr lang="en-US" sz="2933" b="1" dirty="0">
                <a:solidFill>
                  <a:srgbClr val="FF6600"/>
                </a:solidFill>
              </a:rPr>
              <a:t>TROPOMI data reveal highest methane emissions from the Permian Basin ever measured from any U.S. oil and gas basin</a:t>
            </a:r>
          </a:p>
        </p:txBody>
      </p:sp>
      <p:sp>
        <p:nvSpPr>
          <p:cNvPr id="11" name="TextBox 10">
            <a:extLst>
              <a:ext uri="{FF2B5EF4-FFF2-40B4-BE49-F238E27FC236}">
                <a16:creationId xmlns:a16="http://schemas.microsoft.com/office/drawing/2014/main" id="{C21DED60-3A44-40C8-BF34-220BDEAA97B7}"/>
              </a:ext>
            </a:extLst>
          </p:cNvPr>
          <p:cNvSpPr txBox="1"/>
          <p:nvPr/>
        </p:nvSpPr>
        <p:spPr>
          <a:xfrm>
            <a:off x="6575686" y="6454261"/>
            <a:ext cx="5635364" cy="584775"/>
          </a:xfrm>
          <a:prstGeom prst="rect">
            <a:avLst/>
          </a:prstGeom>
          <a:noFill/>
        </p:spPr>
        <p:txBody>
          <a:bodyPr wrap="square" rtlCol="0">
            <a:spAutoFit/>
          </a:bodyPr>
          <a:lstStyle/>
          <a:p>
            <a:r>
              <a:rPr lang="en-US" sz="1600" i="1" dirty="0">
                <a:solidFill>
                  <a:schemeClr val="bg1"/>
                </a:solidFill>
              </a:rPr>
              <a:t>Zhang et al. (2020), Science Advances. </a:t>
            </a:r>
            <a:r>
              <a:rPr lang="en-US" sz="1600" b="1" dirty="0">
                <a:solidFill>
                  <a:schemeClr val="bg1"/>
                </a:solidFill>
              </a:rPr>
              <a:t>6</a:t>
            </a:r>
            <a:r>
              <a:rPr lang="en-US" sz="1600" dirty="0">
                <a:solidFill>
                  <a:schemeClr val="bg1"/>
                </a:solidFill>
              </a:rPr>
              <a:t>: eaaz5120 </a:t>
            </a:r>
          </a:p>
          <a:p>
            <a:endParaRPr lang="en-US" sz="1600" i="1" dirty="0">
              <a:solidFill>
                <a:schemeClr val="bg1"/>
              </a:solidFill>
            </a:endParaRPr>
          </a:p>
        </p:txBody>
      </p:sp>
    </p:spTree>
    <p:extLst>
      <p:ext uri="{BB962C8B-B14F-4D97-AF65-F5344CB8AC3E}">
        <p14:creationId xmlns:p14="http://schemas.microsoft.com/office/powerpoint/2010/main" val="3172623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q3TRc1WPODaQj4GMP5G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6AE89AEA54B04FA47AD82CEC56E765" ma:contentTypeVersion="11" ma:contentTypeDescription="Create a new document." ma:contentTypeScope="" ma:versionID="de36d2e0098a2d9368be61ccffe36934">
  <xsd:schema xmlns:xsd="http://www.w3.org/2001/XMLSchema" xmlns:xs="http://www.w3.org/2001/XMLSchema" xmlns:p="http://schemas.microsoft.com/office/2006/metadata/properties" xmlns:ns2="ea297f61-57d4-4b4a-8dfe-aef7b1a3b2ce" xmlns:ns3="9a23d2b9-098e-4a6c-af81-9fe95908a754" targetNamespace="http://schemas.microsoft.com/office/2006/metadata/properties" ma:root="true" ma:fieldsID="eb30b8c91c04c8c80fd66298df9b33ae" ns2:_="" ns3:_="">
    <xsd:import namespace="ea297f61-57d4-4b4a-8dfe-aef7b1a3b2ce"/>
    <xsd:import namespace="9a23d2b9-098e-4a6c-af81-9fe95908a75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297f61-57d4-4b4a-8dfe-aef7b1a3b2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a23d2b9-098e-4a6c-af81-9fe95908a75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EA03B4B-3660-47E4-966D-771F4AE59DE3}">
  <ds:schemaRefs>
    <ds:schemaRef ds:uri="9a23d2b9-098e-4a6c-af81-9fe95908a754"/>
    <ds:schemaRef ds:uri="ea297f61-57d4-4b4a-8dfe-aef7b1a3b2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0D80318-8BC6-4787-9B88-09CC35C90334}">
  <ds:schemaRefs>
    <ds:schemaRef ds:uri="http://schemas.microsoft.com/sharepoint/v3/contenttype/forms"/>
  </ds:schemaRefs>
</ds:datastoreItem>
</file>

<file path=customXml/itemProps3.xml><?xml version="1.0" encoding="utf-8"?>
<ds:datastoreItem xmlns:ds="http://schemas.openxmlformats.org/officeDocument/2006/customXml" ds:itemID="{04473F4D-EA71-4033-AAD6-84E85510346F}">
  <ds:schemaRefs>
    <ds:schemaRef ds:uri="9a23d2b9-098e-4a6c-af81-9fe95908a754"/>
    <ds:schemaRef ds:uri="ea297f61-57d4-4b4a-8dfe-aef7b1a3b2c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94</TotalTime>
  <Words>1537</Words>
  <Application>Microsoft Macintosh PowerPoint</Application>
  <PresentationFormat>Widescreen</PresentationFormat>
  <Paragraphs>278</Paragraphs>
  <Slides>20</Slides>
  <Notes>1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alibri Light</vt:lpstr>
      <vt:lpstr>Helvetica</vt:lpstr>
      <vt:lpstr>Roboto</vt:lpstr>
      <vt:lpstr>Roboto Light</vt:lpstr>
      <vt:lpstr>Roboto Medium</vt:lpstr>
      <vt:lpstr>Roboto Regular</vt:lpstr>
      <vt:lpstr>Wingdings</vt:lpstr>
      <vt:lpstr>Office Theme</vt:lpstr>
      <vt:lpstr>1_Office Theme</vt:lpstr>
      <vt:lpstr>think-cell Slide</vt:lpstr>
      <vt:lpstr>International Methane Emissions Observatory (IMEO)  Opportunity to catalyze and accelerate emissions reductions  </vt:lpstr>
      <vt:lpstr>PowerPoint Presentation</vt:lpstr>
      <vt:lpstr>PowerPoint Presentation</vt:lpstr>
      <vt:lpstr>PowerPoint Presentation</vt:lpstr>
      <vt:lpstr>Accelerating emissions reductions requires knowing: </vt:lpstr>
      <vt:lpstr>Better data is needed to enable targeted methane mitigation strategies and policies</vt:lpstr>
      <vt:lpstr>U.S. oil and gas supply chain emissions </vt:lpstr>
      <vt:lpstr>PowerPoint Presentation</vt:lpstr>
      <vt:lpstr>PowerPoint Presentation</vt:lpstr>
      <vt:lpstr>Satellites Are Complementary  For Tackling Global Methane Emissions</vt:lpstr>
      <vt:lpstr>PowerPoint Presentation</vt:lpstr>
      <vt:lpstr>OGMP 2.0 will improve methane reporting around the world</vt:lpstr>
      <vt:lpstr>PowerPoint Presentation</vt:lpstr>
      <vt:lpstr>PowerPoint Presentation</vt:lpstr>
      <vt:lpstr>How will IMEO answer the methane emissions data problem? </vt:lpstr>
      <vt:lpstr>How will IMEO answer the methane emissions data problem? </vt:lpstr>
      <vt:lpstr>Thank you </vt:lpstr>
      <vt:lpstr>The oil and gas sector has the greatest potential for methane mitigation at no net cos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GMP standard slides</dc:title>
  <dc:creator>Chenchen Lin(Affiliate)</dc:creator>
  <cp:lastModifiedBy>ov6695</cp:lastModifiedBy>
  <cp:revision>7</cp:revision>
  <dcterms:created xsi:type="dcterms:W3CDTF">2021-08-30T15:55:26Z</dcterms:created>
  <dcterms:modified xsi:type="dcterms:W3CDTF">2021-09-14T22: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6AE89AEA54B04FA47AD82CEC56E765</vt:lpwstr>
  </property>
</Properties>
</file>